
<file path=[Content_Types].xml><?xml version="1.0" encoding="utf-8"?>
<Types xmlns="http://schemas.openxmlformats.org/package/2006/content-types">
  <Default Extension="emf" ContentType="image/x-emf"/>
  <Default Extension="gif" ContentType="image/gi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2.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3.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4.xml" ContentType="application/vnd.openxmlformats-officedocument.theme+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theme/theme5.xml" ContentType="application/vnd.openxmlformats-officedocument.theme+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theme/theme6.xml" ContentType="application/vnd.openxmlformats-officedocument.theme+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tags/tag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heme/themeOverride1.xml" ContentType="application/vnd.openxmlformats-officedocument.themeOverr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omments/modernComment_7FFFFC07_E514B229.xml" ContentType="application/vnd.ms-powerpoint.comment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heme/themeOverride2.xml" ContentType="application/vnd.openxmlformats-officedocument.themeOverride+xml"/>
  <Override PartName="/ppt/notesSlides/notesSlide26.xml" ContentType="application/vnd.openxmlformats-officedocument.presentationml.notesSlide+xml"/>
  <Override PartName="/ppt/theme/themeOverride3.xml" ContentType="application/vnd.openxmlformats-officedocument.themeOverr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3.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571" r:id="rId4"/>
    <p:sldMasterId id="2147484238" r:id="rId5"/>
    <p:sldMasterId id="2147484434" r:id="rId6"/>
    <p:sldMasterId id="2147484524" r:id="rId7"/>
    <p:sldMasterId id="2147484591" r:id="rId8"/>
    <p:sldMasterId id="2147484611" r:id="rId9"/>
    <p:sldMasterId id="2147484692" r:id="rId10"/>
  </p:sldMasterIdLst>
  <p:notesMasterIdLst>
    <p:notesMasterId r:id="rId51"/>
  </p:notesMasterIdLst>
  <p:sldIdLst>
    <p:sldId id="2147483624" r:id="rId11"/>
    <p:sldId id="267" r:id="rId12"/>
    <p:sldId id="567" r:id="rId13"/>
    <p:sldId id="2147482559" r:id="rId14"/>
    <p:sldId id="2147482622" r:id="rId15"/>
    <p:sldId id="2147482623" r:id="rId16"/>
    <p:sldId id="2147482546" r:id="rId17"/>
    <p:sldId id="2147482626" r:id="rId18"/>
    <p:sldId id="2147482625" r:id="rId19"/>
    <p:sldId id="2147482627" r:id="rId20"/>
    <p:sldId id="2147482628" r:id="rId21"/>
    <p:sldId id="2147482629" r:id="rId22"/>
    <p:sldId id="2147482630" r:id="rId23"/>
    <p:sldId id="278" r:id="rId24"/>
    <p:sldId id="259" r:id="rId25"/>
    <p:sldId id="2147483647" r:id="rId26"/>
    <p:sldId id="282" r:id="rId27"/>
    <p:sldId id="2147482577" r:id="rId28"/>
    <p:sldId id="2147482631" r:id="rId29"/>
    <p:sldId id="2147482632" r:id="rId30"/>
    <p:sldId id="2147482633" r:id="rId31"/>
    <p:sldId id="2147482634" r:id="rId32"/>
    <p:sldId id="2147482635" r:id="rId33"/>
    <p:sldId id="2147482636" r:id="rId34"/>
    <p:sldId id="2147482637" r:id="rId35"/>
    <p:sldId id="2147482638" r:id="rId36"/>
    <p:sldId id="2147482639" r:id="rId37"/>
    <p:sldId id="2147482578" r:id="rId38"/>
    <p:sldId id="265" r:id="rId39"/>
    <p:sldId id="268" r:id="rId40"/>
    <p:sldId id="2147483623" r:id="rId41"/>
    <p:sldId id="2147482619" r:id="rId42"/>
    <p:sldId id="2147482640" r:id="rId43"/>
    <p:sldId id="2147482613" r:id="rId44"/>
    <p:sldId id="256" r:id="rId45"/>
    <p:sldId id="266" r:id="rId46"/>
    <p:sldId id="2147480288" r:id="rId47"/>
    <p:sldId id="566" r:id="rId48"/>
    <p:sldId id="257" r:id="rId49"/>
    <p:sldId id="2147482541"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icrosoft Entra Suite" id="{82EB81BE-81E4-44F8-871A-709B8DE0621A}">
          <p14:sldIdLst>
            <p14:sldId id="2147483624"/>
            <p14:sldId id="267"/>
            <p14:sldId id="567"/>
            <p14:sldId id="2147482559"/>
            <p14:sldId id="2147482622"/>
            <p14:sldId id="2147482623"/>
            <p14:sldId id="2147482546"/>
            <p14:sldId id="2147482626"/>
            <p14:sldId id="2147482625"/>
            <p14:sldId id="2147482627"/>
            <p14:sldId id="2147482628"/>
            <p14:sldId id="2147482629"/>
            <p14:sldId id="2147482630"/>
            <p14:sldId id="278"/>
            <p14:sldId id="259"/>
            <p14:sldId id="2147483647"/>
            <p14:sldId id="282"/>
            <p14:sldId id="2147482577"/>
            <p14:sldId id="2147482631"/>
            <p14:sldId id="2147482632"/>
            <p14:sldId id="2147482633"/>
            <p14:sldId id="2147482634"/>
            <p14:sldId id="2147482635"/>
            <p14:sldId id="2147482636"/>
            <p14:sldId id="2147482637"/>
            <p14:sldId id="2147482638"/>
            <p14:sldId id="2147482639"/>
            <p14:sldId id="2147482578"/>
            <p14:sldId id="265"/>
            <p14:sldId id="268"/>
            <p14:sldId id="2147483623"/>
            <p14:sldId id="2147482619"/>
            <p14:sldId id="2147482640"/>
            <p14:sldId id="2147482613"/>
            <p14:sldId id="256"/>
            <p14:sldId id="266"/>
            <p14:sldId id="2147480288"/>
            <p14:sldId id="566"/>
            <p14:sldId id="257"/>
            <p14:sldId id="2147482541"/>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EED93C06-6FBA-8CA4-1F26-A3DB0B570C46}" name="Irina Nechaeva" initials="IN" userId="S::nechaeva@microsoft.com::d3a725e3-8a82-4f2a-a1a4-5e27f82e1b20" providerId="AD"/>
  <p188:author id="{4069FC2C-6917-84EC-AA19-A11492F73977}" name="Laura Viarengo" initials="LV" userId="S::lviarengo@microsoft.com::09384f84-f9c6-4002-9f9e-cdabc44e0b9f" providerId="AD"/>
  <p188:author id="{7D8A3E44-3B9C-A967-45A6-9E1690F9D28F}" name="Nikki Swift" initials="NS" userId="S::nikki.swift@simple-concepts.com::f85e910b-cb7b-48e6-b3ec-0449818b597d" providerId="AD"/>
  <p188:author id="{4B25AB4E-2608-0A2A-D9AF-96E21A2593FE}" name="Amelie Darchicourt" initials="" userId="S::amdarchi@microsoft.com::398ad25c-8068-45b9-a097-95315194a6d6" providerId="AD"/>
  <p188:author id="{013E4985-999F-6A3E-6117-5906C7BF7397}" name="Justin Mader" initials="JM" userId="S::justin.mader@simple-concepts.com::c370f1ac-1658-4368-b684-ce895cf1743b" providerId="AD"/>
  <p188:author id="{24AFE18A-9AE3-E727-96D6-4B5157BC7E80}" name="Vincent Manna" initials="" userId="S::vincentmanna@microsoft.com::256d31db-fd68-42fa-8510-e32200259e6b" providerId="AD"/>
  <p188:author id="{875B2AAD-D7CA-3597-C0E7-6EBF074A8011}" name="Nichole Peterson (she/her)" initials="NP" userId="S::nicholepet@microsoft.com::3c735ba6-a182-4153-8147-e65064b94a7d" providerId="AD"/>
  <p188:author id="{EF31CDFF-C932-5CF4-49E2-EA93CD41A0D2}" name="Ann Evers (PRIME 8 LLC)" initials="AE(8L" userId="S::v-eversann@microsoft.com::b6e6bab9-77e8-4b1e-9214-4aa997fc4ee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7ACB"/>
    <a:srgbClr val="F5F6F2"/>
    <a:srgbClr val="F6F4E7"/>
    <a:srgbClr val="0360DB"/>
    <a:srgbClr val="A9DBAA"/>
    <a:srgbClr val="ACEE92"/>
    <a:srgbClr val="A5B8EE"/>
    <a:srgbClr val="599FFD"/>
    <a:srgbClr val="FADC14"/>
    <a:srgbClr val="E2F9D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DF9DF8F-1057-4F03-8475-929A1C2A2B3E}" v="555" dt="2025-05-05T21:57:32.59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3929" autoAdjust="0"/>
  </p:normalViewPr>
  <p:slideViewPr>
    <p:cSldViewPr snapToGrid="0">
      <p:cViewPr>
        <p:scale>
          <a:sx n="70" d="100"/>
          <a:sy n="70" d="100"/>
        </p:scale>
        <p:origin x="2960" y="133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viewProps" Target="viewProps.xml"/><Relationship Id="rId5" Type="http://schemas.openxmlformats.org/officeDocument/2006/relationships/slideMaster" Target="slideMasters/slideMaster2.xml"/><Relationship Id="rId19" Type="http://schemas.openxmlformats.org/officeDocument/2006/relationships/slide" Target="slides/slide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microsoft.com/office/2015/10/relationships/revisionInfo" Target="revisionInfo.xml"/><Relationship Id="rId8" Type="http://schemas.openxmlformats.org/officeDocument/2006/relationships/slideMaster" Target="slideMasters/slideMaster5.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microsoft.com/office/2018/10/relationships/authors" Target="authors.xml"/><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presProps" Target="presProps.xml"/></Relationships>
</file>

<file path=ppt/comments/modernComment_7FFFFC07_E514B229.xml><?xml version="1.0" encoding="utf-8"?>
<p188:cmLst xmlns:a="http://schemas.openxmlformats.org/drawingml/2006/main" xmlns:r="http://schemas.openxmlformats.org/officeDocument/2006/relationships" xmlns:p188="http://schemas.microsoft.com/office/powerpoint/2018/8/main">
  <p188:cm id="{60A2BDA3-C317-4F73-83D5-1DA68C580494}" authorId="{4069FC2C-6917-84EC-AA19-A11492F73977}" status="resolved" created="2025-04-15T17:32:27.826">
    <pc:sldMkLst xmlns:pc="http://schemas.microsoft.com/office/powerpoint/2013/main/command">
      <pc:docMk/>
      <pc:sldMk cId="3521731582" sldId="297"/>
    </pc:sldMkLst>
    <p188:txBody>
      <a:bodyPr/>
      <a:lstStyle/>
      <a:p>
        <a:r>
          <a:rPr lang="en-US"/>
          <a:t>For each scenario, can we add the summary scenraio text from slide 10 next to the stat?</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FD632E1-CCD1-4BE1-BD7E-74F158C6E148}" type="datetimeFigureOut">
              <a:rPr lang="en-US" smtClean="0"/>
              <a:t>5/5/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2BA9990-AFFC-4FDA-9B74-65906E728C6D}" type="slidenum">
              <a:rPr lang="en-US" smtClean="0"/>
              <a:t>‹#›</a:t>
            </a:fld>
            <a:endParaRPr lang="en-US"/>
          </a:p>
        </p:txBody>
      </p:sp>
    </p:spTree>
    <p:extLst>
      <p:ext uri="{BB962C8B-B14F-4D97-AF65-F5344CB8AC3E}">
        <p14:creationId xmlns:p14="http://schemas.microsoft.com/office/powerpoint/2010/main" val="16708919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highlights.guide/clickthroughs/entra/streamlined-role-change.html?preload=1"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highlights.guide/clickthroughs/entra/easy-remote-access.html"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highlights.guide/clickthroughs/entra/secure-internet-access.html"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Aft>
                <a:spcPts val="900"/>
              </a:spcAft>
              <a:buNone/>
              <a:tabLst>
                <a:tab pos="1003935" algn="l"/>
              </a:tabLst>
            </a:pPr>
            <a:r>
              <a:rPr lang="en-US" sz="2800" b="0" i="0" dirty="0">
                <a:solidFill>
                  <a:srgbClr val="424242"/>
                </a:solidFill>
                <a:effectLst/>
                <a:latin typeface="Segoe Sans"/>
              </a:rPr>
              <a:t>In today's world, the number of identities and endpoints has proliferated, dramatically increasing the attack surface area. Today there are already more than 300 billion passwords in use by humans and machines. </a:t>
            </a:r>
          </a:p>
          <a:p>
            <a:pPr marL="0" marR="0">
              <a:lnSpc>
                <a:spcPct val="115000"/>
              </a:lnSpc>
              <a:spcAft>
                <a:spcPts val="900"/>
              </a:spcAft>
              <a:buNone/>
              <a:tabLst>
                <a:tab pos="1003935" algn="l"/>
              </a:tabLst>
            </a:pPr>
            <a:r>
              <a:rPr lang="en-US" sz="2800" b="0" i="0" dirty="0">
                <a:solidFill>
                  <a:srgbClr val="424242"/>
                </a:solidFill>
                <a:effectLst/>
                <a:latin typeface="Segoe Sans"/>
              </a:rPr>
              <a:t>It’s no surprise that 84% of attacks involve internet exposure and 66% involve insecure identity credentials. This makes identity the most popular attack vector and your crucial first line of defense. </a:t>
            </a:r>
          </a:p>
          <a:p>
            <a:pPr marL="0" marR="0">
              <a:lnSpc>
                <a:spcPct val="115000"/>
              </a:lnSpc>
              <a:spcAft>
                <a:spcPts val="900"/>
              </a:spcAft>
              <a:buNone/>
              <a:tabLst>
                <a:tab pos="1003935" algn="l"/>
              </a:tabLst>
            </a:pPr>
            <a:r>
              <a:rPr lang="en-US" sz="2800" b="0" i="0" dirty="0">
                <a:solidFill>
                  <a:srgbClr val="424242"/>
                </a:solidFill>
                <a:effectLst/>
                <a:latin typeface="Segoe Sans"/>
              </a:rPr>
              <a:t>Password attacks alone constitute more than 99% of the identity attacks we see. In fact, we block more than 7,000 password attacks per second.</a:t>
            </a:r>
          </a:p>
          <a:p>
            <a:pPr marL="0" marR="0">
              <a:lnSpc>
                <a:spcPct val="115000"/>
              </a:lnSpc>
              <a:spcAft>
                <a:spcPts val="900"/>
              </a:spcAft>
              <a:buNone/>
              <a:tabLst>
                <a:tab pos="1003935" algn="l"/>
              </a:tabLst>
            </a:pPr>
            <a:r>
              <a:rPr lang="en-US" sz="2800" b="0" i="0" dirty="0">
                <a:solidFill>
                  <a:srgbClr val="424242"/>
                </a:solidFill>
                <a:effectLst/>
                <a:latin typeface="Segoe Sans"/>
              </a:rPr>
              <a:t>To add to this complexity, the rise of AI means has also led to 57% of security leaders reporting an increase of security incidents from AI usage. </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32E3E5-F3F9-4943-8DAE-7384965E5F71}"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7114347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42055A-BCAB-97E5-761D-3D8532C94BF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55650C-DCD7-7607-313C-39BAEB3605E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5372CF-B555-BD4A-75EE-B18F90332273}"/>
              </a:ext>
            </a:extLst>
          </p:cNvPr>
          <p:cNvSpPr>
            <a:spLocks noGrp="1"/>
          </p:cNvSpPr>
          <p:nvPr>
            <p:ph type="body" idx="1"/>
          </p:nvPr>
        </p:nvSpPr>
        <p:spPr/>
        <p:txBody>
          <a:bodyPr/>
          <a:lstStyle/>
          <a:p>
            <a:pPr marL="171450" marR="0" indent="-171450">
              <a:lnSpc>
                <a:spcPct val="115000"/>
              </a:lnSpc>
              <a:spcAft>
                <a:spcPts val="900"/>
              </a:spcAft>
              <a:buFont typeface="Arial" panose="020B0604020202020204" pitchFamily="34" charset="0"/>
              <a:buChar char="•"/>
            </a:pPr>
            <a:r>
              <a:rPr lang="en-US" sz="1200" kern="100" dirty="0">
                <a:effectLst/>
                <a:latin typeface="Segoe UI" panose="020B0502040204020203" pitchFamily="34" charset="0"/>
                <a:ea typeface="Segoe UI" panose="020B0502040204020203" pitchFamily="34" charset="0"/>
                <a:cs typeface="Arial" panose="020B0604020202020204" pitchFamily="34" charset="0"/>
              </a:rPr>
              <a:t>Two products that extend Conditional Access to web traffic and on-premises apps are Microsoft Entra Internet Access and Microsoft Entra Private Access.</a:t>
            </a:r>
          </a:p>
          <a:p>
            <a:pPr marL="171450" marR="0" indent="-171450">
              <a:lnSpc>
                <a:spcPct val="115000"/>
              </a:lnSpc>
              <a:spcAft>
                <a:spcPts val="900"/>
              </a:spcAft>
              <a:buFont typeface="Arial" panose="020B0604020202020204" pitchFamily="34" charset="0"/>
              <a:buChar char="•"/>
            </a:pPr>
            <a:r>
              <a:rPr lang="en-US" sz="1200" kern="100" dirty="0">
                <a:effectLst/>
                <a:latin typeface="Segoe UI" panose="020B0502040204020203" pitchFamily="34" charset="0"/>
                <a:ea typeface="Segoe UI" panose="020B0502040204020203" pitchFamily="34" charset="0"/>
                <a:cs typeface="Arial" panose="020B0604020202020204" pitchFamily="34" charset="0"/>
              </a:rPr>
              <a:t>Microsoft Entra Internet Access is an identity-centric Secure Web Gateway that protects employees from threats of the open internet, filters out malicious or non-compliant content, and enforces Conditional Access policies on SaaS apps and internet traffic.</a:t>
            </a:r>
          </a:p>
          <a:p>
            <a:pPr marL="171450" marR="0" indent="-171450">
              <a:lnSpc>
                <a:spcPct val="115000"/>
              </a:lnSpc>
              <a:spcAft>
                <a:spcPts val="900"/>
              </a:spcAft>
              <a:buFont typeface="Arial" panose="020B0604020202020204" pitchFamily="34" charset="0"/>
              <a:buChar char="•"/>
            </a:pPr>
            <a:r>
              <a:rPr lang="en-US" sz="1200" kern="100" dirty="0">
                <a:effectLst/>
                <a:latin typeface="Segoe UI" panose="020B0502040204020203" pitchFamily="34" charset="0"/>
                <a:ea typeface="Segoe UI" panose="020B0502040204020203" pitchFamily="34" charset="0"/>
                <a:cs typeface="Arial" panose="020B0604020202020204" pitchFamily="34" charset="0"/>
              </a:rPr>
              <a:t>Microsoft Entra Private Access is a complete, identity-centric Zero Trust Network Access solution that replaces traditional VPNs. Unlike a VPN, that gives users access to your entire environment, Private Access enables granular, modern user-to-resource access controls. It even works with your legacy on-premises apps and resources. This means you can enforce MFA on that 20-year-old app that you still need to control that important piece of discontinued hardware. </a:t>
            </a:r>
          </a:p>
          <a:p>
            <a:pPr marL="0" marR="0">
              <a:lnSpc>
                <a:spcPct val="115000"/>
              </a:lnSpc>
              <a:spcAft>
                <a:spcPts val="900"/>
              </a:spcAft>
              <a:buNone/>
            </a:pPr>
            <a:endParaRPr lang="en-US" sz="1200" kern="100" dirty="0">
              <a:effectLst/>
              <a:latin typeface="Aptos" panose="020B0004020202020204" pitchFamily="34" charset="0"/>
              <a:ea typeface="Aptos" panose="020B0004020202020204" pitchFamily="34" charset="0"/>
              <a:cs typeface="Arial" panose="020B0604020202020204" pitchFamily="34" charset="0"/>
            </a:endParaRPr>
          </a:p>
          <a:p>
            <a:pPr>
              <a:buNone/>
            </a:pPr>
            <a:r>
              <a:rPr lang="en-US" sz="1200" dirty="0">
                <a:effectLst/>
                <a:latin typeface="Segoe UI" panose="020B0502040204020203" pitchFamily="34" charset="0"/>
                <a:ea typeface="Segoe UI" panose="020B0502040204020203" pitchFamily="34" charset="0"/>
              </a:rPr>
              <a:t>And one more product that can make Conditional Access even smarter is Defender for Cloud apps, our CASB. Together with Microsoft Defender for Cloud Apps, Internet Access and Private Access deliver a complete security service edge solution from Microsoft. </a:t>
            </a:r>
            <a:endParaRPr lang="en-US" dirty="0"/>
          </a:p>
        </p:txBody>
      </p:sp>
      <p:sp>
        <p:nvSpPr>
          <p:cNvPr id="4" name="Slide Number Placeholder 3">
            <a:extLst>
              <a:ext uri="{FF2B5EF4-FFF2-40B4-BE49-F238E27FC236}">
                <a16:creationId xmlns:a16="http://schemas.microsoft.com/office/drawing/2014/main" id="{1414AC08-68B4-87D6-EBE2-0C34FB884C2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AF8D3E-394A-442A-98F0-B8D08400083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223093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nSpc>
                <a:spcPct val="115000"/>
              </a:lnSpc>
              <a:spcBef>
                <a:spcPts val="0"/>
              </a:spcBef>
              <a:spcAft>
                <a:spcPts val="900"/>
              </a:spcAft>
              <a:buFont typeface="Arial" panose="020B0604020202020204" pitchFamily="34" charset="0"/>
              <a:buChar char="•"/>
            </a:pPr>
            <a:r>
              <a:rPr lang="en-US" sz="1000" kern="100">
                <a:effectLst/>
                <a:latin typeface="Segoe UI" panose="020B0502040204020203" pitchFamily="34" charset="0"/>
                <a:ea typeface="Segoe UI" panose="020B0502040204020203" pitchFamily="34" charset="0"/>
                <a:cs typeface="Arial" panose="020B0604020202020204" pitchFamily="34" charset="0"/>
              </a:rPr>
              <a:t>Managing user permissions is a headache for many organizations.</a:t>
            </a:r>
          </a:p>
          <a:p>
            <a:pPr marL="171450" marR="0" indent="-171450">
              <a:lnSpc>
                <a:spcPct val="115000"/>
              </a:lnSpc>
              <a:spcBef>
                <a:spcPts val="0"/>
              </a:spcBef>
              <a:spcAft>
                <a:spcPts val="900"/>
              </a:spcAft>
              <a:buFont typeface="Arial" panose="020B0604020202020204" pitchFamily="34" charset="0"/>
              <a:buChar char="•"/>
            </a:pPr>
            <a:r>
              <a:rPr lang="en-US" sz="1000" kern="100">
                <a:effectLst/>
                <a:latin typeface="Segoe UI" panose="020B0502040204020203" pitchFamily="34" charset="0"/>
                <a:ea typeface="Segoe UI" panose="020B0502040204020203" pitchFamily="34" charset="0"/>
                <a:cs typeface="Arial" panose="020B0604020202020204" pitchFamily="34" charset="0"/>
              </a:rPr>
              <a:t>Different application owners use different approaches to managing access rights. Many processes are manual and disconnected from HR systems and user directories. </a:t>
            </a:r>
            <a:endParaRPr lang="en-US" sz="1000" kern="100">
              <a:effectLst/>
              <a:latin typeface="Aptos" panose="020B0004020202020204" pitchFamily="34" charset="0"/>
              <a:ea typeface="Aptos" panose="020B0004020202020204" pitchFamily="34" charset="0"/>
              <a:cs typeface="Arial" panose="020B0604020202020204" pitchFamily="34" charset="0"/>
            </a:endParaRPr>
          </a:p>
          <a:p>
            <a:pPr marL="171450" marR="0" indent="-171450">
              <a:lnSpc>
                <a:spcPct val="115000"/>
              </a:lnSpc>
              <a:spcBef>
                <a:spcPts val="0"/>
              </a:spcBef>
              <a:spcAft>
                <a:spcPts val="900"/>
              </a:spcAft>
              <a:buFont typeface="Arial" panose="020B0604020202020204" pitchFamily="34" charset="0"/>
              <a:buChar char="•"/>
            </a:pPr>
            <a:r>
              <a:rPr lang="en-US" sz="1000" kern="100">
                <a:effectLst/>
                <a:latin typeface="Segoe UI" panose="020B0502040204020203" pitchFamily="34" charset="0"/>
                <a:ea typeface="Segoe UI" panose="020B0502040204020203" pitchFamily="34" charset="0"/>
                <a:cs typeface="Arial" panose="020B0604020202020204" pitchFamily="34" charset="0"/>
              </a:rPr>
              <a:t>As a result, people often end up with access they shouldn’t have. </a:t>
            </a:r>
            <a:endParaRPr lang="en-US" sz="1000" kern="100">
              <a:effectLst/>
              <a:latin typeface="Aptos" panose="020B0004020202020204" pitchFamily="34" charset="0"/>
              <a:ea typeface="Aptos" panose="020B0004020202020204" pitchFamily="34" charset="0"/>
              <a:cs typeface="Arial" panose="020B0604020202020204" pitchFamily="34" charset="0"/>
            </a:endParaRPr>
          </a:p>
          <a:p>
            <a:pPr marL="171450" marR="0" indent="-171450">
              <a:lnSpc>
                <a:spcPct val="115000"/>
              </a:lnSpc>
              <a:spcBef>
                <a:spcPts val="0"/>
              </a:spcBef>
              <a:spcAft>
                <a:spcPts val="900"/>
              </a:spcAft>
              <a:buFont typeface="Arial" panose="020B0604020202020204" pitchFamily="34" charset="0"/>
              <a:buChar char="•"/>
            </a:pPr>
            <a:r>
              <a:rPr lang="en-US" sz="1000" kern="100">
                <a:effectLst/>
                <a:latin typeface="Segoe UI" panose="020B0502040204020203" pitchFamily="34" charset="0"/>
                <a:ea typeface="Segoe UI" panose="020B0502040204020203" pitchFamily="34" charset="0"/>
                <a:cs typeface="Arial" panose="020B0604020202020204" pitchFamily="34" charset="0"/>
              </a:rPr>
              <a:t>With Entra ID Governance, you can unify and automate how you manage access rights and lifecycle across all applications, including on-premises resources. </a:t>
            </a:r>
            <a:endParaRPr lang="en-US" sz="1000" kern="100">
              <a:effectLst/>
              <a:latin typeface="Aptos" panose="020B0004020202020204" pitchFamily="34" charset="0"/>
              <a:ea typeface="Aptos" panose="020B0004020202020204" pitchFamily="34" charset="0"/>
              <a:cs typeface="Arial" panose="020B0604020202020204" pitchFamily="34" charset="0"/>
            </a:endParaRPr>
          </a:p>
          <a:p>
            <a:pPr marL="171450" indent="-171450">
              <a:buFont typeface="Arial" panose="020B0604020202020204" pitchFamily="34" charset="0"/>
              <a:buChar char="•"/>
            </a:pPr>
            <a:r>
              <a:rPr lang="en-US" sz="1000">
                <a:effectLst/>
                <a:latin typeface="Segoe UI" panose="020B0502040204020203" pitchFamily="34" charset="0"/>
                <a:ea typeface="Segoe UI" panose="020B0502040204020203" pitchFamily="34" charset="0"/>
              </a:rPr>
              <a:t>Plus, you can use cloud HR systems or other identity providers as a source of authority for user data. </a:t>
            </a:r>
          </a:p>
          <a:p>
            <a:pPr marL="171450" indent="-171450">
              <a:buFont typeface="Arial" panose="020B0604020202020204" pitchFamily="34" charset="0"/>
              <a:buChar char="•"/>
            </a:pPr>
            <a:r>
              <a:rPr lang="en-US" sz="1000">
                <a:effectLst/>
                <a:latin typeface="Segoe UI" panose="020B0502040204020203" pitchFamily="34" charset="0"/>
                <a:ea typeface="Segoe UI" panose="020B0502040204020203" pitchFamily="34" charset="0"/>
              </a:rPr>
              <a:t>So, if a user status changes in the HR system, that change will propagate to all systems, connected to Microsoft Entra and trigger a change to their access rights. </a:t>
            </a:r>
          </a:p>
          <a:p>
            <a:pPr marL="171450" indent="-171450">
              <a:buFont typeface="Arial" panose="020B0604020202020204" pitchFamily="34" charset="0"/>
              <a:buChar char="•"/>
            </a:pPr>
            <a:r>
              <a:rPr lang="en-US" sz="1000">
                <a:effectLst/>
                <a:latin typeface="Segoe UI" panose="020B0502040204020203" pitchFamily="34" charset="0"/>
                <a:ea typeface="Segoe UI" panose="020B0502040204020203" pitchFamily="34" charset="0"/>
              </a:rPr>
              <a:t>For example, if they move departments, they will lose access to some resources and gain access to others, depending on what they need to do their job</a:t>
            </a:r>
            <a:endParaRPr lang="en-US" sz="1000" kern="100">
              <a:solidFill>
                <a:schemeClr val="tx1"/>
              </a:solidFill>
              <a:effectLst/>
              <a:latin typeface="Segoe UI" panose="020B0502040204020203" pitchFamily="34" charset="0"/>
              <a:cs typeface="Arial" panose="020B0604020202020204" pitchFamily="34" charset="0"/>
            </a:endParaRPr>
          </a:p>
          <a:p>
            <a:pPr marL="0" marR="0" lvl="0" indent="0" algn="l" defTabSz="914400" rtl="0" eaLnBrk="1" latinLnBrk="0" hangingPunct="1">
              <a:lnSpc>
                <a:spcPct val="115000"/>
              </a:lnSpc>
              <a:spcBef>
                <a:spcPts val="600"/>
              </a:spcBef>
              <a:spcAft>
                <a:spcPts val="900"/>
              </a:spcAft>
              <a:buFont typeface="Arial" panose="020B0604020202020204" pitchFamily="34" charset="0"/>
              <a:buNone/>
            </a:pPr>
            <a:endParaRPr lang="en-US" sz="1000" kern="100">
              <a:solidFill>
                <a:schemeClr val="tx1"/>
              </a:solidFill>
              <a:effectLst/>
              <a:latin typeface="Segoe UI" panose="020B0502040204020203"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585675-90C7-4314-8D78-09A7C6B4494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591464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latinLnBrk="0" hangingPunct="1">
              <a:lnSpc>
                <a:spcPct val="115000"/>
              </a:lnSpc>
              <a:spcBef>
                <a:spcPts val="600"/>
              </a:spcBef>
              <a:spcAft>
                <a:spcPts val="900"/>
              </a:spcAft>
              <a:buFont typeface="Arial" panose="020B0604020202020204" pitchFamily="34" charset="0"/>
              <a:buNone/>
            </a:pPr>
            <a:r>
              <a:rPr lang="en-US" sz="1000" kern="100">
                <a:solidFill>
                  <a:schemeClr val="tx1"/>
                </a:solidFill>
                <a:effectLst/>
                <a:latin typeface="Segoe UI" panose="020B0502040204020203" pitchFamily="34" charset="0"/>
                <a:cs typeface="Arial" panose="020B0604020202020204" pitchFamily="34" charset="0"/>
              </a:rPr>
              <a:t>This brings me to one of the hero features in ID Governance: entitlement management. It allows you to create access packages for various roles, or even projects, to ensure that only the right users have access to the right access packages with the right approvals</a:t>
            </a:r>
          </a:p>
          <a:p>
            <a:pPr marL="0" marR="0" lvl="0" indent="0" algn="l" defTabSz="914400" rtl="0" eaLnBrk="1" latinLnBrk="0" hangingPunct="1">
              <a:lnSpc>
                <a:spcPct val="115000"/>
              </a:lnSpc>
              <a:spcBef>
                <a:spcPts val="600"/>
              </a:spcBef>
              <a:spcAft>
                <a:spcPts val="900"/>
              </a:spcAft>
              <a:buFont typeface="Arial" panose="020B0604020202020204" pitchFamily="34" charset="0"/>
              <a:buNone/>
            </a:pPr>
            <a:endParaRPr lang="en-US" sz="1000" kern="100">
              <a:solidFill>
                <a:schemeClr val="tx1"/>
              </a:solidFill>
              <a:effectLst/>
              <a:latin typeface="Segoe UI" panose="020B0502040204020203" pitchFamily="34" charset="0"/>
              <a:cs typeface="Arial" panose="020B0604020202020204" pitchFamily="34" charset="0"/>
            </a:endParaRPr>
          </a:p>
          <a:p>
            <a:pPr marL="0" marR="0" lvl="0" indent="0" algn="l" defTabSz="914400" rtl="0" eaLnBrk="1" latinLnBrk="0" hangingPunct="1">
              <a:lnSpc>
                <a:spcPct val="115000"/>
              </a:lnSpc>
              <a:spcBef>
                <a:spcPts val="600"/>
              </a:spcBef>
              <a:spcAft>
                <a:spcPts val="900"/>
              </a:spcAft>
              <a:buFont typeface="Arial" panose="020B0604020202020204" pitchFamily="34" charset="0"/>
              <a:buNone/>
            </a:pPr>
            <a:r>
              <a:rPr lang="en-US" sz="1000" kern="100">
                <a:solidFill>
                  <a:schemeClr val="tx1"/>
                </a:solidFill>
                <a:effectLst/>
                <a:latin typeface="Segoe UI" panose="020B0502040204020203" pitchFamily="34" charset="0"/>
                <a:cs typeface="Arial" panose="020B0604020202020204" pitchFamily="34" charset="0"/>
              </a:rPr>
              <a:t>You can maximize the power of entitlements management by combining it with Lifecycle Workflows. This way you can automate joint-move-leave scenarios, making it easy to give people access to the right access packages when they join or change roles, and to immediately revoke unnecessary access when they change roles or leave.</a:t>
            </a:r>
          </a:p>
          <a:p>
            <a:pPr marL="0" marR="0" lvl="0" indent="0" algn="l" defTabSz="914400" rtl="0" eaLnBrk="1" latinLnBrk="0" hangingPunct="1">
              <a:lnSpc>
                <a:spcPct val="115000"/>
              </a:lnSpc>
              <a:spcBef>
                <a:spcPts val="600"/>
              </a:spcBef>
              <a:spcAft>
                <a:spcPts val="900"/>
              </a:spcAft>
              <a:buFont typeface="Arial" panose="020B0604020202020204" pitchFamily="34" charset="0"/>
              <a:buNone/>
            </a:pPr>
            <a:endParaRPr lang="en-US" sz="1000" kern="100">
              <a:solidFill>
                <a:schemeClr val="tx1"/>
              </a:solidFill>
              <a:effectLst/>
              <a:latin typeface="Segoe UI" panose="020B0502040204020203"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CA3AF7-B6E8-4FA6-8DC5-D653885B5CBA}" type="slidenum">
              <a:rPr kumimoji="0" lang="en-US" sz="25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25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11575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600"/>
              </a:spcBef>
              <a:spcAft>
                <a:spcPts val="900"/>
              </a:spcAft>
              <a:buFont typeface="Symbol" panose="05050102010706020507" pitchFamily="18" charset="2"/>
              <a:buChar char=""/>
            </a:pPr>
            <a:r>
              <a:rPr lang="en-US" sz="1000" kern="100">
                <a:effectLst/>
                <a:latin typeface="Segoe UI" panose="020B0502040204020203" pitchFamily="34" charset="0"/>
                <a:ea typeface="Segoe UI" panose="020B0502040204020203" pitchFamily="34" charset="0"/>
                <a:cs typeface="Arial" panose="020B0604020202020204" pitchFamily="34" charset="0"/>
              </a:rPr>
              <a:t>An additional layer of control that you can leverage is access reviews </a:t>
            </a:r>
          </a:p>
          <a:p>
            <a:pPr marL="342900" marR="0" lvl="0" indent="-342900">
              <a:lnSpc>
                <a:spcPct val="115000"/>
              </a:lnSpc>
              <a:spcBef>
                <a:spcPts val="600"/>
              </a:spcBef>
              <a:spcAft>
                <a:spcPts val="900"/>
              </a:spcAft>
              <a:buFont typeface="Symbol" panose="05050102010706020507" pitchFamily="18" charset="2"/>
              <a:buChar char=""/>
            </a:pPr>
            <a:r>
              <a:rPr lang="en-US" sz="1000" kern="100">
                <a:effectLst/>
                <a:latin typeface="Segoe UI" panose="020B0502040204020203" pitchFamily="34" charset="0"/>
                <a:ea typeface="Segoe UI" panose="020B0502040204020203" pitchFamily="34" charset="0"/>
                <a:cs typeface="Arial" panose="020B0604020202020204" pitchFamily="34" charset="0"/>
              </a:rPr>
              <a:t>This means you can periodically ask people who are accountable for Teams groups, SharePoint sites, apps, or roles to review who has access and to confirm whether they still need it. </a:t>
            </a:r>
          </a:p>
          <a:p>
            <a:pPr marL="342900" marR="0" lvl="0" indent="-342900">
              <a:lnSpc>
                <a:spcPct val="115000"/>
              </a:lnSpc>
              <a:spcBef>
                <a:spcPts val="600"/>
              </a:spcBef>
              <a:spcAft>
                <a:spcPts val="900"/>
              </a:spcAft>
              <a:buFont typeface="Symbol" panose="05050102010706020507" pitchFamily="18" charset="2"/>
              <a:buChar char=""/>
            </a:pPr>
            <a:r>
              <a:rPr lang="en-US" sz="1000" kern="100">
                <a:effectLst/>
                <a:latin typeface="Segoe UI" panose="020B0502040204020203" pitchFamily="34" charset="0"/>
                <a:ea typeface="Segoe UI" panose="020B0502040204020203" pitchFamily="34" charset="0"/>
                <a:cs typeface="Arial" panose="020B0604020202020204" pitchFamily="34" charset="0"/>
              </a:rPr>
              <a:t>We all know how “fun” access reviews can be and how easy it can be to miss a user with holdover permissions. </a:t>
            </a:r>
          </a:p>
          <a:p>
            <a:pPr marL="342900" marR="0" lvl="0" indent="-342900">
              <a:lnSpc>
                <a:spcPct val="115000"/>
              </a:lnSpc>
              <a:spcBef>
                <a:spcPts val="600"/>
              </a:spcBef>
              <a:spcAft>
                <a:spcPts val="900"/>
              </a:spcAft>
              <a:buFont typeface="Symbol" panose="05050102010706020507" pitchFamily="18" charset="2"/>
              <a:buChar char=""/>
            </a:pPr>
            <a:r>
              <a:rPr lang="en-US" sz="1000" kern="100">
                <a:effectLst/>
                <a:latin typeface="Segoe UI" panose="020B0502040204020203" pitchFamily="34" charset="0"/>
                <a:ea typeface="Segoe UI" panose="020B0502040204020203" pitchFamily="34" charset="0"/>
                <a:cs typeface="Arial" panose="020B0604020202020204" pitchFamily="34" charset="0"/>
              </a:rPr>
              <a:t>To help reduce reviewer attestation fatigue, our machine learning algorithm makes intelligent recommendations and identifies any users whose access needs reassessment. </a:t>
            </a:r>
          </a:p>
          <a:p>
            <a:pPr marL="0" marR="0" lvl="0" indent="0" algn="l" defTabSz="914400" rtl="0" eaLnBrk="1" latinLnBrk="0" hangingPunct="1">
              <a:lnSpc>
                <a:spcPct val="115000"/>
              </a:lnSpc>
              <a:spcBef>
                <a:spcPts val="600"/>
              </a:spcBef>
              <a:spcAft>
                <a:spcPts val="900"/>
              </a:spcAft>
              <a:buFont typeface="Arial" panose="020B0604020202020204" pitchFamily="34" charset="0"/>
              <a:buNone/>
            </a:pPr>
            <a:endParaRPr lang="en-US" sz="1000" kern="100">
              <a:solidFill>
                <a:schemeClr val="tx1"/>
              </a:solidFill>
              <a:effectLst/>
              <a:latin typeface="Segoe UI" panose="020B0502040204020203"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CA3AF7-B6E8-4FA6-8DC5-D653885B5CBA}" type="slidenum">
              <a:rPr kumimoji="0" lang="en-US" sz="25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25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32827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nSpc>
                <a:spcPct val="115000"/>
              </a:lnSpc>
              <a:spcBef>
                <a:spcPts val="0"/>
              </a:spcBef>
              <a:spcAft>
                <a:spcPts val="900"/>
              </a:spcAft>
              <a:buFont typeface="Arial" panose="020B0604020202020204" pitchFamily="34" charset="0"/>
              <a:buChar char="•"/>
            </a:pPr>
            <a:r>
              <a:rPr lang="en-US" sz="1000" kern="100">
                <a:effectLst/>
                <a:latin typeface="Segoe UI" panose="020B0502040204020203" pitchFamily="34" charset="0"/>
                <a:ea typeface="Segoe UI" panose="020B0502040204020203" pitchFamily="34" charset="0"/>
                <a:cs typeface="Arial" panose="020B0604020202020204" pitchFamily="34" charset="0"/>
              </a:rPr>
              <a:t>With Entra Suite, you can extend least privilege access to web destinations and enable scenarios that are only possible by combining identity and network security. </a:t>
            </a:r>
          </a:p>
          <a:p>
            <a:pPr marL="171450" marR="0" indent="-171450">
              <a:lnSpc>
                <a:spcPct val="115000"/>
              </a:lnSpc>
              <a:spcBef>
                <a:spcPts val="0"/>
              </a:spcBef>
              <a:spcAft>
                <a:spcPts val="900"/>
              </a:spcAft>
              <a:buFont typeface="Arial" panose="020B0604020202020204" pitchFamily="34" charset="0"/>
              <a:buChar char="•"/>
            </a:pPr>
            <a:r>
              <a:rPr lang="en-US" sz="1000" kern="100">
                <a:effectLst/>
                <a:latin typeface="Segoe UI" panose="020B0502040204020203" pitchFamily="34" charset="0"/>
                <a:ea typeface="Segoe UI" panose="020B0502040204020203" pitchFamily="34" charset="0"/>
                <a:cs typeface="Arial" panose="020B0604020202020204" pitchFamily="34" charset="0"/>
              </a:rPr>
              <a:t>We’ve connected web filtering policy with Conditional Access. So now you can apply granular web filtering policies to different web destinations. </a:t>
            </a:r>
            <a:endParaRPr lang="en-US" sz="1000" kern="100">
              <a:effectLst/>
              <a:latin typeface="Aptos" panose="020B0004020202020204" pitchFamily="34" charset="0"/>
              <a:ea typeface="Aptos" panose="020B0004020202020204" pitchFamily="34" charset="0"/>
              <a:cs typeface="Arial" panose="020B0604020202020204" pitchFamily="34" charset="0"/>
            </a:endParaRPr>
          </a:p>
          <a:p>
            <a:pPr marL="171450" marR="0" indent="-171450">
              <a:lnSpc>
                <a:spcPct val="115000"/>
              </a:lnSpc>
              <a:spcBef>
                <a:spcPts val="0"/>
              </a:spcBef>
              <a:spcAft>
                <a:spcPts val="900"/>
              </a:spcAft>
              <a:buFont typeface="Arial" panose="020B0604020202020204" pitchFamily="34" charset="0"/>
              <a:buChar char="•"/>
            </a:pPr>
            <a:r>
              <a:rPr lang="en-US" sz="1000" kern="100">
                <a:effectLst/>
                <a:latin typeface="Segoe UI" panose="020B0502040204020203" pitchFamily="34" charset="0"/>
                <a:ea typeface="Segoe UI" panose="020B0502040204020203" pitchFamily="34" charset="0"/>
                <a:cs typeface="Arial" panose="020B0604020202020204" pitchFamily="34" charset="0"/>
              </a:rPr>
              <a:t>For example, you can block some web categories, let’s say gambling websites, for all users. You can enable access to other web categories, like social media, for specific groups of users if they rely on those channels to do their work. This may include marketing or customer support teams. </a:t>
            </a:r>
            <a:endParaRPr lang="en-US" sz="1000" kern="100">
              <a:effectLst/>
              <a:latin typeface="Aptos" panose="020B0004020202020204" pitchFamily="34" charset="0"/>
              <a:ea typeface="Aptos" panose="020B0004020202020204" pitchFamily="34" charset="0"/>
              <a:cs typeface="Arial" panose="020B0604020202020204" pitchFamily="34" charset="0"/>
            </a:endParaRPr>
          </a:p>
          <a:p>
            <a:pPr marL="171450" marR="0" indent="-171450">
              <a:spcBef>
                <a:spcPts val="0"/>
              </a:spcBef>
              <a:spcAft>
                <a:spcPts val="900"/>
              </a:spcAft>
              <a:buFont typeface="Arial" panose="020B0604020202020204" pitchFamily="34" charset="0"/>
              <a:buChar char="•"/>
            </a:pPr>
            <a:r>
              <a:rPr lang="en-US" sz="1000">
                <a:effectLst/>
                <a:latin typeface="Segoe UI" panose="020B0502040204020203" pitchFamily="34" charset="0"/>
                <a:ea typeface="Segoe UI" panose="020B0502040204020203" pitchFamily="34" charset="0"/>
              </a:rPr>
              <a:t>You can also require just-in-time access approvals for specific web destinations, for example, just-in-time access to external storage sites so that they are only available on an ‘as needed’ basis.</a:t>
            </a:r>
            <a:endParaRPr lang="en-US" sz="800" kern="100">
              <a:solidFill>
                <a:schemeClr val="tx1"/>
              </a:solidFill>
              <a:effectLst/>
              <a:latin typeface="Segoe UI" panose="020B0502040204020203" pitchFamily="34" charset="0"/>
              <a:cs typeface="Arial" panose="020B0604020202020204" pitchFamily="34" charset="0"/>
            </a:endParaRPr>
          </a:p>
          <a:p>
            <a:pPr marL="0" marR="0" lvl="0" indent="0" algn="l" defTabSz="914400" rtl="0" eaLnBrk="1" latinLnBrk="0" hangingPunct="1">
              <a:lnSpc>
                <a:spcPct val="115000"/>
              </a:lnSpc>
              <a:spcBef>
                <a:spcPts val="600"/>
              </a:spcBef>
              <a:spcAft>
                <a:spcPts val="900"/>
              </a:spcAft>
              <a:buFont typeface="Arial" panose="020B0604020202020204" pitchFamily="34" charset="0"/>
              <a:buNone/>
            </a:pPr>
            <a:endParaRPr lang="en-US" sz="1000" kern="100">
              <a:solidFill>
                <a:schemeClr val="tx1"/>
              </a:solidFill>
              <a:effectLst/>
              <a:latin typeface="Segoe UI" panose="020B0502040204020203"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32E3E5-F3F9-4943-8DAE-7384965E5F7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504784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69F888-58F3-8CC0-E6EC-F5BB2EF78B8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2A5FA04-91D5-5E14-A8B9-B9210B7050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8AA8602-F1D1-7C0B-AB8F-19965AFE86B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00" dirty="0">
                <a:effectLst/>
                <a:latin typeface="Segoe UI" panose="020B0502040204020203" pitchFamily="34" charset="0"/>
                <a:ea typeface="Segoe UI" panose="020B0502040204020203" pitchFamily="34" charset="0"/>
                <a:cs typeface="Arial" panose="020B0604020202020204" pitchFamily="34" charset="0"/>
              </a:rPr>
              <a:t>Let’s dive in to see how unifying identity and network access with the Microsoft Entra Suite allows your organization to streamline onboarding &amp; identity lifecycle, protect access to all applications &amp; AI, and secure &amp; govern access to internet resourc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00" dirty="0">
              <a:effectLst/>
              <a:latin typeface="Segoe UI" panose="020B0502040204020203" pitchFamily="34" charset="0"/>
              <a:ea typeface="Segoe UI" panose="020B0502040204020203"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00" dirty="0">
                <a:effectLst/>
                <a:latin typeface="Segoe UI" panose="020B0502040204020203" pitchFamily="34" charset="0"/>
                <a:ea typeface="Segoe UI" panose="020B0502040204020203" pitchFamily="34" charset="0"/>
                <a:cs typeface="Arial" panose="020B0604020202020204" pitchFamily="34" charset="0"/>
              </a:rPr>
              <a:t>These next few demos will follow Violet Martinez, an employee at Woodgrove, through several role-based permission activities.</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p>
            <a:endParaRPr lang="en-US" dirty="0"/>
          </a:p>
        </p:txBody>
      </p:sp>
      <p:sp>
        <p:nvSpPr>
          <p:cNvPr id="4" name="Slide Number Placeholder 3">
            <a:extLst>
              <a:ext uri="{FF2B5EF4-FFF2-40B4-BE49-F238E27FC236}">
                <a16:creationId xmlns:a16="http://schemas.microsoft.com/office/drawing/2014/main" id="{3ED91F00-A9C8-E05A-5CF1-F3F041DECC0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4FF0E8-F8E8-4659-985C-66EBEDD1F71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46677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07BE8F-FAB0-E503-AEBE-ED58170AF1C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E7A665-10C7-23EA-94A2-BFA96F7F258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5113F1F-4FCA-10D8-FBF1-D36DD9B26AC9}"/>
              </a:ext>
            </a:extLst>
          </p:cNvPr>
          <p:cNvSpPr>
            <a:spLocks noGrp="1"/>
          </p:cNvSpPr>
          <p:nvPr>
            <p:ph type="body" idx="1"/>
          </p:nvPr>
        </p:nvSpPr>
        <p:spPr/>
        <p:txBody>
          <a:bodyPr/>
          <a:lstStyle/>
          <a:p>
            <a:pPr marL="0" marR="0">
              <a:lnSpc>
                <a:spcPct val="115000"/>
              </a:lnSpc>
              <a:spcAft>
                <a:spcPts val="900"/>
              </a:spcAft>
              <a:buNone/>
            </a:pPr>
            <a:r>
              <a:rPr lang="en-US" sz="1800" kern="100">
                <a:effectLst/>
                <a:latin typeface="Aptos" panose="020B0004020202020204" pitchFamily="34" charset="0"/>
                <a:ea typeface="Aptos" panose="020B0004020202020204" pitchFamily="34" charset="0"/>
                <a:cs typeface="Arial" panose="020B0604020202020204" pitchFamily="34" charset="0"/>
              </a:rPr>
              <a:t>To start off, </a:t>
            </a:r>
            <a:r>
              <a:rPr lang="en-US" sz="1800">
                <a:effectLst/>
                <a:latin typeface="Aptos" panose="020B0004020202020204" pitchFamily="34" charset="0"/>
                <a:ea typeface="Aptos" panose="020B0004020202020204" pitchFamily="34" charset="0"/>
                <a:cs typeface="Arial" panose="020B0604020202020204" pitchFamily="34" charset="0"/>
              </a:rPr>
              <a:t>Violet has just transferred from marketing to Finance. And in her new role she’s going to have access to sensitive data, and she’ll be able to process high-value transactions. Lets take a look at how the Microsoft Entra Suite automates employee lifecycle to make sure Violet has the resources she needs for her new role. </a:t>
            </a:r>
            <a:br>
              <a:rPr lang="en-US" sz="1800">
                <a:effectLst/>
                <a:latin typeface="Aptos" panose="020B0004020202020204" pitchFamily="34" charset="0"/>
                <a:ea typeface="Aptos" panose="020B0004020202020204" pitchFamily="34" charset="0"/>
                <a:cs typeface="Arial" panose="020B0604020202020204" pitchFamily="34" charset="0"/>
              </a:rPr>
            </a:br>
            <a:endParaRPr lang="en-US" sz="1900" kern="100">
              <a:latin typeface="Aptos" panose="020B0004020202020204" pitchFamily="34" charset="0"/>
              <a:ea typeface="Aptos" panose="020B00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03346C99-B878-0812-A336-4AB8154C45CA}"/>
              </a:ext>
            </a:extLst>
          </p:cNvPr>
          <p:cNvSpPr>
            <a:spLocks noGrp="1"/>
          </p:cNvSpPr>
          <p:nvPr>
            <p:ph type="sldNum" sz="quarter" idx="5"/>
          </p:nvPr>
        </p:nvSpPr>
        <p:spPr/>
        <p:txBody>
          <a:bodyPr/>
          <a:lstStyle/>
          <a:p>
            <a:pPr marL="0" marR="0" lvl="0" indent="0" algn="r" defTabSz="949147" rtl="0" eaLnBrk="1" fontAlgn="auto" latinLnBrk="0" hangingPunct="1">
              <a:lnSpc>
                <a:spcPct val="100000"/>
              </a:lnSpc>
              <a:spcBef>
                <a:spcPts val="0"/>
              </a:spcBef>
              <a:spcAft>
                <a:spcPts val="0"/>
              </a:spcAft>
              <a:buClrTx/>
              <a:buSzTx/>
              <a:buFontTx/>
              <a:buNone/>
              <a:tabLst/>
              <a:defRPr/>
            </a:pPr>
            <a:fld id="{96038372-57C7-4978-97AB-6A39C828F16D}"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4914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866526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https://highlights.guide/clickthroughs/entra/streamlined-role-change.html?preload=1</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4AF326-8C28-4FB7-A7E1-6AB8EB60800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980742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A9885A-BE59-318C-96E9-1635DC35A0D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084D638-9F5B-6A85-AA9D-4EA5FCC8604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92C4B7F-39FE-6C29-0292-E030BC2F3178}"/>
              </a:ext>
            </a:extLst>
          </p:cNvPr>
          <p:cNvSpPr>
            <a:spLocks noGrp="1"/>
          </p:cNvSpPr>
          <p:nvPr>
            <p:ph type="body" idx="1"/>
          </p:nvPr>
        </p:nvSpPr>
        <p:spPr/>
        <p:txBody>
          <a:bodyPr/>
          <a:lstStyle/>
          <a:p>
            <a:pPr marL="457200" indent="-457200" algn="l">
              <a:spcBef>
                <a:spcPts val="450"/>
              </a:spcBef>
              <a:spcAft>
                <a:spcPts val="750"/>
              </a:spcAft>
              <a:buFont typeface="Arial" panose="020B0604020202020204" pitchFamily="34" charset="0"/>
              <a:buChar char="•"/>
            </a:pPr>
            <a:r>
              <a:rPr lang="en-US" sz="3200" b="0" i="0" dirty="0">
                <a:solidFill>
                  <a:srgbClr val="424242"/>
                </a:solidFill>
                <a:effectLst/>
                <a:latin typeface="Segoe Sans"/>
              </a:rPr>
              <a:t>In this demo, we followed Violet Martinez on her first day as she transitioned from marketing to finance at Woodgrove. The process was simple and streamlined, thanks to the automated joiner-mover-leaver workflows.</a:t>
            </a:r>
          </a:p>
          <a:p>
            <a:pPr marL="457200" indent="-457200" algn="l">
              <a:spcBef>
                <a:spcPts val="450"/>
              </a:spcBef>
              <a:spcAft>
                <a:spcPts val="750"/>
              </a:spcAft>
              <a:buFont typeface="Arial" panose="020B0604020202020204" pitchFamily="34" charset="0"/>
              <a:buChar char="•"/>
            </a:pPr>
            <a:r>
              <a:rPr lang="en-US" sz="3200" b="0" i="0" dirty="0">
                <a:solidFill>
                  <a:srgbClr val="424242"/>
                </a:solidFill>
                <a:effectLst/>
                <a:latin typeface="Segoe Sans"/>
              </a:rPr>
              <a:t>Violet started by accessing her MyApps portal, where she found a welcome email from her new boss. With just a click, she landed in the MyAccess portal and requested a new access package for finance apps.</a:t>
            </a:r>
          </a:p>
          <a:p>
            <a:pPr marL="457200" indent="-457200" algn="l">
              <a:spcBef>
                <a:spcPts val="450"/>
              </a:spcBef>
              <a:spcAft>
                <a:spcPts val="750"/>
              </a:spcAft>
              <a:buFont typeface="Arial" panose="020B0604020202020204" pitchFamily="34" charset="0"/>
              <a:buChar char="•"/>
            </a:pPr>
            <a:r>
              <a:rPr lang="en-US" sz="3200" b="0" i="0" dirty="0">
                <a:solidFill>
                  <a:srgbClr val="424242"/>
                </a:solidFill>
                <a:effectLst/>
                <a:latin typeface="Segoe Sans"/>
              </a:rPr>
              <a:t>To ensure security, Violet completed a quick identity verification using Face Check with Entra Verified ID. She scanned a QR code, took a selfie, and her biometric data remained secure on her device.</a:t>
            </a:r>
          </a:p>
          <a:p>
            <a:pPr marL="457200" indent="-457200" algn="l">
              <a:spcBef>
                <a:spcPts val="450"/>
              </a:spcBef>
              <a:spcAft>
                <a:spcPts val="750"/>
              </a:spcAft>
              <a:buFont typeface="Arial" panose="020B0604020202020204" pitchFamily="34" charset="0"/>
              <a:buChar char="•"/>
            </a:pPr>
            <a:r>
              <a:rPr lang="en-US" sz="3200" b="0" i="0" dirty="0">
                <a:solidFill>
                  <a:srgbClr val="424242"/>
                </a:solidFill>
                <a:effectLst/>
                <a:latin typeface="Segoe Sans"/>
              </a:rPr>
              <a:t>After adding a business justification, her request was auto-approved. Violet now has access to finance apps and trading websites, while her marketing app access was automatically revoked.</a:t>
            </a:r>
          </a:p>
        </p:txBody>
      </p:sp>
      <p:sp>
        <p:nvSpPr>
          <p:cNvPr id="4" name="Slide Number Placeholder 3">
            <a:extLst>
              <a:ext uri="{FF2B5EF4-FFF2-40B4-BE49-F238E27FC236}">
                <a16:creationId xmlns:a16="http://schemas.microsoft.com/office/drawing/2014/main" id="{F5D800AF-8F6C-8D63-6D93-790BCF43D5ED}"/>
              </a:ext>
            </a:extLst>
          </p:cNvPr>
          <p:cNvSpPr>
            <a:spLocks noGrp="1"/>
          </p:cNvSpPr>
          <p:nvPr>
            <p:ph type="sldNum" sz="quarter" idx="5"/>
          </p:nvPr>
        </p:nvSpPr>
        <p:spPr/>
        <p:txBody>
          <a:bodyPr/>
          <a:lstStyle/>
          <a:p>
            <a:pPr marL="0" marR="0" lvl="0" indent="0" algn="r" defTabSz="949147" rtl="0" eaLnBrk="1" fontAlgn="auto" latinLnBrk="0" hangingPunct="1">
              <a:lnSpc>
                <a:spcPct val="100000"/>
              </a:lnSpc>
              <a:spcBef>
                <a:spcPts val="0"/>
              </a:spcBef>
              <a:spcAft>
                <a:spcPts val="0"/>
              </a:spcAft>
              <a:buClrTx/>
              <a:buSzTx/>
              <a:buFontTx/>
              <a:buNone/>
              <a:tabLst/>
              <a:defRPr/>
            </a:pPr>
            <a:fld id="{96038372-57C7-4978-97AB-6A39C828F16D}"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49147"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545534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8A4FA9-B108-94A3-ADF9-08B5E35ECAC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771CAA-61F2-F5A0-F2A4-1DF479D2703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066491-5DE6-9C4E-FE16-986F9E036868}"/>
              </a:ext>
            </a:extLst>
          </p:cNvPr>
          <p:cNvSpPr>
            <a:spLocks noGrp="1"/>
          </p:cNvSpPr>
          <p:nvPr>
            <p:ph type="body" idx="1"/>
          </p:nvPr>
        </p:nvSpPr>
        <p:spPr/>
        <p:txBody>
          <a:bodyPr/>
          <a:lstStyle/>
          <a:p>
            <a:pPr marL="0" marR="0">
              <a:lnSpc>
                <a:spcPct val="115000"/>
              </a:lnSpc>
              <a:spcAft>
                <a:spcPts val="900"/>
              </a:spcAft>
              <a:buNone/>
            </a:pPr>
            <a:r>
              <a:rPr lang="en-US" sz="1800" kern="100">
                <a:effectLst/>
                <a:latin typeface="Aptos" panose="020B0004020202020204" pitchFamily="34" charset="0"/>
                <a:ea typeface="Aptos" panose="020B0004020202020204" pitchFamily="34" charset="0"/>
                <a:cs typeface="Aptos" panose="020B0004020202020204" pitchFamily="34" charset="0"/>
              </a:rPr>
              <a:t>A </a:t>
            </a:r>
            <a:r>
              <a:rPr lang="en-US" sz="1800" kern="100">
                <a:effectLst/>
                <a:latin typeface="Aptos" panose="020B0004020202020204" pitchFamily="34" charset="0"/>
                <a:ea typeface="Aptos" panose="020B0004020202020204" pitchFamily="34" charset="0"/>
                <a:cs typeface="Arial" panose="020B0604020202020204" pitchFamily="34" charset="0"/>
              </a:rPr>
              <a:t>few weeks have passed, and Violet is ramping up on her first project. One of her tasks is to prepare a summary of insights from the 20-year-old audit archives that are stored on a legacy </a:t>
            </a:r>
            <a:r>
              <a:rPr lang="en-US" sz="1800" kern="100" err="1">
                <a:effectLst/>
                <a:latin typeface="Aptos" panose="020B0004020202020204" pitchFamily="34" charset="0"/>
                <a:ea typeface="Aptos" panose="020B0004020202020204" pitchFamily="34" charset="0"/>
                <a:cs typeface="Arial" panose="020B0604020202020204" pitchFamily="34" charset="0"/>
              </a:rPr>
              <a:t>fileshare</a:t>
            </a:r>
            <a:r>
              <a:rPr lang="en-US" sz="1800" kern="100">
                <a:effectLst/>
                <a:latin typeface="Aptos" panose="020B0004020202020204" pitchFamily="34" charset="0"/>
                <a:ea typeface="Aptos" panose="020B0004020202020204" pitchFamily="34" charset="0"/>
                <a:cs typeface="Arial" panose="020B0604020202020204" pitchFamily="34" charset="0"/>
              </a:rPr>
              <a:t>…</a:t>
            </a:r>
          </a:p>
          <a:p>
            <a:pPr marL="0" marR="0">
              <a:lnSpc>
                <a:spcPct val="115000"/>
              </a:lnSpc>
              <a:spcAft>
                <a:spcPts val="900"/>
              </a:spcAft>
              <a:buNone/>
            </a:pPr>
            <a:r>
              <a:rPr lang="en-US" sz="1800" kern="100">
                <a:effectLst/>
                <a:latin typeface="Aptos" panose="020B0004020202020204" pitchFamily="34" charset="0"/>
                <a:ea typeface="Aptos" panose="020B0004020202020204" pitchFamily="34" charset="0"/>
                <a:cs typeface="Arial" panose="020B0604020202020204" pitchFamily="34" charset="0"/>
              </a:rPr>
              <a:t> </a:t>
            </a:r>
          </a:p>
          <a:p>
            <a:pPr marL="0" marR="0">
              <a:lnSpc>
                <a:spcPct val="115000"/>
              </a:lnSpc>
              <a:spcAft>
                <a:spcPts val="900"/>
              </a:spcAft>
              <a:buNone/>
            </a:pPr>
            <a:r>
              <a:rPr lang="en-US" sz="1800" kern="100">
                <a:effectLst/>
                <a:latin typeface="Aptos" panose="020B0004020202020204" pitchFamily="34" charset="0"/>
                <a:ea typeface="Aptos" panose="020B0004020202020204" pitchFamily="34" charset="0"/>
                <a:cs typeface="Arial" panose="020B0604020202020204" pitchFamily="34" charset="0"/>
              </a:rPr>
              <a:t>Previously access to such file would require her to be in office, and would likely take a while to even get authorized. </a:t>
            </a:r>
          </a:p>
          <a:p>
            <a:pPr marL="0" marR="0">
              <a:lnSpc>
                <a:spcPct val="115000"/>
              </a:lnSpc>
              <a:spcAft>
                <a:spcPts val="900"/>
              </a:spcAft>
            </a:pPr>
            <a:r>
              <a:rPr lang="en-US" sz="1800" kern="100">
                <a:effectLst/>
                <a:latin typeface="Aptos" panose="020B0004020202020204" pitchFamily="34" charset="0"/>
                <a:ea typeface="Aptos" panose="020B0004020202020204" pitchFamily="34" charset="0"/>
                <a:cs typeface="Arial" panose="020B0604020202020204" pitchFamily="34" charset="0"/>
              </a:rPr>
              <a:t>But Woodgrove has enabled modern secure access to any app, from anywhere. And since this task requires focus, Violet decides to do it at home to avoid distractions.</a:t>
            </a:r>
          </a:p>
        </p:txBody>
      </p:sp>
      <p:sp>
        <p:nvSpPr>
          <p:cNvPr id="4" name="Slide Number Placeholder 3">
            <a:extLst>
              <a:ext uri="{FF2B5EF4-FFF2-40B4-BE49-F238E27FC236}">
                <a16:creationId xmlns:a16="http://schemas.microsoft.com/office/drawing/2014/main" id="{7DAE08F8-344E-FEAC-7F81-9FC59DBFA86C}"/>
              </a:ext>
            </a:extLst>
          </p:cNvPr>
          <p:cNvSpPr>
            <a:spLocks noGrp="1"/>
          </p:cNvSpPr>
          <p:nvPr>
            <p:ph type="sldNum" sz="quarter" idx="5"/>
          </p:nvPr>
        </p:nvSpPr>
        <p:spPr/>
        <p:txBody>
          <a:bodyPr/>
          <a:lstStyle/>
          <a:p>
            <a:pPr marL="0" marR="0" lvl="0" indent="0" algn="r" defTabSz="949147" rtl="0" eaLnBrk="1" fontAlgn="auto" latinLnBrk="0" hangingPunct="1">
              <a:lnSpc>
                <a:spcPct val="100000"/>
              </a:lnSpc>
              <a:spcBef>
                <a:spcPts val="0"/>
              </a:spcBef>
              <a:spcAft>
                <a:spcPts val="0"/>
              </a:spcAft>
              <a:buClrTx/>
              <a:buSzTx/>
              <a:buFontTx/>
              <a:buNone/>
              <a:tabLst/>
              <a:defRPr/>
            </a:pPr>
            <a:fld id="{96038372-57C7-4978-97AB-6A39C828F16D}"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4914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966431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DFB908-C97B-FC5F-3387-A4FBDD80F5B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D203BC5-57BC-6448-87FB-4F2B5AF8894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2CE40C1-13D2-0E83-2F65-F78C932443B3}"/>
              </a:ext>
            </a:extLst>
          </p:cNvPr>
          <p:cNvSpPr>
            <a:spLocks noGrp="1"/>
          </p:cNvSpPr>
          <p:nvPr>
            <p:ph type="body" idx="1"/>
          </p:nvPr>
        </p:nvSpPr>
        <p:spPr/>
        <p:txBody>
          <a:bodyPr/>
          <a:lstStyle/>
          <a:p>
            <a:pPr algn="l">
              <a:buNone/>
            </a:pPr>
            <a:r>
              <a:rPr lang="en-US" sz="4000" b="0" i="0">
                <a:solidFill>
                  <a:srgbClr val="424242"/>
                </a:solidFill>
                <a:effectLst/>
                <a:latin typeface="Segoe Sans"/>
              </a:rPr>
              <a:t>Security teams are often siloed, using multiple tools, which can lead to inconsistent access policies and security gaps. On average, organizations use 5 identity access solutions from 3 different vendors and 4 network access solutions from 3 different vendors. </a:t>
            </a:r>
            <a:br>
              <a:rPr lang="en-US" sz="4000" b="0" i="0">
                <a:solidFill>
                  <a:srgbClr val="424242"/>
                </a:solidFill>
                <a:effectLst/>
                <a:latin typeface="Segoe Sans"/>
              </a:rPr>
            </a:br>
            <a:endParaRPr lang="en-US" sz="4000" b="0" i="0">
              <a:solidFill>
                <a:srgbClr val="424242"/>
              </a:solidFill>
              <a:effectLst/>
              <a:latin typeface="Segoe Sans"/>
            </a:endParaRPr>
          </a:p>
          <a:p>
            <a:pPr algn="l">
              <a:buNone/>
            </a:pPr>
            <a:r>
              <a:rPr lang="en-US" sz="4000" b="0" i="0">
                <a:solidFill>
                  <a:srgbClr val="424242"/>
                </a:solidFill>
                <a:effectLst/>
                <a:latin typeface="Segoe Sans"/>
              </a:rPr>
              <a:t>This fragmentation results in significant security risks. In fact, 79% of organizations with 6 or more solutions say significant breaches have increased in past year</a:t>
            </a:r>
            <a:r>
              <a:rPr lang="en-US" sz="2800" b="0" i="0">
                <a:solidFill>
                  <a:srgbClr val="424242"/>
                </a:solidFill>
                <a:effectLst/>
                <a:latin typeface="Segoe Sans"/>
              </a:rPr>
              <a:t>. </a:t>
            </a:r>
          </a:p>
        </p:txBody>
      </p:sp>
      <p:sp>
        <p:nvSpPr>
          <p:cNvPr id="4" name="Slide Number Placeholder 3">
            <a:extLst>
              <a:ext uri="{FF2B5EF4-FFF2-40B4-BE49-F238E27FC236}">
                <a16:creationId xmlns:a16="http://schemas.microsoft.com/office/drawing/2014/main" id="{90E77FFC-59BE-22DD-1AB4-45C504889E6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446BCA-DC63-6348-B4F5-09046F72909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112391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Microsoft Entra - Easy Remote Access</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4AF326-8C28-4FB7-A7E1-6AB8EB60800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99575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B9A74C-4AC3-E796-2165-C69CB683991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926BA03-D025-50B8-CD77-BEBB67BA37D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A6E4761-2BEE-104F-D003-2B6300EC0AFE}"/>
              </a:ext>
            </a:extLst>
          </p:cNvPr>
          <p:cNvSpPr>
            <a:spLocks noGrp="1"/>
          </p:cNvSpPr>
          <p:nvPr>
            <p:ph type="body" idx="1"/>
          </p:nvPr>
        </p:nvSpPr>
        <p:spPr/>
        <p:txBody>
          <a:bodyPr/>
          <a:lstStyle/>
          <a:p>
            <a:pPr marL="457200" indent="-457200" algn="l">
              <a:spcBef>
                <a:spcPts val="450"/>
              </a:spcBef>
              <a:spcAft>
                <a:spcPts val="750"/>
              </a:spcAft>
              <a:buFont typeface="Arial" panose="020B0604020202020204" pitchFamily="34" charset="0"/>
              <a:buChar char="•"/>
            </a:pPr>
            <a:r>
              <a:rPr lang="en-US" sz="3200" b="0" i="0" dirty="0">
                <a:solidFill>
                  <a:srgbClr val="424242"/>
                </a:solidFill>
                <a:effectLst/>
                <a:latin typeface="Segoe Sans"/>
              </a:rPr>
              <a:t>To recap, we followed Violet Martinez as she requested access to finance audit archives at Woodgrove. </a:t>
            </a:r>
          </a:p>
          <a:p>
            <a:pPr marL="457200" indent="-457200" algn="l">
              <a:spcBef>
                <a:spcPts val="450"/>
              </a:spcBef>
              <a:spcAft>
                <a:spcPts val="750"/>
              </a:spcAft>
              <a:buFont typeface="Arial" panose="020B0604020202020204" pitchFamily="34" charset="0"/>
              <a:buChar char="•"/>
            </a:pPr>
            <a:r>
              <a:rPr lang="en-US" sz="3200" b="0" i="0" dirty="0">
                <a:solidFill>
                  <a:srgbClr val="424242"/>
                </a:solidFill>
                <a:effectLst/>
                <a:latin typeface="Segoe Sans"/>
              </a:rPr>
              <a:t>Violet started by searching for the finance audit archives package in the MyAccess portal and requested access. Her request was auto-approved in real-time based on policy.</a:t>
            </a:r>
          </a:p>
          <a:p>
            <a:pPr marL="457200" indent="-457200" algn="l">
              <a:spcBef>
                <a:spcPts val="450"/>
              </a:spcBef>
              <a:spcAft>
                <a:spcPts val="750"/>
              </a:spcAft>
              <a:buFont typeface="Arial" panose="020B0604020202020204" pitchFamily="34" charset="0"/>
              <a:buChar char="•"/>
            </a:pPr>
            <a:r>
              <a:rPr lang="en-US" sz="3200" b="0" i="0" dirty="0">
                <a:solidFill>
                  <a:srgbClr val="424242"/>
                </a:solidFill>
                <a:effectLst/>
                <a:latin typeface="Segoe Sans"/>
              </a:rPr>
              <a:t>Next, Violet opened the file share by typing in the access path, without needing cumbersome VPNs or other limitations. However, due to her frequent location changes, her user risk level was slightly elevated. Woodgrove enforced risk-based Conditional Access for finance apps, even for low-risk levels.</a:t>
            </a:r>
          </a:p>
          <a:p>
            <a:pPr marL="457200" indent="-457200" algn="l">
              <a:spcBef>
                <a:spcPts val="450"/>
              </a:spcBef>
              <a:spcAft>
                <a:spcPts val="750"/>
              </a:spcAft>
              <a:buFont typeface="Arial" panose="020B0604020202020204" pitchFamily="34" charset="0"/>
              <a:buChar char="•"/>
            </a:pPr>
            <a:r>
              <a:rPr lang="en-US" sz="3200" b="0" i="0" dirty="0">
                <a:solidFill>
                  <a:srgbClr val="424242"/>
                </a:solidFill>
                <a:effectLst/>
                <a:latin typeface="Segoe Sans"/>
              </a:rPr>
              <a:t>In response to the MFA prompt, Violet chose her passkey, scanned a QR code, and authenticated securely using her Authenticator app. Passkeys make phishing-resistant authentication simple—she clicked ‘sign-in with passkey,’ and then was granted access to the files she needed.</a:t>
            </a:r>
          </a:p>
        </p:txBody>
      </p:sp>
      <p:sp>
        <p:nvSpPr>
          <p:cNvPr id="4" name="Slide Number Placeholder 3">
            <a:extLst>
              <a:ext uri="{FF2B5EF4-FFF2-40B4-BE49-F238E27FC236}">
                <a16:creationId xmlns:a16="http://schemas.microsoft.com/office/drawing/2014/main" id="{1BA05F56-6306-74B0-8D40-D141B8BC5B74}"/>
              </a:ext>
            </a:extLst>
          </p:cNvPr>
          <p:cNvSpPr>
            <a:spLocks noGrp="1"/>
          </p:cNvSpPr>
          <p:nvPr>
            <p:ph type="sldNum" sz="quarter" idx="5"/>
          </p:nvPr>
        </p:nvSpPr>
        <p:spPr/>
        <p:txBody>
          <a:bodyPr/>
          <a:lstStyle/>
          <a:p>
            <a:pPr marL="0" marR="0" lvl="0" indent="0" algn="r" defTabSz="949147" rtl="0" eaLnBrk="1" fontAlgn="auto" latinLnBrk="0" hangingPunct="1">
              <a:lnSpc>
                <a:spcPct val="100000"/>
              </a:lnSpc>
              <a:spcBef>
                <a:spcPts val="0"/>
              </a:spcBef>
              <a:spcAft>
                <a:spcPts val="0"/>
              </a:spcAft>
              <a:buClrTx/>
              <a:buSzTx/>
              <a:buFontTx/>
              <a:buNone/>
              <a:tabLst/>
              <a:defRPr/>
            </a:pPr>
            <a:fld id="{96038372-57C7-4978-97AB-6A39C828F16D}"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49147"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580243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07BE8F-FAB0-E503-AEBE-ED58170AF1C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E7A665-10C7-23EA-94A2-BFA96F7F258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5113F1F-4FCA-10D8-FBF1-D36DD9B26AC9}"/>
              </a:ext>
            </a:extLst>
          </p:cNvPr>
          <p:cNvSpPr>
            <a:spLocks noGrp="1"/>
          </p:cNvSpPr>
          <p:nvPr>
            <p:ph type="body" idx="1"/>
          </p:nvPr>
        </p:nvSpPr>
        <p:spPr/>
        <p:txBody>
          <a:bodyPr/>
          <a:lstStyle/>
          <a:p>
            <a:pPr marL="0" marR="0">
              <a:lnSpc>
                <a:spcPct val="115000"/>
              </a:lnSpc>
              <a:spcAft>
                <a:spcPts val="900"/>
              </a:spcAft>
              <a:buNone/>
            </a:pPr>
            <a:r>
              <a:rPr lang="en-US" sz="1800" kern="100">
                <a:effectLst/>
                <a:latin typeface="Aptos" panose="020B0004020202020204" pitchFamily="34" charset="0"/>
                <a:ea typeface="Aptos" panose="020B0004020202020204" pitchFamily="34" charset="0"/>
                <a:cs typeface="Aptos" panose="020B0004020202020204" pitchFamily="34" charset="0"/>
              </a:rPr>
              <a:t>Now Violet has one last thing to do. </a:t>
            </a:r>
            <a:endParaRPr lang="en-US" sz="1800" kern="100">
              <a:effectLst/>
              <a:latin typeface="Aptos" panose="020B0004020202020204" pitchFamily="34" charset="0"/>
              <a:ea typeface="Aptos" panose="020B0004020202020204" pitchFamily="34" charset="0"/>
              <a:cs typeface="Arial" panose="020B0604020202020204" pitchFamily="34" charset="0"/>
            </a:endParaRPr>
          </a:p>
          <a:p>
            <a:pPr marL="0" marR="0">
              <a:lnSpc>
                <a:spcPct val="115000"/>
              </a:lnSpc>
              <a:spcAft>
                <a:spcPts val="900"/>
              </a:spcAft>
              <a:buNone/>
            </a:pPr>
            <a:r>
              <a:rPr lang="en-US" sz="1800" kern="100">
                <a:effectLst/>
                <a:latin typeface="Aptos" panose="020B0004020202020204" pitchFamily="34" charset="0"/>
                <a:ea typeface="Aptos" panose="020B0004020202020204" pitchFamily="34" charset="0"/>
                <a:cs typeface="Aptos" panose="020B0004020202020204" pitchFamily="34" charset="0"/>
              </a:rPr>
              <a:t> </a:t>
            </a:r>
            <a:endParaRPr lang="en-US" sz="1800" kern="100">
              <a:effectLst/>
              <a:latin typeface="Aptos" panose="020B0004020202020204" pitchFamily="34" charset="0"/>
              <a:ea typeface="Aptos" panose="020B0004020202020204" pitchFamily="34" charset="0"/>
              <a:cs typeface="Arial" panose="020B0604020202020204" pitchFamily="34" charset="0"/>
            </a:endParaRPr>
          </a:p>
          <a:p>
            <a:pPr>
              <a:buNone/>
            </a:pPr>
            <a:r>
              <a:rPr lang="en-US" sz="1800">
                <a:effectLst/>
                <a:latin typeface="Aptos" panose="020B0004020202020204" pitchFamily="34" charset="0"/>
                <a:ea typeface="Aptos" panose="020B0004020202020204" pitchFamily="34" charset="0"/>
                <a:cs typeface="Aptos" panose="020B0004020202020204" pitchFamily="34" charset="0"/>
              </a:rPr>
              <a:t>She needs to share those audit insights and a financial statement with their consulting partner who is using Dropbox.</a:t>
            </a:r>
            <a:endParaRPr lang="en-US" sz="1900" kern="100">
              <a:latin typeface="Aptos" panose="020B0004020202020204" pitchFamily="34" charset="0"/>
              <a:ea typeface="Aptos" panose="020B00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03346C99-B878-0812-A336-4AB8154C45CA}"/>
              </a:ext>
            </a:extLst>
          </p:cNvPr>
          <p:cNvSpPr>
            <a:spLocks noGrp="1"/>
          </p:cNvSpPr>
          <p:nvPr>
            <p:ph type="sldNum" sz="quarter" idx="5"/>
          </p:nvPr>
        </p:nvSpPr>
        <p:spPr/>
        <p:txBody>
          <a:bodyPr/>
          <a:lstStyle/>
          <a:p>
            <a:pPr marL="0" marR="0" lvl="0" indent="0" algn="r" defTabSz="949147" rtl="0" eaLnBrk="1" fontAlgn="auto" latinLnBrk="0" hangingPunct="1">
              <a:lnSpc>
                <a:spcPct val="100000"/>
              </a:lnSpc>
              <a:spcBef>
                <a:spcPts val="0"/>
              </a:spcBef>
              <a:spcAft>
                <a:spcPts val="0"/>
              </a:spcAft>
              <a:buClrTx/>
              <a:buSzTx/>
              <a:buFontTx/>
              <a:buNone/>
              <a:tabLst/>
              <a:defRPr/>
            </a:pPr>
            <a:fld id="{96038372-57C7-4978-97AB-6A39C828F16D}"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4914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50910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0" i="0">
                <a:solidFill>
                  <a:srgbClr val="000000"/>
                </a:solidFill>
                <a:effectLst/>
                <a:latin typeface="Aptos" panose="020B0004020202020204" pitchFamily="34" charset="0"/>
              </a:rPr>
              <a:t>Secure internet access: </a:t>
            </a:r>
            <a:r>
              <a:rPr lang="en-US" sz="1800" b="0" i="0" u="sng" strike="noStrike">
                <a:solidFill>
                  <a:srgbClr val="467886"/>
                </a:solidFill>
                <a:effectLst/>
                <a:latin typeface="Aptos" panose="020B0004020202020204" pitchFamily="34" charset="0"/>
                <a:hlinkClick r:id="rId3"/>
              </a:rPr>
              <a:t>https://highlights.guide/clickthroughs/entra/secure-internet-access.html</a:t>
            </a:r>
            <a:r>
              <a:rPr lang="en-US" sz="1800" b="0" i="0">
                <a:solidFill>
                  <a:srgbClr val="000000"/>
                </a:solidFill>
                <a:effectLst/>
                <a:latin typeface="Aptos" panose="020B0004020202020204" pitchFamily="34" charset="0"/>
              </a:rPr>
              <a:t> </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4AF326-8C28-4FB7-A7E1-6AB8EB60800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220502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0C2B31-BE2B-9D92-526E-37141376D80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0EDC60-4BE6-1978-32D8-468A98E731A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A0B2DD4-D4A4-FC36-3249-FFE79FCBFA82}"/>
              </a:ext>
            </a:extLst>
          </p:cNvPr>
          <p:cNvSpPr>
            <a:spLocks noGrp="1"/>
          </p:cNvSpPr>
          <p:nvPr>
            <p:ph type="body" idx="1"/>
          </p:nvPr>
        </p:nvSpPr>
        <p:spPr/>
        <p:txBody>
          <a:bodyPr/>
          <a:lstStyle/>
          <a:p>
            <a:pPr marL="457200" indent="-457200" algn="l">
              <a:spcBef>
                <a:spcPts val="450"/>
              </a:spcBef>
              <a:spcAft>
                <a:spcPts val="750"/>
              </a:spcAft>
              <a:buFont typeface="Arial" panose="020B0604020202020204" pitchFamily="34" charset="0"/>
              <a:buChar char="•"/>
            </a:pPr>
            <a:r>
              <a:rPr lang="en-US" sz="3200" b="0" i="0" dirty="0">
                <a:solidFill>
                  <a:srgbClr val="424242"/>
                </a:solidFill>
                <a:effectLst/>
                <a:latin typeface="Segoe Sans"/>
              </a:rPr>
              <a:t>To conclude, we watched as Violet uploaded documents to a partner’s Dropbox at Woodgrove. Thanks to the Microsoft Entra Suite, the process was simple and secure.</a:t>
            </a:r>
          </a:p>
          <a:p>
            <a:pPr marL="457200" indent="-457200" algn="l">
              <a:spcBef>
                <a:spcPts val="450"/>
              </a:spcBef>
              <a:spcAft>
                <a:spcPts val="750"/>
              </a:spcAft>
              <a:buFont typeface="Arial" panose="020B0604020202020204" pitchFamily="34" charset="0"/>
              <a:buChar char="•"/>
            </a:pPr>
            <a:r>
              <a:rPr lang="en-US" sz="3200" b="0" i="0" dirty="0">
                <a:solidFill>
                  <a:srgbClr val="424242"/>
                </a:solidFill>
                <a:effectLst/>
                <a:latin typeface="Segoe Sans"/>
              </a:rPr>
              <a:t>Violet received a secure link in her email to upload documents to the partner’s Dropbox. Initially, her access was blocked due to Woodgrove’s policy that prevents access to external storage sites to minimize data leak risks. However, because of the established relationship with the consulting firm, Woodgrove has a business exception that allows Finance employees temporary access to Dropbox based on business need.</a:t>
            </a:r>
          </a:p>
          <a:p>
            <a:pPr marL="457200" indent="-457200" algn="l">
              <a:spcBef>
                <a:spcPts val="450"/>
              </a:spcBef>
              <a:spcAft>
                <a:spcPts val="750"/>
              </a:spcAft>
              <a:buFont typeface="Arial" panose="020B0604020202020204" pitchFamily="34" charset="0"/>
              <a:buChar char="•"/>
            </a:pPr>
            <a:r>
              <a:rPr lang="en-US" sz="3200" b="0" i="0" dirty="0">
                <a:solidFill>
                  <a:srgbClr val="424242"/>
                </a:solidFill>
                <a:effectLst/>
                <a:latin typeface="Segoe Sans"/>
              </a:rPr>
              <a:t>From the MyAccess page, Violet requested just-in-time access to Dropbox for 8 hours. Her request was approved in real-time based on the business policy. Violet then accessed the partner’s secure Dropbox location and uploaded the files they were expecting.</a:t>
            </a:r>
          </a:p>
          <a:p>
            <a:pPr marL="457200" indent="-457200" algn="l">
              <a:spcBef>
                <a:spcPts val="450"/>
              </a:spcBef>
              <a:spcAft>
                <a:spcPts val="750"/>
              </a:spcAft>
              <a:buFont typeface="Arial" panose="020B0604020202020204" pitchFamily="34" charset="0"/>
              <a:buChar char="•"/>
            </a:pPr>
            <a:r>
              <a:rPr lang="en-US" sz="3200" b="0" i="0" dirty="0">
                <a:solidFill>
                  <a:srgbClr val="424242"/>
                </a:solidFill>
                <a:effectLst/>
                <a:latin typeface="Segoe Sans"/>
              </a:rPr>
              <a:t>This process involved just a couple of extra clicks for Violet, ensuring security by preventing standing access to external storage sites and providing an audit log and business justification for each point of access.</a:t>
            </a:r>
          </a:p>
        </p:txBody>
      </p:sp>
      <p:sp>
        <p:nvSpPr>
          <p:cNvPr id="4" name="Slide Number Placeholder 3">
            <a:extLst>
              <a:ext uri="{FF2B5EF4-FFF2-40B4-BE49-F238E27FC236}">
                <a16:creationId xmlns:a16="http://schemas.microsoft.com/office/drawing/2014/main" id="{C9A6517B-8ADC-4CAB-32AA-FA226D8085EF}"/>
              </a:ext>
            </a:extLst>
          </p:cNvPr>
          <p:cNvSpPr>
            <a:spLocks noGrp="1"/>
          </p:cNvSpPr>
          <p:nvPr>
            <p:ph type="sldNum" sz="quarter" idx="5"/>
          </p:nvPr>
        </p:nvSpPr>
        <p:spPr/>
        <p:txBody>
          <a:bodyPr/>
          <a:lstStyle/>
          <a:p>
            <a:pPr marL="0" marR="0" lvl="0" indent="0" algn="r" defTabSz="949147" rtl="0" eaLnBrk="1" fontAlgn="auto" latinLnBrk="0" hangingPunct="1">
              <a:lnSpc>
                <a:spcPct val="100000"/>
              </a:lnSpc>
              <a:spcBef>
                <a:spcPts val="0"/>
              </a:spcBef>
              <a:spcAft>
                <a:spcPts val="0"/>
              </a:spcAft>
              <a:buClrTx/>
              <a:buSzTx/>
              <a:buFontTx/>
              <a:buNone/>
              <a:tabLst/>
              <a:defRPr/>
            </a:pPr>
            <a:fld id="{96038372-57C7-4978-97AB-6A39C828F16D}"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4914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2574454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9E035E-3A3A-E550-957D-4912ADA3E51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AE2988E-F194-3636-4340-0B4032865ED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501F572-D5CA-FAFA-1C2D-21599231C77E}"/>
              </a:ext>
            </a:extLst>
          </p:cNvPr>
          <p:cNvSpPr>
            <a:spLocks noGrp="1"/>
          </p:cNvSpPr>
          <p:nvPr>
            <p:ph type="body" idx="1"/>
          </p:nvPr>
        </p:nvSpPr>
        <p:spPr/>
        <p:txBody>
          <a:bodyPr/>
          <a:lstStyle/>
          <a:p>
            <a:pPr marL="457200" indent="-457200" algn="l">
              <a:spcAft>
                <a:spcPts val="600"/>
              </a:spcAft>
              <a:buFont typeface="Arial" panose="020B0604020202020204" pitchFamily="34" charset="0"/>
              <a:buChar char="•"/>
            </a:pPr>
            <a:r>
              <a:rPr lang="en-US" sz="2800" b="0" i="0" dirty="0">
                <a:solidFill>
                  <a:srgbClr val="424242"/>
                </a:solidFill>
                <a:effectLst/>
                <a:latin typeface="Segoe Sans"/>
              </a:rPr>
              <a:t>Throughout these demos we saw how the Microsoft Entra Suite unifies identity and network access, allowing Violet to have secure and simple experiences through onboarding and accessing applications regardless of her work location.</a:t>
            </a:r>
          </a:p>
          <a:p>
            <a:pPr marL="457200" indent="-457200" algn="l">
              <a:spcAft>
                <a:spcPts val="600"/>
              </a:spcAft>
              <a:buFont typeface="Arial" panose="020B0604020202020204" pitchFamily="34" charset="0"/>
              <a:buChar char="•"/>
            </a:pPr>
            <a:r>
              <a:rPr lang="en-US" sz="2800" b="0" i="0" dirty="0">
                <a:solidFill>
                  <a:srgbClr val="424242"/>
                </a:solidFill>
                <a:effectLst/>
                <a:latin typeface="Segoe Sans"/>
              </a:rPr>
              <a:t>Violet's transition from marketing to finance was seamless, with automated workflows ensuring she had the necessary access while revoking permissions she no longer needed.</a:t>
            </a:r>
          </a:p>
          <a:p>
            <a:pPr marL="457200" indent="-457200" algn="l">
              <a:spcAft>
                <a:spcPts val="600"/>
              </a:spcAft>
              <a:buFont typeface="Arial" panose="020B0604020202020204" pitchFamily="34" charset="0"/>
              <a:buChar char="•"/>
            </a:pPr>
            <a:r>
              <a:rPr lang="en-US" sz="2800" b="0" i="0" dirty="0">
                <a:solidFill>
                  <a:srgbClr val="424242"/>
                </a:solidFill>
                <a:effectLst/>
                <a:latin typeface="Segoe Sans"/>
              </a:rPr>
              <a:t>Then, she was able to access finance audit archives without legacy VPNs and with phishing-resistant allowing her to have secure access from anywhere.</a:t>
            </a:r>
          </a:p>
          <a:p>
            <a:pPr marL="457200" indent="-457200" algn="l">
              <a:spcAft>
                <a:spcPts val="600"/>
              </a:spcAft>
              <a:buFont typeface="Arial" panose="020B0604020202020204" pitchFamily="34" charset="0"/>
              <a:buChar char="•"/>
            </a:pPr>
            <a:r>
              <a:rPr lang="en-US" sz="2800" b="0" i="0" dirty="0">
                <a:solidFill>
                  <a:srgbClr val="424242"/>
                </a:solidFill>
                <a:effectLst/>
                <a:latin typeface="Segoe Sans"/>
              </a:rPr>
              <a:t>Lastly, Violet's secure and temporary access to Dropbox for sharing sensitive documents showcase how Entra Suite allowed her to enforce just-in-time access and maintain productivity without sacrificing security. </a:t>
            </a:r>
          </a:p>
          <a:p>
            <a:pPr algn="l">
              <a:spcAft>
                <a:spcPts val="600"/>
              </a:spcAft>
              <a:buFont typeface="Arial" panose="020B0604020202020204" pitchFamily="34" charset="0"/>
              <a:buNone/>
            </a:pPr>
            <a:endParaRPr lang="en-US" sz="2800" b="0" i="0" dirty="0">
              <a:solidFill>
                <a:srgbClr val="424242"/>
              </a:solidFill>
              <a:effectLst/>
              <a:latin typeface="Segoe San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a:extLst>
              <a:ext uri="{FF2B5EF4-FFF2-40B4-BE49-F238E27FC236}">
                <a16:creationId xmlns:a16="http://schemas.microsoft.com/office/drawing/2014/main" id="{49EEEC70-7AAF-1354-616F-211FB2209A5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4FF0E8-F8E8-4659-985C-66EBEDD1F71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914094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nSpc>
                <a:spcPct val="115000"/>
              </a:lnSpc>
              <a:spcBef>
                <a:spcPts val="600"/>
              </a:spcBef>
              <a:spcAft>
                <a:spcPts val="900"/>
              </a:spcAft>
              <a:buFont typeface="Arial" panose="020B0604020202020204" pitchFamily="34" charset="0"/>
              <a:buChar char="•"/>
            </a:pPr>
            <a:r>
              <a:rPr lang="en-US" sz="1800" kern="100">
                <a:effectLst/>
                <a:latin typeface="Aptos" panose="020B0004020202020204" pitchFamily="34" charset="0"/>
                <a:ea typeface="Aptos" panose="020B0004020202020204" pitchFamily="34" charset="0"/>
                <a:cs typeface="Arial" panose="020B0604020202020204" pitchFamily="34" charset="0"/>
              </a:rPr>
              <a:t>Microsoft Entra is designed to extend modern security controls to on-premises resources, so you can operate your hybrid environment securely and modernize your infrastructure on your own schedule.</a:t>
            </a:r>
          </a:p>
          <a:p>
            <a:pPr marL="285750" marR="0" lvl="0" indent="-285750">
              <a:lnSpc>
                <a:spcPct val="115000"/>
              </a:lnSpc>
              <a:spcBef>
                <a:spcPts val="600"/>
              </a:spcBef>
              <a:spcAft>
                <a:spcPts val="900"/>
              </a:spcAft>
              <a:buFont typeface="Arial" panose="020B0604020202020204" pitchFamily="34" charset="0"/>
              <a:buChar char="•"/>
            </a:pPr>
            <a:r>
              <a:rPr lang="en-US" sz="1800" kern="100">
                <a:effectLst/>
                <a:latin typeface="Aptos" panose="020B0004020202020204" pitchFamily="34" charset="0"/>
                <a:ea typeface="Aptos" panose="020B0004020202020204" pitchFamily="34" charset="0"/>
                <a:cs typeface="Arial" panose="020B0604020202020204" pitchFamily="34" charset="0"/>
              </a:rPr>
              <a:t>With Entra Suite, you can secure and manage your assets from the cloud and retire multiple on-premises security tools.</a:t>
            </a:r>
          </a:p>
          <a:p>
            <a:pPr marL="0" marR="0">
              <a:lnSpc>
                <a:spcPct val="115000"/>
              </a:lnSpc>
              <a:spcBef>
                <a:spcPts val="0"/>
              </a:spcBef>
              <a:spcAft>
                <a:spcPts val="900"/>
              </a:spcAft>
            </a:pPr>
            <a:endParaRPr lang="en-US" sz="1800" kern="100">
              <a:effectLst/>
              <a:latin typeface="Aptos" panose="020B0004020202020204" pitchFamily="34" charset="0"/>
              <a:ea typeface="Aptos" panose="020B00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18869E-F74C-46CF-AB0B-F9EDE6A990F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9227077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latinLnBrk="0" hangingPunct="1">
              <a:lnSpc>
                <a:spcPct val="115000"/>
              </a:lnSpc>
              <a:spcBef>
                <a:spcPts val="600"/>
              </a:spcBef>
              <a:spcAft>
                <a:spcPts val="900"/>
              </a:spcAft>
              <a:buFont typeface="Arial" panose="020B0604020202020204" pitchFamily="34" charset="0"/>
              <a:buChar char="•"/>
            </a:pPr>
            <a:r>
              <a:rPr lang="en-US" sz="1000" kern="100">
                <a:solidFill>
                  <a:schemeClr val="tx1"/>
                </a:solidFill>
                <a:effectLst/>
                <a:latin typeface="Segoe UI" panose="020B0502040204020203" pitchFamily="34" charset="0"/>
                <a:ea typeface="Aptos" panose="020B0004020202020204" pitchFamily="34" charset="0"/>
                <a:cs typeface="Arial" panose="020B0604020202020204" pitchFamily="34" charset="0"/>
              </a:rPr>
              <a:t>If you’re using traditional firewalls and VPNs, Entra Private Access can give you more granular control over access to all your private resources.</a:t>
            </a:r>
          </a:p>
          <a:p>
            <a:pPr marL="171450" marR="0" lvl="0" indent="-171450" algn="l" defTabSz="914400" rtl="0" eaLnBrk="1" latinLnBrk="0" hangingPunct="1">
              <a:lnSpc>
                <a:spcPct val="115000"/>
              </a:lnSpc>
              <a:spcBef>
                <a:spcPts val="600"/>
              </a:spcBef>
              <a:spcAft>
                <a:spcPts val="900"/>
              </a:spcAft>
              <a:buFont typeface="Arial" panose="020B0604020202020204" pitchFamily="34" charset="0"/>
              <a:buChar char="•"/>
            </a:pPr>
            <a:r>
              <a:rPr lang="en-US" sz="1000" kern="100">
                <a:solidFill>
                  <a:schemeClr val="tx1"/>
                </a:solidFill>
                <a:effectLst/>
                <a:latin typeface="Segoe UI" panose="020B0502040204020203" pitchFamily="34" charset="0"/>
                <a:ea typeface="Aptos" panose="020B0004020202020204" pitchFamily="34" charset="0"/>
                <a:cs typeface="Arial" panose="020B0604020202020204" pitchFamily="34" charset="0"/>
              </a:rPr>
              <a:t>If you’re using a legacy Secure Web Gateway, Entra Internet Access delivers a better solution to protect against malicious internet traffic and other threats of open internet.</a:t>
            </a:r>
          </a:p>
          <a:p>
            <a:pPr marL="171450" marR="0" lvl="0" indent="-171450" algn="l" defTabSz="914400" rtl="0" eaLnBrk="1" latinLnBrk="0" hangingPunct="1">
              <a:lnSpc>
                <a:spcPct val="115000"/>
              </a:lnSpc>
              <a:spcBef>
                <a:spcPts val="600"/>
              </a:spcBef>
              <a:spcAft>
                <a:spcPts val="900"/>
              </a:spcAft>
              <a:buFont typeface="Arial" panose="020B0604020202020204" pitchFamily="34" charset="0"/>
              <a:buChar char="•"/>
            </a:pPr>
            <a:r>
              <a:rPr lang="en-US" sz="1000" kern="100">
                <a:solidFill>
                  <a:schemeClr val="tx1"/>
                </a:solidFill>
                <a:effectLst/>
                <a:latin typeface="Segoe UI" panose="020B0502040204020203" pitchFamily="34" charset="0"/>
                <a:ea typeface="Aptos" panose="020B0004020202020204" pitchFamily="34" charset="0"/>
                <a:cs typeface="Arial" panose="020B0604020202020204" pitchFamily="34" charset="0"/>
              </a:rPr>
              <a:t>If you’re using Microsoft Identity Manager (MIM), you can transition to Entra ID Governance in stages, even reusing your existing MIM connectors for scenarios like provisioning identities from HR applications.</a:t>
            </a:r>
          </a:p>
          <a:p>
            <a:pPr marL="171450" marR="0" lvl="0" indent="-171450" algn="l" defTabSz="914400" rtl="0" eaLnBrk="1" latinLnBrk="0" hangingPunct="1">
              <a:lnSpc>
                <a:spcPct val="115000"/>
              </a:lnSpc>
              <a:spcBef>
                <a:spcPts val="600"/>
              </a:spcBef>
              <a:spcAft>
                <a:spcPts val="900"/>
              </a:spcAft>
              <a:buFont typeface="Arial" panose="020B0604020202020204" pitchFamily="34" charset="0"/>
              <a:buChar char="•"/>
            </a:pPr>
            <a:r>
              <a:rPr lang="en-US" sz="1000" kern="100">
                <a:solidFill>
                  <a:schemeClr val="tx1"/>
                </a:solidFill>
                <a:effectLst/>
                <a:latin typeface="Segoe UI" panose="020B0502040204020203" pitchFamily="34" charset="0"/>
                <a:ea typeface="Aptos" panose="020B0004020202020204" pitchFamily="34" charset="0"/>
                <a:cs typeface="Arial" panose="020B0604020202020204" pitchFamily="34" charset="0"/>
              </a:rPr>
              <a:t>And finally, you can replace cumbersome paper-based identity verification processes with a real-time and privacy respecting approach, powered by Microsoft Entra Verified ID.</a:t>
            </a:r>
          </a:p>
          <a:p>
            <a:pPr marL="0" marR="0" lvl="0" indent="0" algn="l" defTabSz="914400" rtl="0" eaLnBrk="1" latinLnBrk="0" hangingPunct="1">
              <a:lnSpc>
                <a:spcPct val="115000"/>
              </a:lnSpc>
              <a:spcBef>
                <a:spcPts val="600"/>
              </a:spcBef>
              <a:spcAft>
                <a:spcPts val="900"/>
              </a:spcAft>
              <a:buFont typeface="Arial" panose="020B0604020202020204" pitchFamily="34" charset="0"/>
              <a:buNone/>
            </a:pPr>
            <a:endParaRPr lang="en-US" sz="1000" kern="100">
              <a:solidFill>
                <a:schemeClr val="tx1"/>
              </a:solidFill>
              <a:effectLst/>
              <a:latin typeface="Segoe UI" panose="020B0502040204020203" pitchFamily="34" charset="0"/>
              <a:ea typeface="Aptos" panose="020B00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18869E-F74C-46CF-AB0B-F9EDE6A990F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5989766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9B5363-AB58-DE48-7E0C-09471AB4E75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5C1B544-43D2-0D5E-4A18-42A1E93C943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0C1710A-454E-1BB5-7D3A-3756DE90E019}"/>
              </a:ext>
            </a:extLst>
          </p:cNvPr>
          <p:cNvSpPr>
            <a:spLocks noGrp="1"/>
          </p:cNvSpPr>
          <p:nvPr>
            <p:ph type="body" idx="1"/>
          </p:nvPr>
        </p:nvSpPr>
        <p:spPr/>
        <p:txBody>
          <a:bodyPr/>
          <a:lstStyle/>
          <a:p>
            <a:pPr marL="0" marR="0" fontAlgn="base">
              <a:lnSpc>
                <a:spcPct val="115000"/>
              </a:lnSpc>
              <a:spcAft>
                <a:spcPts val="900"/>
              </a:spcAft>
              <a:buNone/>
            </a:pPr>
            <a:r>
              <a:rPr lang="en-US" sz="1800">
                <a:effectLst/>
                <a:latin typeface="Segoe UI" panose="020B0502040204020203" pitchFamily="34" charset="0"/>
                <a:ea typeface="Segoe UI" panose="020B0502040204020203" pitchFamily="34" charset="0"/>
              </a:rPr>
              <a:t>To recap, the Microsoft Entra Suite is a complete Zero Trust user access solution that unifies access policy across identities, endpoints, and networks, enforces least privilege access to all resources, simplifies the user experience, and reduces your on-premises security solutions footprint. </a:t>
            </a:r>
            <a:endParaRPr lang="en-US" sz="1800" kern="100">
              <a:solidFill>
                <a:srgbClr val="000000"/>
              </a:solidFill>
              <a:effectLst/>
              <a:latin typeface="Segoe UI" panose="020B0502040204020203"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FD6BFFA2-A677-7CEE-0710-AE76C1B547E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446BCA-DC63-6348-B4F5-09046F72909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1677779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2BA9990-AFFC-4FDA-9B74-65906E728C6D}" type="slidenum">
              <a:rPr lang="en-US" smtClean="0"/>
              <a:t>32</a:t>
            </a:fld>
            <a:endParaRPr lang="en-US"/>
          </a:p>
        </p:txBody>
      </p:sp>
    </p:spTree>
    <p:extLst>
      <p:ext uri="{BB962C8B-B14F-4D97-AF65-F5344CB8AC3E}">
        <p14:creationId xmlns:p14="http://schemas.microsoft.com/office/powerpoint/2010/main" val="1578541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2C6394-54BB-AECE-56E7-C1D1E088313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89B5A2-E327-04F1-0547-F38C6AFBF98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3257667-945E-1D6E-EBCB-5BAB55CF928C}"/>
              </a:ext>
            </a:extLst>
          </p:cNvPr>
          <p:cNvSpPr>
            <a:spLocks noGrp="1"/>
          </p:cNvSpPr>
          <p:nvPr>
            <p:ph type="body" idx="1"/>
          </p:nvPr>
        </p:nvSpPr>
        <p:spPr/>
        <p:txBody>
          <a:bodyPr/>
          <a:lstStyle/>
          <a:p>
            <a:pPr algn="l">
              <a:spcBef>
                <a:spcPts val="450"/>
              </a:spcBef>
              <a:spcAft>
                <a:spcPts val="750"/>
              </a:spcAft>
              <a:buNone/>
            </a:pPr>
            <a:r>
              <a:rPr lang="en-US" sz="2800" b="0" i="0" dirty="0">
                <a:solidFill>
                  <a:srgbClr val="424242"/>
                </a:solidFill>
                <a:effectLst/>
                <a:latin typeface="Segoe Sans"/>
              </a:rPr>
              <a:t>To address these threats, organizations must think about breaking the silos and unifying identity and network access security. </a:t>
            </a:r>
            <a:br>
              <a:rPr lang="en-US" sz="2800" b="0" i="0" dirty="0">
                <a:solidFill>
                  <a:srgbClr val="424242"/>
                </a:solidFill>
                <a:effectLst/>
                <a:latin typeface="Segoe Sans"/>
              </a:rPr>
            </a:br>
            <a:r>
              <a:rPr lang="en-US" sz="2800" b="0" i="0" dirty="0">
                <a:solidFill>
                  <a:srgbClr val="424242"/>
                </a:solidFill>
                <a:effectLst/>
                <a:latin typeface="Segoe Sans"/>
              </a:rPr>
              <a:t>Unifying identity and network access controls provides several key benefits:</a:t>
            </a:r>
          </a:p>
          <a:p>
            <a:pPr algn="l">
              <a:spcAft>
                <a:spcPts val="600"/>
              </a:spcAft>
              <a:buFont typeface="+mj-lt"/>
              <a:buAutoNum type="arabicPeriod"/>
            </a:pPr>
            <a:r>
              <a:rPr lang="en-US" sz="2800" b="1" i="0" dirty="0">
                <a:solidFill>
                  <a:srgbClr val="424242"/>
                </a:solidFill>
                <a:effectLst/>
                <a:latin typeface="Segoe Sans"/>
              </a:rPr>
              <a:t> Improved Security: </a:t>
            </a:r>
            <a:r>
              <a:rPr lang="en-US" sz="2800" b="0" i="0" dirty="0">
                <a:solidFill>
                  <a:srgbClr val="424242"/>
                </a:solidFill>
                <a:effectLst/>
                <a:latin typeface="Segoe Sans"/>
              </a:rPr>
              <a:t>By consolidating access policies, organizations can better protect against sophisticated attacks and reduce security gaps.</a:t>
            </a:r>
          </a:p>
          <a:p>
            <a:pPr algn="l">
              <a:spcAft>
                <a:spcPts val="600"/>
              </a:spcAft>
              <a:buFont typeface="+mj-lt"/>
              <a:buAutoNum type="arabicPeriod"/>
            </a:pPr>
            <a:r>
              <a:rPr lang="en-US" sz="2800" b="1" i="0" dirty="0">
                <a:solidFill>
                  <a:srgbClr val="424242"/>
                </a:solidFill>
                <a:effectLst/>
                <a:latin typeface="Segoe Sans"/>
              </a:rPr>
              <a:t> Enhanced Efficiency: </a:t>
            </a:r>
            <a:r>
              <a:rPr lang="en-US" sz="2800" b="0" i="0" dirty="0">
                <a:solidFill>
                  <a:srgbClr val="424242"/>
                </a:solidFill>
                <a:effectLst/>
                <a:latin typeface="Segoe Sans"/>
              </a:rPr>
              <a:t>Streamlining tools and processes reduces complexity and operational overhead, allowing security teams to focus on strategic initiatives.</a:t>
            </a:r>
          </a:p>
          <a:p>
            <a:pPr algn="l">
              <a:spcAft>
                <a:spcPts val="600"/>
              </a:spcAft>
              <a:buFont typeface="+mj-lt"/>
              <a:buAutoNum type="arabicPeriod"/>
            </a:pPr>
            <a:r>
              <a:rPr lang="en-US" sz="2800" b="1" i="0" dirty="0">
                <a:solidFill>
                  <a:srgbClr val="424242"/>
                </a:solidFill>
                <a:effectLst/>
                <a:latin typeface="Segoe Sans"/>
              </a:rPr>
              <a:t> Better User Experience: </a:t>
            </a:r>
            <a:r>
              <a:rPr lang="en-US" sz="2800" b="0" i="0" dirty="0">
                <a:solidFill>
                  <a:srgbClr val="424242"/>
                </a:solidFill>
                <a:effectLst/>
                <a:latin typeface="Segoe Sans"/>
              </a:rPr>
              <a:t>Simplifying access management improves the user experience, making it easier for employees to access the resources they need without compromising security</a:t>
            </a:r>
          </a:p>
        </p:txBody>
      </p:sp>
      <p:sp>
        <p:nvSpPr>
          <p:cNvPr id="4" name="Slide Number Placeholder 3">
            <a:extLst>
              <a:ext uri="{FF2B5EF4-FFF2-40B4-BE49-F238E27FC236}">
                <a16:creationId xmlns:a16="http://schemas.microsoft.com/office/drawing/2014/main" id="{B7297BD1-5B96-3902-96AD-F591E3196C3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446BCA-DC63-6348-B4F5-09046F72909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6529920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2E1E1E-2634-A5F3-4854-AD9C7A050F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27F856C-D154-E6EB-4977-4C4D68E3B36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E5F0137-5C0C-1B8A-1A2D-CD41770F036F}"/>
              </a:ext>
            </a:extLst>
          </p:cNvPr>
          <p:cNvSpPr>
            <a:spLocks noGrp="1"/>
          </p:cNvSpPr>
          <p:nvPr>
            <p:ph type="body" idx="1"/>
          </p:nvPr>
        </p:nvSpPr>
        <p:spPr/>
        <p:txBody>
          <a:bodyPr/>
          <a:lstStyle/>
          <a:p>
            <a:pPr marL="0" marR="0" lvl="0" indent="0">
              <a:lnSpc>
                <a:spcPct val="115000"/>
              </a:lnSpc>
              <a:spcBef>
                <a:spcPts val="600"/>
              </a:spcBef>
              <a:spcAft>
                <a:spcPts val="900"/>
              </a:spcAft>
              <a:buFont typeface="Arial" panose="020B0604020202020204" pitchFamily="34" charset="0"/>
              <a:buNone/>
            </a:pPr>
            <a:r>
              <a:rPr lang="en-US" sz="2000"/>
              <a:t>Here’s what you can get started to achieve with the Microsoft Entra Suite in your first 90 days:</a:t>
            </a:r>
          </a:p>
          <a:p>
            <a:pPr marL="171450" marR="0" lvl="0" indent="-171450">
              <a:lnSpc>
                <a:spcPct val="115000"/>
              </a:lnSpc>
              <a:spcBef>
                <a:spcPts val="600"/>
              </a:spcBef>
              <a:spcAft>
                <a:spcPts val="900"/>
              </a:spcAft>
              <a:buFont typeface="Arial" panose="020B0604020202020204" pitchFamily="34" charset="0"/>
              <a:buChar char="•"/>
            </a:pPr>
            <a:r>
              <a:rPr lang="en-US" sz="2000"/>
              <a:t>Deploy security controls to enhance identification of risky users with Microsoft Entra ID Protection</a:t>
            </a:r>
          </a:p>
          <a:p>
            <a:pPr marL="171450" marR="0" lvl="0" indent="-171450" algn="l" defTabSz="914400" rtl="0" eaLnBrk="1" fontAlgn="auto" latinLnBrk="0" hangingPunct="1">
              <a:lnSpc>
                <a:spcPct val="115000"/>
              </a:lnSpc>
              <a:spcBef>
                <a:spcPts val="600"/>
              </a:spcBef>
              <a:spcAft>
                <a:spcPts val="900"/>
              </a:spcAft>
              <a:buClrTx/>
              <a:buSzTx/>
              <a:buFont typeface="Arial" panose="020B0604020202020204" pitchFamily="34" charset="0"/>
              <a:buChar char="•"/>
              <a:tabLst/>
              <a:defRPr/>
            </a:pPr>
            <a:r>
              <a:rPr lang="en-US" sz="2000">
                <a:solidFill>
                  <a:schemeClr val="bg1"/>
                </a:solidFill>
                <a:latin typeface="Segoe UI Semibold"/>
                <a:cs typeface="Segoe UI" pitchFamily="34" charset="0"/>
              </a:rPr>
              <a:t>Conduct an access review to ensure appropriate system access with </a:t>
            </a:r>
            <a:r>
              <a:rPr lang="en-US" sz="2000"/>
              <a:t>Microsoft Entra ID Governance</a:t>
            </a:r>
            <a:endParaRPr lang="en-US" sz="2000">
              <a:solidFill>
                <a:schemeClr val="bg1"/>
              </a:solidFill>
              <a:latin typeface="Segoe UI Semibold"/>
              <a:cs typeface="Segoe UI" pitchFamily="34" charset="0"/>
            </a:endParaRPr>
          </a:p>
          <a:p>
            <a:pPr marL="171450" marR="0" lvl="0" indent="-171450" algn="l" defTabSz="914400" rtl="0" eaLnBrk="1" fontAlgn="auto" latinLnBrk="0" hangingPunct="1">
              <a:lnSpc>
                <a:spcPct val="115000"/>
              </a:lnSpc>
              <a:spcBef>
                <a:spcPts val="600"/>
              </a:spcBef>
              <a:spcAft>
                <a:spcPts val="900"/>
              </a:spcAft>
              <a:buClrTx/>
              <a:buSzTx/>
              <a:buFont typeface="Arial" panose="020B0604020202020204" pitchFamily="34" charset="0"/>
              <a:buChar char="•"/>
              <a:tabLst/>
              <a:defRPr/>
            </a:pPr>
            <a:r>
              <a:rPr lang="en-US" sz="2000">
                <a:solidFill>
                  <a:schemeClr val="bg1"/>
                </a:solidFill>
                <a:latin typeface="Segoe UI Semibold"/>
                <a:cs typeface="Segoe UI" pitchFamily="34" charset="0"/>
              </a:rPr>
              <a:t>Protect internet traffic with secure web gateway with </a:t>
            </a:r>
            <a:r>
              <a:rPr lang="en-US" sz="2000"/>
              <a:t>Microsoft Entra Internet Access</a:t>
            </a:r>
            <a:endParaRPr lang="en-US" sz="2000">
              <a:solidFill>
                <a:schemeClr val="bg1"/>
              </a:solidFill>
              <a:latin typeface="Segoe UI Semibold"/>
              <a:cs typeface="Segoe UI" pitchFamily="34" charset="0"/>
            </a:endParaRPr>
          </a:p>
          <a:p>
            <a:pPr marL="171450" marR="0" lvl="0" indent="-171450" algn="l" defTabSz="914400" rtl="0" eaLnBrk="1" fontAlgn="auto" latinLnBrk="0" hangingPunct="1">
              <a:lnSpc>
                <a:spcPct val="115000"/>
              </a:lnSpc>
              <a:spcBef>
                <a:spcPts val="600"/>
              </a:spcBef>
              <a:spcAft>
                <a:spcPts val="900"/>
              </a:spcAft>
              <a:buClrTx/>
              <a:buSzTx/>
              <a:buFont typeface="Arial" panose="020B0604020202020204" pitchFamily="34" charset="0"/>
              <a:buChar char="•"/>
              <a:tabLst/>
              <a:defRPr/>
            </a:pPr>
            <a:r>
              <a:rPr lang="en-US" sz="2000">
                <a:solidFill>
                  <a:schemeClr val="bg1"/>
                </a:solidFill>
                <a:latin typeface="Segoe UI Semibold"/>
                <a:cs typeface="Segoe UI" pitchFamily="34" charset="0"/>
              </a:rPr>
              <a:t>Deprecate costly VPN systems through quick access with </a:t>
            </a:r>
            <a:r>
              <a:rPr lang="en-US" sz="2000"/>
              <a:t>Microsoft Entra Private Access</a:t>
            </a:r>
            <a:endParaRPr lang="en-US" sz="2000">
              <a:solidFill>
                <a:schemeClr val="bg1"/>
              </a:solidFill>
              <a:latin typeface="Segoe UI Semibold"/>
              <a:cs typeface="Segoe UI" pitchFamily="34" charset="0"/>
            </a:endParaRPr>
          </a:p>
          <a:p>
            <a:pPr marL="171450" marR="0" lvl="0" indent="-171450" algn="l" defTabSz="914400" rtl="0" eaLnBrk="1" fontAlgn="auto" latinLnBrk="0" hangingPunct="1">
              <a:lnSpc>
                <a:spcPct val="115000"/>
              </a:lnSpc>
              <a:spcBef>
                <a:spcPts val="600"/>
              </a:spcBef>
              <a:spcAft>
                <a:spcPts val="900"/>
              </a:spcAft>
              <a:buClrTx/>
              <a:buSzTx/>
              <a:buFont typeface="Arial" panose="020B0604020202020204" pitchFamily="34" charset="0"/>
              <a:buChar char="•"/>
              <a:tabLst/>
              <a:defRPr/>
            </a:pPr>
            <a:r>
              <a:rPr lang="en-US" sz="2000">
                <a:solidFill>
                  <a:schemeClr val="bg1"/>
                </a:solidFill>
                <a:latin typeface="Segoe UI Semibold"/>
                <a:cs typeface="Segoe UI" pitchFamily="34" charset="0"/>
              </a:rPr>
              <a:t>Automate employee onboarding with lifecycle workflows with </a:t>
            </a:r>
            <a:r>
              <a:rPr lang="en-US" sz="2000"/>
              <a:t>Microsoft Entra ID Governance</a:t>
            </a:r>
          </a:p>
          <a:p>
            <a:pPr marL="171450" marR="0" lvl="0" indent="-171450">
              <a:lnSpc>
                <a:spcPct val="115000"/>
              </a:lnSpc>
              <a:spcBef>
                <a:spcPts val="600"/>
              </a:spcBef>
              <a:spcAft>
                <a:spcPts val="900"/>
              </a:spcAft>
              <a:buFont typeface="Arial" panose="020B0604020202020204" pitchFamily="34" charset="0"/>
              <a:buChar char="•"/>
            </a:pPr>
            <a:endParaRPr lang="en-US" sz="2000">
              <a:effectLst/>
              <a:latin typeface="Segoe UI" panose="020B0502040204020203" pitchFamily="34" charset="0"/>
            </a:endParaRPr>
          </a:p>
          <a:p>
            <a:pPr marL="0" marR="0" lvl="0" indent="0">
              <a:lnSpc>
                <a:spcPct val="115000"/>
              </a:lnSpc>
              <a:spcBef>
                <a:spcPts val="600"/>
              </a:spcBef>
              <a:spcAft>
                <a:spcPts val="900"/>
              </a:spcAft>
              <a:buFont typeface="Symbol" panose="05050102010706020507" pitchFamily="18" charset="2"/>
              <a:buNone/>
            </a:pPr>
            <a:r>
              <a:rPr lang="en-US" sz="2800" kern="100">
                <a:solidFill>
                  <a:srgbClr val="000000"/>
                </a:solidFill>
                <a:effectLst/>
                <a:latin typeface="Segoe UI" panose="020B0502040204020203" pitchFamily="34" charset="0"/>
                <a:cs typeface="Arial" panose="020B0604020202020204" pitchFamily="34" charset="0"/>
              </a:rPr>
              <a:t>--------------------------------------------------------------------------------------------------------------------------------------------------------------------</a:t>
            </a:r>
          </a:p>
          <a:p>
            <a:pPr marL="0" marR="0" lvl="0" indent="0">
              <a:lnSpc>
                <a:spcPct val="115000"/>
              </a:lnSpc>
              <a:spcBef>
                <a:spcPts val="600"/>
              </a:spcBef>
              <a:spcAft>
                <a:spcPts val="900"/>
              </a:spcAft>
              <a:buFont typeface="Symbol" panose="05050102010706020507" pitchFamily="18" charset="2"/>
              <a:buNone/>
            </a:pPr>
            <a:endParaRPr lang="en-US" sz="2800" kern="100">
              <a:solidFill>
                <a:srgbClr val="000000"/>
              </a:solidFill>
              <a:effectLst/>
              <a:latin typeface="Segoe UI" panose="020B0502040204020203" pitchFamily="34" charset="0"/>
              <a:cs typeface="Arial" panose="020B0604020202020204" pitchFamily="34" charset="0"/>
            </a:endParaRPr>
          </a:p>
          <a:p>
            <a:pPr marL="0" marR="0" lvl="0" indent="0">
              <a:lnSpc>
                <a:spcPct val="115000"/>
              </a:lnSpc>
              <a:spcBef>
                <a:spcPts val="600"/>
              </a:spcBef>
              <a:spcAft>
                <a:spcPts val="900"/>
              </a:spcAft>
              <a:buFont typeface="Symbol" panose="05050102010706020507" pitchFamily="18" charset="2"/>
              <a:buNone/>
            </a:pPr>
            <a:r>
              <a:rPr lang="en-US" sz="2800" b="0" i="1" kern="100">
                <a:solidFill>
                  <a:srgbClr val="000000"/>
                </a:solidFill>
                <a:effectLst/>
                <a:latin typeface="Segoe UI" panose="020B0502040204020203" pitchFamily="34" charset="0"/>
                <a:cs typeface="Arial" panose="020B0604020202020204" pitchFamily="34" charset="0"/>
              </a:rPr>
              <a:t>[Suggested talk track:]</a:t>
            </a:r>
          </a:p>
          <a:p>
            <a:pPr marL="0" marR="0" lvl="0" indent="0">
              <a:lnSpc>
                <a:spcPct val="115000"/>
              </a:lnSpc>
              <a:spcBef>
                <a:spcPts val="600"/>
              </a:spcBef>
              <a:spcAft>
                <a:spcPts val="900"/>
              </a:spcAft>
              <a:buFont typeface="Arial" panose="020B0604020202020204" pitchFamily="34" charset="0"/>
              <a:buNone/>
            </a:pPr>
            <a:r>
              <a:rPr lang="en-US" sz="2800"/>
              <a:t>Here’s a glimpse at what you can get started to achieve with the Microsoft Entra Suite in your first 90 days.</a:t>
            </a:r>
          </a:p>
          <a:p>
            <a:pPr marL="171450" marR="0" lvl="0" indent="-171450">
              <a:lnSpc>
                <a:spcPct val="115000"/>
              </a:lnSpc>
              <a:spcBef>
                <a:spcPts val="600"/>
              </a:spcBef>
              <a:spcAft>
                <a:spcPts val="900"/>
              </a:spcAft>
              <a:buFont typeface="Arial" panose="020B0604020202020204" pitchFamily="34" charset="0"/>
              <a:buChar char="•"/>
            </a:pPr>
            <a:r>
              <a:rPr lang="en-US" sz="2800"/>
              <a:t>One way to get started securing access for your workforce is to deploy security controls and enhance identification of risky users with Microsoft Entra ID Protection</a:t>
            </a:r>
          </a:p>
          <a:p>
            <a:pPr marL="171450" marR="0" lvl="0" indent="-171450">
              <a:lnSpc>
                <a:spcPct val="115000"/>
              </a:lnSpc>
              <a:spcBef>
                <a:spcPts val="600"/>
              </a:spcBef>
              <a:spcAft>
                <a:spcPts val="900"/>
              </a:spcAft>
              <a:buFont typeface="Arial" panose="020B0604020202020204" pitchFamily="34" charset="0"/>
              <a:buChar char="•"/>
            </a:pPr>
            <a:r>
              <a:rPr lang="en-US" sz="2800"/>
              <a:t>You can also </a:t>
            </a:r>
            <a:r>
              <a:rPr lang="en-US" sz="2800" err="1"/>
              <a:t>cuduct</a:t>
            </a:r>
            <a:r>
              <a:rPr lang="en-US" sz="2800"/>
              <a:t> access reviews to ensure appropriate system access, and automate employee lifecycle workflows with Microsoft Entra ID Governance</a:t>
            </a:r>
          </a:p>
          <a:p>
            <a:pPr marL="171450" marR="0" lvl="0" indent="-171450">
              <a:lnSpc>
                <a:spcPct val="115000"/>
              </a:lnSpc>
              <a:spcBef>
                <a:spcPts val="600"/>
              </a:spcBef>
              <a:spcAft>
                <a:spcPts val="900"/>
              </a:spcAft>
              <a:buFont typeface="Arial" panose="020B0604020202020204" pitchFamily="34" charset="0"/>
              <a:buChar char="•"/>
            </a:pPr>
            <a:r>
              <a:rPr lang="en-US" sz="2800"/>
              <a:t>With our SSE offering, composed of Microsoft Entra Internet Access and Private Access, you have a secure web gateway to internet traffic, and a zero-trust network access solution to deprecate costly VPN systems through quick access.</a:t>
            </a:r>
          </a:p>
        </p:txBody>
      </p:sp>
      <p:sp>
        <p:nvSpPr>
          <p:cNvPr id="4" name="Slide Number Placeholder 3">
            <a:extLst>
              <a:ext uri="{FF2B5EF4-FFF2-40B4-BE49-F238E27FC236}">
                <a16:creationId xmlns:a16="http://schemas.microsoft.com/office/drawing/2014/main" id="{8E56FE7B-C660-F82A-A664-A1264962D94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038372-57C7-4978-97AB-6A39C828F16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8277512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ur experts are here all week and would love to chat with you on how the Microsoft Entra Suite can help you upgrade your identity and network access strategy. Please feel free to come up to chat after this session or come meet with us at booth #5744</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5/5/2025 1:1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4</a:t>
            </a:fld>
            <a:endParaRPr lang="en-US"/>
          </a:p>
        </p:txBody>
      </p:sp>
    </p:spTree>
    <p:extLst>
      <p:ext uri="{BB962C8B-B14F-4D97-AF65-F5344CB8AC3E}">
        <p14:creationId xmlns:p14="http://schemas.microsoft.com/office/powerpoint/2010/main" val="23088979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406835-FF50-6CAB-2824-6228FEFE3F3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61AE24-03A2-0F4D-1EE8-3227DDCFAB3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B85CD55-C623-8B56-5E14-7FD8670304B3}"/>
              </a:ext>
            </a:extLst>
          </p:cNvPr>
          <p:cNvSpPr>
            <a:spLocks noGrp="1"/>
          </p:cNvSpPr>
          <p:nvPr>
            <p:ph type="body" idx="1"/>
          </p:nvPr>
        </p:nvSpPr>
        <p:spPr/>
        <p:txBody>
          <a:bodyPr/>
          <a:lstStyle/>
          <a:p>
            <a:r>
              <a:rPr lang="en-US" sz="1000">
                <a:latin typeface="Segoe UI" panose="020B0502040204020203" pitchFamily="34" charset="0"/>
                <a:cs typeface="Segoe UI" panose="020B0502040204020203" pitchFamily="34" charset="0"/>
              </a:rPr>
              <a:t>Thank you. </a:t>
            </a:r>
          </a:p>
          <a:p>
            <a:endParaRPr lang="en-US" sz="1000">
              <a:latin typeface="Segoe UI" panose="020B0502040204020203" pitchFamily="34" charset="0"/>
              <a:cs typeface="Segoe UI" panose="020B0502040204020203" pitchFamily="34" charset="0"/>
            </a:endParaRPr>
          </a:p>
          <a:p>
            <a:r>
              <a:rPr lang="en-US" sz="1000">
                <a:latin typeface="Segoe UI" panose="020B0502040204020203" pitchFamily="34" charset="0"/>
                <a:cs typeface="Segoe UI" panose="020B0502040204020203" pitchFamily="34" charset="0"/>
              </a:rPr>
              <a:t>&lt;Speaker Guidance: Spend the last few minutes discussing or answering any questions they may have. If they have additional topics on their EBC agenda, make sure you connect with their account team to inform them which AI priorities and business outcomes resonated the most during this session. If you are in a 1:1 direct customer engagement, make sure you note what their priorities and questions were and work with the broader account teams and units to facilitate the proper hand-offs or next steps (i.e. get them into a session at the Innovation Hub/MTCs).&gt;</a:t>
            </a:r>
          </a:p>
        </p:txBody>
      </p:sp>
      <p:sp>
        <p:nvSpPr>
          <p:cNvPr id="4" name="Slide Number Placeholder 3">
            <a:extLst>
              <a:ext uri="{FF2B5EF4-FFF2-40B4-BE49-F238E27FC236}">
                <a16:creationId xmlns:a16="http://schemas.microsoft.com/office/drawing/2014/main" id="{48389812-7E80-9190-2163-1FC11AEC179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1CED4-A7C6-4497-A7B3-283CC61C59B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6922519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lease leave this slide in for conference attendee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273615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 help you with adoption, the Copilot Readiness Hub is an open one stop shop for content, organized by role for your Copilot for Microsoft 365 journey.  </a:t>
            </a:r>
          </a:p>
          <a:p>
            <a:endParaRPr lang="en-US"/>
          </a:p>
          <a:p>
            <a:r>
              <a:rPr lang="en-US"/>
              <a:t>You can use its recommendations to prepare and plan for your deployment, create a user experience strategy as I’ve presented today, and an adoption plan. </a:t>
            </a:r>
          </a:p>
          <a:p>
            <a:endParaRPr lang="en-US"/>
          </a:p>
          <a:p>
            <a:r>
              <a:rPr lang="en-US"/>
              <a:t>And as Copilot continues to evolve, keep coming back for new content that is published regularly.  </a:t>
            </a:r>
          </a:p>
          <a:p>
            <a:endParaRPr lang="en-US"/>
          </a:p>
          <a:p>
            <a:r>
              <a:rPr lang="en-US"/>
              <a:t>You can also join the Copilot for Microsoft 365 community to get your questions answered and meet others who are leveraging Copilot for Microsoft 365 right now.</a:t>
            </a: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C0BEF674-687C-4523-AB9A-39F3E48DCA2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869568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FBEFE9-28DC-EC69-EFF8-469BF33C1D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61A3DB2-D1BB-A1D9-829B-E3C77A1961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B808410-C0A0-6DAE-60DF-3585F26A0C93}"/>
              </a:ext>
            </a:extLst>
          </p:cNvPr>
          <p:cNvSpPr>
            <a:spLocks noGrp="1"/>
          </p:cNvSpPr>
          <p:nvPr>
            <p:ph type="body" idx="1"/>
          </p:nvPr>
        </p:nvSpPr>
        <p:spPr/>
        <p:txBody>
          <a:bodyPr/>
          <a:lstStyle/>
          <a:p>
            <a:pPr marL="0" marR="0" fontAlgn="base">
              <a:lnSpc>
                <a:spcPct val="115000"/>
              </a:lnSpc>
              <a:spcAft>
                <a:spcPts val="900"/>
              </a:spcAft>
              <a:buNone/>
            </a:pPr>
            <a:r>
              <a:rPr lang="en-US" sz="1800" kern="100">
                <a:effectLst/>
                <a:latin typeface="Segoe UI" panose="020B0502040204020203" pitchFamily="34" charset="0"/>
                <a:ea typeface="Segoe UI" panose="020B0502040204020203" pitchFamily="34" charset="0"/>
                <a:cs typeface="Arial" panose="020B0604020202020204" pitchFamily="34" charset="0"/>
              </a:rPr>
              <a:t>Microsoft Entra is set to help your teams seamless unify their identity and network security strategy with the Microsoft Entra Suite. The Suite is a comprehensive family of products that secure access for any identity, from anywhere, to any app or resource across your digital estate: on-premises and across clouds.</a:t>
            </a:r>
            <a:br>
              <a:rPr lang="en-US" sz="1800" kern="100">
                <a:effectLst/>
                <a:latin typeface="Segoe UI" panose="020B0502040204020203" pitchFamily="34" charset="0"/>
                <a:ea typeface="Segoe UI" panose="020B0502040204020203" pitchFamily="34" charset="0"/>
                <a:cs typeface="Arial" panose="020B0604020202020204" pitchFamily="34" charset="0"/>
              </a:rPr>
            </a:br>
            <a:endParaRPr lang="en-US" sz="1800" kern="100">
              <a:effectLst/>
              <a:latin typeface="Aptos" panose="020B0004020202020204" pitchFamily="34" charset="0"/>
              <a:ea typeface="Aptos" panose="020B0004020202020204" pitchFamily="34" charset="0"/>
              <a:cs typeface="Arial" panose="020B0604020202020204" pitchFamily="34" charset="0"/>
            </a:endParaRPr>
          </a:p>
          <a:p>
            <a:pPr>
              <a:buNone/>
            </a:pPr>
            <a:r>
              <a:rPr lang="en-US" sz="1800">
                <a:effectLst/>
                <a:latin typeface="Segoe UI" panose="020B0502040204020203" pitchFamily="34" charset="0"/>
                <a:ea typeface="Segoe UI" panose="020B0502040204020203" pitchFamily="34" charset="0"/>
              </a:rPr>
              <a:t>This means securing access for your employees, customers, partners, or digital workloads </a:t>
            </a:r>
            <a:r>
              <a:rPr lang="en-US" sz="1800" b="1">
                <a:effectLst/>
                <a:latin typeface="Segoe UI" panose="020B0502040204020203" pitchFamily="34" charset="0"/>
                <a:ea typeface="Segoe UI" panose="020B0502040204020203" pitchFamily="34" charset="0"/>
              </a:rPr>
              <a:t>to</a:t>
            </a:r>
            <a:r>
              <a:rPr lang="en-US" sz="1800">
                <a:effectLst/>
                <a:latin typeface="Segoe UI" panose="020B0502040204020203" pitchFamily="34" charset="0"/>
                <a:ea typeface="Segoe UI" panose="020B0502040204020203" pitchFamily="34" charset="0"/>
              </a:rPr>
              <a:t> resources such as modern SaaS apps and legacy on-premises servers and file shares. </a:t>
            </a:r>
            <a:br>
              <a:rPr lang="en-US" sz="1800">
                <a:effectLst/>
                <a:latin typeface="Segoe UI" panose="020B0502040204020203" pitchFamily="34" charset="0"/>
                <a:ea typeface="Segoe UI" panose="020B0502040204020203" pitchFamily="34" charset="0"/>
              </a:rPr>
            </a:br>
            <a:br>
              <a:rPr lang="en-US" sz="1800">
                <a:effectLst/>
                <a:latin typeface="Segoe UI" panose="020B0502040204020203" pitchFamily="34" charset="0"/>
                <a:ea typeface="Segoe UI" panose="020B0502040204020203" pitchFamily="34" charset="0"/>
              </a:rPr>
            </a:br>
            <a:r>
              <a:rPr lang="en-US" sz="1800" b="1">
                <a:effectLst/>
                <a:latin typeface="Segoe UI" panose="020B0502040204020203" pitchFamily="34" charset="0"/>
                <a:ea typeface="Segoe UI" panose="020B0502040204020203" pitchFamily="34" charset="0"/>
              </a:rPr>
              <a:t>And</a:t>
            </a:r>
            <a:r>
              <a:rPr lang="en-US" sz="1800">
                <a:effectLst/>
                <a:latin typeface="Segoe UI" panose="020B0502040204020203" pitchFamily="34" charset="0"/>
                <a:ea typeface="Segoe UI" panose="020B0502040204020203" pitchFamily="34" charset="0"/>
              </a:rPr>
              <a:t> it means protecting access to resources whether access requests come from within your corporate network or over the open internet.</a:t>
            </a:r>
            <a:endParaRPr lang="en-US" sz="1800" kern="100">
              <a:solidFill>
                <a:srgbClr val="000000"/>
              </a:solidFill>
              <a:effectLst/>
              <a:latin typeface="Segoe UI" panose="020B0502040204020203"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0B72AC6C-CC1F-48C5-EC59-9C94AFB9A78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446BCA-DC63-6348-B4F5-09046F72909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012045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B45BEF-6B39-6414-F5C1-7D8CB59FD7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F4CFB92-4A1A-7BBA-A8A6-DF7C6A70CAB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4674393-B6AF-7FBE-73B2-D86910B69143}"/>
              </a:ext>
            </a:extLst>
          </p:cNvPr>
          <p:cNvSpPr>
            <a:spLocks noGrp="1"/>
          </p:cNvSpPr>
          <p:nvPr>
            <p:ph type="body" idx="1"/>
          </p:nvPr>
        </p:nvSpPr>
        <p:spPr/>
        <p:txBody>
          <a:bodyPr/>
          <a:lstStyle/>
          <a:p>
            <a:pPr marL="0" marR="0">
              <a:lnSpc>
                <a:spcPct val="115000"/>
              </a:lnSpc>
              <a:spcAft>
                <a:spcPts val="900"/>
              </a:spcAft>
              <a:buNone/>
            </a:pPr>
            <a:r>
              <a:rPr lang="en-US" sz="1800" kern="100">
                <a:effectLst/>
                <a:latin typeface="Segoe UI" panose="020B0502040204020203" pitchFamily="34" charset="0"/>
                <a:ea typeface="Segoe UI" panose="020B0502040204020203" pitchFamily="34" charset="0"/>
                <a:cs typeface="Arial" panose="020B0604020202020204" pitchFamily="34" charset="0"/>
              </a:rPr>
              <a:t>The Entra Suite includes five deeply integrated products to give you a complete solution for Zero Trust user access:  </a:t>
            </a:r>
            <a:endParaRPr lang="en-US" sz="1800" kern="100">
              <a:effectLst/>
              <a:latin typeface="Aptos" panose="020B0004020202020204" pitchFamily="34" charset="0"/>
              <a:ea typeface="Aptos" panose="020B0004020202020204" pitchFamily="34" charset="0"/>
              <a:cs typeface="Arial" panose="020B0604020202020204" pitchFamily="34" charset="0"/>
            </a:endParaRPr>
          </a:p>
          <a:p>
            <a:pPr marL="342900" marR="0" lvl="0" indent="-342900">
              <a:lnSpc>
                <a:spcPct val="115000"/>
              </a:lnSpc>
              <a:spcAft>
                <a:spcPts val="900"/>
              </a:spcAft>
              <a:buFont typeface="+mj-lt"/>
              <a:buAutoNum type="arabicPeriod"/>
            </a:pPr>
            <a:r>
              <a:rPr lang="en-US" sz="1800" kern="100">
                <a:effectLst/>
                <a:latin typeface="Segoe UI" panose="020B0502040204020203" pitchFamily="34" charset="0"/>
                <a:ea typeface="Segoe UI" panose="020B0502040204020203" pitchFamily="34" charset="0"/>
                <a:cs typeface="Arial" panose="020B0604020202020204" pitchFamily="34" charset="0"/>
              </a:rPr>
              <a:t>Microsoft Entra Private Access replaces legacy VPNs and extends MFA and Conditional Access to all resources.</a:t>
            </a:r>
            <a:endParaRPr lang="en-US" sz="1800" kern="100">
              <a:effectLst/>
              <a:latin typeface="Aptos" panose="020B0004020202020204" pitchFamily="34" charset="0"/>
              <a:ea typeface="Aptos" panose="020B0004020202020204" pitchFamily="34" charset="0"/>
              <a:cs typeface="Arial" panose="020B0604020202020204" pitchFamily="34" charset="0"/>
            </a:endParaRPr>
          </a:p>
          <a:p>
            <a:pPr marL="342900" marR="0" lvl="0" indent="-342900">
              <a:lnSpc>
                <a:spcPct val="115000"/>
              </a:lnSpc>
              <a:spcAft>
                <a:spcPts val="900"/>
              </a:spcAft>
              <a:buFont typeface="+mj-lt"/>
              <a:buAutoNum type="arabicPeriod"/>
            </a:pPr>
            <a:r>
              <a:rPr lang="en-US" sz="1800" kern="100">
                <a:effectLst/>
                <a:latin typeface="Segoe UI" panose="020B0502040204020203" pitchFamily="34" charset="0"/>
                <a:ea typeface="Segoe UI" panose="020B0502040204020203" pitchFamily="34" charset="0"/>
                <a:cs typeface="Arial" panose="020B0604020202020204" pitchFamily="34" charset="0"/>
              </a:rPr>
              <a:t>Microsoft Entra Internet Access is our identity-centric Secure Web Gateway to protect against threats of the open Internet.</a:t>
            </a:r>
            <a:endParaRPr lang="en-US" sz="1800" kern="100">
              <a:effectLst/>
              <a:latin typeface="Aptos" panose="020B0004020202020204" pitchFamily="34" charset="0"/>
              <a:ea typeface="Aptos" panose="020B0004020202020204" pitchFamily="34" charset="0"/>
              <a:cs typeface="Arial" panose="020B0604020202020204" pitchFamily="34" charset="0"/>
            </a:endParaRPr>
          </a:p>
          <a:p>
            <a:pPr marL="342900" marR="0" lvl="0" indent="-342900">
              <a:lnSpc>
                <a:spcPct val="115000"/>
              </a:lnSpc>
              <a:spcAft>
                <a:spcPts val="900"/>
              </a:spcAft>
              <a:buFont typeface="+mj-lt"/>
              <a:buAutoNum type="arabicPeriod"/>
            </a:pPr>
            <a:r>
              <a:rPr lang="en-US" sz="1800" kern="100">
                <a:effectLst/>
                <a:latin typeface="Segoe UI" panose="020B0502040204020203" pitchFamily="34" charset="0"/>
                <a:ea typeface="Segoe UI" panose="020B0502040204020203" pitchFamily="34" charset="0"/>
                <a:cs typeface="Arial" panose="020B0604020202020204" pitchFamily="34" charset="0"/>
              </a:rPr>
              <a:t>Microsoft Entra ID Governance ensures least-privilege access for any user.</a:t>
            </a:r>
            <a:endParaRPr lang="en-US" sz="1800" kern="100">
              <a:effectLst/>
              <a:latin typeface="Aptos" panose="020B0004020202020204" pitchFamily="34" charset="0"/>
              <a:ea typeface="Aptos" panose="020B0004020202020204" pitchFamily="34" charset="0"/>
              <a:cs typeface="Arial" panose="020B0604020202020204" pitchFamily="34" charset="0"/>
            </a:endParaRPr>
          </a:p>
          <a:p>
            <a:pPr marL="342900" marR="0" lvl="0" indent="-342900">
              <a:lnSpc>
                <a:spcPct val="115000"/>
              </a:lnSpc>
              <a:spcAft>
                <a:spcPts val="900"/>
              </a:spcAft>
              <a:buFont typeface="+mj-lt"/>
              <a:buAutoNum type="arabicPeriod"/>
            </a:pPr>
            <a:r>
              <a:rPr lang="en-US" sz="1800" kern="100">
                <a:effectLst/>
                <a:latin typeface="Segoe UI" panose="020B0502040204020203" pitchFamily="34" charset="0"/>
                <a:ea typeface="Segoe UI" panose="020B0502040204020203" pitchFamily="34" charset="0"/>
                <a:cs typeface="Arial" panose="020B0604020202020204" pitchFamily="34" charset="0"/>
              </a:rPr>
              <a:t>Microsoft Entra ID Protection prevents identity compromise with real-time risk assessment for every sign in and every user, powered by cloud-scale machine learning. </a:t>
            </a:r>
            <a:endParaRPr lang="en-US" sz="1800" kern="100">
              <a:effectLst/>
              <a:latin typeface="Aptos" panose="020B0004020202020204" pitchFamily="34" charset="0"/>
              <a:ea typeface="Segoe UI" panose="020B0502040204020203" pitchFamily="34" charset="0"/>
              <a:cs typeface="Arial" panose="020B0604020202020204" pitchFamily="34" charset="0"/>
            </a:endParaRPr>
          </a:p>
          <a:p>
            <a:pPr marL="342900" marR="0" lvl="0" indent="-342900">
              <a:lnSpc>
                <a:spcPct val="115000"/>
              </a:lnSpc>
              <a:spcAft>
                <a:spcPts val="900"/>
              </a:spcAft>
              <a:buFont typeface="+mj-lt"/>
              <a:buAutoNum type="arabicPeriod"/>
            </a:pPr>
            <a:r>
              <a:rPr lang="en-US" sz="1800">
                <a:effectLst/>
                <a:latin typeface="Segoe UI" panose="020B0502040204020203" pitchFamily="34" charset="0"/>
                <a:ea typeface="Segoe UI" panose="020B0502040204020203" pitchFamily="34" charset="0"/>
              </a:rPr>
              <a:t>And Microsoft Entra Verified ID, which makes it possible to verify people’s identities in real-time in a privacy-respecting way.</a:t>
            </a:r>
          </a:p>
          <a:p>
            <a:pPr marL="342900" marR="0" lvl="0" indent="-342900">
              <a:lnSpc>
                <a:spcPct val="115000"/>
              </a:lnSpc>
              <a:spcAft>
                <a:spcPts val="900"/>
              </a:spcAft>
              <a:buFont typeface="+mj-lt"/>
              <a:buAutoNum type="arabicPeriod"/>
            </a:pPr>
            <a:endParaRPr lang="en-US" sz="1800" kern="100">
              <a:solidFill>
                <a:srgbClr val="000000"/>
              </a:solidFill>
              <a:effectLst/>
              <a:latin typeface="Segoe UI" panose="020B0502040204020203" pitchFamily="34" charset="0"/>
              <a:cs typeface="Arial" panose="020B0604020202020204" pitchFamily="34" charset="0"/>
            </a:endParaRPr>
          </a:p>
          <a:p>
            <a:pPr marL="0" marR="0" lvl="0" indent="0">
              <a:lnSpc>
                <a:spcPct val="115000"/>
              </a:lnSpc>
              <a:spcAft>
                <a:spcPts val="900"/>
              </a:spcAft>
              <a:buFont typeface="+mj-lt"/>
              <a:buNone/>
            </a:pPr>
            <a:r>
              <a:rPr lang="en-US" sz="1800">
                <a:effectLst/>
                <a:latin typeface="Segoe UI" panose="020B0502040204020203" pitchFamily="34" charset="0"/>
                <a:ea typeface="Segoe UI" panose="020B0502040204020203" pitchFamily="34" charset="0"/>
              </a:rPr>
              <a:t>Because these five products work as one integrated solution, Entra Suite makes it easy to protect your employees identities and secure their access to any app or resource, regardless of where people choose to work—from the office, from home, or on the go.</a:t>
            </a:r>
            <a:endParaRPr lang="en-US" sz="1800" kern="100">
              <a:solidFill>
                <a:srgbClr val="000000"/>
              </a:solidFill>
              <a:effectLst/>
              <a:latin typeface="Segoe UI" panose="020B0502040204020203"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35501774-D01D-BFD1-7601-81FEF1CC0F0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446BCA-DC63-6348-B4F5-09046F72909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686639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2F73C8-A132-F6DD-9F1A-8929458649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3133200-6E5E-3342-1386-CDA3BC977BE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0CA7C43-F082-17C6-4E25-21C9E433F9F6}"/>
              </a:ext>
            </a:extLst>
          </p:cNvPr>
          <p:cNvSpPr>
            <a:spLocks noGrp="1"/>
          </p:cNvSpPr>
          <p:nvPr>
            <p:ph type="body" idx="1"/>
          </p:nvPr>
        </p:nvSpPr>
        <p:spPr/>
        <p:txBody>
          <a:bodyPr/>
          <a:lstStyle/>
          <a:p>
            <a:pPr marL="0" marR="0">
              <a:lnSpc>
                <a:spcPct val="115000"/>
              </a:lnSpc>
              <a:spcAft>
                <a:spcPts val="900"/>
              </a:spcAft>
            </a:pPr>
            <a:r>
              <a:rPr lang="en-US" sz="1800" kern="100">
                <a:effectLst/>
                <a:latin typeface="Segoe UI" panose="020B0502040204020203" pitchFamily="34" charset="0"/>
                <a:ea typeface="Segoe UI" panose="020B0502040204020203" pitchFamily="34" charset="0"/>
                <a:cs typeface="Arial" panose="020B0604020202020204" pitchFamily="34" charset="0"/>
              </a:rPr>
              <a:t>While this solution has many benefits, I’d like to highlight the top four:</a:t>
            </a:r>
            <a:endParaRPr lang="en-US" sz="1800" kern="100">
              <a:effectLst/>
              <a:latin typeface="Aptos" panose="020B0004020202020204" pitchFamily="34" charset="0"/>
              <a:ea typeface="Aptos" panose="020B0004020202020204" pitchFamily="34" charset="0"/>
              <a:cs typeface="Arial" panose="020B0604020202020204" pitchFamily="34" charset="0"/>
            </a:endParaRPr>
          </a:p>
          <a:p>
            <a:pPr marL="173736" marR="0" lvl="0" indent="-173736">
              <a:lnSpc>
                <a:spcPct val="115000"/>
              </a:lnSpc>
              <a:spcBef>
                <a:spcPts val="600"/>
              </a:spcBef>
              <a:spcAft>
                <a:spcPts val="900"/>
              </a:spcAft>
              <a:buFont typeface="Arial" panose="020B0604020202020204" pitchFamily="34" charset="0"/>
              <a:buChar char="•"/>
            </a:pPr>
            <a:r>
              <a:rPr lang="en-US" sz="1800" kern="100">
                <a:solidFill>
                  <a:srgbClr val="000000"/>
                </a:solidFill>
                <a:effectLst/>
                <a:latin typeface="Segoe UI" panose="020B0502040204020203" pitchFamily="34" charset="0"/>
                <a:cs typeface="Arial" panose="020B0604020202020204" pitchFamily="34" charset="0"/>
              </a:rPr>
              <a:t>It unifies the access policy engine across identities, endpoints, and networks.</a:t>
            </a:r>
          </a:p>
          <a:p>
            <a:pPr marL="173736" marR="0" lvl="0" indent="-173736">
              <a:lnSpc>
                <a:spcPct val="115000"/>
              </a:lnSpc>
              <a:spcBef>
                <a:spcPts val="600"/>
              </a:spcBef>
              <a:spcAft>
                <a:spcPts val="900"/>
              </a:spcAft>
              <a:buFont typeface="Arial" panose="020B0604020202020204" pitchFamily="34" charset="0"/>
              <a:buChar char="•"/>
            </a:pPr>
            <a:r>
              <a:rPr lang="en-US" sz="1800" kern="100">
                <a:solidFill>
                  <a:srgbClr val="000000"/>
                </a:solidFill>
                <a:effectLst/>
                <a:latin typeface="Segoe UI" panose="020B0502040204020203" pitchFamily="34" charset="0"/>
                <a:cs typeface="Arial" panose="020B0604020202020204" pitchFamily="34" charset="0"/>
              </a:rPr>
              <a:t>It enforces least privilege access for all users to any app or resource, including AI models.</a:t>
            </a:r>
          </a:p>
          <a:p>
            <a:pPr marL="173736" marR="0" lvl="0" indent="-173736">
              <a:lnSpc>
                <a:spcPct val="115000"/>
              </a:lnSpc>
              <a:spcBef>
                <a:spcPts val="600"/>
              </a:spcBef>
              <a:spcAft>
                <a:spcPts val="900"/>
              </a:spcAft>
              <a:buFont typeface="Arial" panose="020B0604020202020204" pitchFamily="34" charset="0"/>
              <a:buChar char="•"/>
            </a:pPr>
            <a:r>
              <a:rPr lang="en-US" sz="1800" kern="100">
                <a:solidFill>
                  <a:srgbClr val="000000"/>
                </a:solidFill>
                <a:effectLst/>
                <a:latin typeface="Segoe UI" panose="020B0502040204020203" pitchFamily="34" charset="0"/>
                <a:cs typeface="Arial" panose="020B0604020202020204" pitchFamily="34" charset="0"/>
              </a:rPr>
              <a:t>It simplifies the user experience for accessing any resource, from anywhere.</a:t>
            </a:r>
          </a:p>
          <a:p>
            <a:pPr marL="173736" marR="0" lvl="0" indent="-173736">
              <a:lnSpc>
                <a:spcPct val="115000"/>
              </a:lnSpc>
              <a:spcBef>
                <a:spcPts val="600"/>
              </a:spcBef>
              <a:spcAft>
                <a:spcPts val="900"/>
              </a:spcAft>
              <a:buFont typeface="Arial" panose="020B0604020202020204" pitchFamily="34" charset="0"/>
              <a:buChar char="•"/>
            </a:pPr>
            <a:r>
              <a:rPr lang="en-US" sz="1800" kern="100">
                <a:solidFill>
                  <a:srgbClr val="000000"/>
                </a:solidFill>
                <a:effectLst/>
                <a:latin typeface="Segoe UI" panose="020B0502040204020203" pitchFamily="34" charset="0"/>
                <a:cs typeface="Arial" panose="020B0604020202020204" pitchFamily="34" charset="0"/>
              </a:rPr>
              <a:t>It modernizes your security, retiring legacy tools like traditional firewalls/VPNs</a:t>
            </a:r>
          </a:p>
          <a:p>
            <a:pPr marL="0" marR="0" lvl="0" indent="0">
              <a:lnSpc>
                <a:spcPct val="115000"/>
              </a:lnSpc>
              <a:spcBef>
                <a:spcPts val="600"/>
              </a:spcBef>
              <a:spcAft>
                <a:spcPts val="900"/>
              </a:spcAft>
              <a:buFont typeface="Arial" panose="020B0604020202020204" pitchFamily="34" charset="0"/>
              <a:buNone/>
            </a:pPr>
            <a:endParaRPr lang="en-US" sz="1800" kern="100">
              <a:solidFill>
                <a:srgbClr val="000000"/>
              </a:solidFill>
              <a:effectLst/>
              <a:latin typeface="Segoe UI" panose="020B0502040204020203"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08C24507-A225-B8B9-6F85-5B4D14490F7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038372-57C7-4978-97AB-6A39C828F16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444950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nSpc>
                <a:spcPct val="115000"/>
              </a:lnSpc>
              <a:spcBef>
                <a:spcPts val="600"/>
              </a:spcBef>
              <a:spcAft>
                <a:spcPts val="900"/>
              </a:spcAft>
              <a:buFont typeface="Arial" panose="020B0604020202020204" pitchFamily="34" charset="0"/>
              <a:buChar char="•"/>
            </a:pPr>
            <a:r>
              <a:rPr lang="en-US" sz="1800" kern="100" dirty="0">
                <a:effectLst/>
                <a:latin typeface="Segoe UI" panose="020B0502040204020203" pitchFamily="34" charset="0"/>
                <a:ea typeface="Segoe UI" panose="020B0502040204020203" pitchFamily="34" charset="0"/>
                <a:cs typeface="Arial" panose="020B0604020202020204" pitchFamily="34" charset="0"/>
              </a:rPr>
              <a:t>What makes the suite so effective is the fact its powered by our unified access policy engine.</a:t>
            </a:r>
            <a:br>
              <a:rPr lang="en-US" sz="1800" kern="100" dirty="0">
                <a:effectLst/>
                <a:latin typeface="Segoe UI" panose="020B0502040204020203" pitchFamily="34" charset="0"/>
                <a:ea typeface="Segoe UI" panose="020B0502040204020203" pitchFamily="34" charset="0"/>
                <a:cs typeface="Arial" panose="020B0604020202020204" pitchFamily="34" charset="0"/>
              </a:rPr>
            </a:br>
            <a:r>
              <a:rPr lang="en-US" sz="1800" kern="100" dirty="0">
                <a:effectLst/>
                <a:latin typeface="Segoe UI" panose="020B0502040204020203" pitchFamily="34" charset="0"/>
                <a:ea typeface="Segoe UI" panose="020B0502040204020203" pitchFamily="34" charset="0"/>
                <a:cs typeface="Arial" panose="020B0604020202020204" pitchFamily="34" charset="0"/>
              </a:rPr>
              <a:t>Conditional Access is a critical component of their Zero Trust deployments. It checks numerous conditions, including location, endpoint context, and user and sign-in risk. </a:t>
            </a:r>
          </a:p>
          <a:p>
            <a:pPr marL="285750" marR="0" indent="-285750">
              <a:lnSpc>
                <a:spcPct val="115000"/>
              </a:lnSpc>
              <a:spcBef>
                <a:spcPts val="600"/>
              </a:spcBef>
              <a:spcAft>
                <a:spcPts val="900"/>
              </a:spcAft>
              <a:buFont typeface="Arial" panose="020B0604020202020204" pitchFamily="34" charset="0"/>
              <a:buChar char="•"/>
            </a:pPr>
            <a:r>
              <a:rPr lang="en-US" sz="1800" kern="100" dirty="0">
                <a:effectLst/>
                <a:latin typeface="Segoe UI" panose="020B0502040204020203" pitchFamily="34" charset="0"/>
                <a:ea typeface="Segoe UI" panose="020B0502040204020203" pitchFamily="34" charset="0"/>
                <a:cs typeface="Arial" panose="020B0604020202020204" pitchFamily="34" charset="0"/>
              </a:rPr>
              <a:t>But often, organizations that adopted a modern networking solution also enforce another conditional access policy on the network layer. </a:t>
            </a:r>
          </a:p>
          <a:p>
            <a:pPr marL="285750" marR="0" indent="-285750">
              <a:lnSpc>
                <a:spcPct val="115000"/>
              </a:lnSpc>
              <a:spcBef>
                <a:spcPts val="600"/>
              </a:spcBef>
              <a:spcAft>
                <a:spcPts val="900"/>
              </a:spcAft>
              <a:buFont typeface="Arial" panose="020B0604020202020204" pitchFamily="34" charset="0"/>
              <a:buChar char="•"/>
            </a:pPr>
            <a:r>
              <a:rPr lang="en-US" sz="1800" kern="100" dirty="0">
                <a:effectLst/>
                <a:latin typeface="Segoe UI" panose="020B0502040204020203" pitchFamily="34" charset="0"/>
                <a:ea typeface="Segoe UI" panose="020B0502040204020203" pitchFamily="34" charset="0"/>
                <a:cs typeface="Arial" panose="020B0604020202020204" pitchFamily="34" charset="0"/>
              </a:rPr>
              <a:t>Usually, different teams configure those policies, and different security solutions enforce them. The policies either conflict or leave gaps, and the teams don’t coordinate well with each other. This may leave some access points less protected than others. </a:t>
            </a:r>
            <a:endParaRPr lang="en-US" sz="1800" kern="100" dirty="0">
              <a:effectLst/>
              <a:latin typeface="Aptos" panose="020B0004020202020204" pitchFamily="34" charset="0"/>
              <a:ea typeface="Aptos" panose="020B0004020202020204" pitchFamily="34" charset="0"/>
              <a:cs typeface="Arial" panose="020B0604020202020204" pitchFamily="34" charset="0"/>
            </a:endParaRPr>
          </a:p>
          <a:p>
            <a:pPr marL="285750" indent="-285750">
              <a:buFont typeface="Arial" panose="020B0604020202020204" pitchFamily="34" charset="0"/>
              <a:buChar char="•"/>
            </a:pPr>
            <a:r>
              <a:rPr lang="en-US" sz="1800" dirty="0">
                <a:effectLst/>
                <a:latin typeface="Segoe UI" panose="020B0502040204020203" pitchFamily="34" charset="0"/>
                <a:ea typeface="Segoe UI" panose="020B0502040204020203" pitchFamily="34" charset="0"/>
              </a:rPr>
              <a:t>With the Microsoft Entra Suite, security teams don’t have to choose one policy engine over the other. The Entra Suite enables one unified policy that reasons over identity, endpoint, and network!</a:t>
            </a:r>
            <a:endParaRPr lang="en-US" sz="1800" kern="100" dirty="0">
              <a:effectLst/>
              <a:latin typeface="Aptos" panose="020B0004020202020204" pitchFamily="34" charset="0"/>
              <a:ea typeface="Aptos" panose="020B0004020202020204" pitchFamily="34" charset="0"/>
              <a:cs typeface="Arial" panose="020B060402020202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5/2025 2:1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52587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nSpc>
                <a:spcPct val="115000"/>
              </a:lnSpc>
              <a:spcBef>
                <a:spcPts val="0"/>
              </a:spcBef>
              <a:spcAft>
                <a:spcPts val="900"/>
              </a:spcAft>
              <a:buFont typeface="Arial" panose="020B0604020202020204" pitchFamily="34" charset="0"/>
              <a:buChar char="•"/>
            </a:pPr>
            <a:r>
              <a:rPr lang="en-US" sz="1800" kern="100" dirty="0">
                <a:effectLst/>
                <a:latin typeface="Segoe UI" panose="020B0502040204020203" pitchFamily="34" charset="0"/>
                <a:ea typeface="Segoe UI" panose="020B0502040204020203" pitchFamily="34" charset="0"/>
                <a:cs typeface="Arial" panose="020B0604020202020204" pitchFamily="34" charset="0"/>
              </a:rPr>
              <a:t>This enables powerful new capabilities. </a:t>
            </a:r>
            <a:endParaRPr lang="en-US" sz="1800" kern="100" dirty="0">
              <a:effectLst/>
              <a:latin typeface="Aptos" panose="020B0004020202020204" pitchFamily="34" charset="0"/>
              <a:ea typeface="Aptos" panose="020B0004020202020204" pitchFamily="34" charset="0"/>
              <a:cs typeface="Arial" panose="020B0604020202020204" pitchFamily="34" charset="0"/>
            </a:endParaRPr>
          </a:p>
          <a:p>
            <a:pPr marL="285750" marR="0" indent="-285750">
              <a:lnSpc>
                <a:spcPct val="115000"/>
              </a:lnSpc>
              <a:spcBef>
                <a:spcPts val="0"/>
              </a:spcBef>
              <a:spcAft>
                <a:spcPts val="900"/>
              </a:spcAft>
              <a:buFont typeface="Arial" panose="020B0604020202020204" pitchFamily="34" charset="0"/>
              <a:buChar char="•"/>
            </a:pPr>
            <a:r>
              <a:rPr lang="en-US" sz="1800" kern="100" dirty="0">
                <a:effectLst/>
                <a:latin typeface="Segoe UI" panose="020B0502040204020203" pitchFamily="34" charset="0"/>
                <a:ea typeface="Segoe UI" panose="020B0502040204020203" pitchFamily="34" charset="0"/>
                <a:cs typeface="Arial" panose="020B0604020202020204" pitchFamily="34" charset="0"/>
              </a:rPr>
              <a:t>First, we can now extend continuous access evaluation to any application. This means that for any app or resource, a change in access conditions—let’s say a change in location—will immediately revoke an active user session, without any delay or requiring any action from identity or security operations teams. </a:t>
            </a:r>
            <a:endParaRPr lang="en-US" sz="1800" kern="100" dirty="0">
              <a:effectLst/>
              <a:latin typeface="Aptos" panose="020B0004020202020204" pitchFamily="34" charset="0"/>
              <a:ea typeface="Aptos" panose="020B0004020202020204" pitchFamily="34" charset="0"/>
              <a:cs typeface="Arial" panose="020B0604020202020204" pitchFamily="34" charset="0"/>
            </a:endParaRPr>
          </a:p>
          <a:p>
            <a:pPr marL="285750" indent="-285750">
              <a:buFont typeface="Arial" panose="020B0604020202020204" pitchFamily="34" charset="0"/>
              <a:buChar char="•"/>
            </a:pPr>
            <a:r>
              <a:rPr lang="en-US" sz="1800" dirty="0">
                <a:effectLst/>
                <a:latin typeface="Segoe UI" panose="020B0502040204020203" pitchFamily="34" charset="0"/>
                <a:ea typeface="Segoe UI" panose="020B0502040204020203" pitchFamily="34" charset="0"/>
              </a:rPr>
              <a:t>Next, it extends your Conditional Access to web traffic, legacy on-premises resources and cloud apps that aren’t yet integrated into single sign-on, for example, shadow IT apps. </a:t>
            </a:r>
            <a:endParaRPr lang="en-US" sz="1800" b="0" i="0" dirty="0">
              <a:solidFill>
                <a:srgbClr val="000000"/>
              </a:solidFill>
              <a:effectLst/>
              <a:latin typeface="Segoe UI" panose="020B0502040204020203" pitchFamily="34" charset="0"/>
            </a:endParaRPr>
          </a:p>
          <a:p>
            <a:pPr marL="285750" indent="-285750" algn="l" rtl="0" fontAlgn="base">
              <a:buFont typeface="Arial" panose="020B0604020202020204" pitchFamily="34" charset="0"/>
              <a:buChar char="•"/>
            </a:pPr>
            <a:endParaRPr lang="en-US" sz="1800" b="0" i="0" dirty="0">
              <a:solidFill>
                <a:srgbClr val="000000"/>
              </a:solidFill>
              <a:effectLst/>
              <a:latin typeface="Segoe UI" panose="020B0502040204020203" pitchFamily="34" charset="0"/>
            </a:endParaRPr>
          </a:p>
          <a:p>
            <a:pPr algn="l" rtl="0" fontAlgn="base">
              <a:buFont typeface="Arial" panose="020B0604020202020204" pitchFamily="34" charset="0"/>
              <a:buNone/>
            </a:pPr>
            <a:endParaRPr lang="en-US" sz="1800" b="0" i="0" dirty="0">
              <a:solidFill>
                <a:srgbClr val="000000"/>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5/2025 2:1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264937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nSpc>
                <a:spcPct val="115000"/>
              </a:lnSpc>
              <a:spcAft>
                <a:spcPts val="900"/>
              </a:spcAft>
              <a:buFont typeface="Arial" panose="020B0604020202020204" pitchFamily="34" charset="0"/>
              <a:buChar char="•"/>
            </a:pPr>
            <a:r>
              <a:rPr lang="en-US" sz="1000" kern="100" dirty="0">
                <a:effectLst/>
                <a:latin typeface="Segoe UI" panose="020B0502040204020203" pitchFamily="34" charset="0"/>
                <a:ea typeface="Segoe UI" panose="020B0502040204020203" pitchFamily="34" charset="0"/>
                <a:cs typeface="Arial" panose="020B0604020202020204" pitchFamily="34" charset="0"/>
              </a:rPr>
              <a:t>And Conditional Access itself is now much richer. We added a new condition, compliant network, which only allows access requests from your network to go through. </a:t>
            </a:r>
          </a:p>
          <a:p>
            <a:pPr marL="171450" marR="0" indent="-171450">
              <a:lnSpc>
                <a:spcPct val="115000"/>
              </a:lnSpc>
              <a:spcAft>
                <a:spcPts val="900"/>
              </a:spcAft>
              <a:buFont typeface="Arial" panose="020B0604020202020204" pitchFamily="34" charset="0"/>
              <a:buChar char="•"/>
            </a:pPr>
            <a:r>
              <a:rPr lang="en-US" sz="1000" kern="100" dirty="0">
                <a:effectLst/>
                <a:latin typeface="Segoe UI" panose="020B0502040204020203" pitchFamily="34" charset="0"/>
                <a:ea typeface="Segoe UI" panose="020B0502040204020203" pitchFamily="34" charset="0"/>
                <a:cs typeface="Arial" panose="020B0604020202020204" pitchFamily="34" charset="0"/>
              </a:rPr>
              <a:t>We added new resource types: on-premises apps and web traffic. </a:t>
            </a:r>
          </a:p>
          <a:p>
            <a:pPr marL="171450" marR="0" indent="-171450">
              <a:lnSpc>
                <a:spcPct val="115000"/>
              </a:lnSpc>
              <a:spcAft>
                <a:spcPts val="900"/>
              </a:spcAft>
              <a:buFont typeface="Arial" panose="020B0604020202020204" pitchFamily="34" charset="0"/>
              <a:buChar char="•"/>
            </a:pPr>
            <a:r>
              <a:rPr lang="en-US" sz="1000" kern="100" dirty="0">
                <a:effectLst/>
                <a:latin typeface="Segoe UI" panose="020B0502040204020203" pitchFamily="34" charset="0"/>
                <a:ea typeface="Segoe UI" panose="020B0502040204020203" pitchFamily="34" charset="0"/>
                <a:cs typeface="Arial" panose="020B0604020202020204" pitchFamily="34" charset="0"/>
              </a:rPr>
              <a:t>And we enabled new controls, including the ability to restrict or monitor access. </a:t>
            </a:r>
          </a:p>
          <a:p>
            <a:pPr marL="171450" indent="-171450">
              <a:buFont typeface="Arial" panose="020B0604020202020204" pitchFamily="34" charset="0"/>
              <a:buChar char="•"/>
            </a:pPr>
            <a:r>
              <a:rPr lang="en-US" sz="1000" dirty="0">
                <a:effectLst/>
                <a:latin typeface="Segoe UI" panose="020B0502040204020203" pitchFamily="34" charset="0"/>
                <a:ea typeface="Segoe UI" panose="020B0502040204020203" pitchFamily="34" charset="0"/>
              </a:rPr>
              <a:t>You can even require sophisticated controls like just-in-time access to external storage sites for specific user groups, such as a particular department or project team.</a:t>
            </a:r>
            <a:endParaRPr lang="en-US" sz="800"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5/2025 2:1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9789748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54.jpe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55.jpe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2.jpeg"/><Relationship Id="rId1" Type="http://schemas.openxmlformats.org/officeDocument/2006/relationships/slideMaster" Target="../slideMasters/slideMaster3.xml"/><Relationship Id="rId4" Type="http://schemas.openxmlformats.org/officeDocument/2006/relationships/image" Target="../media/image19.jpe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3.xml"/><Relationship Id="rId5" Type="http://schemas.openxmlformats.org/officeDocument/2006/relationships/image" Target="../media/image23.jpeg"/><Relationship Id="rId4" Type="http://schemas.openxmlformats.org/officeDocument/2006/relationships/image" Target="../media/image22.jpe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56.jpeg"/><Relationship Id="rId1" Type="http://schemas.openxmlformats.org/officeDocument/2006/relationships/slideMaster" Target="../slideMasters/slideMaster3.xml"/><Relationship Id="rId4" Type="http://schemas.openxmlformats.org/officeDocument/2006/relationships/image" Target="../media/image58.jpe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jpeg"/><Relationship Id="rId1" Type="http://schemas.openxmlformats.org/officeDocument/2006/relationships/slideMaster" Target="../slideMasters/slideMaster3.xml"/><Relationship Id="rId5" Type="http://schemas.openxmlformats.org/officeDocument/2006/relationships/image" Target="../media/image62.jpeg"/><Relationship Id="rId4" Type="http://schemas.openxmlformats.org/officeDocument/2006/relationships/image" Target="../media/image61.jpe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3.xml"/><Relationship Id="rId6" Type="http://schemas.openxmlformats.org/officeDocument/2006/relationships/image" Target="../media/image34.jpeg"/><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3.xml"/><Relationship Id="rId4" Type="http://schemas.openxmlformats.org/officeDocument/2006/relationships/image" Target="../media/image26.jpe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3.xml"/><Relationship Id="rId5" Type="http://schemas.openxmlformats.org/officeDocument/2006/relationships/image" Target="../media/image27.jpeg"/><Relationship Id="rId4" Type="http://schemas.openxmlformats.org/officeDocument/2006/relationships/image" Target="../media/image26.jpe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jpeg"/><Relationship Id="rId1" Type="http://schemas.openxmlformats.org/officeDocument/2006/relationships/slideMaster" Target="../slideMasters/slideMaster3.xml"/><Relationship Id="rId6" Type="http://schemas.openxmlformats.org/officeDocument/2006/relationships/image" Target="../media/image67.jpeg"/><Relationship Id="rId5" Type="http://schemas.openxmlformats.org/officeDocument/2006/relationships/image" Target="../media/image66.jpeg"/><Relationship Id="rId4" Type="http://schemas.openxmlformats.org/officeDocument/2006/relationships/image" Target="../media/image65.jpeg"/></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image" Target="../media/image9.jpeg"/></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2.jpeg"/><Relationship Id="rId1" Type="http://schemas.openxmlformats.org/officeDocument/2006/relationships/slideMaster" Target="../slideMasters/slideMaster4.xml"/><Relationship Id="rId4" Type="http://schemas.openxmlformats.org/officeDocument/2006/relationships/image" Target="../media/image19.jpeg"/></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4.xml"/><Relationship Id="rId5" Type="http://schemas.openxmlformats.org/officeDocument/2006/relationships/image" Target="../media/image23.jpeg"/><Relationship Id="rId4" Type="http://schemas.openxmlformats.org/officeDocument/2006/relationships/image" Target="../media/image22.jpeg"/></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4.xml"/><Relationship Id="rId5" Type="http://schemas.openxmlformats.org/officeDocument/2006/relationships/image" Target="../media/image27.jpeg"/><Relationship Id="rId4" Type="http://schemas.openxmlformats.org/officeDocument/2006/relationships/image" Target="../media/image26.jpeg"/></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4.xml"/><Relationship Id="rId6" Type="http://schemas.openxmlformats.org/officeDocument/2006/relationships/image" Target="../media/image34.jpeg"/><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5.xml"/><Relationship Id="rId4" Type="http://schemas.openxmlformats.org/officeDocument/2006/relationships/image" Target="../media/image3.png"/></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9.jpe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76.emf"/><Relationship Id="rId2" Type="http://schemas.openxmlformats.org/officeDocument/2006/relationships/image" Target="../media/image75.jpeg"/><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7.jpeg"/><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jpeg"/><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0.jpeg"/><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81.jpeg"/><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81.jpeg"/><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2.jpeg"/><Relationship Id="rId1" Type="http://schemas.openxmlformats.org/officeDocument/2006/relationships/slideMaster" Target="../slideMasters/slideMaster6.xml"/><Relationship Id="rId4" Type="http://schemas.openxmlformats.org/officeDocument/2006/relationships/image" Target="../media/image19.jpeg"/></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2.jpeg"/><Relationship Id="rId1" Type="http://schemas.openxmlformats.org/officeDocument/2006/relationships/slideMaster" Target="../slideMasters/slideMaster6.xml"/><Relationship Id="rId5" Type="http://schemas.openxmlformats.org/officeDocument/2006/relationships/image" Target="../media/image83.jpeg"/><Relationship Id="rId4" Type="http://schemas.openxmlformats.org/officeDocument/2006/relationships/image" Target="../media/image19.jpeg"/></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56.jpeg"/><Relationship Id="rId1" Type="http://schemas.openxmlformats.org/officeDocument/2006/relationships/slideMaster" Target="../slideMasters/slideMaster6.xml"/><Relationship Id="rId4" Type="http://schemas.openxmlformats.org/officeDocument/2006/relationships/image" Target="../media/image58.jpe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image" Target="../media/image84.jpeg"/><Relationship Id="rId1" Type="http://schemas.openxmlformats.org/officeDocument/2006/relationships/slideMaster" Target="../slideMasters/slideMaster6.xml"/><Relationship Id="rId5" Type="http://schemas.openxmlformats.org/officeDocument/2006/relationships/image" Target="../media/image87.jpeg"/><Relationship Id="rId4" Type="http://schemas.openxmlformats.org/officeDocument/2006/relationships/image" Target="../media/image86.jpeg"/></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2.jpeg"/><Relationship Id="rId1" Type="http://schemas.openxmlformats.org/officeDocument/2006/relationships/slideMaster" Target="../slideMasters/slideMaster6.xml"/><Relationship Id="rId6" Type="http://schemas.openxmlformats.org/officeDocument/2006/relationships/image" Target="../media/image88.jpeg"/><Relationship Id="rId5" Type="http://schemas.openxmlformats.org/officeDocument/2006/relationships/image" Target="../media/image83.jpeg"/><Relationship Id="rId4" Type="http://schemas.openxmlformats.org/officeDocument/2006/relationships/image" Target="../media/image19.jpe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2.jpeg"/><Relationship Id="rId1" Type="http://schemas.openxmlformats.org/officeDocument/2006/relationships/slideMaster" Target="../slideMasters/slideMaster6.xml"/><Relationship Id="rId4" Type="http://schemas.openxmlformats.org/officeDocument/2006/relationships/image" Target="../media/image19.jpeg"/></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2.jpeg"/><Relationship Id="rId1" Type="http://schemas.openxmlformats.org/officeDocument/2006/relationships/slideMaster" Target="../slideMasters/slideMaster6.xml"/><Relationship Id="rId5" Type="http://schemas.openxmlformats.org/officeDocument/2006/relationships/image" Target="../media/image83.jpeg"/><Relationship Id="rId4" Type="http://schemas.openxmlformats.org/officeDocument/2006/relationships/image" Target="../media/image19.jpeg"/></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image" Target="../media/image89.jpeg"/><Relationship Id="rId1" Type="http://schemas.openxmlformats.org/officeDocument/2006/relationships/slideMaster" Target="../slideMasters/slideMaster6.xml"/><Relationship Id="rId6" Type="http://schemas.openxmlformats.org/officeDocument/2006/relationships/image" Target="../media/image93.jpeg"/><Relationship Id="rId5" Type="http://schemas.openxmlformats.org/officeDocument/2006/relationships/image" Target="../media/image92.jpeg"/><Relationship Id="rId4" Type="http://schemas.openxmlformats.org/officeDocument/2006/relationships/image" Target="../media/image91.jpeg"/></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94.jpeg"/><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95.jpeg"/><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0.jpeg"/><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76.emf"/><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76.emf"/><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100.jpeg"/><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jpeg"/><Relationship Id="rId1" Type="http://schemas.openxmlformats.org/officeDocument/2006/relationships/slideMaster" Target="../slideMasters/slideMaster6.xml"/><Relationship Id="rId4" Type="http://schemas.openxmlformats.org/officeDocument/2006/relationships/image" Target="../media/image103.svg"/></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6.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Master" Target="../slideMasters/slideMaster6.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jpeg"/><Relationship Id="rId1" Type="http://schemas.openxmlformats.org/officeDocument/2006/relationships/slideMaster" Target="../slideMasters/slideMaster6.xml"/><Relationship Id="rId4" Type="http://schemas.openxmlformats.org/officeDocument/2006/relationships/image" Target="../media/image108.png"/></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9.pn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111.jpeg"/><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4.jpeg"/><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114.jpeg"/><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5.jpeg"/><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Master" Target="../slideMasters/slideMaster7.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7.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7.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2.jpeg"/><Relationship Id="rId1" Type="http://schemas.openxmlformats.org/officeDocument/2006/relationships/slideMaster" Target="../slideMasters/slideMaster7.xml"/><Relationship Id="rId4" Type="http://schemas.openxmlformats.org/officeDocument/2006/relationships/image" Target="../media/image19.jpeg"/></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2.jpeg"/><Relationship Id="rId1" Type="http://schemas.openxmlformats.org/officeDocument/2006/relationships/slideMaster" Target="../slideMasters/slideMaster7.xml"/><Relationship Id="rId5" Type="http://schemas.openxmlformats.org/officeDocument/2006/relationships/image" Target="../media/image83.jpeg"/><Relationship Id="rId4" Type="http://schemas.openxmlformats.org/officeDocument/2006/relationships/image" Target="../media/image19.jpeg"/></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Master" Target="../slideMasters/slideMaster7.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56.jpeg"/><Relationship Id="rId1" Type="http://schemas.openxmlformats.org/officeDocument/2006/relationships/slideMaster" Target="../slideMasters/slideMaster7.xml"/><Relationship Id="rId4" Type="http://schemas.openxmlformats.org/officeDocument/2006/relationships/image" Target="../media/image58.jpeg"/></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image" Target="../media/image84.jpeg"/><Relationship Id="rId1" Type="http://schemas.openxmlformats.org/officeDocument/2006/relationships/slideMaster" Target="../slideMasters/slideMaster7.xml"/><Relationship Id="rId5" Type="http://schemas.openxmlformats.org/officeDocument/2006/relationships/image" Target="../media/image87.jpeg"/><Relationship Id="rId4" Type="http://schemas.openxmlformats.org/officeDocument/2006/relationships/image" Target="../media/image86.jpeg"/></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2.jpeg"/><Relationship Id="rId1" Type="http://schemas.openxmlformats.org/officeDocument/2006/relationships/slideMaster" Target="../slideMasters/slideMaster7.xml"/><Relationship Id="rId6" Type="http://schemas.openxmlformats.org/officeDocument/2006/relationships/image" Target="../media/image88.jpeg"/><Relationship Id="rId5" Type="http://schemas.openxmlformats.org/officeDocument/2006/relationships/image" Target="../media/image83.jpeg"/><Relationship Id="rId4" Type="http://schemas.openxmlformats.org/officeDocument/2006/relationships/image" Target="../media/image19.jpeg"/></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2.jpeg"/><Relationship Id="rId1" Type="http://schemas.openxmlformats.org/officeDocument/2006/relationships/slideMaster" Target="../slideMasters/slideMaster7.xml"/><Relationship Id="rId4" Type="http://schemas.openxmlformats.org/officeDocument/2006/relationships/image" Target="../media/image19.jpeg"/></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2.jpeg"/><Relationship Id="rId1" Type="http://schemas.openxmlformats.org/officeDocument/2006/relationships/slideMaster" Target="../slideMasters/slideMaster7.xml"/><Relationship Id="rId5" Type="http://schemas.openxmlformats.org/officeDocument/2006/relationships/image" Target="../media/image83.jpeg"/><Relationship Id="rId4" Type="http://schemas.openxmlformats.org/officeDocument/2006/relationships/image" Target="../media/image19.jpeg"/></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2.jpeg"/><Relationship Id="rId1" Type="http://schemas.openxmlformats.org/officeDocument/2006/relationships/slideMaster" Target="../slideMasters/slideMaster7.xml"/><Relationship Id="rId6" Type="http://schemas.openxmlformats.org/officeDocument/2006/relationships/image" Target="../media/image88.jpeg"/><Relationship Id="rId5" Type="http://schemas.openxmlformats.org/officeDocument/2006/relationships/image" Target="../media/image83.jpeg"/><Relationship Id="rId4" Type="http://schemas.openxmlformats.org/officeDocument/2006/relationships/image" Target="../media/image19.jpe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Master" Target="../slideMasters/slideMaster7.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Master" Target="../slideMasters/slideMaster7.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Master" Target="../slideMasters/slideMaster7.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115.jpeg"/><Relationship Id="rId1" Type="http://schemas.openxmlformats.org/officeDocument/2006/relationships/slideMaster" Target="../slideMasters/slideMaster7.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Master" Target="../slideMasters/slideMaster7.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9.jpe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2.xml"/><Relationship Id="rId5" Type="http://schemas.openxmlformats.org/officeDocument/2006/relationships/image" Target="../media/image23.jpeg"/><Relationship Id="rId4" Type="http://schemas.openxmlformats.org/officeDocument/2006/relationships/image" Target="../media/image22.jpe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2.xml"/><Relationship Id="rId5" Type="http://schemas.openxmlformats.org/officeDocument/2006/relationships/image" Target="../media/image27.jpeg"/><Relationship Id="rId4" Type="http://schemas.openxmlformats.org/officeDocument/2006/relationships/image" Target="../media/image26.jpe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2.xml"/><Relationship Id="rId6" Type="http://schemas.openxmlformats.org/officeDocument/2006/relationships/image" Target="../media/image34.jpeg"/><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8.jpeg"/><Relationship Id="rId1" Type="http://schemas.openxmlformats.org/officeDocument/2006/relationships/slideMaster" Target="../slideMasters/slideMaster3.xml"/><Relationship Id="rId4" Type="http://schemas.openxmlformats.org/officeDocument/2006/relationships/image" Target="../media/image39.sv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40.jpe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41.jpe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42.jpe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43.jpe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44.jpe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45.jpe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46.jpe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47.jpe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48.jpe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9.jpeg"/><Relationship Id="rId1" Type="http://schemas.openxmlformats.org/officeDocument/2006/relationships/slideMaster" Target="../slideMasters/slideMaster3.xml"/><Relationship Id="rId4" Type="http://schemas.openxmlformats.org/officeDocument/2006/relationships/image" Target="../media/image39.sv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0.jpeg"/><Relationship Id="rId1" Type="http://schemas.openxmlformats.org/officeDocument/2006/relationships/slideMaster" Target="../slideMasters/slideMaster3.xml"/><Relationship Id="rId4" Type="http://schemas.openxmlformats.org/officeDocument/2006/relationships/image" Target="../media/image39.sv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1.jpeg"/><Relationship Id="rId1" Type="http://schemas.openxmlformats.org/officeDocument/2006/relationships/slideMaster" Target="../slideMasters/slideMaster3.xml"/><Relationship Id="rId4" Type="http://schemas.openxmlformats.org/officeDocument/2006/relationships/image" Target="../media/image39.sv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2.jpeg"/><Relationship Id="rId1" Type="http://schemas.openxmlformats.org/officeDocument/2006/relationships/slideMaster" Target="../slideMasters/slideMaster3.xml"/><Relationship Id="rId4" Type="http://schemas.openxmlformats.org/officeDocument/2006/relationships/image" Target="../media/image39.sv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3.jpeg"/><Relationship Id="rId1" Type="http://schemas.openxmlformats.org/officeDocument/2006/relationships/slideMaster" Target="../slideMasters/slideMaster3.xml"/><Relationship Id="rId4" Type="http://schemas.openxmlformats.org/officeDocument/2006/relationships/image" Target="../media/image39.sv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2.jpeg"/><Relationship Id="rId1" Type="http://schemas.openxmlformats.org/officeDocument/2006/relationships/slideMaster" Target="../slideMasters/slideMaster3.xml"/><Relationship Id="rId4" Type="http://schemas.openxmlformats.org/officeDocument/2006/relationships/image" Target="../media/image19.jpe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jpe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resentation">
    <p:bg>
      <p:bgPr>
        <a:gradFill>
          <a:gsLst>
            <a:gs pos="2000">
              <a:srgbClr val="0179D4"/>
            </a:gs>
            <a:gs pos="32000">
              <a:srgbClr val="2CB6FF"/>
            </a:gs>
            <a:gs pos="44000">
              <a:srgbClr val="2DB6FF"/>
            </a:gs>
            <a:gs pos="81000">
              <a:srgbClr val="D962FA"/>
            </a:gs>
            <a:gs pos="96000">
              <a:srgbClr val="F69991"/>
            </a:gs>
          </a:gsLst>
          <a:lin ang="3600000" scaled="0"/>
        </a:gradFill>
        <a:effectLst/>
      </p:bgPr>
    </p:bg>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E9233ADA-E271-6E93-F32E-718454D76C3D}"/>
              </a:ext>
            </a:extLst>
          </p:cNvPr>
          <p:cNvSpPr/>
          <p:nvPr userDrawn="1"/>
        </p:nvSpPr>
        <p:spPr>
          <a:xfrm>
            <a:off x="322521" y="283028"/>
            <a:ext cx="11546958" cy="6291943"/>
          </a:xfrm>
          <a:prstGeom prst="roundRect">
            <a:avLst>
              <a:gd name="adj" fmla="val 3511"/>
            </a:avLst>
          </a:prstGeom>
          <a:solidFill>
            <a:srgbClr val="091F2C">
              <a:alpha val="8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758597" y="2922191"/>
            <a:ext cx="8193024" cy="1495794"/>
          </a:xfrm>
          <a:noFill/>
        </p:spPr>
        <p:txBody>
          <a:bodyPr wrap="square" lIns="0" tIns="0" rIns="0" bIns="0" anchor="b" anchorCtr="0">
            <a:spAutoFit/>
          </a:bodyPr>
          <a:lstStyle>
            <a:lvl1pPr algn="l">
              <a:defRPr sz="5400" b="1" i="0" spc="-50" baseline="0">
                <a:gradFill>
                  <a:gsLst>
                    <a:gs pos="2000">
                      <a:srgbClr val="0179D4"/>
                    </a:gs>
                    <a:gs pos="32000">
                      <a:srgbClr val="2CB6FF"/>
                    </a:gs>
                    <a:gs pos="44000">
                      <a:srgbClr val="2DB6FF"/>
                    </a:gs>
                    <a:gs pos="81000">
                      <a:srgbClr val="D962FA"/>
                    </a:gs>
                    <a:gs pos="96000">
                      <a:srgbClr val="F69991"/>
                    </a:gs>
                  </a:gsLst>
                  <a:lin ang="3600000" scaled="0"/>
                </a:gradFill>
                <a:latin typeface="Segoe UI" panose="020B0502040204020203" pitchFamily="34" charset="0"/>
                <a:cs typeface="Segoe UI" panose="020B0502040204020203" pitchFamily="34" charset="0"/>
              </a:defRPr>
            </a:lvl1pPr>
          </a:lstStyle>
          <a:p>
            <a:r>
              <a:rPr lang="en-US" dirty="0"/>
              <a:t>Event name or </a:t>
            </a:r>
            <a:br>
              <a:rPr lang="en-US" dirty="0"/>
            </a:br>
            <a:r>
              <a:rPr lang="en-US" dirty="0"/>
              <a:t>presentation title </a:t>
            </a:r>
          </a:p>
        </p:txBody>
      </p:sp>
      <p:sp>
        <p:nvSpPr>
          <p:cNvPr id="3" name="Subtitle">
            <a:extLst>
              <a:ext uri="{FF2B5EF4-FFF2-40B4-BE49-F238E27FC236}">
                <a16:creationId xmlns:a16="http://schemas.microsoft.com/office/drawing/2014/main" id="{AA1ADBE6-5E29-7A6B-E210-597F443C7BFA}"/>
              </a:ext>
            </a:extLst>
          </p:cNvPr>
          <p:cNvSpPr>
            <a:spLocks noGrp="1"/>
          </p:cNvSpPr>
          <p:nvPr>
            <p:ph type="body" sz="quarter" idx="12" hasCustomPrompt="1"/>
          </p:nvPr>
        </p:nvSpPr>
        <p:spPr>
          <a:xfrm>
            <a:off x="758597" y="4573783"/>
            <a:ext cx="8193024" cy="276999"/>
          </a:xfrm>
          <a:prstGeom prst="rect">
            <a:avLst/>
          </a:prstGeom>
          <a:noFill/>
        </p:spPr>
        <p:txBody>
          <a:bodyPr wrap="square" lIns="0" tIns="0" rIns="0" bIns="0">
            <a:spAutoFit/>
          </a:bodyPr>
          <a:lstStyle>
            <a:lvl1pPr marL="0" indent="0">
              <a:spcBef>
                <a:spcPts val="0"/>
              </a:spcBef>
              <a:buNone/>
              <a:defRPr sz="2000" spc="0" baseline="0">
                <a:solidFill>
                  <a:schemeClr val="bg1"/>
                </a:solidFill>
                <a:latin typeface="Segoe UI" panose="020B0502040204020203" pitchFamily="34" charset="0"/>
                <a:cs typeface="Segoe UI" panose="020B0502040204020203" pitchFamily="34" charset="0"/>
              </a:defRPr>
            </a:lvl1pPr>
          </a:lstStyle>
          <a:p>
            <a:pPr lvl="0"/>
            <a:r>
              <a:rPr lang="en-US" dirty="0"/>
              <a:t>Speaker name or subtitle</a:t>
            </a:r>
          </a:p>
        </p:txBody>
      </p:sp>
      <p:sp>
        <p:nvSpPr>
          <p:cNvPr id="9" name="Text Placeholder 4">
            <a:extLst>
              <a:ext uri="{FF2B5EF4-FFF2-40B4-BE49-F238E27FC236}">
                <a16:creationId xmlns:a16="http://schemas.microsoft.com/office/drawing/2014/main" id="{9D791B19-58A7-CCC1-7E59-596D25308565}"/>
              </a:ext>
            </a:extLst>
          </p:cNvPr>
          <p:cNvSpPr>
            <a:spLocks noGrp="1"/>
          </p:cNvSpPr>
          <p:nvPr>
            <p:ph type="body" sz="quarter" idx="13" hasCustomPrompt="1"/>
          </p:nvPr>
        </p:nvSpPr>
        <p:spPr>
          <a:xfrm>
            <a:off x="758597" y="6135070"/>
            <a:ext cx="1645920" cy="139397"/>
          </a:xfrm>
          <a:prstGeom prst="rect">
            <a:avLst/>
          </a:prstGeom>
          <a:noFill/>
        </p:spPr>
        <p:txBody>
          <a:bodyPr wrap="square" lIns="0" tIns="0" rIns="0" bIns="0">
            <a:spAutoFit/>
          </a:bodyPr>
          <a:lstStyle>
            <a:lvl1pPr marL="0" indent="0">
              <a:spcBef>
                <a:spcPts val="0"/>
              </a:spcBef>
              <a:buNone/>
              <a:defRPr sz="1000" spc="0" baseline="0">
                <a:solidFill>
                  <a:schemeClr val="bg1"/>
                </a:solidFill>
                <a:latin typeface="Segoe UI" panose="020B0502040204020203" pitchFamily="34" charset="0"/>
                <a:cs typeface="Segoe UI" panose="020B0502040204020203" pitchFamily="34" charset="0"/>
              </a:defRPr>
            </a:lvl1pPr>
          </a:lstStyle>
          <a:p>
            <a:pPr lvl="0"/>
            <a:r>
              <a:rPr lang="en-US"/>
              <a:t>Date</a:t>
            </a:r>
          </a:p>
        </p:txBody>
      </p:sp>
      <p:sp>
        <p:nvSpPr>
          <p:cNvPr id="11" name="TextBox 10">
            <a:extLst>
              <a:ext uri="{FF2B5EF4-FFF2-40B4-BE49-F238E27FC236}">
                <a16:creationId xmlns:a16="http://schemas.microsoft.com/office/drawing/2014/main" id="{79D24C9A-89BC-97E2-72D1-CB264F76EC90}"/>
              </a:ext>
            </a:extLst>
          </p:cNvPr>
          <p:cNvSpPr txBox="1"/>
          <p:nvPr userDrawn="1"/>
        </p:nvSpPr>
        <p:spPr>
          <a:xfrm>
            <a:off x="2647609" y="6135070"/>
            <a:ext cx="3143489" cy="153888"/>
          </a:xfrm>
          <a:prstGeom prst="rect">
            <a:avLst/>
          </a:prstGeom>
          <a:noFill/>
        </p:spPr>
        <p:txBody>
          <a:bodyPr wrap="none" lIns="0" tIns="0" rIns="0" bIns="0" rtlCol="0">
            <a:spAutoFit/>
          </a:bodyPr>
          <a:lstStyle/>
          <a:p>
            <a:pPr marL="0" marR="0" lvl="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kumimoji="0" lang="en-US" sz="10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 Copyright Microsoft Corporation. All rights reserved. </a:t>
            </a:r>
          </a:p>
        </p:txBody>
      </p:sp>
      <p:pic>
        <p:nvPicPr>
          <p:cNvPr id="12" name="MS logo gray - EMF">
            <a:extLst>
              <a:ext uri="{FF2B5EF4-FFF2-40B4-BE49-F238E27FC236}">
                <a16:creationId xmlns:a16="http://schemas.microsoft.com/office/drawing/2014/main" id="{AAF3FFA6-DD3A-C046-9BAB-42C1143979D3}"/>
              </a:ext>
            </a:extLst>
          </p:cNvPr>
          <p:cNvPicPr>
            <a:picLocks noChangeAspect="1"/>
          </p:cNvPicPr>
          <p:nvPr userDrawn="1"/>
        </p:nvPicPr>
        <p:blipFill>
          <a:blip r:embed="rId2">
            <a:extLst>
              <a:ext uri="{28A0092B-C50C-407E-A947-70E740481C1C}">
                <a14:useLocalDpi xmlns:a14="http://schemas.microsoft.com/office/drawing/2010/main" val="0"/>
              </a:ext>
            </a:extLst>
          </a:blip>
          <a:srcRect l="12679" t="30223" r="10306" b="29367"/>
          <a:stretch/>
        </p:blipFill>
        <p:spPr bwMode="black">
          <a:xfrm>
            <a:off x="10104777" y="6035405"/>
            <a:ext cx="1501911" cy="353217"/>
          </a:xfrm>
          <a:prstGeom prst="rect">
            <a:avLst/>
          </a:prstGeom>
        </p:spPr>
      </p:pic>
      <p:grpSp>
        <p:nvGrpSpPr>
          <p:cNvPr id="5" name="Group 4">
            <a:extLst>
              <a:ext uri="{FF2B5EF4-FFF2-40B4-BE49-F238E27FC236}">
                <a16:creationId xmlns:a16="http://schemas.microsoft.com/office/drawing/2014/main" id="{12A5064F-17A8-03BF-8543-492C03DD908A}"/>
              </a:ext>
            </a:extLst>
          </p:cNvPr>
          <p:cNvGrpSpPr/>
          <p:nvPr userDrawn="1"/>
        </p:nvGrpSpPr>
        <p:grpSpPr>
          <a:xfrm>
            <a:off x="745718" y="722820"/>
            <a:ext cx="3452795" cy="610828"/>
            <a:chOff x="3410610" y="4736940"/>
            <a:chExt cx="4842785" cy="856729"/>
          </a:xfrm>
        </p:grpSpPr>
        <p:sp>
          <p:nvSpPr>
            <p:cNvPr id="7" name="Freeform 6">
              <a:extLst>
                <a:ext uri="{FF2B5EF4-FFF2-40B4-BE49-F238E27FC236}">
                  <a16:creationId xmlns:a16="http://schemas.microsoft.com/office/drawing/2014/main" id="{4FF490EB-9A25-E392-1D80-59CDC0DC5F85}"/>
                </a:ext>
              </a:extLst>
            </p:cNvPr>
            <p:cNvSpPr/>
            <p:nvPr/>
          </p:nvSpPr>
          <p:spPr>
            <a:xfrm>
              <a:off x="4422116" y="4768455"/>
              <a:ext cx="464590" cy="423716"/>
            </a:xfrm>
            <a:custGeom>
              <a:avLst/>
              <a:gdLst>
                <a:gd name="connsiteX0" fmla="*/ 393913 w 464590"/>
                <a:gd name="connsiteY0" fmla="*/ 423716 h 423716"/>
                <a:gd name="connsiteX1" fmla="*/ 393913 w 464590"/>
                <a:gd name="connsiteY1" fmla="*/ 153950 h 423716"/>
                <a:gd name="connsiteX2" fmla="*/ 394392 w 464590"/>
                <a:gd name="connsiteY2" fmla="*/ 124956 h 423716"/>
                <a:gd name="connsiteX3" fmla="*/ 395349 w 464590"/>
                <a:gd name="connsiteY3" fmla="*/ 98641 h 423716"/>
                <a:gd name="connsiteX4" fmla="*/ 396625 w 464590"/>
                <a:gd name="connsiteY4" fmla="*/ 77211 h 423716"/>
                <a:gd name="connsiteX5" fmla="*/ 397742 w 464590"/>
                <a:gd name="connsiteY5" fmla="*/ 62872 h 423716"/>
                <a:gd name="connsiteX6" fmla="*/ 396466 w 464590"/>
                <a:gd name="connsiteY6" fmla="*/ 62872 h 423716"/>
                <a:gd name="connsiteX7" fmla="*/ 394232 w 464590"/>
                <a:gd name="connsiteY7" fmla="*/ 73902 h 423716"/>
                <a:gd name="connsiteX8" fmla="*/ 391201 w 464590"/>
                <a:gd name="connsiteY8" fmla="*/ 86823 h 423716"/>
                <a:gd name="connsiteX9" fmla="*/ 387691 w 464590"/>
                <a:gd name="connsiteY9" fmla="*/ 99587 h 423716"/>
                <a:gd name="connsiteX10" fmla="*/ 384021 w 464590"/>
                <a:gd name="connsiteY10" fmla="*/ 110144 h 423716"/>
                <a:gd name="connsiteX11" fmla="*/ 254153 w 464590"/>
                <a:gd name="connsiteY11" fmla="*/ 423559 h 423716"/>
                <a:gd name="connsiteX12" fmla="*/ 207726 w 464590"/>
                <a:gd name="connsiteY12" fmla="*/ 423559 h 423716"/>
                <a:gd name="connsiteX13" fmla="*/ 77060 w 464590"/>
                <a:gd name="connsiteY13" fmla="*/ 112980 h 423716"/>
                <a:gd name="connsiteX14" fmla="*/ 74028 w 464590"/>
                <a:gd name="connsiteY14" fmla="*/ 102738 h 423716"/>
                <a:gd name="connsiteX15" fmla="*/ 70518 w 464590"/>
                <a:gd name="connsiteY15" fmla="*/ 88714 h 423716"/>
                <a:gd name="connsiteX16" fmla="*/ 67168 w 464590"/>
                <a:gd name="connsiteY16" fmla="*/ 74217 h 423716"/>
                <a:gd name="connsiteX17" fmla="*/ 64615 w 464590"/>
                <a:gd name="connsiteY17" fmla="*/ 62714 h 423716"/>
                <a:gd name="connsiteX18" fmla="*/ 62860 w 464590"/>
                <a:gd name="connsiteY18" fmla="*/ 62714 h 423716"/>
                <a:gd name="connsiteX19" fmla="*/ 63977 w 464590"/>
                <a:gd name="connsiteY19" fmla="*/ 79575 h 423716"/>
                <a:gd name="connsiteX20" fmla="*/ 64934 w 464590"/>
                <a:gd name="connsiteY20" fmla="*/ 104629 h 423716"/>
                <a:gd name="connsiteX21" fmla="*/ 65732 w 464590"/>
                <a:gd name="connsiteY21" fmla="*/ 133780 h 423716"/>
                <a:gd name="connsiteX22" fmla="*/ 66051 w 464590"/>
                <a:gd name="connsiteY22" fmla="*/ 162616 h 423716"/>
                <a:gd name="connsiteX23" fmla="*/ 66051 w 464590"/>
                <a:gd name="connsiteY23" fmla="*/ 423559 h 423716"/>
                <a:gd name="connsiteX24" fmla="*/ 0 w 464590"/>
                <a:gd name="connsiteY24" fmla="*/ 423559 h 423716"/>
                <a:gd name="connsiteX25" fmla="*/ 0 w 464590"/>
                <a:gd name="connsiteY25" fmla="*/ 0 h 423716"/>
                <a:gd name="connsiteX26" fmla="*/ 101789 w 464590"/>
                <a:gd name="connsiteY26" fmla="*/ 0 h 423716"/>
                <a:gd name="connsiteX27" fmla="*/ 210917 w 464590"/>
                <a:gd name="connsiteY27" fmla="*/ 267718 h 423716"/>
                <a:gd name="connsiteX28" fmla="*/ 216182 w 464590"/>
                <a:gd name="connsiteY28" fmla="*/ 281742 h 423716"/>
                <a:gd name="connsiteX29" fmla="*/ 222085 w 464590"/>
                <a:gd name="connsiteY29" fmla="*/ 298130 h 423716"/>
                <a:gd name="connsiteX30" fmla="*/ 227350 w 464590"/>
                <a:gd name="connsiteY30" fmla="*/ 313887 h 423716"/>
                <a:gd name="connsiteX31" fmla="*/ 230540 w 464590"/>
                <a:gd name="connsiteY31" fmla="*/ 326178 h 423716"/>
                <a:gd name="connsiteX32" fmla="*/ 232295 w 464590"/>
                <a:gd name="connsiteY32" fmla="*/ 326178 h 423716"/>
                <a:gd name="connsiteX33" fmla="*/ 237082 w 464590"/>
                <a:gd name="connsiteY33" fmla="*/ 313414 h 423716"/>
                <a:gd name="connsiteX34" fmla="*/ 243144 w 464590"/>
                <a:gd name="connsiteY34" fmla="*/ 297500 h 423716"/>
                <a:gd name="connsiteX35" fmla="*/ 249367 w 464590"/>
                <a:gd name="connsiteY35" fmla="*/ 281112 h 423716"/>
                <a:gd name="connsiteX36" fmla="*/ 254951 w 464590"/>
                <a:gd name="connsiteY36" fmla="*/ 267088 h 423716"/>
                <a:gd name="connsiteX37" fmla="*/ 367110 w 464590"/>
                <a:gd name="connsiteY37" fmla="*/ 0 h 423716"/>
                <a:gd name="connsiteX38" fmla="*/ 464591 w 464590"/>
                <a:gd name="connsiteY38" fmla="*/ 0 h 423716"/>
                <a:gd name="connsiteX39" fmla="*/ 464591 w 464590"/>
                <a:gd name="connsiteY39" fmla="*/ 423716 h 423716"/>
                <a:gd name="connsiteX40" fmla="*/ 393913 w 464590"/>
                <a:gd name="connsiteY40" fmla="*/ 423716 h 423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64590" h="423716">
                  <a:moveTo>
                    <a:pt x="393913" y="423716"/>
                  </a:moveTo>
                  <a:lnTo>
                    <a:pt x="393913" y="153950"/>
                  </a:lnTo>
                  <a:cubicBezTo>
                    <a:pt x="393913" y="144180"/>
                    <a:pt x="393913" y="134411"/>
                    <a:pt x="394392" y="124956"/>
                  </a:cubicBezTo>
                  <a:cubicBezTo>
                    <a:pt x="394870" y="115502"/>
                    <a:pt x="395030" y="106678"/>
                    <a:pt x="395349" y="98641"/>
                  </a:cubicBezTo>
                  <a:cubicBezTo>
                    <a:pt x="395668" y="90605"/>
                    <a:pt x="395987" y="83357"/>
                    <a:pt x="396625" y="77211"/>
                  </a:cubicBezTo>
                  <a:cubicBezTo>
                    <a:pt x="397263" y="71066"/>
                    <a:pt x="397423" y="66181"/>
                    <a:pt x="397742" y="62872"/>
                  </a:cubicBezTo>
                  <a:lnTo>
                    <a:pt x="396466" y="62872"/>
                  </a:lnTo>
                  <a:cubicBezTo>
                    <a:pt x="395828" y="66023"/>
                    <a:pt x="395189" y="69648"/>
                    <a:pt x="394232" y="73902"/>
                  </a:cubicBezTo>
                  <a:cubicBezTo>
                    <a:pt x="393275" y="78157"/>
                    <a:pt x="392318" y="82411"/>
                    <a:pt x="391201" y="86823"/>
                  </a:cubicBezTo>
                  <a:cubicBezTo>
                    <a:pt x="390084" y="91235"/>
                    <a:pt x="388967" y="95490"/>
                    <a:pt x="387691" y="99587"/>
                  </a:cubicBezTo>
                  <a:cubicBezTo>
                    <a:pt x="386414" y="103684"/>
                    <a:pt x="385298" y="107150"/>
                    <a:pt x="384021" y="110144"/>
                  </a:cubicBezTo>
                  <a:lnTo>
                    <a:pt x="254153" y="423559"/>
                  </a:lnTo>
                  <a:lnTo>
                    <a:pt x="207726" y="423559"/>
                  </a:lnTo>
                  <a:lnTo>
                    <a:pt x="77060" y="112980"/>
                  </a:lnTo>
                  <a:cubicBezTo>
                    <a:pt x="76262" y="110617"/>
                    <a:pt x="75305" y="107150"/>
                    <a:pt x="74028" y="102738"/>
                  </a:cubicBezTo>
                  <a:cubicBezTo>
                    <a:pt x="72752" y="98326"/>
                    <a:pt x="71635" y="93599"/>
                    <a:pt x="70518" y="88714"/>
                  </a:cubicBezTo>
                  <a:cubicBezTo>
                    <a:pt x="69401" y="83829"/>
                    <a:pt x="68285" y="78945"/>
                    <a:pt x="67168" y="74217"/>
                  </a:cubicBezTo>
                  <a:cubicBezTo>
                    <a:pt x="66051" y="69490"/>
                    <a:pt x="65253" y="65708"/>
                    <a:pt x="64615" y="62714"/>
                  </a:cubicBezTo>
                  <a:lnTo>
                    <a:pt x="62860" y="62714"/>
                  </a:lnTo>
                  <a:cubicBezTo>
                    <a:pt x="63179" y="66496"/>
                    <a:pt x="63658" y="72011"/>
                    <a:pt x="63977" y="79575"/>
                  </a:cubicBezTo>
                  <a:cubicBezTo>
                    <a:pt x="64296" y="87138"/>
                    <a:pt x="64615" y="95490"/>
                    <a:pt x="64934" y="104629"/>
                  </a:cubicBezTo>
                  <a:cubicBezTo>
                    <a:pt x="65253" y="113926"/>
                    <a:pt x="65413" y="123538"/>
                    <a:pt x="65732" y="133780"/>
                  </a:cubicBezTo>
                  <a:cubicBezTo>
                    <a:pt x="65892" y="143865"/>
                    <a:pt x="66051" y="153477"/>
                    <a:pt x="66051" y="162616"/>
                  </a:cubicBezTo>
                  <a:lnTo>
                    <a:pt x="66051" y="423559"/>
                  </a:lnTo>
                  <a:lnTo>
                    <a:pt x="0" y="423559"/>
                  </a:lnTo>
                  <a:lnTo>
                    <a:pt x="0" y="0"/>
                  </a:lnTo>
                  <a:lnTo>
                    <a:pt x="101789" y="0"/>
                  </a:lnTo>
                  <a:lnTo>
                    <a:pt x="210917" y="267718"/>
                  </a:lnTo>
                  <a:cubicBezTo>
                    <a:pt x="212512" y="271657"/>
                    <a:pt x="214267" y="276385"/>
                    <a:pt x="216182" y="281742"/>
                  </a:cubicBezTo>
                  <a:cubicBezTo>
                    <a:pt x="218096" y="287100"/>
                    <a:pt x="220011" y="292615"/>
                    <a:pt x="222085" y="298130"/>
                  </a:cubicBezTo>
                  <a:cubicBezTo>
                    <a:pt x="224159" y="303645"/>
                    <a:pt x="225754" y="308845"/>
                    <a:pt x="227350" y="313887"/>
                  </a:cubicBezTo>
                  <a:cubicBezTo>
                    <a:pt x="228945" y="318930"/>
                    <a:pt x="229902" y="323026"/>
                    <a:pt x="230540" y="326178"/>
                  </a:cubicBezTo>
                  <a:lnTo>
                    <a:pt x="232295" y="326178"/>
                  </a:lnTo>
                  <a:cubicBezTo>
                    <a:pt x="233412" y="322869"/>
                    <a:pt x="235008" y="318614"/>
                    <a:pt x="237082" y="313414"/>
                  </a:cubicBezTo>
                  <a:cubicBezTo>
                    <a:pt x="239156" y="308372"/>
                    <a:pt x="241070" y="303015"/>
                    <a:pt x="243144" y="297500"/>
                  </a:cubicBezTo>
                  <a:cubicBezTo>
                    <a:pt x="245218" y="291984"/>
                    <a:pt x="247292" y="286469"/>
                    <a:pt x="249367" y="281112"/>
                  </a:cubicBezTo>
                  <a:cubicBezTo>
                    <a:pt x="251441" y="275754"/>
                    <a:pt x="253355" y="271027"/>
                    <a:pt x="254951" y="267088"/>
                  </a:cubicBezTo>
                  <a:lnTo>
                    <a:pt x="367110" y="0"/>
                  </a:lnTo>
                  <a:lnTo>
                    <a:pt x="464591" y="0"/>
                  </a:lnTo>
                  <a:lnTo>
                    <a:pt x="464591" y="423716"/>
                  </a:lnTo>
                  <a:lnTo>
                    <a:pt x="393913" y="423716"/>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mn-cs"/>
              </a:endParaRPr>
            </a:p>
          </p:txBody>
        </p:sp>
        <p:sp>
          <p:nvSpPr>
            <p:cNvPr id="8" name="Freeform 7">
              <a:extLst>
                <a:ext uri="{FF2B5EF4-FFF2-40B4-BE49-F238E27FC236}">
                  <a16:creationId xmlns:a16="http://schemas.microsoft.com/office/drawing/2014/main" id="{A7543BB7-C6F2-4AFE-9FA9-BC00DEB1506E}"/>
                </a:ext>
              </a:extLst>
            </p:cNvPr>
            <p:cNvSpPr/>
            <p:nvPr/>
          </p:nvSpPr>
          <p:spPr>
            <a:xfrm>
              <a:off x="4987060" y="4742455"/>
              <a:ext cx="84558" cy="449715"/>
            </a:xfrm>
            <a:custGeom>
              <a:avLst/>
              <a:gdLst>
                <a:gd name="connsiteX0" fmla="*/ 84558 w 84558"/>
                <a:gd name="connsiteY0" fmla="*/ 40181 h 449715"/>
                <a:gd name="connsiteX1" fmla="*/ 81367 w 84558"/>
                <a:gd name="connsiteY1" fmla="*/ 55466 h 449715"/>
                <a:gd name="connsiteX2" fmla="*/ 72592 w 84558"/>
                <a:gd name="connsiteY2" fmla="*/ 68072 h 449715"/>
                <a:gd name="connsiteX3" fmla="*/ 59191 w 84558"/>
                <a:gd name="connsiteY3" fmla="*/ 76423 h 449715"/>
                <a:gd name="connsiteX4" fmla="*/ 42119 w 84558"/>
                <a:gd name="connsiteY4" fmla="*/ 79575 h 449715"/>
                <a:gd name="connsiteX5" fmla="*/ 25367 w 84558"/>
                <a:gd name="connsiteY5" fmla="*/ 76423 h 449715"/>
                <a:gd name="connsiteX6" fmla="*/ 11966 w 84558"/>
                <a:gd name="connsiteY6" fmla="*/ 68072 h 449715"/>
                <a:gd name="connsiteX7" fmla="*/ 3191 w 84558"/>
                <a:gd name="connsiteY7" fmla="*/ 55466 h 449715"/>
                <a:gd name="connsiteX8" fmla="*/ 0 w 84558"/>
                <a:gd name="connsiteY8" fmla="*/ 40181 h 449715"/>
                <a:gd name="connsiteX9" fmla="*/ 3350 w 84558"/>
                <a:gd name="connsiteY9" fmla="*/ 24266 h 449715"/>
                <a:gd name="connsiteX10" fmla="*/ 12285 w 84558"/>
                <a:gd name="connsiteY10" fmla="*/ 11503 h 449715"/>
                <a:gd name="connsiteX11" fmla="*/ 25527 w 84558"/>
                <a:gd name="connsiteY11" fmla="*/ 3151 h 449715"/>
                <a:gd name="connsiteX12" fmla="*/ 42119 w 84558"/>
                <a:gd name="connsiteY12" fmla="*/ 0 h 449715"/>
                <a:gd name="connsiteX13" fmla="*/ 58872 w 84558"/>
                <a:gd name="connsiteY13" fmla="*/ 3151 h 449715"/>
                <a:gd name="connsiteX14" fmla="*/ 72273 w 84558"/>
                <a:gd name="connsiteY14" fmla="*/ 11660 h 449715"/>
                <a:gd name="connsiteX15" fmla="*/ 81208 w 84558"/>
                <a:gd name="connsiteY15" fmla="*/ 24424 h 449715"/>
                <a:gd name="connsiteX16" fmla="*/ 84558 w 84558"/>
                <a:gd name="connsiteY16" fmla="*/ 40181 h 449715"/>
                <a:gd name="connsiteX17" fmla="*/ 6860 w 84558"/>
                <a:gd name="connsiteY17" fmla="*/ 449716 h 449715"/>
                <a:gd name="connsiteX18" fmla="*/ 6860 w 84558"/>
                <a:gd name="connsiteY18" fmla="*/ 147016 h 449715"/>
                <a:gd name="connsiteX19" fmla="*/ 75943 w 84558"/>
                <a:gd name="connsiteY19" fmla="*/ 147016 h 449715"/>
                <a:gd name="connsiteX20" fmla="*/ 75943 w 84558"/>
                <a:gd name="connsiteY20" fmla="*/ 449558 h 449715"/>
                <a:gd name="connsiteX21" fmla="*/ 6860 w 84558"/>
                <a:gd name="connsiteY21" fmla="*/ 449558 h 449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4558" h="449715">
                  <a:moveTo>
                    <a:pt x="84558" y="40181"/>
                  </a:moveTo>
                  <a:cubicBezTo>
                    <a:pt x="84558" y="45539"/>
                    <a:pt x="83441" y="50581"/>
                    <a:pt x="81367" y="55466"/>
                  </a:cubicBezTo>
                  <a:cubicBezTo>
                    <a:pt x="79293" y="60351"/>
                    <a:pt x="76262" y="64448"/>
                    <a:pt x="72592" y="68072"/>
                  </a:cubicBezTo>
                  <a:cubicBezTo>
                    <a:pt x="68763" y="71696"/>
                    <a:pt x="64296" y="74375"/>
                    <a:pt x="59191" y="76423"/>
                  </a:cubicBezTo>
                  <a:cubicBezTo>
                    <a:pt x="53926" y="78472"/>
                    <a:pt x="48342" y="79575"/>
                    <a:pt x="42119" y="79575"/>
                  </a:cubicBezTo>
                  <a:cubicBezTo>
                    <a:pt x="35897" y="79575"/>
                    <a:pt x="30473" y="78472"/>
                    <a:pt x="25367" y="76423"/>
                  </a:cubicBezTo>
                  <a:cubicBezTo>
                    <a:pt x="20103" y="74375"/>
                    <a:pt x="15635" y="71539"/>
                    <a:pt x="11966" y="68072"/>
                  </a:cubicBezTo>
                  <a:cubicBezTo>
                    <a:pt x="8137" y="64448"/>
                    <a:pt x="5265" y="60351"/>
                    <a:pt x="3191" y="55466"/>
                  </a:cubicBezTo>
                  <a:cubicBezTo>
                    <a:pt x="1117" y="50581"/>
                    <a:pt x="0" y="45539"/>
                    <a:pt x="0" y="40181"/>
                  </a:cubicBezTo>
                  <a:cubicBezTo>
                    <a:pt x="0" y="34509"/>
                    <a:pt x="1117" y="29151"/>
                    <a:pt x="3350" y="24266"/>
                  </a:cubicBezTo>
                  <a:cubicBezTo>
                    <a:pt x="5584" y="19382"/>
                    <a:pt x="8456" y="15127"/>
                    <a:pt x="12285" y="11503"/>
                  </a:cubicBezTo>
                  <a:cubicBezTo>
                    <a:pt x="16114" y="7879"/>
                    <a:pt x="20581" y="5200"/>
                    <a:pt x="25527" y="3151"/>
                  </a:cubicBezTo>
                  <a:cubicBezTo>
                    <a:pt x="30473" y="1103"/>
                    <a:pt x="36216" y="0"/>
                    <a:pt x="42119" y="0"/>
                  </a:cubicBezTo>
                  <a:cubicBezTo>
                    <a:pt x="48023" y="0"/>
                    <a:pt x="53607" y="1103"/>
                    <a:pt x="58872" y="3151"/>
                  </a:cubicBezTo>
                  <a:cubicBezTo>
                    <a:pt x="63977" y="5200"/>
                    <a:pt x="68604" y="8036"/>
                    <a:pt x="72273" y="11660"/>
                  </a:cubicBezTo>
                  <a:cubicBezTo>
                    <a:pt x="76102" y="15285"/>
                    <a:pt x="78974" y="19539"/>
                    <a:pt x="81208" y="24424"/>
                  </a:cubicBezTo>
                  <a:cubicBezTo>
                    <a:pt x="83441" y="29309"/>
                    <a:pt x="84558" y="34509"/>
                    <a:pt x="84558" y="40181"/>
                  </a:cubicBezTo>
                  <a:close/>
                  <a:moveTo>
                    <a:pt x="6860" y="449716"/>
                  </a:moveTo>
                  <a:lnTo>
                    <a:pt x="6860" y="147016"/>
                  </a:lnTo>
                  <a:lnTo>
                    <a:pt x="75943" y="147016"/>
                  </a:lnTo>
                  <a:lnTo>
                    <a:pt x="75943" y="449558"/>
                  </a:lnTo>
                  <a:lnTo>
                    <a:pt x="6860" y="449558"/>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mn-cs"/>
              </a:endParaRPr>
            </a:p>
          </p:txBody>
        </p:sp>
        <p:sp>
          <p:nvSpPr>
            <p:cNvPr id="13" name="Freeform 12">
              <a:extLst>
                <a:ext uri="{FF2B5EF4-FFF2-40B4-BE49-F238E27FC236}">
                  <a16:creationId xmlns:a16="http://schemas.microsoft.com/office/drawing/2014/main" id="{F71B528E-BCC9-7AA9-9973-99E1D505B755}"/>
                </a:ext>
              </a:extLst>
            </p:cNvPr>
            <p:cNvSpPr/>
            <p:nvPr/>
          </p:nvSpPr>
          <p:spPr>
            <a:xfrm>
              <a:off x="5140381" y="4882065"/>
              <a:ext cx="238836" cy="317511"/>
            </a:xfrm>
            <a:custGeom>
              <a:avLst/>
              <a:gdLst>
                <a:gd name="connsiteX0" fmla="*/ 201823 w 238836"/>
                <a:gd name="connsiteY0" fmla="*/ 311996 h 317511"/>
                <a:gd name="connsiteX1" fmla="*/ 151885 w 238836"/>
                <a:gd name="connsiteY1" fmla="*/ 317511 h 317511"/>
                <a:gd name="connsiteX2" fmla="*/ 89025 w 238836"/>
                <a:gd name="connsiteY2" fmla="*/ 306166 h 317511"/>
                <a:gd name="connsiteX3" fmla="*/ 41162 w 238836"/>
                <a:gd name="connsiteY3" fmla="*/ 274494 h 317511"/>
                <a:gd name="connsiteX4" fmla="*/ 10689 w 238836"/>
                <a:gd name="connsiteY4" fmla="*/ 226591 h 317511"/>
                <a:gd name="connsiteX5" fmla="*/ 0 w 238836"/>
                <a:gd name="connsiteY5" fmla="*/ 166713 h 317511"/>
                <a:gd name="connsiteX6" fmla="*/ 11487 w 238836"/>
                <a:gd name="connsiteY6" fmla="*/ 98169 h 317511"/>
                <a:gd name="connsiteX7" fmla="*/ 44513 w 238836"/>
                <a:gd name="connsiteY7" fmla="*/ 45696 h 317511"/>
                <a:gd name="connsiteX8" fmla="*/ 96683 w 238836"/>
                <a:gd name="connsiteY8" fmla="*/ 11976 h 317511"/>
                <a:gd name="connsiteX9" fmla="*/ 165287 w 238836"/>
                <a:gd name="connsiteY9" fmla="*/ 0 h 317511"/>
                <a:gd name="connsiteX10" fmla="*/ 188580 w 238836"/>
                <a:gd name="connsiteY10" fmla="*/ 1418 h 317511"/>
                <a:gd name="connsiteX11" fmla="*/ 209162 w 238836"/>
                <a:gd name="connsiteY11" fmla="*/ 5042 h 317511"/>
                <a:gd name="connsiteX12" fmla="*/ 226392 w 238836"/>
                <a:gd name="connsiteY12" fmla="*/ 9927 h 317511"/>
                <a:gd name="connsiteX13" fmla="*/ 238837 w 238836"/>
                <a:gd name="connsiteY13" fmla="*/ 15285 h 317511"/>
                <a:gd name="connsiteX14" fmla="*/ 238837 w 238836"/>
                <a:gd name="connsiteY14" fmla="*/ 80048 h 317511"/>
                <a:gd name="connsiteX15" fmla="*/ 206449 w 238836"/>
                <a:gd name="connsiteY15" fmla="*/ 62399 h 317511"/>
                <a:gd name="connsiteX16" fmla="*/ 168318 w 238836"/>
                <a:gd name="connsiteY16" fmla="*/ 55781 h 317511"/>
                <a:gd name="connsiteX17" fmla="*/ 130347 w 238836"/>
                <a:gd name="connsiteY17" fmla="*/ 62714 h 317511"/>
                <a:gd name="connsiteX18" fmla="*/ 99715 w 238836"/>
                <a:gd name="connsiteY18" fmla="*/ 82884 h 317511"/>
                <a:gd name="connsiteX19" fmla="*/ 79293 w 238836"/>
                <a:gd name="connsiteY19" fmla="*/ 115659 h 317511"/>
                <a:gd name="connsiteX20" fmla="*/ 71795 w 238836"/>
                <a:gd name="connsiteY20" fmla="*/ 160253 h 317511"/>
                <a:gd name="connsiteX21" fmla="*/ 78336 w 238836"/>
                <a:gd name="connsiteY21" fmla="*/ 202325 h 317511"/>
                <a:gd name="connsiteX22" fmla="*/ 97162 w 238836"/>
                <a:gd name="connsiteY22" fmla="*/ 234155 h 317511"/>
                <a:gd name="connsiteX23" fmla="*/ 127156 w 238836"/>
                <a:gd name="connsiteY23" fmla="*/ 254167 h 317511"/>
                <a:gd name="connsiteX24" fmla="*/ 167202 w 238836"/>
                <a:gd name="connsiteY24" fmla="*/ 261258 h 317511"/>
                <a:gd name="connsiteX25" fmla="*/ 185709 w 238836"/>
                <a:gd name="connsiteY25" fmla="*/ 259209 h 317511"/>
                <a:gd name="connsiteX26" fmla="*/ 204694 w 238836"/>
                <a:gd name="connsiteY26" fmla="*/ 253694 h 317511"/>
                <a:gd name="connsiteX27" fmla="*/ 222723 w 238836"/>
                <a:gd name="connsiteY27" fmla="*/ 245658 h 317511"/>
                <a:gd name="connsiteX28" fmla="*/ 238837 w 238836"/>
                <a:gd name="connsiteY28" fmla="*/ 235731 h 317511"/>
                <a:gd name="connsiteX29" fmla="*/ 238837 w 238836"/>
                <a:gd name="connsiteY29" fmla="*/ 296869 h 317511"/>
                <a:gd name="connsiteX30" fmla="*/ 201823 w 238836"/>
                <a:gd name="connsiteY30" fmla="*/ 311524 h 317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38836" h="317511">
                  <a:moveTo>
                    <a:pt x="201823" y="311996"/>
                  </a:moveTo>
                  <a:cubicBezTo>
                    <a:pt x="187623" y="315621"/>
                    <a:pt x="171031" y="317511"/>
                    <a:pt x="151885" y="317511"/>
                  </a:cubicBezTo>
                  <a:cubicBezTo>
                    <a:pt x="128752" y="317511"/>
                    <a:pt x="107851" y="313730"/>
                    <a:pt x="89025" y="306166"/>
                  </a:cubicBezTo>
                  <a:cubicBezTo>
                    <a:pt x="70199" y="298603"/>
                    <a:pt x="54404" y="288045"/>
                    <a:pt x="41162" y="274494"/>
                  </a:cubicBezTo>
                  <a:cubicBezTo>
                    <a:pt x="27920" y="260942"/>
                    <a:pt x="17869" y="245027"/>
                    <a:pt x="10689" y="226591"/>
                  </a:cubicBezTo>
                  <a:cubicBezTo>
                    <a:pt x="3510" y="208155"/>
                    <a:pt x="0" y="188301"/>
                    <a:pt x="0" y="166713"/>
                  </a:cubicBezTo>
                  <a:cubicBezTo>
                    <a:pt x="0" y="141501"/>
                    <a:pt x="3829" y="118653"/>
                    <a:pt x="11487" y="98169"/>
                  </a:cubicBezTo>
                  <a:cubicBezTo>
                    <a:pt x="19145" y="77684"/>
                    <a:pt x="30154" y="60193"/>
                    <a:pt x="44513" y="45696"/>
                  </a:cubicBezTo>
                  <a:cubicBezTo>
                    <a:pt x="58871" y="31200"/>
                    <a:pt x="76262" y="20012"/>
                    <a:pt x="96683" y="11976"/>
                  </a:cubicBezTo>
                  <a:cubicBezTo>
                    <a:pt x="117105" y="3939"/>
                    <a:pt x="140079" y="0"/>
                    <a:pt x="165287" y="0"/>
                  </a:cubicBezTo>
                  <a:cubicBezTo>
                    <a:pt x="173424" y="0"/>
                    <a:pt x="181241" y="473"/>
                    <a:pt x="188580" y="1418"/>
                  </a:cubicBezTo>
                  <a:cubicBezTo>
                    <a:pt x="195919" y="2364"/>
                    <a:pt x="202780" y="3624"/>
                    <a:pt x="209162" y="5042"/>
                  </a:cubicBezTo>
                  <a:cubicBezTo>
                    <a:pt x="215543" y="6461"/>
                    <a:pt x="221287" y="8194"/>
                    <a:pt x="226392" y="9927"/>
                  </a:cubicBezTo>
                  <a:cubicBezTo>
                    <a:pt x="231498" y="11660"/>
                    <a:pt x="235646" y="13551"/>
                    <a:pt x="238837" y="15285"/>
                  </a:cubicBezTo>
                  <a:lnTo>
                    <a:pt x="238837" y="80048"/>
                  </a:lnTo>
                  <a:cubicBezTo>
                    <a:pt x="228785" y="72799"/>
                    <a:pt x="218096" y="66969"/>
                    <a:pt x="206449" y="62399"/>
                  </a:cubicBezTo>
                  <a:cubicBezTo>
                    <a:pt x="194803" y="57830"/>
                    <a:pt x="182039" y="55781"/>
                    <a:pt x="168318" y="55781"/>
                  </a:cubicBezTo>
                  <a:cubicBezTo>
                    <a:pt x="154598" y="55781"/>
                    <a:pt x="142153" y="58145"/>
                    <a:pt x="130347" y="62714"/>
                  </a:cubicBezTo>
                  <a:cubicBezTo>
                    <a:pt x="118541" y="67284"/>
                    <a:pt x="108330" y="74060"/>
                    <a:pt x="99715" y="82884"/>
                  </a:cubicBezTo>
                  <a:cubicBezTo>
                    <a:pt x="91099" y="91708"/>
                    <a:pt x="84239" y="102738"/>
                    <a:pt x="79293" y="115659"/>
                  </a:cubicBezTo>
                  <a:cubicBezTo>
                    <a:pt x="74347" y="128738"/>
                    <a:pt x="71795" y="143550"/>
                    <a:pt x="71795" y="160253"/>
                  </a:cubicBezTo>
                  <a:cubicBezTo>
                    <a:pt x="71795" y="175852"/>
                    <a:pt x="74028" y="189877"/>
                    <a:pt x="78336" y="202325"/>
                  </a:cubicBezTo>
                  <a:cubicBezTo>
                    <a:pt x="82644" y="214773"/>
                    <a:pt x="89025" y="225488"/>
                    <a:pt x="97162" y="234155"/>
                  </a:cubicBezTo>
                  <a:cubicBezTo>
                    <a:pt x="105299" y="242821"/>
                    <a:pt x="115350" y="249439"/>
                    <a:pt x="127156" y="254167"/>
                  </a:cubicBezTo>
                  <a:cubicBezTo>
                    <a:pt x="138962" y="258894"/>
                    <a:pt x="152205" y="261258"/>
                    <a:pt x="167202" y="261258"/>
                  </a:cubicBezTo>
                  <a:cubicBezTo>
                    <a:pt x="173264" y="261258"/>
                    <a:pt x="179327" y="260627"/>
                    <a:pt x="185709" y="259209"/>
                  </a:cubicBezTo>
                  <a:cubicBezTo>
                    <a:pt x="192090" y="257791"/>
                    <a:pt x="198472" y="256058"/>
                    <a:pt x="204694" y="253694"/>
                  </a:cubicBezTo>
                  <a:cubicBezTo>
                    <a:pt x="210917" y="251488"/>
                    <a:pt x="216979" y="248809"/>
                    <a:pt x="222723" y="245658"/>
                  </a:cubicBezTo>
                  <a:cubicBezTo>
                    <a:pt x="228466" y="242664"/>
                    <a:pt x="233891" y="239355"/>
                    <a:pt x="238837" y="235731"/>
                  </a:cubicBezTo>
                  <a:lnTo>
                    <a:pt x="238837" y="296869"/>
                  </a:lnTo>
                  <a:cubicBezTo>
                    <a:pt x="228307" y="303015"/>
                    <a:pt x="215862" y="307899"/>
                    <a:pt x="201823" y="311524"/>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mn-cs"/>
              </a:endParaRPr>
            </a:p>
          </p:txBody>
        </p:sp>
        <p:sp>
          <p:nvSpPr>
            <p:cNvPr id="14" name="Freeform 13">
              <a:extLst>
                <a:ext uri="{FF2B5EF4-FFF2-40B4-BE49-F238E27FC236}">
                  <a16:creationId xmlns:a16="http://schemas.microsoft.com/office/drawing/2014/main" id="{9DA27039-BF78-F412-1517-204D646DDAB1}"/>
                </a:ext>
              </a:extLst>
            </p:cNvPr>
            <p:cNvSpPr/>
            <p:nvPr/>
          </p:nvSpPr>
          <p:spPr>
            <a:xfrm>
              <a:off x="5457235" y="4884114"/>
              <a:ext cx="176455" cy="307899"/>
            </a:xfrm>
            <a:custGeom>
              <a:avLst/>
              <a:gdLst>
                <a:gd name="connsiteX0" fmla="*/ 168797 w 176455"/>
                <a:gd name="connsiteY0" fmla="*/ 68072 h 307899"/>
                <a:gd name="connsiteX1" fmla="*/ 158746 w 176455"/>
                <a:gd name="connsiteY1" fmla="*/ 64763 h 307899"/>
                <a:gd name="connsiteX2" fmla="*/ 147578 w 176455"/>
                <a:gd name="connsiteY2" fmla="*/ 62399 h 307899"/>
                <a:gd name="connsiteX3" fmla="*/ 136410 w 176455"/>
                <a:gd name="connsiteY3" fmla="*/ 61454 h 307899"/>
                <a:gd name="connsiteX4" fmla="*/ 109766 w 176455"/>
                <a:gd name="connsiteY4" fmla="*/ 67599 h 307899"/>
                <a:gd name="connsiteX5" fmla="*/ 88547 w 176455"/>
                <a:gd name="connsiteY5" fmla="*/ 85563 h 307899"/>
                <a:gd name="connsiteX6" fmla="*/ 74347 w 176455"/>
                <a:gd name="connsiteY6" fmla="*/ 114399 h 307899"/>
                <a:gd name="connsiteX7" fmla="*/ 69082 w 176455"/>
                <a:gd name="connsiteY7" fmla="*/ 153004 h 307899"/>
                <a:gd name="connsiteX8" fmla="*/ 69082 w 176455"/>
                <a:gd name="connsiteY8" fmla="*/ 307899 h 307899"/>
                <a:gd name="connsiteX9" fmla="*/ 0 w 176455"/>
                <a:gd name="connsiteY9" fmla="*/ 307899 h 307899"/>
                <a:gd name="connsiteX10" fmla="*/ 0 w 176455"/>
                <a:gd name="connsiteY10" fmla="*/ 5358 h 307899"/>
                <a:gd name="connsiteX11" fmla="*/ 69082 w 176455"/>
                <a:gd name="connsiteY11" fmla="*/ 5358 h 307899"/>
                <a:gd name="connsiteX12" fmla="*/ 69082 w 176455"/>
                <a:gd name="connsiteY12" fmla="*/ 64133 h 307899"/>
                <a:gd name="connsiteX13" fmla="*/ 70199 w 176455"/>
                <a:gd name="connsiteY13" fmla="*/ 64133 h 307899"/>
                <a:gd name="connsiteX14" fmla="*/ 84399 w 176455"/>
                <a:gd name="connsiteY14" fmla="*/ 35139 h 307899"/>
                <a:gd name="connsiteX15" fmla="*/ 103225 w 176455"/>
                <a:gd name="connsiteY15" fmla="*/ 15127 h 307899"/>
                <a:gd name="connsiteX16" fmla="*/ 125082 w 176455"/>
                <a:gd name="connsiteY16" fmla="*/ 3624 h 307899"/>
                <a:gd name="connsiteX17" fmla="*/ 148535 w 176455"/>
                <a:gd name="connsiteY17" fmla="*/ 0 h 307899"/>
                <a:gd name="connsiteX18" fmla="*/ 163532 w 176455"/>
                <a:gd name="connsiteY18" fmla="*/ 945 h 307899"/>
                <a:gd name="connsiteX19" fmla="*/ 176455 w 176455"/>
                <a:gd name="connsiteY19" fmla="*/ 4255 h 307899"/>
                <a:gd name="connsiteX20" fmla="*/ 176455 w 176455"/>
                <a:gd name="connsiteY20" fmla="*/ 71854 h 307899"/>
                <a:gd name="connsiteX21" fmla="*/ 168797 w 176455"/>
                <a:gd name="connsiteY21" fmla="*/ 68072 h 307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76455" h="307899">
                  <a:moveTo>
                    <a:pt x="168797" y="68072"/>
                  </a:moveTo>
                  <a:cubicBezTo>
                    <a:pt x="165766" y="66969"/>
                    <a:pt x="162415" y="65866"/>
                    <a:pt x="158746" y="64763"/>
                  </a:cubicBezTo>
                  <a:cubicBezTo>
                    <a:pt x="155076" y="63817"/>
                    <a:pt x="151407" y="63030"/>
                    <a:pt x="147578" y="62399"/>
                  </a:cubicBezTo>
                  <a:cubicBezTo>
                    <a:pt x="143749" y="61769"/>
                    <a:pt x="139920" y="61454"/>
                    <a:pt x="136410" y="61454"/>
                  </a:cubicBezTo>
                  <a:cubicBezTo>
                    <a:pt x="126837" y="61454"/>
                    <a:pt x="117903" y="63502"/>
                    <a:pt x="109766" y="67599"/>
                  </a:cubicBezTo>
                  <a:cubicBezTo>
                    <a:pt x="101629" y="71696"/>
                    <a:pt x="94450" y="77684"/>
                    <a:pt x="88547" y="85563"/>
                  </a:cubicBezTo>
                  <a:cubicBezTo>
                    <a:pt x="82484" y="93441"/>
                    <a:pt x="77857" y="103053"/>
                    <a:pt x="74347" y="114399"/>
                  </a:cubicBezTo>
                  <a:cubicBezTo>
                    <a:pt x="70837" y="125744"/>
                    <a:pt x="69082" y="138665"/>
                    <a:pt x="69082" y="153004"/>
                  </a:cubicBezTo>
                  <a:lnTo>
                    <a:pt x="69082" y="307899"/>
                  </a:lnTo>
                  <a:lnTo>
                    <a:pt x="0" y="307899"/>
                  </a:lnTo>
                  <a:lnTo>
                    <a:pt x="0" y="5358"/>
                  </a:lnTo>
                  <a:lnTo>
                    <a:pt x="69082" y="5358"/>
                  </a:lnTo>
                  <a:lnTo>
                    <a:pt x="69082" y="64133"/>
                  </a:lnTo>
                  <a:lnTo>
                    <a:pt x="70199" y="64133"/>
                  </a:lnTo>
                  <a:cubicBezTo>
                    <a:pt x="74028" y="52945"/>
                    <a:pt x="78655" y="43333"/>
                    <a:pt x="84399" y="35139"/>
                  </a:cubicBezTo>
                  <a:cubicBezTo>
                    <a:pt x="90142" y="27103"/>
                    <a:pt x="96364" y="20485"/>
                    <a:pt x="103225" y="15127"/>
                  </a:cubicBezTo>
                  <a:cubicBezTo>
                    <a:pt x="110085" y="9927"/>
                    <a:pt x="117424" y="6145"/>
                    <a:pt x="125082" y="3624"/>
                  </a:cubicBezTo>
                  <a:cubicBezTo>
                    <a:pt x="132740" y="1103"/>
                    <a:pt x="140558" y="0"/>
                    <a:pt x="148535" y="0"/>
                  </a:cubicBezTo>
                  <a:cubicBezTo>
                    <a:pt x="153641" y="0"/>
                    <a:pt x="158746" y="315"/>
                    <a:pt x="163532" y="945"/>
                  </a:cubicBezTo>
                  <a:cubicBezTo>
                    <a:pt x="168319" y="1576"/>
                    <a:pt x="172626" y="2679"/>
                    <a:pt x="176455" y="4255"/>
                  </a:cubicBezTo>
                  <a:lnTo>
                    <a:pt x="176455" y="71854"/>
                  </a:lnTo>
                  <a:cubicBezTo>
                    <a:pt x="174381" y="70436"/>
                    <a:pt x="171988" y="69175"/>
                    <a:pt x="168797" y="68072"/>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mn-cs"/>
              </a:endParaRPr>
            </a:p>
          </p:txBody>
        </p:sp>
        <p:sp>
          <p:nvSpPr>
            <p:cNvPr id="15" name="Freeform 14">
              <a:extLst>
                <a:ext uri="{FF2B5EF4-FFF2-40B4-BE49-F238E27FC236}">
                  <a16:creationId xmlns:a16="http://schemas.microsoft.com/office/drawing/2014/main" id="{D5661CB5-786C-C012-6856-B5D35370AB0C}"/>
                </a:ext>
              </a:extLst>
            </p:cNvPr>
            <p:cNvSpPr/>
            <p:nvPr/>
          </p:nvSpPr>
          <p:spPr>
            <a:xfrm>
              <a:off x="5656185" y="4881908"/>
              <a:ext cx="315098" cy="317353"/>
            </a:xfrm>
            <a:custGeom>
              <a:avLst/>
              <a:gdLst>
                <a:gd name="connsiteX0" fmla="*/ 315099 w 315098"/>
                <a:gd name="connsiteY0" fmla="*/ 155998 h 317353"/>
                <a:gd name="connsiteX1" fmla="*/ 303611 w 315098"/>
                <a:gd name="connsiteY1" fmla="*/ 223440 h 317353"/>
                <a:gd name="connsiteX2" fmla="*/ 271224 w 315098"/>
                <a:gd name="connsiteY2" fmla="*/ 274336 h 317353"/>
                <a:gd name="connsiteX3" fmla="*/ 220808 w 315098"/>
                <a:gd name="connsiteY3" fmla="*/ 306324 h 317353"/>
                <a:gd name="connsiteX4" fmla="*/ 155076 w 315098"/>
                <a:gd name="connsiteY4" fmla="*/ 317354 h 317353"/>
                <a:gd name="connsiteX5" fmla="*/ 90621 w 315098"/>
                <a:gd name="connsiteY5" fmla="*/ 306481 h 317353"/>
                <a:gd name="connsiteX6" fmla="*/ 41801 w 315098"/>
                <a:gd name="connsiteY6" fmla="*/ 275282 h 317353"/>
                <a:gd name="connsiteX7" fmla="*/ 10849 w 315098"/>
                <a:gd name="connsiteY7" fmla="*/ 226434 h 317353"/>
                <a:gd name="connsiteX8" fmla="*/ 0 w 315098"/>
                <a:gd name="connsiteY8" fmla="*/ 162301 h 317353"/>
                <a:gd name="connsiteX9" fmla="*/ 11966 w 315098"/>
                <a:gd name="connsiteY9" fmla="*/ 92181 h 317353"/>
                <a:gd name="connsiteX10" fmla="*/ 45311 w 315098"/>
                <a:gd name="connsiteY10" fmla="*/ 41284 h 317353"/>
                <a:gd name="connsiteX11" fmla="*/ 96683 w 315098"/>
                <a:gd name="connsiteY11" fmla="*/ 10400 h 317353"/>
                <a:gd name="connsiteX12" fmla="*/ 162415 w 315098"/>
                <a:gd name="connsiteY12" fmla="*/ 0 h 317353"/>
                <a:gd name="connsiteX13" fmla="*/ 228147 w 315098"/>
                <a:gd name="connsiteY13" fmla="*/ 11188 h 317353"/>
                <a:gd name="connsiteX14" fmla="*/ 276010 w 315098"/>
                <a:gd name="connsiteY14" fmla="*/ 43018 h 317353"/>
                <a:gd name="connsiteX15" fmla="*/ 305207 w 315098"/>
                <a:gd name="connsiteY15" fmla="*/ 92181 h 317353"/>
                <a:gd name="connsiteX16" fmla="*/ 315099 w 315098"/>
                <a:gd name="connsiteY16" fmla="*/ 155683 h 317353"/>
                <a:gd name="connsiteX17" fmla="*/ 243304 w 315098"/>
                <a:gd name="connsiteY17" fmla="*/ 158362 h 317353"/>
                <a:gd name="connsiteX18" fmla="*/ 220649 w 315098"/>
                <a:gd name="connsiteY18" fmla="*/ 82096 h 317353"/>
                <a:gd name="connsiteX19" fmla="*/ 158586 w 315098"/>
                <a:gd name="connsiteY19" fmla="*/ 56096 h 317353"/>
                <a:gd name="connsiteX20" fmla="*/ 124125 w 315098"/>
                <a:gd name="connsiteY20" fmla="*/ 62242 h 317353"/>
                <a:gd name="connsiteX21" fmla="*/ 96683 w 315098"/>
                <a:gd name="connsiteY21" fmla="*/ 81308 h 317353"/>
                <a:gd name="connsiteX22" fmla="*/ 78495 w 315098"/>
                <a:gd name="connsiteY22" fmla="*/ 113768 h 317353"/>
                <a:gd name="connsiteX23" fmla="*/ 71954 w 315098"/>
                <a:gd name="connsiteY23" fmla="*/ 159938 h 317353"/>
                <a:gd name="connsiteX24" fmla="*/ 78336 w 315098"/>
                <a:gd name="connsiteY24" fmla="*/ 204689 h 317353"/>
                <a:gd name="connsiteX25" fmla="*/ 96364 w 315098"/>
                <a:gd name="connsiteY25" fmla="*/ 236518 h 317353"/>
                <a:gd name="connsiteX26" fmla="*/ 123965 w 315098"/>
                <a:gd name="connsiteY26" fmla="*/ 255427 h 317353"/>
                <a:gd name="connsiteX27" fmla="*/ 159065 w 315098"/>
                <a:gd name="connsiteY27" fmla="*/ 261573 h 317353"/>
                <a:gd name="connsiteX28" fmla="*/ 221766 w 315098"/>
                <a:gd name="connsiteY28" fmla="*/ 235100 h 317353"/>
                <a:gd name="connsiteX29" fmla="*/ 243144 w 315098"/>
                <a:gd name="connsiteY29" fmla="*/ 158204 h 317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15098" h="317353">
                  <a:moveTo>
                    <a:pt x="315099" y="155998"/>
                  </a:moveTo>
                  <a:cubicBezTo>
                    <a:pt x="315099" y="181052"/>
                    <a:pt x="311270" y="203585"/>
                    <a:pt x="303611" y="223440"/>
                  </a:cubicBezTo>
                  <a:cubicBezTo>
                    <a:pt x="295953" y="243452"/>
                    <a:pt x="285105" y="260470"/>
                    <a:pt x="271224" y="274336"/>
                  </a:cubicBezTo>
                  <a:cubicBezTo>
                    <a:pt x="257184" y="288360"/>
                    <a:pt x="240432" y="299075"/>
                    <a:pt x="220808" y="306324"/>
                  </a:cubicBezTo>
                  <a:cubicBezTo>
                    <a:pt x="201184" y="313730"/>
                    <a:pt x="179327" y="317354"/>
                    <a:pt x="155076" y="317354"/>
                  </a:cubicBezTo>
                  <a:cubicBezTo>
                    <a:pt x="130826" y="317354"/>
                    <a:pt x="109607" y="313730"/>
                    <a:pt x="90621" y="306481"/>
                  </a:cubicBezTo>
                  <a:cubicBezTo>
                    <a:pt x="71635" y="299233"/>
                    <a:pt x="55362" y="288833"/>
                    <a:pt x="41801" y="275282"/>
                  </a:cubicBezTo>
                  <a:cubicBezTo>
                    <a:pt x="28399" y="261730"/>
                    <a:pt x="18029" y="245500"/>
                    <a:pt x="10849" y="226434"/>
                  </a:cubicBezTo>
                  <a:cubicBezTo>
                    <a:pt x="3670" y="207367"/>
                    <a:pt x="0" y="185937"/>
                    <a:pt x="0" y="162301"/>
                  </a:cubicBezTo>
                  <a:cubicBezTo>
                    <a:pt x="0" y="135671"/>
                    <a:pt x="3989" y="112350"/>
                    <a:pt x="11966" y="92181"/>
                  </a:cubicBezTo>
                  <a:cubicBezTo>
                    <a:pt x="19943" y="72011"/>
                    <a:pt x="31111" y="54993"/>
                    <a:pt x="45311" y="41284"/>
                  </a:cubicBezTo>
                  <a:cubicBezTo>
                    <a:pt x="59510" y="27575"/>
                    <a:pt x="76740" y="17333"/>
                    <a:pt x="96683" y="10400"/>
                  </a:cubicBezTo>
                  <a:cubicBezTo>
                    <a:pt x="116626" y="3467"/>
                    <a:pt x="138484" y="0"/>
                    <a:pt x="162415" y="0"/>
                  </a:cubicBezTo>
                  <a:cubicBezTo>
                    <a:pt x="186347" y="0"/>
                    <a:pt x="209002" y="3782"/>
                    <a:pt x="228147" y="11188"/>
                  </a:cubicBezTo>
                  <a:cubicBezTo>
                    <a:pt x="247133" y="18751"/>
                    <a:pt x="263087" y="29309"/>
                    <a:pt x="276010" y="43018"/>
                  </a:cubicBezTo>
                  <a:cubicBezTo>
                    <a:pt x="288933" y="56727"/>
                    <a:pt x="298666" y="73114"/>
                    <a:pt x="305207" y="92181"/>
                  </a:cubicBezTo>
                  <a:cubicBezTo>
                    <a:pt x="311748" y="111247"/>
                    <a:pt x="315099" y="132520"/>
                    <a:pt x="315099" y="155683"/>
                  </a:cubicBezTo>
                  <a:close/>
                  <a:moveTo>
                    <a:pt x="243304" y="158362"/>
                  </a:moveTo>
                  <a:cubicBezTo>
                    <a:pt x="243304" y="124956"/>
                    <a:pt x="235805" y="99429"/>
                    <a:pt x="220649" y="82096"/>
                  </a:cubicBezTo>
                  <a:cubicBezTo>
                    <a:pt x="205652" y="64763"/>
                    <a:pt x="184911" y="56096"/>
                    <a:pt x="158586" y="56096"/>
                  </a:cubicBezTo>
                  <a:cubicBezTo>
                    <a:pt x="146142" y="56096"/>
                    <a:pt x="134814" y="58145"/>
                    <a:pt x="124125" y="62242"/>
                  </a:cubicBezTo>
                  <a:cubicBezTo>
                    <a:pt x="113595" y="66339"/>
                    <a:pt x="104342" y="72799"/>
                    <a:pt x="96683" y="81308"/>
                  </a:cubicBezTo>
                  <a:cubicBezTo>
                    <a:pt x="89025" y="89817"/>
                    <a:pt x="82803" y="100690"/>
                    <a:pt x="78495" y="113768"/>
                  </a:cubicBezTo>
                  <a:cubicBezTo>
                    <a:pt x="74028" y="126847"/>
                    <a:pt x="71954" y="142289"/>
                    <a:pt x="71954" y="159938"/>
                  </a:cubicBezTo>
                  <a:cubicBezTo>
                    <a:pt x="71954" y="177586"/>
                    <a:pt x="74028" y="191925"/>
                    <a:pt x="78336" y="204689"/>
                  </a:cubicBezTo>
                  <a:cubicBezTo>
                    <a:pt x="82644" y="217452"/>
                    <a:pt x="88706" y="228009"/>
                    <a:pt x="96364" y="236518"/>
                  </a:cubicBezTo>
                  <a:cubicBezTo>
                    <a:pt x="104182" y="245027"/>
                    <a:pt x="113435" y="251330"/>
                    <a:pt x="123965" y="255427"/>
                  </a:cubicBezTo>
                  <a:cubicBezTo>
                    <a:pt x="134655" y="259524"/>
                    <a:pt x="146301" y="261573"/>
                    <a:pt x="159065" y="261573"/>
                  </a:cubicBezTo>
                  <a:cubicBezTo>
                    <a:pt x="186666" y="261573"/>
                    <a:pt x="207407" y="252749"/>
                    <a:pt x="221766" y="235100"/>
                  </a:cubicBezTo>
                  <a:cubicBezTo>
                    <a:pt x="235965" y="217452"/>
                    <a:pt x="243144" y="191767"/>
                    <a:pt x="243144" y="158204"/>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mn-cs"/>
              </a:endParaRPr>
            </a:p>
          </p:txBody>
        </p:sp>
        <p:sp>
          <p:nvSpPr>
            <p:cNvPr id="16" name="Freeform 15">
              <a:extLst>
                <a:ext uri="{FF2B5EF4-FFF2-40B4-BE49-F238E27FC236}">
                  <a16:creationId xmlns:a16="http://schemas.microsoft.com/office/drawing/2014/main" id="{C9CF649F-720E-E0B9-5FE0-D48C35EF923B}"/>
                </a:ext>
              </a:extLst>
            </p:cNvPr>
            <p:cNvSpPr/>
            <p:nvPr/>
          </p:nvSpPr>
          <p:spPr>
            <a:xfrm>
              <a:off x="6029358" y="4882065"/>
              <a:ext cx="202779" cy="317196"/>
            </a:xfrm>
            <a:custGeom>
              <a:avLst/>
              <a:gdLst>
                <a:gd name="connsiteX0" fmla="*/ 202301 w 202779"/>
                <a:gd name="connsiteY0" fmla="*/ 223440 h 317196"/>
                <a:gd name="connsiteX1" fmla="*/ 194484 w 202779"/>
                <a:gd name="connsiteY1" fmla="*/ 259997 h 317196"/>
                <a:gd name="connsiteX2" fmla="*/ 171509 w 202779"/>
                <a:gd name="connsiteY2" fmla="*/ 289778 h 317196"/>
                <a:gd name="connsiteX3" fmla="*/ 133378 w 202779"/>
                <a:gd name="connsiteY3" fmla="*/ 309790 h 317196"/>
                <a:gd name="connsiteX4" fmla="*/ 80250 w 202779"/>
                <a:gd name="connsiteY4" fmla="*/ 317196 h 317196"/>
                <a:gd name="connsiteX5" fmla="*/ 61105 w 202779"/>
                <a:gd name="connsiteY5" fmla="*/ 315936 h 317196"/>
                <a:gd name="connsiteX6" fmla="*/ 39248 w 202779"/>
                <a:gd name="connsiteY6" fmla="*/ 312311 h 317196"/>
                <a:gd name="connsiteX7" fmla="*/ 17869 w 202779"/>
                <a:gd name="connsiteY7" fmla="*/ 307112 h 317196"/>
                <a:gd name="connsiteX8" fmla="*/ 0 w 202779"/>
                <a:gd name="connsiteY8" fmla="*/ 300651 h 317196"/>
                <a:gd name="connsiteX9" fmla="*/ 0 w 202779"/>
                <a:gd name="connsiteY9" fmla="*/ 235415 h 317196"/>
                <a:gd name="connsiteX10" fmla="*/ 20422 w 202779"/>
                <a:gd name="connsiteY10" fmla="*/ 247549 h 317196"/>
                <a:gd name="connsiteX11" fmla="*/ 42279 w 202779"/>
                <a:gd name="connsiteY11" fmla="*/ 256373 h 317196"/>
                <a:gd name="connsiteX12" fmla="*/ 63817 w 202779"/>
                <a:gd name="connsiteY12" fmla="*/ 261888 h 317196"/>
                <a:gd name="connsiteX13" fmla="*/ 82963 w 202779"/>
                <a:gd name="connsiteY13" fmla="*/ 263779 h 317196"/>
                <a:gd name="connsiteX14" fmla="*/ 120775 w 202779"/>
                <a:gd name="connsiteY14" fmla="*/ 254955 h 317196"/>
                <a:gd name="connsiteX15" fmla="*/ 132581 w 202779"/>
                <a:gd name="connsiteY15" fmla="*/ 231318 h 317196"/>
                <a:gd name="connsiteX16" fmla="*/ 130347 w 202779"/>
                <a:gd name="connsiteY16" fmla="*/ 217925 h 317196"/>
                <a:gd name="connsiteX17" fmla="*/ 121732 w 202779"/>
                <a:gd name="connsiteY17" fmla="*/ 206737 h 317196"/>
                <a:gd name="connsiteX18" fmla="*/ 103703 w 202779"/>
                <a:gd name="connsiteY18" fmla="*/ 195392 h 317196"/>
                <a:gd name="connsiteX19" fmla="*/ 73231 w 202779"/>
                <a:gd name="connsiteY19" fmla="*/ 181840 h 317196"/>
                <a:gd name="connsiteX20" fmla="*/ 42917 w 202779"/>
                <a:gd name="connsiteY20" fmla="*/ 166871 h 317196"/>
                <a:gd name="connsiteX21" fmla="*/ 19943 w 202779"/>
                <a:gd name="connsiteY21" fmla="*/ 148750 h 317196"/>
                <a:gd name="connsiteX22" fmla="*/ 5425 w 202779"/>
                <a:gd name="connsiteY22" fmla="*/ 124799 h 317196"/>
                <a:gd name="connsiteX23" fmla="*/ 319 w 202779"/>
                <a:gd name="connsiteY23" fmla="*/ 92338 h 317196"/>
                <a:gd name="connsiteX24" fmla="*/ 8456 w 202779"/>
                <a:gd name="connsiteY24" fmla="*/ 55939 h 317196"/>
                <a:gd name="connsiteX25" fmla="*/ 31749 w 202779"/>
                <a:gd name="connsiteY25" fmla="*/ 26630 h 317196"/>
                <a:gd name="connsiteX26" fmla="*/ 68763 w 202779"/>
                <a:gd name="connsiteY26" fmla="*/ 7091 h 317196"/>
                <a:gd name="connsiteX27" fmla="*/ 117424 w 202779"/>
                <a:gd name="connsiteY27" fmla="*/ 0 h 317196"/>
                <a:gd name="connsiteX28" fmla="*/ 136729 w 202779"/>
                <a:gd name="connsiteY28" fmla="*/ 1261 h 317196"/>
                <a:gd name="connsiteX29" fmla="*/ 155555 w 202779"/>
                <a:gd name="connsiteY29" fmla="*/ 4255 h 317196"/>
                <a:gd name="connsiteX30" fmla="*/ 172626 w 202779"/>
                <a:gd name="connsiteY30" fmla="*/ 8194 h 317196"/>
                <a:gd name="connsiteX31" fmla="*/ 186187 w 202779"/>
                <a:gd name="connsiteY31" fmla="*/ 12763 h 317196"/>
                <a:gd name="connsiteX32" fmla="*/ 186187 w 202779"/>
                <a:gd name="connsiteY32" fmla="*/ 74532 h 317196"/>
                <a:gd name="connsiteX33" fmla="*/ 170552 w 202779"/>
                <a:gd name="connsiteY33" fmla="*/ 66023 h 317196"/>
                <a:gd name="connsiteX34" fmla="*/ 152683 w 202779"/>
                <a:gd name="connsiteY34" fmla="*/ 59405 h 317196"/>
                <a:gd name="connsiteX35" fmla="*/ 133857 w 202779"/>
                <a:gd name="connsiteY35" fmla="*/ 55151 h 317196"/>
                <a:gd name="connsiteX36" fmla="*/ 115031 w 202779"/>
                <a:gd name="connsiteY36" fmla="*/ 53733 h 317196"/>
                <a:gd name="connsiteX37" fmla="*/ 82484 w 202779"/>
                <a:gd name="connsiteY37" fmla="*/ 62872 h 317196"/>
                <a:gd name="connsiteX38" fmla="*/ 70518 w 202779"/>
                <a:gd name="connsiteY38" fmla="*/ 86193 h 317196"/>
                <a:gd name="connsiteX39" fmla="*/ 73071 w 202779"/>
                <a:gd name="connsiteY39" fmla="*/ 101478 h 317196"/>
                <a:gd name="connsiteX40" fmla="*/ 81846 w 202779"/>
                <a:gd name="connsiteY40" fmla="*/ 112980 h 317196"/>
                <a:gd name="connsiteX41" fmla="*/ 98438 w 202779"/>
                <a:gd name="connsiteY41" fmla="*/ 123065 h 317196"/>
                <a:gd name="connsiteX42" fmla="*/ 124285 w 202779"/>
                <a:gd name="connsiteY42" fmla="*/ 134095 h 317196"/>
                <a:gd name="connsiteX43" fmla="*/ 155715 w 202779"/>
                <a:gd name="connsiteY43" fmla="*/ 148907 h 317196"/>
                <a:gd name="connsiteX44" fmla="*/ 180603 w 202779"/>
                <a:gd name="connsiteY44" fmla="*/ 167343 h 317196"/>
                <a:gd name="connsiteX45" fmla="*/ 196877 w 202779"/>
                <a:gd name="connsiteY45" fmla="*/ 191610 h 317196"/>
                <a:gd name="connsiteX46" fmla="*/ 202780 w 202779"/>
                <a:gd name="connsiteY46" fmla="*/ 223597 h 317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02779" h="317196">
                  <a:moveTo>
                    <a:pt x="202301" y="223440"/>
                  </a:moveTo>
                  <a:cubicBezTo>
                    <a:pt x="202301" y="236361"/>
                    <a:pt x="199749" y="248652"/>
                    <a:pt x="194484" y="259997"/>
                  </a:cubicBezTo>
                  <a:cubicBezTo>
                    <a:pt x="189219" y="271500"/>
                    <a:pt x="181561" y="281427"/>
                    <a:pt x="171509" y="289778"/>
                  </a:cubicBezTo>
                  <a:cubicBezTo>
                    <a:pt x="161299" y="298287"/>
                    <a:pt x="148695" y="304905"/>
                    <a:pt x="133378" y="309790"/>
                  </a:cubicBezTo>
                  <a:cubicBezTo>
                    <a:pt x="118062" y="314675"/>
                    <a:pt x="100353" y="317196"/>
                    <a:pt x="80250" y="317196"/>
                  </a:cubicBezTo>
                  <a:cubicBezTo>
                    <a:pt x="74667" y="317196"/>
                    <a:pt x="68285" y="316724"/>
                    <a:pt x="61105" y="315936"/>
                  </a:cubicBezTo>
                  <a:cubicBezTo>
                    <a:pt x="53926" y="315148"/>
                    <a:pt x="46587" y="313887"/>
                    <a:pt x="39248" y="312311"/>
                  </a:cubicBezTo>
                  <a:cubicBezTo>
                    <a:pt x="31909" y="310893"/>
                    <a:pt x="24729" y="309160"/>
                    <a:pt x="17869" y="307112"/>
                  </a:cubicBezTo>
                  <a:cubicBezTo>
                    <a:pt x="11009" y="305221"/>
                    <a:pt x="5106" y="303015"/>
                    <a:pt x="0" y="300651"/>
                  </a:cubicBezTo>
                  <a:lnTo>
                    <a:pt x="0" y="235415"/>
                  </a:lnTo>
                  <a:cubicBezTo>
                    <a:pt x="6382" y="239985"/>
                    <a:pt x="13242" y="243924"/>
                    <a:pt x="20422" y="247549"/>
                  </a:cubicBezTo>
                  <a:cubicBezTo>
                    <a:pt x="27601" y="251173"/>
                    <a:pt x="34940" y="254009"/>
                    <a:pt x="42279" y="256373"/>
                  </a:cubicBezTo>
                  <a:cubicBezTo>
                    <a:pt x="49618" y="258736"/>
                    <a:pt x="56797" y="260627"/>
                    <a:pt x="63817" y="261888"/>
                  </a:cubicBezTo>
                  <a:cubicBezTo>
                    <a:pt x="70837" y="263148"/>
                    <a:pt x="77219" y="263779"/>
                    <a:pt x="82963" y="263779"/>
                  </a:cubicBezTo>
                  <a:cubicBezTo>
                    <a:pt x="100353" y="263779"/>
                    <a:pt x="112957" y="260785"/>
                    <a:pt x="120775" y="254955"/>
                  </a:cubicBezTo>
                  <a:cubicBezTo>
                    <a:pt x="128592" y="248967"/>
                    <a:pt x="132581" y="241246"/>
                    <a:pt x="132581" y="231318"/>
                  </a:cubicBezTo>
                  <a:cubicBezTo>
                    <a:pt x="132581" y="226276"/>
                    <a:pt x="131783" y="221706"/>
                    <a:pt x="130347" y="217925"/>
                  </a:cubicBezTo>
                  <a:cubicBezTo>
                    <a:pt x="128911" y="214143"/>
                    <a:pt x="125880" y="210361"/>
                    <a:pt x="121732" y="206737"/>
                  </a:cubicBezTo>
                  <a:cubicBezTo>
                    <a:pt x="117424" y="203113"/>
                    <a:pt x="111362" y="199331"/>
                    <a:pt x="103703" y="195392"/>
                  </a:cubicBezTo>
                  <a:cubicBezTo>
                    <a:pt x="95886" y="191452"/>
                    <a:pt x="85835" y="186883"/>
                    <a:pt x="73231" y="181840"/>
                  </a:cubicBezTo>
                  <a:cubicBezTo>
                    <a:pt x="62062" y="177113"/>
                    <a:pt x="52011" y="172071"/>
                    <a:pt x="42917" y="166871"/>
                  </a:cubicBezTo>
                  <a:cubicBezTo>
                    <a:pt x="33823" y="161671"/>
                    <a:pt x="26165" y="155683"/>
                    <a:pt x="19943" y="148750"/>
                  </a:cubicBezTo>
                  <a:cubicBezTo>
                    <a:pt x="13721" y="141817"/>
                    <a:pt x="8775" y="133938"/>
                    <a:pt x="5425" y="124799"/>
                  </a:cubicBezTo>
                  <a:cubicBezTo>
                    <a:pt x="2074" y="115817"/>
                    <a:pt x="319" y="104944"/>
                    <a:pt x="319" y="92338"/>
                  </a:cubicBezTo>
                  <a:cubicBezTo>
                    <a:pt x="319" y="79732"/>
                    <a:pt x="3031" y="67284"/>
                    <a:pt x="8456" y="55939"/>
                  </a:cubicBezTo>
                  <a:cubicBezTo>
                    <a:pt x="13880" y="44593"/>
                    <a:pt x="21698" y="34981"/>
                    <a:pt x="31749" y="26630"/>
                  </a:cubicBezTo>
                  <a:cubicBezTo>
                    <a:pt x="41801" y="18279"/>
                    <a:pt x="54245" y="11818"/>
                    <a:pt x="68763" y="7091"/>
                  </a:cubicBezTo>
                  <a:cubicBezTo>
                    <a:pt x="83282" y="2364"/>
                    <a:pt x="99396" y="0"/>
                    <a:pt x="117424" y="0"/>
                  </a:cubicBezTo>
                  <a:cubicBezTo>
                    <a:pt x="123806" y="0"/>
                    <a:pt x="130188" y="473"/>
                    <a:pt x="136729" y="1261"/>
                  </a:cubicBezTo>
                  <a:cubicBezTo>
                    <a:pt x="143270" y="2048"/>
                    <a:pt x="149492" y="2994"/>
                    <a:pt x="155555" y="4255"/>
                  </a:cubicBezTo>
                  <a:cubicBezTo>
                    <a:pt x="161618" y="5515"/>
                    <a:pt x="167361" y="6776"/>
                    <a:pt x="172626" y="8194"/>
                  </a:cubicBezTo>
                  <a:cubicBezTo>
                    <a:pt x="177891" y="9612"/>
                    <a:pt x="182518" y="11188"/>
                    <a:pt x="186187" y="12763"/>
                  </a:cubicBezTo>
                  <a:lnTo>
                    <a:pt x="186187" y="74532"/>
                  </a:lnTo>
                  <a:cubicBezTo>
                    <a:pt x="181401" y="71381"/>
                    <a:pt x="176136" y="68545"/>
                    <a:pt x="170552" y="66023"/>
                  </a:cubicBezTo>
                  <a:cubicBezTo>
                    <a:pt x="164809" y="63502"/>
                    <a:pt x="158905" y="61296"/>
                    <a:pt x="152683" y="59405"/>
                  </a:cubicBezTo>
                  <a:cubicBezTo>
                    <a:pt x="146461" y="57514"/>
                    <a:pt x="140239" y="56096"/>
                    <a:pt x="133857" y="55151"/>
                  </a:cubicBezTo>
                  <a:cubicBezTo>
                    <a:pt x="127475" y="54205"/>
                    <a:pt x="121253" y="53733"/>
                    <a:pt x="115031" y="53733"/>
                  </a:cubicBezTo>
                  <a:cubicBezTo>
                    <a:pt x="101310" y="53733"/>
                    <a:pt x="90461" y="56727"/>
                    <a:pt x="82484" y="62872"/>
                  </a:cubicBezTo>
                  <a:cubicBezTo>
                    <a:pt x="74507" y="69017"/>
                    <a:pt x="70518" y="76738"/>
                    <a:pt x="70518" y="86193"/>
                  </a:cubicBezTo>
                  <a:cubicBezTo>
                    <a:pt x="70518" y="92181"/>
                    <a:pt x="71316" y="97223"/>
                    <a:pt x="73071" y="101478"/>
                  </a:cubicBezTo>
                  <a:cubicBezTo>
                    <a:pt x="74826" y="105732"/>
                    <a:pt x="77698" y="109514"/>
                    <a:pt x="81846" y="112980"/>
                  </a:cubicBezTo>
                  <a:cubicBezTo>
                    <a:pt x="85994" y="116447"/>
                    <a:pt x="91578" y="119756"/>
                    <a:pt x="98438" y="123065"/>
                  </a:cubicBezTo>
                  <a:cubicBezTo>
                    <a:pt x="105299" y="126374"/>
                    <a:pt x="113914" y="129998"/>
                    <a:pt x="124285" y="134095"/>
                  </a:cubicBezTo>
                  <a:cubicBezTo>
                    <a:pt x="135612" y="138665"/>
                    <a:pt x="146142" y="143550"/>
                    <a:pt x="155715" y="148907"/>
                  </a:cubicBezTo>
                  <a:cubicBezTo>
                    <a:pt x="165287" y="154265"/>
                    <a:pt x="173583" y="160410"/>
                    <a:pt x="180603" y="167343"/>
                  </a:cubicBezTo>
                  <a:cubicBezTo>
                    <a:pt x="187623" y="174277"/>
                    <a:pt x="193048" y="182471"/>
                    <a:pt x="196877" y="191610"/>
                  </a:cubicBezTo>
                  <a:cubicBezTo>
                    <a:pt x="200706" y="200749"/>
                    <a:pt x="202780" y="211464"/>
                    <a:pt x="202780" y="223597"/>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mn-cs"/>
              </a:endParaRPr>
            </a:p>
          </p:txBody>
        </p:sp>
        <p:sp>
          <p:nvSpPr>
            <p:cNvPr id="17" name="Freeform 16">
              <a:extLst>
                <a:ext uri="{FF2B5EF4-FFF2-40B4-BE49-F238E27FC236}">
                  <a16:creationId xmlns:a16="http://schemas.microsoft.com/office/drawing/2014/main" id="{CDE4CC36-160C-82B8-7D3A-825DACA70295}"/>
                </a:ext>
              </a:extLst>
            </p:cNvPr>
            <p:cNvSpPr/>
            <p:nvPr/>
          </p:nvSpPr>
          <p:spPr>
            <a:xfrm>
              <a:off x="6282075" y="4881908"/>
              <a:ext cx="315098" cy="317353"/>
            </a:xfrm>
            <a:custGeom>
              <a:avLst/>
              <a:gdLst>
                <a:gd name="connsiteX0" fmla="*/ 314939 w 315098"/>
                <a:gd name="connsiteY0" fmla="*/ 155998 h 317353"/>
                <a:gd name="connsiteX1" fmla="*/ 303452 w 315098"/>
                <a:gd name="connsiteY1" fmla="*/ 223440 h 317353"/>
                <a:gd name="connsiteX2" fmla="*/ 271064 w 315098"/>
                <a:gd name="connsiteY2" fmla="*/ 274336 h 317353"/>
                <a:gd name="connsiteX3" fmla="*/ 220649 w 315098"/>
                <a:gd name="connsiteY3" fmla="*/ 306324 h 317353"/>
                <a:gd name="connsiteX4" fmla="*/ 154917 w 315098"/>
                <a:gd name="connsiteY4" fmla="*/ 317354 h 317353"/>
                <a:gd name="connsiteX5" fmla="*/ 90461 w 315098"/>
                <a:gd name="connsiteY5" fmla="*/ 306481 h 317353"/>
                <a:gd name="connsiteX6" fmla="*/ 41641 w 315098"/>
                <a:gd name="connsiteY6" fmla="*/ 275282 h 317353"/>
                <a:gd name="connsiteX7" fmla="*/ 10689 w 315098"/>
                <a:gd name="connsiteY7" fmla="*/ 226434 h 317353"/>
                <a:gd name="connsiteX8" fmla="*/ 0 w 315098"/>
                <a:gd name="connsiteY8" fmla="*/ 162301 h 317353"/>
                <a:gd name="connsiteX9" fmla="*/ 11966 w 315098"/>
                <a:gd name="connsiteY9" fmla="*/ 92181 h 317353"/>
                <a:gd name="connsiteX10" fmla="*/ 45310 w 315098"/>
                <a:gd name="connsiteY10" fmla="*/ 41284 h 317353"/>
                <a:gd name="connsiteX11" fmla="*/ 96683 w 315098"/>
                <a:gd name="connsiteY11" fmla="*/ 10400 h 317353"/>
                <a:gd name="connsiteX12" fmla="*/ 162415 w 315098"/>
                <a:gd name="connsiteY12" fmla="*/ 0 h 317353"/>
                <a:gd name="connsiteX13" fmla="*/ 228147 w 315098"/>
                <a:gd name="connsiteY13" fmla="*/ 11188 h 317353"/>
                <a:gd name="connsiteX14" fmla="*/ 276010 w 315098"/>
                <a:gd name="connsiteY14" fmla="*/ 43018 h 317353"/>
                <a:gd name="connsiteX15" fmla="*/ 305207 w 315098"/>
                <a:gd name="connsiteY15" fmla="*/ 92181 h 317353"/>
                <a:gd name="connsiteX16" fmla="*/ 315099 w 315098"/>
                <a:gd name="connsiteY16" fmla="*/ 155683 h 317353"/>
                <a:gd name="connsiteX17" fmla="*/ 243144 w 315098"/>
                <a:gd name="connsiteY17" fmla="*/ 158362 h 317353"/>
                <a:gd name="connsiteX18" fmla="*/ 220489 w 315098"/>
                <a:gd name="connsiteY18" fmla="*/ 82096 h 317353"/>
                <a:gd name="connsiteX19" fmla="*/ 158427 w 315098"/>
                <a:gd name="connsiteY19" fmla="*/ 56096 h 317353"/>
                <a:gd name="connsiteX20" fmla="*/ 123965 w 315098"/>
                <a:gd name="connsiteY20" fmla="*/ 62242 h 317353"/>
                <a:gd name="connsiteX21" fmla="*/ 96364 w 315098"/>
                <a:gd name="connsiteY21" fmla="*/ 81308 h 317353"/>
                <a:gd name="connsiteX22" fmla="*/ 78176 w 315098"/>
                <a:gd name="connsiteY22" fmla="*/ 113768 h 317353"/>
                <a:gd name="connsiteX23" fmla="*/ 71635 w 315098"/>
                <a:gd name="connsiteY23" fmla="*/ 159938 h 317353"/>
                <a:gd name="connsiteX24" fmla="*/ 78017 w 315098"/>
                <a:gd name="connsiteY24" fmla="*/ 204689 h 317353"/>
                <a:gd name="connsiteX25" fmla="*/ 96045 w 315098"/>
                <a:gd name="connsiteY25" fmla="*/ 236518 h 317353"/>
                <a:gd name="connsiteX26" fmla="*/ 123646 w 315098"/>
                <a:gd name="connsiteY26" fmla="*/ 255427 h 317353"/>
                <a:gd name="connsiteX27" fmla="*/ 158746 w 315098"/>
                <a:gd name="connsiteY27" fmla="*/ 261573 h 317353"/>
                <a:gd name="connsiteX28" fmla="*/ 221446 w 315098"/>
                <a:gd name="connsiteY28" fmla="*/ 235100 h 317353"/>
                <a:gd name="connsiteX29" fmla="*/ 242825 w 315098"/>
                <a:gd name="connsiteY29" fmla="*/ 158204 h 317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15098" h="317353">
                  <a:moveTo>
                    <a:pt x="314939" y="155998"/>
                  </a:moveTo>
                  <a:cubicBezTo>
                    <a:pt x="314939" y="181052"/>
                    <a:pt x="311110" y="203585"/>
                    <a:pt x="303452" y="223440"/>
                  </a:cubicBezTo>
                  <a:cubicBezTo>
                    <a:pt x="295794" y="243452"/>
                    <a:pt x="284945" y="260470"/>
                    <a:pt x="271064" y="274336"/>
                  </a:cubicBezTo>
                  <a:cubicBezTo>
                    <a:pt x="257025" y="288360"/>
                    <a:pt x="240273" y="299075"/>
                    <a:pt x="220649" y="306324"/>
                  </a:cubicBezTo>
                  <a:cubicBezTo>
                    <a:pt x="201025" y="313572"/>
                    <a:pt x="179167" y="317354"/>
                    <a:pt x="154917" y="317354"/>
                  </a:cubicBezTo>
                  <a:cubicBezTo>
                    <a:pt x="130666" y="317354"/>
                    <a:pt x="109447" y="313730"/>
                    <a:pt x="90461" y="306481"/>
                  </a:cubicBezTo>
                  <a:cubicBezTo>
                    <a:pt x="71475" y="299233"/>
                    <a:pt x="55202" y="288833"/>
                    <a:pt x="41641" y="275282"/>
                  </a:cubicBezTo>
                  <a:cubicBezTo>
                    <a:pt x="28239" y="261730"/>
                    <a:pt x="17869" y="245500"/>
                    <a:pt x="10689" y="226434"/>
                  </a:cubicBezTo>
                  <a:cubicBezTo>
                    <a:pt x="3510" y="207367"/>
                    <a:pt x="0" y="185937"/>
                    <a:pt x="0" y="162301"/>
                  </a:cubicBezTo>
                  <a:cubicBezTo>
                    <a:pt x="0" y="135671"/>
                    <a:pt x="3989" y="112350"/>
                    <a:pt x="11966" y="92181"/>
                  </a:cubicBezTo>
                  <a:cubicBezTo>
                    <a:pt x="19943" y="72011"/>
                    <a:pt x="31111" y="54993"/>
                    <a:pt x="45310" y="41284"/>
                  </a:cubicBezTo>
                  <a:cubicBezTo>
                    <a:pt x="59510" y="27575"/>
                    <a:pt x="76740" y="17333"/>
                    <a:pt x="96683" y="10400"/>
                  </a:cubicBezTo>
                  <a:cubicBezTo>
                    <a:pt x="116626" y="3467"/>
                    <a:pt x="138484" y="0"/>
                    <a:pt x="162415" y="0"/>
                  </a:cubicBezTo>
                  <a:cubicBezTo>
                    <a:pt x="186347" y="0"/>
                    <a:pt x="209002" y="3782"/>
                    <a:pt x="228147" y="11188"/>
                  </a:cubicBezTo>
                  <a:cubicBezTo>
                    <a:pt x="247133" y="18751"/>
                    <a:pt x="263087" y="29309"/>
                    <a:pt x="276010" y="43018"/>
                  </a:cubicBezTo>
                  <a:cubicBezTo>
                    <a:pt x="288933" y="56727"/>
                    <a:pt x="298665" y="73114"/>
                    <a:pt x="305207" y="92181"/>
                  </a:cubicBezTo>
                  <a:cubicBezTo>
                    <a:pt x="311748" y="111247"/>
                    <a:pt x="315099" y="132520"/>
                    <a:pt x="315099" y="155683"/>
                  </a:cubicBezTo>
                  <a:close/>
                  <a:moveTo>
                    <a:pt x="243144" y="158362"/>
                  </a:moveTo>
                  <a:cubicBezTo>
                    <a:pt x="243144" y="124956"/>
                    <a:pt x="235646" y="99429"/>
                    <a:pt x="220489" y="82096"/>
                  </a:cubicBezTo>
                  <a:cubicBezTo>
                    <a:pt x="205492" y="64763"/>
                    <a:pt x="184751" y="56096"/>
                    <a:pt x="158427" y="56096"/>
                  </a:cubicBezTo>
                  <a:cubicBezTo>
                    <a:pt x="146142" y="56096"/>
                    <a:pt x="134655" y="58145"/>
                    <a:pt x="123965" y="62242"/>
                  </a:cubicBezTo>
                  <a:cubicBezTo>
                    <a:pt x="113276" y="66339"/>
                    <a:pt x="104182" y="72799"/>
                    <a:pt x="96364" y="81308"/>
                  </a:cubicBezTo>
                  <a:cubicBezTo>
                    <a:pt x="88546" y="89817"/>
                    <a:pt x="82484" y="100690"/>
                    <a:pt x="78176" y="113768"/>
                  </a:cubicBezTo>
                  <a:cubicBezTo>
                    <a:pt x="73709" y="126847"/>
                    <a:pt x="71635" y="142289"/>
                    <a:pt x="71635" y="159938"/>
                  </a:cubicBezTo>
                  <a:cubicBezTo>
                    <a:pt x="71635" y="177586"/>
                    <a:pt x="73709" y="191925"/>
                    <a:pt x="78017" y="204689"/>
                  </a:cubicBezTo>
                  <a:cubicBezTo>
                    <a:pt x="82324" y="217452"/>
                    <a:pt x="88387" y="228009"/>
                    <a:pt x="96045" y="236518"/>
                  </a:cubicBezTo>
                  <a:cubicBezTo>
                    <a:pt x="103863" y="245027"/>
                    <a:pt x="113116" y="251330"/>
                    <a:pt x="123646" y="255427"/>
                  </a:cubicBezTo>
                  <a:cubicBezTo>
                    <a:pt x="134176" y="259524"/>
                    <a:pt x="145982" y="261573"/>
                    <a:pt x="158746" y="261573"/>
                  </a:cubicBezTo>
                  <a:cubicBezTo>
                    <a:pt x="186187" y="261573"/>
                    <a:pt x="207087" y="252749"/>
                    <a:pt x="221446" y="235100"/>
                  </a:cubicBezTo>
                  <a:cubicBezTo>
                    <a:pt x="235646" y="217452"/>
                    <a:pt x="242825" y="191767"/>
                    <a:pt x="242825" y="158204"/>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mn-cs"/>
              </a:endParaRPr>
            </a:p>
          </p:txBody>
        </p:sp>
        <p:sp>
          <p:nvSpPr>
            <p:cNvPr id="18" name="Freeform 17">
              <a:extLst>
                <a:ext uri="{FF2B5EF4-FFF2-40B4-BE49-F238E27FC236}">
                  <a16:creationId xmlns:a16="http://schemas.microsoft.com/office/drawing/2014/main" id="{4CFE8D18-4BA2-A582-9AA2-B04493094DC9}"/>
                </a:ext>
              </a:extLst>
            </p:cNvPr>
            <p:cNvSpPr/>
            <p:nvPr/>
          </p:nvSpPr>
          <p:spPr>
            <a:xfrm>
              <a:off x="6629401" y="4736940"/>
              <a:ext cx="202301" cy="455073"/>
            </a:xfrm>
            <a:custGeom>
              <a:avLst/>
              <a:gdLst>
                <a:gd name="connsiteX0" fmla="*/ 187942 w 202301"/>
                <a:gd name="connsiteY0" fmla="*/ 57987 h 455073"/>
                <a:gd name="connsiteX1" fmla="*/ 169435 w 202301"/>
                <a:gd name="connsiteY1" fmla="*/ 55624 h 455073"/>
                <a:gd name="connsiteX2" fmla="*/ 134176 w 202301"/>
                <a:gd name="connsiteY2" fmla="*/ 69963 h 455073"/>
                <a:gd name="connsiteX3" fmla="*/ 121572 w 202301"/>
                <a:gd name="connsiteY3" fmla="*/ 112035 h 455073"/>
                <a:gd name="connsiteX4" fmla="*/ 121572 w 202301"/>
                <a:gd name="connsiteY4" fmla="*/ 152532 h 455073"/>
                <a:gd name="connsiteX5" fmla="*/ 190016 w 202301"/>
                <a:gd name="connsiteY5" fmla="*/ 152532 h 455073"/>
                <a:gd name="connsiteX6" fmla="*/ 190016 w 202301"/>
                <a:gd name="connsiteY6" fmla="*/ 207525 h 455073"/>
                <a:gd name="connsiteX7" fmla="*/ 121572 w 202301"/>
                <a:gd name="connsiteY7" fmla="*/ 207525 h 455073"/>
                <a:gd name="connsiteX8" fmla="*/ 121572 w 202301"/>
                <a:gd name="connsiteY8" fmla="*/ 455073 h 455073"/>
                <a:gd name="connsiteX9" fmla="*/ 51533 w 202301"/>
                <a:gd name="connsiteY9" fmla="*/ 455073 h 455073"/>
                <a:gd name="connsiteX10" fmla="*/ 51533 w 202301"/>
                <a:gd name="connsiteY10" fmla="*/ 207525 h 455073"/>
                <a:gd name="connsiteX11" fmla="*/ 0 w 202301"/>
                <a:gd name="connsiteY11" fmla="*/ 207525 h 455073"/>
                <a:gd name="connsiteX12" fmla="*/ 0 w 202301"/>
                <a:gd name="connsiteY12" fmla="*/ 152532 h 455073"/>
                <a:gd name="connsiteX13" fmla="*/ 51533 w 202301"/>
                <a:gd name="connsiteY13" fmla="*/ 152532 h 455073"/>
                <a:gd name="connsiteX14" fmla="*/ 51533 w 202301"/>
                <a:gd name="connsiteY14" fmla="*/ 108253 h 455073"/>
                <a:gd name="connsiteX15" fmla="*/ 59989 w 202301"/>
                <a:gd name="connsiteY15" fmla="*/ 63030 h 455073"/>
                <a:gd name="connsiteX16" fmla="*/ 83282 w 202301"/>
                <a:gd name="connsiteY16" fmla="*/ 28994 h 455073"/>
                <a:gd name="connsiteX17" fmla="*/ 118222 w 202301"/>
                <a:gd name="connsiteY17" fmla="*/ 7564 h 455073"/>
                <a:gd name="connsiteX18" fmla="*/ 161777 w 202301"/>
                <a:gd name="connsiteY18" fmla="*/ 0 h 455073"/>
                <a:gd name="connsiteX19" fmla="*/ 184432 w 202301"/>
                <a:gd name="connsiteY19" fmla="*/ 1418 h 455073"/>
                <a:gd name="connsiteX20" fmla="*/ 202301 w 202301"/>
                <a:gd name="connsiteY20" fmla="*/ 5200 h 455073"/>
                <a:gd name="connsiteX21" fmla="*/ 202301 w 202301"/>
                <a:gd name="connsiteY21" fmla="*/ 62872 h 455073"/>
                <a:gd name="connsiteX22" fmla="*/ 187942 w 202301"/>
                <a:gd name="connsiteY22" fmla="*/ 57830 h 45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2301" h="455073">
                  <a:moveTo>
                    <a:pt x="187942" y="57987"/>
                  </a:moveTo>
                  <a:cubicBezTo>
                    <a:pt x="182358" y="56411"/>
                    <a:pt x="176136" y="55624"/>
                    <a:pt x="169435" y="55624"/>
                  </a:cubicBezTo>
                  <a:cubicBezTo>
                    <a:pt x="154279" y="55624"/>
                    <a:pt x="142473" y="60351"/>
                    <a:pt x="134176" y="69963"/>
                  </a:cubicBezTo>
                  <a:cubicBezTo>
                    <a:pt x="125720" y="79575"/>
                    <a:pt x="121572" y="93599"/>
                    <a:pt x="121572" y="112035"/>
                  </a:cubicBezTo>
                  <a:lnTo>
                    <a:pt x="121572" y="152532"/>
                  </a:lnTo>
                  <a:lnTo>
                    <a:pt x="190016" y="152532"/>
                  </a:lnTo>
                  <a:lnTo>
                    <a:pt x="190016" y="207525"/>
                  </a:lnTo>
                  <a:lnTo>
                    <a:pt x="121572" y="207525"/>
                  </a:lnTo>
                  <a:lnTo>
                    <a:pt x="121572" y="455073"/>
                  </a:lnTo>
                  <a:lnTo>
                    <a:pt x="51533" y="455073"/>
                  </a:lnTo>
                  <a:lnTo>
                    <a:pt x="51533" y="207525"/>
                  </a:lnTo>
                  <a:lnTo>
                    <a:pt x="0" y="207525"/>
                  </a:lnTo>
                  <a:lnTo>
                    <a:pt x="0" y="152532"/>
                  </a:lnTo>
                  <a:lnTo>
                    <a:pt x="51533" y="152532"/>
                  </a:lnTo>
                  <a:lnTo>
                    <a:pt x="51533" y="108253"/>
                  </a:lnTo>
                  <a:cubicBezTo>
                    <a:pt x="51533" y="91550"/>
                    <a:pt x="54404" y="76423"/>
                    <a:pt x="59989" y="63030"/>
                  </a:cubicBezTo>
                  <a:cubicBezTo>
                    <a:pt x="65732" y="49636"/>
                    <a:pt x="73390" y="38290"/>
                    <a:pt x="83282" y="28994"/>
                  </a:cubicBezTo>
                  <a:cubicBezTo>
                    <a:pt x="93174" y="19697"/>
                    <a:pt x="104820" y="12606"/>
                    <a:pt x="118222" y="7564"/>
                  </a:cubicBezTo>
                  <a:cubicBezTo>
                    <a:pt x="131623" y="2521"/>
                    <a:pt x="146142" y="0"/>
                    <a:pt x="161777" y="0"/>
                  </a:cubicBezTo>
                  <a:cubicBezTo>
                    <a:pt x="169276" y="0"/>
                    <a:pt x="176934" y="473"/>
                    <a:pt x="184432" y="1418"/>
                  </a:cubicBezTo>
                  <a:cubicBezTo>
                    <a:pt x="191931" y="2364"/>
                    <a:pt x="197834" y="3624"/>
                    <a:pt x="202301" y="5200"/>
                  </a:cubicBezTo>
                  <a:lnTo>
                    <a:pt x="202301" y="62872"/>
                  </a:lnTo>
                  <a:cubicBezTo>
                    <a:pt x="198313" y="61139"/>
                    <a:pt x="193526" y="59405"/>
                    <a:pt x="187942" y="57830"/>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mn-cs"/>
              </a:endParaRPr>
            </a:p>
          </p:txBody>
        </p:sp>
        <p:sp>
          <p:nvSpPr>
            <p:cNvPr id="19" name="Freeform 18">
              <a:extLst>
                <a:ext uri="{FF2B5EF4-FFF2-40B4-BE49-F238E27FC236}">
                  <a16:creationId xmlns:a16="http://schemas.microsoft.com/office/drawing/2014/main" id="{7C8E8AF8-2DF9-4C69-345E-A5F0A0CF828F}"/>
                </a:ext>
              </a:extLst>
            </p:cNvPr>
            <p:cNvSpPr/>
            <p:nvPr/>
          </p:nvSpPr>
          <p:spPr>
            <a:xfrm>
              <a:off x="6861058" y="4798866"/>
              <a:ext cx="194323" cy="400710"/>
            </a:xfrm>
            <a:custGeom>
              <a:avLst/>
              <a:gdLst>
                <a:gd name="connsiteX0" fmla="*/ 184592 w 194323"/>
                <a:gd name="connsiteY0" fmla="*/ 394092 h 400710"/>
                <a:gd name="connsiteX1" fmla="*/ 171350 w 194323"/>
                <a:gd name="connsiteY1" fmla="*/ 397401 h 400710"/>
                <a:gd name="connsiteX2" fmla="*/ 156193 w 194323"/>
                <a:gd name="connsiteY2" fmla="*/ 399765 h 400710"/>
                <a:gd name="connsiteX3" fmla="*/ 141036 w 194323"/>
                <a:gd name="connsiteY3" fmla="*/ 400710 h 400710"/>
                <a:gd name="connsiteX4" fmla="*/ 72912 w 194323"/>
                <a:gd name="connsiteY4" fmla="*/ 375971 h 400710"/>
                <a:gd name="connsiteX5" fmla="*/ 50894 w 194323"/>
                <a:gd name="connsiteY5" fmla="*/ 304905 h 400710"/>
                <a:gd name="connsiteX6" fmla="*/ 50894 w 194323"/>
                <a:gd name="connsiteY6" fmla="*/ 145598 h 400710"/>
                <a:gd name="connsiteX7" fmla="*/ 0 w 194323"/>
                <a:gd name="connsiteY7" fmla="*/ 145598 h 400710"/>
                <a:gd name="connsiteX8" fmla="*/ 0 w 194323"/>
                <a:gd name="connsiteY8" fmla="*/ 90605 h 400710"/>
                <a:gd name="connsiteX9" fmla="*/ 50894 w 194323"/>
                <a:gd name="connsiteY9" fmla="*/ 90605 h 400710"/>
                <a:gd name="connsiteX10" fmla="*/ 50894 w 194323"/>
                <a:gd name="connsiteY10" fmla="*/ 20957 h 400710"/>
                <a:gd name="connsiteX11" fmla="*/ 120296 w 194323"/>
                <a:gd name="connsiteY11" fmla="*/ 0 h 400710"/>
                <a:gd name="connsiteX12" fmla="*/ 120296 w 194323"/>
                <a:gd name="connsiteY12" fmla="*/ 90763 h 400710"/>
                <a:gd name="connsiteX13" fmla="*/ 194164 w 194323"/>
                <a:gd name="connsiteY13" fmla="*/ 90763 h 400710"/>
                <a:gd name="connsiteX14" fmla="*/ 194164 w 194323"/>
                <a:gd name="connsiteY14" fmla="*/ 145756 h 400710"/>
                <a:gd name="connsiteX15" fmla="*/ 120296 w 194323"/>
                <a:gd name="connsiteY15" fmla="*/ 145756 h 400710"/>
                <a:gd name="connsiteX16" fmla="*/ 120296 w 194323"/>
                <a:gd name="connsiteY16" fmla="*/ 292300 h 400710"/>
                <a:gd name="connsiteX17" fmla="*/ 130826 w 194323"/>
                <a:gd name="connsiteY17" fmla="*/ 332954 h 400710"/>
                <a:gd name="connsiteX18" fmla="*/ 163692 w 194323"/>
                <a:gd name="connsiteY18" fmla="*/ 344929 h 400710"/>
                <a:gd name="connsiteX19" fmla="*/ 178848 w 194323"/>
                <a:gd name="connsiteY19" fmla="*/ 342408 h 400710"/>
                <a:gd name="connsiteX20" fmla="*/ 194324 w 194323"/>
                <a:gd name="connsiteY20" fmla="*/ 335790 h 400710"/>
                <a:gd name="connsiteX21" fmla="*/ 194324 w 194323"/>
                <a:gd name="connsiteY21" fmla="*/ 390468 h 400710"/>
                <a:gd name="connsiteX22" fmla="*/ 184592 w 194323"/>
                <a:gd name="connsiteY22" fmla="*/ 394250 h 400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4323" h="400710">
                  <a:moveTo>
                    <a:pt x="184592" y="394092"/>
                  </a:moveTo>
                  <a:cubicBezTo>
                    <a:pt x="180444" y="395353"/>
                    <a:pt x="176136" y="396298"/>
                    <a:pt x="171350" y="397401"/>
                  </a:cubicBezTo>
                  <a:cubicBezTo>
                    <a:pt x="166564" y="398504"/>
                    <a:pt x="161458" y="399135"/>
                    <a:pt x="156193" y="399765"/>
                  </a:cubicBezTo>
                  <a:cubicBezTo>
                    <a:pt x="150928" y="400395"/>
                    <a:pt x="145823" y="400710"/>
                    <a:pt x="141036" y="400710"/>
                  </a:cubicBezTo>
                  <a:cubicBezTo>
                    <a:pt x="110245" y="400710"/>
                    <a:pt x="87590" y="392517"/>
                    <a:pt x="72912" y="375971"/>
                  </a:cubicBezTo>
                  <a:cubicBezTo>
                    <a:pt x="58233" y="359584"/>
                    <a:pt x="50894" y="335790"/>
                    <a:pt x="50894" y="304905"/>
                  </a:cubicBezTo>
                  <a:lnTo>
                    <a:pt x="50894" y="145598"/>
                  </a:lnTo>
                  <a:lnTo>
                    <a:pt x="0" y="145598"/>
                  </a:lnTo>
                  <a:lnTo>
                    <a:pt x="0" y="90605"/>
                  </a:lnTo>
                  <a:lnTo>
                    <a:pt x="50894" y="90605"/>
                  </a:lnTo>
                  <a:lnTo>
                    <a:pt x="50894" y="20957"/>
                  </a:lnTo>
                  <a:lnTo>
                    <a:pt x="120296" y="0"/>
                  </a:lnTo>
                  <a:lnTo>
                    <a:pt x="120296" y="90763"/>
                  </a:lnTo>
                  <a:lnTo>
                    <a:pt x="194164" y="90763"/>
                  </a:lnTo>
                  <a:lnTo>
                    <a:pt x="194164" y="145756"/>
                  </a:lnTo>
                  <a:lnTo>
                    <a:pt x="120296" y="145756"/>
                  </a:lnTo>
                  <a:lnTo>
                    <a:pt x="120296" y="292300"/>
                  </a:lnTo>
                  <a:cubicBezTo>
                    <a:pt x="120296" y="311366"/>
                    <a:pt x="123806" y="324917"/>
                    <a:pt x="130826" y="332954"/>
                  </a:cubicBezTo>
                  <a:cubicBezTo>
                    <a:pt x="137846" y="340990"/>
                    <a:pt x="148695" y="344929"/>
                    <a:pt x="163692" y="344929"/>
                  </a:cubicBezTo>
                  <a:cubicBezTo>
                    <a:pt x="167680" y="344929"/>
                    <a:pt x="172626" y="344141"/>
                    <a:pt x="178848" y="342408"/>
                  </a:cubicBezTo>
                  <a:cubicBezTo>
                    <a:pt x="184911" y="340675"/>
                    <a:pt x="190016" y="338469"/>
                    <a:pt x="194324" y="335790"/>
                  </a:cubicBezTo>
                  <a:lnTo>
                    <a:pt x="194324" y="390468"/>
                  </a:lnTo>
                  <a:cubicBezTo>
                    <a:pt x="191931" y="391886"/>
                    <a:pt x="188740" y="393147"/>
                    <a:pt x="184592" y="394250"/>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mn-cs"/>
              </a:endParaRPr>
            </a:p>
          </p:txBody>
        </p:sp>
        <p:sp>
          <p:nvSpPr>
            <p:cNvPr id="20" name="Freeform 19">
              <a:extLst>
                <a:ext uri="{FF2B5EF4-FFF2-40B4-BE49-F238E27FC236}">
                  <a16:creationId xmlns:a16="http://schemas.microsoft.com/office/drawing/2014/main" id="{26FF36B4-A915-C6AE-4A79-CA4559AAE0FC}"/>
                </a:ext>
              </a:extLst>
            </p:cNvPr>
            <p:cNvSpPr/>
            <p:nvPr/>
          </p:nvSpPr>
          <p:spPr>
            <a:xfrm>
              <a:off x="7295177" y="4761049"/>
              <a:ext cx="261172" cy="438528"/>
            </a:xfrm>
            <a:custGeom>
              <a:avLst/>
              <a:gdLst>
                <a:gd name="connsiteX0" fmla="*/ 261013 w 261172"/>
                <a:gd name="connsiteY0" fmla="*/ 309948 h 438528"/>
                <a:gd name="connsiteX1" fmla="*/ 250005 w 261172"/>
                <a:gd name="connsiteY1" fmla="*/ 362262 h 438528"/>
                <a:gd name="connsiteX2" fmla="*/ 218415 w 261172"/>
                <a:gd name="connsiteY2" fmla="*/ 402916 h 438528"/>
                <a:gd name="connsiteX3" fmla="*/ 168478 w 261172"/>
                <a:gd name="connsiteY3" fmla="*/ 429231 h 438528"/>
                <a:gd name="connsiteX4" fmla="*/ 102267 w 261172"/>
                <a:gd name="connsiteY4" fmla="*/ 438528 h 438528"/>
                <a:gd name="connsiteX5" fmla="*/ 74188 w 261172"/>
                <a:gd name="connsiteY5" fmla="*/ 436952 h 438528"/>
                <a:gd name="connsiteX6" fmla="*/ 45789 w 261172"/>
                <a:gd name="connsiteY6" fmla="*/ 432225 h 438528"/>
                <a:gd name="connsiteX7" fmla="*/ 20102 w 261172"/>
                <a:gd name="connsiteY7" fmla="*/ 424977 h 438528"/>
                <a:gd name="connsiteX8" fmla="*/ 0 w 261172"/>
                <a:gd name="connsiteY8" fmla="*/ 415522 h 438528"/>
                <a:gd name="connsiteX9" fmla="*/ 0 w 261172"/>
                <a:gd name="connsiteY9" fmla="*/ 348238 h 438528"/>
                <a:gd name="connsiteX10" fmla="*/ 24250 w 261172"/>
                <a:gd name="connsiteY10" fmla="*/ 363523 h 438528"/>
                <a:gd name="connsiteX11" fmla="*/ 50894 w 261172"/>
                <a:gd name="connsiteY11" fmla="*/ 374238 h 438528"/>
                <a:gd name="connsiteX12" fmla="*/ 77538 w 261172"/>
                <a:gd name="connsiteY12" fmla="*/ 380541 h 438528"/>
                <a:gd name="connsiteX13" fmla="*/ 101789 w 261172"/>
                <a:gd name="connsiteY13" fmla="*/ 382589 h 438528"/>
                <a:gd name="connsiteX14" fmla="*/ 137846 w 261172"/>
                <a:gd name="connsiteY14" fmla="*/ 377705 h 438528"/>
                <a:gd name="connsiteX15" fmla="*/ 165606 w 261172"/>
                <a:gd name="connsiteY15" fmla="*/ 363838 h 438528"/>
                <a:gd name="connsiteX16" fmla="*/ 183475 w 261172"/>
                <a:gd name="connsiteY16" fmla="*/ 341620 h 438528"/>
                <a:gd name="connsiteX17" fmla="*/ 189857 w 261172"/>
                <a:gd name="connsiteY17" fmla="*/ 311996 h 438528"/>
                <a:gd name="connsiteX18" fmla="*/ 161777 w 261172"/>
                <a:gd name="connsiteY18" fmla="*/ 259367 h 438528"/>
                <a:gd name="connsiteX19" fmla="*/ 81686 w 261172"/>
                <a:gd name="connsiteY19" fmla="*/ 241088 h 438528"/>
                <a:gd name="connsiteX20" fmla="*/ 44353 w 261172"/>
                <a:gd name="connsiteY20" fmla="*/ 241088 h 438528"/>
                <a:gd name="connsiteX21" fmla="*/ 44353 w 261172"/>
                <a:gd name="connsiteY21" fmla="*/ 184677 h 438528"/>
                <a:gd name="connsiteX22" fmla="*/ 79931 w 261172"/>
                <a:gd name="connsiteY22" fmla="*/ 184677 h 438528"/>
                <a:gd name="connsiteX23" fmla="*/ 123167 w 261172"/>
                <a:gd name="connsiteY23" fmla="*/ 179634 h 438528"/>
                <a:gd name="connsiteX24" fmla="*/ 153002 w 261172"/>
                <a:gd name="connsiteY24" fmla="*/ 165768 h 438528"/>
                <a:gd name="connsiteX25" fmla="*/ 170073 w 261172"/>
                <a:gd name="connsiteY25" fmla="*/ 144653 h 438528"/>
                <a:gd name="connsiteX26" fmla="*/ 175498 w 261172"/>
                <a:gd name="connsiteY26" fmla="*/ 118180 h 438528"/>
                <a:gd name="connsiteX27" fmla="*/ 171350 w 261172"/>
                <a:gd name="connsiteY27" fmla="*/ 93756 h 438528"/>
                <a:gd name="connsiteX28" fmla="*/ 158107 w 261172"/>
                <a:gd name="connsiteY28" fmla="*/ 73902 h 438528"/>
                <a:gd name="connsiteX29" fmla="*/ 135133 w 261172"/>
                <a:gd name="connsiteY29" fmla="*/ 60666 h 438528"/>
                <a:gd name="connsiteX30" fmla="*/ 101310 w 261172"/>
                <a:gd name="connsiteY30" fmla="*/ 55781 h 438528"/>
                <a:gd name="connsiteX31" fmla="*/ 54564 w 261172"/>
                <a:gd name="connsiteY31" fmla="*/ 64763 h 438528"/>
                <a:gd name="connsiteX32" fmla="*/ 16433 w 261172"/>
                <a:gd name="connsiteY32" fmla="*/ 86193 h 438528"/>
                <a:gd name="connsiteX33" fmla="*/ 16433 w 261172"/>
                <a:gd name="connsiteY33" fmla="*/ 23794 h 438528"/>
                <a:gd name="connsiteX34" fmla="*/ 32706 w 261172"/>
                <a:gd name="connsiteY34" fmla="*/ 16073 h 438528"/>
                <a:gd name="connsiteX35" fmla="*/ 55681 w 261172"/>
                <a:gd name="connsiteY35" fmla="*/ 8351 h 438528"/>
                <a:gd name="connsiteX36" fmla="*/ 84718 w 261172"/>
                <a:gd name="connsiteY36" fmla="*/ 2364 h 438528"/>
                <a:gd name="connsiteX37" fmla="*/ 119339 w 261172"/>
                <a:gd name="connsiteY37" fmla="*/ 0 h 438528"/>
                <a:gd name="connsiteX38" fmla="*/ 175498 w 261172"/>
                <a:gd name="connsiteY38" fmla="*/ 8667 h 438528"/>
                <a:gd name="connsiteX39" fmla="*/ 215065 w 261172"/>
                <a:gd name="connsiteY39" fmla="*/ 31672 h 438528"/>
                <a:gd name="connsiteX40" fmla="*/ 238358 w 261172"/>
                <a:gd name="connsiteY40" fmla="*/ 64605 h 438528"/>
                <a:gd name="connsiteX41" fmla="*/ 246016 w 261172"/>
                <a:gd name="connsiteY41" fmla="*/ 103368 h 438528"/>
                <a:gd name="connsiteX42" fmla="*/ 241389 w 261172"/>
                <a:gd name="connsiteY42" fmla="*/ 137720 h 438528"/>
                <a:gd name="connsiteX43" fmla="*/ 226392 w 261172"/>
                <a:gd name="connsiteY43" fmla="*/ 167816 h 438528"/>
                <a:gd name="connsiteX44" fmla="*/ 199908 w 261172"/>
                <a:gd name="connsiteY44" fmla="*/ 191925 h 438528"/>
                <a:gd name="connsiteX45" fmla="*/ 160660 w 261172"/>
                <a:gd name="connsiteY45" fmla="*/ 208470 h 438528"/>
                <a:gd name="connsiteX46" fmla="*/ 160660 w 261172"/>
                <a:gd name="connsiteY46" fmla="*/ 209731 h 438528"/>
                <a:gd name="connsiteX47" fmla="*/ 202620 w 261172"/>
                <a:gd name="connsiteY47" fmla="*/ 220761 h 438528"/>
                <a:gd name="connsiteX48" fmla="*/ 234369 w 261172"/>
                <a:gd name="connsiteY48" fmla="*/ 242349 h 438528"/>
                <a:gd name="connsiteX49" fmla="*/ 254312 w 261172"/>
                <a:gd name="connsiteY49" fmla="*/ 272603 h 438528"/>
                <a:gd name="connsiteX50" fmla="*/ 261172 w 261172"/>
                <a:gd name="connsiteY50" fmla="*/ 309475 h 438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61172" h="438528">
                  <a:moveTo>
                    <a:pt x="261013" y="309948"/>
                  </a:moveTo>
                  <a:cubicBezTo>
                    <a:pt x="261013" y="329014"/>
                    <a:pt x="257344" y="346505"/>
                    <a:pt x="250005" y="362262"/>
                  </a:cubicBezTo>
                  <a:cubicBezTo>
                    <a:pt x="242666" y="378020"/>
                    <a:pt x="232136" y="391571"/>
                    <a:pt x="218415" y="402916"/>
                  </a:cubicBezTo>
                  <a:cubicBezTo>
                    <a:pt x="204694" y="414262"/>
                    <a:pt x="188102" y="422928"/>
                    <a:pt x="168478" y="429231"/>
                  </a:cubicBezTo>
                  <a:cubicBezTo>
                    <a:pt x="148854" y="435534"/>
                    <a:pt x="126677" y="438528"/>
                    <a:pt x="102267" y="438528"/>
                  </a:cubicBezTo>
                  <a:cubicBezTo>
                    <a:pt x="93333" y="438528"/>
                    <a:pt x="83920" y="438055"/>
                    <a:pt x="74188" y="436952"/>
                  </a:cubicBezTo>
                  <a:cubicBezTo>
                    <a:pt x="64455" y="435849"/>
                    <a:pt x="54883" y="434274"/>
                    <a:pt x="45789" y="432225"/>
                  </a:cubicBezTo>
                  <a:cubicBezTo>
                    <a:pt x="36695" y="430177"/>
                    <a:pt x="28080" y="427813"/>
                    <a:pt x="20102" y="424977"/>
                  </a:cubicBezTo>
                  <a:cubicBezTo>
                    <a:pt x="12125" y="422298"/>
                    <a:pt x="5424" y="418989"/>
                    <a:pt x="0" y="415522"/>
                  </a:cubicBezTo>
                  <a:lnTo>
                    <a:pt x="0" y="348238"/>
                  </a:lnTo>
                  <a:cubicBezTo>
                    <a:pt x="7339" y="354226"/>
                    <a:pt x="15476" y="359268"/>
                    <a:pt x="24250" y="363523"/>
                  </a:cubicBezTo>
                  <a:cubicBezTo>
                    <a:pt x="33025" y="367935"/>
                    <a:pt x="41960" y="371402"/>
                    <a:pt x="50894" y="374238"/>
                  </a:cubicBezTo>
                  <a:cubicBezTo>
                    <a:pt x="59829" y="377074"/>
                    <a:pt x="68763" y="379280"/>
                    <a:pt x="77538" y="380541"/>
                  </a:cubicBezTo>
                  <a:cubicBezTo>
                    <a:pt x="86313" y="381959"/>
                    <a:pt x="94450" y="382589"/>
                    <a:pt x="101789" y="382589"/>
                  </a:cubicBezTo>
                  <a:cubicBezTo>
                    <a:pt x="114871" y="382589"/>
                    <a:pt x="126997" y="381014"/>
                    <a:pt x="137846" y="377705"/>
                  </a:cubicBezTo>
                  <a:cubicBezTo>
                    <a:pt x="148694" y="374396"/>
                    <a:pt x="157948" y="369826"/>
                    <a:pt x="165606" y="363838"/>
                  </a:cubicBezTo>
                  <a:cubicBezTo>
                    <a:pt x="173264" y="357850"/>
                    <a:pt x="179327" y="350444"/>
                    <a:pt x="183475" y="341620"/>
                  </a:cubicBezTo>
                  <a:cubicBezTo>
                    <a:pt x="187783" y="332796"/>
                    <a:pt x="189857" y="323026"/>
                    <a:pt x="189857" y="311996"/>
                  </a:cubicBezTo>
                  <a:cubicBezTo>
                    <a:pt x="189857" y="289148"/>
                    <a:pt x="180444" y="271657"/>
                    <a:pt x="161777" y="259367"/>
                  </a:cubicBezTo>
                  <a:cubicBezTo>
                    <a:pt x="142951" y="247233"/>
                    <a:pt x="116307" y="241088"/>
                    <a:pt x="81686" y="241088"/>
                  </a:cubicBezTo>
                  <a:lnTo>
                    <a:pt x="44353" y="241088"/>
                  </a:lnTo>
                  <a:lnTo>
                    <a:pt x="44353" y="184677"/>
                  </a:lnTo>
                  <a:lnTo>
                    <a:pt x="79931" y="184677"/>
                  </a:lnTo>
                  <a:cubicBezTo>
                    <a:pt x="96683" y="184677"/>
                    <a:pt x="111042" y="182943"/>
                    <a:pt x="123167" y="179634"/>
                  </a:cubicBezTo>
                  <a:cubicBezTo>
                    <a:pt x="135293" y="176325"/>
                    <a:pt x="145184" y="171598"/>
                    <a:pt x="153002" y="165768"/>
                  </a:cubicBezTo>
                  <a:cubicBezTo>
                    <a:pt x="160820" y="159938"/>
                    <a:pt x="166404" y="152847"/>
                    <a:pt x="170073" y="144653"/>
                  </a:cubicBezTo>
                  <a:cubicBezTo>
                    <a:pt x="173743" y="136459"/>
                    <a:pt x="175498" y="127635"/>
                    <a:pt x="175498" y="118180"/>
                  </a:cubicBezTo>
                  <a:cubicBezTo>
                    <a:pt x="175498" y="109514"/>
                    <a:pt x="174062" y="101320"/>
                    <a:pt x="171350" y="93756"/>
                  </a:cubicBezTo>
                  <a:cubicBezTo>
                    <a:pt x="168637" y="86193"/>
                    <a:pt x="164170" y="79575"/>
                    <a:pt x="158107" y="73902"/>
                  </a:cubicBezTo>
                  <a:cubicBezTo>
                    <a:pt x="152045" y="68229"/>
                    <a:pt x="144387" y="63817"/>
                    <a:pt x="135133" y="60666"/>
                  </a:cubicBezTo>
                  <a:cubicBezTo>
                    <a:pt x="125880" y="57514"/>
                    <a:pt x="114552" y="55781"/>
                    <a:pt x="101310" y="55781"/>
                  </a:cubicBezTo>
                  <a:cubicBezTo>
                    <a:pt x="84718" y="55781"/>
                    <a:pt x="69082" y="58775"/>
                    <a:pt x="54564" y="64763"/>
                  </a:cubicBezTo>
                  <a:cubicBezTo>
                    <a:pt x="39886" y="70751"/>
                    <a:pt x="27122" y="77842"/>
                    <a:pt x="16433" y="86193"/>
                  </a:cubicBezTo>
                  <a:lnTo>
                    <a:pt x="16433" y="23794"/>
                  </a:lnTo>
                  <a:cubicBezTo>
                    <a:pt x="20581" y="21430"/>
                    <a:pt x="26005" y="18909"/>
                    <a:pt x="32706" y="16073"/>
                  </a:cubicBezTo>
                  <a:cubicBezTo>
                    <a:pt x="39407" y="13394"/>
                    <a:pt x="47065" y="10715"/>
                    <a:pt x="55681" y="8351"/>
                  </a:cubicBezTo>
                  <a:cubicBezTo>
                    <a:pt x="64296" y="5988"/>
                    <a:pt x="74028" y="4097"/>
                    <a:pt x="84718" y="2364"/>
                  </a:cubicBezTo>
                  <a:cubicBezTo>
                    <a:pt x="95407" y="788"/>
                    <a:pt x="106894" y="0"/>
                    <a:pt x="119339" y="0"/>
                  </a:cubicBezTo>
                  <a:cubicBezTo>
                    <a:pt x="140877" y="0"/>
                    <a:pt x="159703" y="2994"/>
                    <a:pt x="175498" y="8667"/>
                  </a:cubicBezTo>
                  <a:cubicBezTo>
                    <a:pt x="191452" y="14497"/>
                    <a:pt x="204694" y="22218"/>
                    <a:pt x="215065" y="31672"/>
                  </a:cubicBezTo>
                  <a:cubicBezTo>
                    <a:pt x="225595" y="41284"/>
                    <a:pt x="233252" y="52157"/>
                    <a:pt x="238358" y="64605"/>
                  </a:cubicBezTo>
                  <a:cubicBezTo>
                    <a:pt x="243463" y="77054"/>
                    <a:pt x="246016" y="89975"/>
                    <a:pt x="246016" y="103368"/>
                  </a:cubicBezTo>
                  <a:cubicBezTo>
                    <a:pt x="246016" y="115344"/>
                    <a:pt x="244421" y="126847"/>
                    <a:pt x="241389" y="137720"/>
                  </a:cubicBezTo>
                  <a:cubicBezTo>
                    <a:pt x="238358" y="148592"/>
                    <a:pt x="233252" y="158677"/>
                    <a:pt x="226392" y="167816"/>
                  </a:cubicBezTo>
                  <a:cubicBezTo>
                    <a:pt x="219532" y="176955"/>
                    <a:pt x="210757" y="184992"/>
                    <a:pt x="199908" y="191925"/>
                  </a:cubicBezTo>
                  <a:cubicBezTo>
                    <a:pt x="189219" y="198858"/>
                    <a:pt x="176136" y="204373"/>
                    <a:pt x="160660" y="208470"/>
                  </a:cubicBezTo>
                  <a:lnTo>
                    <a:pt x="160660" y="209731"/>
                  </a:lnTo>
                  <a:cubicBezTo>
                    <a:pt x="176136" y="211464"/>
                    <a:pt x="190176" y="215246"/>
                    <a:pt x="202620" y="220761"/>
                  </a:cubicBezTo>
                  <a:cubicBezTo>
                    <a:pt x="215065" y="226276"/>
                    <a:pt x="225595" y="233525"/>
                    <a:pt x="234369" y="242349"/>
                  </a:cubicBezTo>
                  <a:cubicBezTo>
                    <a:pt x="242985" y="251173"/>
                    <a:pt x="249685" y="261258"/>
                    <a:pt x="254312" y="272603"/>
                  </a:cubicBezTo>
                  <a:cubicBezTo>
                    <a:pt x="258939" y="284106"/>
                    <a:pt x="261172" y="296396"/>
                    <a:pt x="261172" y="309475"/>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mn-cs"/>
              </a:endParaRPr>
            </a:p>
          </p:txBody>
        </p:sp>
        <p:sp>
          <p:nvSpPr>
            <p:cNvPr id="21" name="Freeform 20">
              <a:extLst>
                <a:ext uri="{FF2B5EF4-FFF2-40B4-BE49-F238E27FC236}">
                  <a16:creationId xmlns:a16="http://schemas.microsoft.com/office/drawing/2014/main" id="{E12EE98E-AE7D-FC2F-826A-5C1A0D58B2FC}"/>
                </a:ext>
              </a:extLst>
            </p:cNvPr>
            <p:cNvSpPr/>
            <p:nvPr/>
          </p:nvSpPr>
          <p:spPr>
            <a:xfrm>
              <a:off x="7631494" y="4761521"/>
              <a:ext cx="288294" cy="438055"/>
            </a:xfrm>
            <a:custGeom>
              <a:avLst/>
              <a:gdLst>
                <a:gd name="connsiteX0" fmla="*/ 287976 w 288294"/>
                <a:gd name="connsiteY0" fmla="*/ 294348 h 438055"/>
                <a:gd name="connsiteX1" fmla="*/ 277287 w 288294"/>
                <a:gd name="connsiteY1" fmla="*/ 352493 h 438055"/>
                <a:gd name="connsiteX2" fmla="*/ 247771 w 288294"/>
                <a:gd name="connsiteY2" fmla="*/ 397874 h 438055"/>
                <a:gd name="connsiteX3" fmla="*/ 203099 w 288294"/>
                <a:gd name="connsiteY3" fmla="*/ 427498 h 438055"/>
                <a:gd name="connsiteX4" fmla="*/ 146939 w 288294"/>
                <a:gd name="connsiteY4" fmla="*/ 438055 h 438055"/>
                <a:gd name="connsiteX5" fmla="*/ 87589 w 288294"/>
                <a:gd name="connsiteY5" fmla="*/ 425607 h 438055"/>
                <a:gd name="connsiteX6" fmla="*/ 41002 w 288294"/>
                <a:gd name="connsiteY6" fmla="*/ 388735 h 438055"/>
                <a:gd name="connsiteX7" fmla="*/ 10689 w 288294"/>
                <a:gd name="connsiteY7" fmla="*/ 327754 h 438055"/>
                <a:gd name="connsiteX8" fmla="*/ 0 w 288294"/>
                <a:gd name="connsiteY8" fmla="*/ 243137 h 438055"/>
                <a:gd name="connsiteX9" fmla="*/ 14199 w 288294"/>
                <a:gd name="connsiteY9" fmla="*/ 138665 h 438055"/>
                <a:gd name="connsiteX10" fmla="*/ 53287 w 288294"/>
                <a:gd name="connsiteY10" fmla="*/ 62557 h 438055"/>
                <a:gd name="connsiteX11" fmla="*/ 111680 w 288294"/>
                <a:gd name="connsiteY11" fmla="*/ 15915 h 438055"/>
                <a:gd name="connsiteX12" fmla="*/ 184113 w 288294"/>
                <a:gd name="connsiteY12" fmla="*/ 0 h 438055"/>
                <a:gd name="connsiteX13" fmla="*/ 228147 w 288294"/>
                <a:gd name="connsiteY13" fmla="*/ 3309 h 438055"/>
                <a:gd name="connsiteX14" fmla="*/ 260216 w 288294"/>
                <a:gd name="connsiteY14" fmla="*/ 12133 h 438055"/>
                <a:gd name="connsiteX15" fmla="*/ 260216 w 288294"/>
                <a:gd name="connsiteY15" fmla="*/ 73902 h 438055"/>
                <a:gd name="connsiteX16" fmla="*/ 227668 w 288294"/>
                <a:gd name="connsiteY16" fmla="*/ 60824 h 438055"/>
                <a:gd name="connsiteX17" fmla="*/ 187942 w 288294"/>
                <a:gd name="connsiteY17" fmla="*/ 55466 h 438055"/>
                <a:gd name="connsiteX18" fmla="*/ 141515 w 288294"/>
                <a:gd name="connsiteY18" fmla="*/ 66023 h 438055"/>
                <a:gd name="connsiteX19" fmla="*/ 104661 w 288294"/>
                <a:gd name="connsiteY19" fmla="*/ 97066 h 438055"/>
                <a:gd name="connsiteX20" fmla="*/ 80410 w 288294"/>
                <a:gd name="connsiteY20" fmla="*/ 147174 h 438055"/>
                <a:gd name="connsiteX21" fmla="*/ 71475 w 288294"/>
                <a:gd name="connsiteY21" fmla="*/ 214616 h 438055"/>
                <a:gd name="connsiteX22" fmla="*/ 73230 w 288294"/>
                <a:gd name="connsiteY22" fmla="*/ 214616 h 438055"/>
                <a:gd name="connsiteX23" fmla="*/ 88865 w 288294"/>
                <a:gd name="connsiteY23" fmla="*/ 194131 h 438055"/>
                <a:gd name="connsiteX24" fmla="*/ 109925 w 288294"/>
                <a:gd name="connsiteY24" fmla="*/ 177901 h 438055"/>
                <a:gd name="connsiteX25" fmla="*/ 135612 w 288294"/>
                <a:gd name="connsiteY25" fmla="*/ 167186 h 438055"/>
                <a:gd name="connsiteX26" fmla="*/ 165606 w 288294"/>
                <a:gd name="connsiteY26" fmla="*/ 163404 h 438055"/>
                <a:gd name="connsiteX27" fmla="*/ 216341 w 288294"/>
                <a:gd name="connsiteY27" fmla="*/ 172386 h 438055"/>
                <a:gd name="connsiteX28" fmla="*/ 254950 w 288294"/>
                <a:gd name="connsiteY28" fmla="*/ 198386 h 438055"/>
                <a:gd name="connsiteX29" fmla="*/ 279680 w 288294"/>
                <a:gd name="connsiteY29" fmla="*/ 239670 h 438055"/>
                <a:gd name="connsiteX30" fmla="*/ 288295 w 288294"/>
                <a:gd name="connsiteY30" fmla="*/ 294663 h 438055"/>
                <a:gd name="connsiteX31" fmla="*/ 217937 w 288294"/>
                <a:gd name="connsiteY31" fmla="*/ 300021 h 438055"/>
                <a:gd name="connsiteX32" fmla="*/ 213629 w 288294"/>
                <a:gd name="connsiteY32" fmla="*/ 266615 h 438055"/>
                <a:gd name="connsiteX33" fmla="*/ 200546 w 288294"/>
                <a:gd name="connsiteY33" fmla="*/ 240773 h 438055"/>
                <a:gd name="connsiteX34" fmla="*/ 178370 w 288294"/>
                <a:gd name="connsiteY34" fmla="*/ 224070 h 438055"/>
                <a:gd name="connsiteX35" fmla="*/ 147099 w 288294"/>
                <a:gd name="connsiteY35" fmla="*/ 218082 h 438055"/>
                <a:gd name="connsiteX36" fmla="*/ 115509 w 288294"/>
                <a:gd name="connsiteY36" fmla="*/ 224385 h 438055"/>
                <a:gd name="connsiteX37" fmla="*/ 92695 w 288294"/>
                <a:gd name="connsiteY37" fmla="*/ 241088 h 438055"/>
                <a:gd name="connsiteX38" fmla="*/ 78815 w 288294"/>
                <a:gd name="connsiteY38" fmla="*/ 264724 h 438055"/>
                <a:gd name="connsiteX39" fmla="*/ 74188 w 288294"/>
                <a:gd name="connsiteY39" fmla="*/ 291827 h 438055"/>
                <a:gd name="connsiteX40" fmla="*/ 78495 w 288294"/>
                <a:gd name="connsiteY40" fmla="*/ 322711 h 438055"/>
                <a:gd name="connsiteX41" fmla="*/ 91738 w 288294"/>
                <a:gd name="connsiteY41" fmla="*/ 351547 h 438055"/>
                <a:gd name="connsiteX42" fmla="*/ 114552 w 288294"/>
                <a:gd name="connsiteY42" fmla="*/ 372977 h 438055"/>
                <a:gd name="connsiteX43" fmla="*/ 147578 w 288294"/>
                <a:gd name="connsiteY43" fmla="*/ 381329 h 438055"/>
                <a:gd name="connsiteX44" fmla="*/ 177731 w 288294"/>
                <a:gd name="connsiteY44" fmla="*/ 375183 h 438055"/>
                <a:gd name="connsiteX45" fmla="*/ 199748 w 288294"/>
                <a:gd name="connsiteY45" fmla="*/ 358008 h 438055"/>
                <a:gd name="connsiteX46" fmla="*/ 213150 w 288294"/>
                <a:gd name="connsiteY46" fmla="*/ 332166 h 438055"/>
                <a:gd name="connsiteX47" fmla="*/ 217777 w 288294"/>
                <a:gd name="connsiteY47" fmla="*/ 299863 h 438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88294" h="438055">
                  <a:moveTo>
                    <a:pt x="287976" y="294348"/>
                  </a:moveTo>
                  <a:cubicBezTo>
                    <a:pt x="287976" y="315621"/>
                    <a:pt x="284466" y="335002"/>
                    <a:pt x="277287" y="352493"/>
                  </a:cubicBezTo>
                  <a:cubicBezTo>
                    <a:pt x="270267" y="369984"/>
                    <a:pt x="260375" y="385111"/>
                    <a:pt x="247771" y="397874"/>
                  </a:cubicBezTo>
                  <a:cubicBezTo>
                    <a:pt x="235167" y="410638"/>
                    <a:pt x="220330" y="420407"/>
                    <a:pt x="203099" y="427498"/>
                  </a:cubicBezTo>
                  <a:cubicBezTo>
                    <a:pt x="185868" y="434431"/>
                    <a:pt x="167201" y="438055"/>
                    <a:pt x="146939" y="438055"/>
                  </a:cubicBezTo>
                  <a:cubicBezTo>
                    <a:pt x="125401" y="438055"/>
                    <a:pt x="105618" y="433959"/>
                    <a:pt x="87589" y="425607"/>
                  </a:cubicBezTo>
                  <a:cubicBezTo>
                    <a:pt x="69561" y="417413"/>
                    <a:pt x="53926" y="404965"/>
                    <a:pt x="41002" y="388735"/>
                  </a:cubicBezTo>
                  <a:cubicBezTo>
                    <a:pt x="27920" y="372347"/>
                    <a:pt x="17869" y="352020"/>
                    <a:pt x="10689" y="327754"/>
                  </a:cubicBezTo>
                  <a:cubicBezTo>
                    <a:pt x="3510" y="303487"/>
                    <a:pt x="0" y="275282"/>
                    <a:pt x="0" y="243137"/>
                  </a:cubicBezTo>
                  <a:cubicBezTo>
                    <a:pt x="0" y="203743"/>
                    <a:pt x="4786" y="168919"/>
                    <a:pt x="14199" y="138665"/>
                  </a:cubicBezTo>
                  <a:cubicBezTo>
                    <a:pt x="23612" y="108411"/>
                    <a:pt x="36695" y="83041"/>
                    <a:pt x="53287" y="62557"/>
                  </a:cubicBezTo>
                  <a:cubicBezTo>
                    <a:pt x="69880" y="42072"/>
                    <a:pt x="89344" y="26472"/>
                    <a:pt x="111680" y="15915"/>
                  </a:cubicBezTo>
                  <a:cubicBezTo>
                    <a:pt x="134016" y="5358"/>
                    <a:pt x="158108" y="0"/>
                    <a:pt x="184113" y="0"/>
                  </a:cubicBezTo>
                  <a:cubicBezTo>
                    <a:pt x="200067" y="0"/>
                    <a:pt x="214745" y="1103"/>
                    <a:pt x="228147" y="3309"/>
                  </a:cubicBezTo>
                  <a:cubicBezTo>
                    <a:pt x="241549" y="5515"/>
                    <a:pt x="252238" y="8509"/>
                    <a:pt x="260216" y="12133"/>
                  </a:cubicBezTo>
                  <a:lnTo>
                    <a:pt x="260216" y="73902"/>
                  </a:lnTo>
                  <a:cubicBezTo>
                    <a:pt x="250164" y="68860"/>
                    <a:pt x="239315" y="64448"/>
                    <a:pt x="227668" y="60824"/>
                  </a:cubicBezTo>
                  <a:cubicBezTo>
                    <a:pt x="215862" y="57199"/>
                    <a:pt x="202620" y="55466"/>
                    <a:pt x="187942" y="55466"/>
                  </a:cubicBezTo>
                  <a:cubicBezTo>
                    <a:pt x="171190" y="55466"/>
                    <a:pt x="155714" y="59090"/>
                    <a:pt x="141515" y="66023"/>
                  </a:cubicBezTo>
                  <a:cubicBezTo>
                    <a:pt x="127315" y="73114"/>
                    <a:pt x="115031" y="83514"/>
                    <a:pt x="104661" y="97066"/>
                  </a:cubicBezTo>
                  <a:cubicBezTo>
                    <a:pt x="94290" y="110617"/>
                    <a:pt x="86153" y="127320"/>
                    <a:pt x="80410" y="147174"/>
                  </a:cubicBezTo>
                  <a:cubicBezTo>
                    <a:pt x="74666" y="167028"/>
                    <a:pt x="71635" y="189404"/>
                    <a:pt x="71475" y="214616"/>
                  </a:cubicBezTo>
                  <a:lnTo>
                    <a:pt x="73230" y="214616"/>
                  </a:lnTo>
                  <a:cubicBezTo>
                    <a:pt x="77379" y="207210"/>
                    <a:pt x="82643" y="200276"/>
                    <a:pt x="88865" y="194131"/>
                  </a:cubicBezTo>
                  <a:cubicBezTo>
                    <a:pt x="95088" y="187986"/>
                    <a:pt x="102108" y="182471"/>
                    <a:pt x="109925" y="177901"/>
                  </a:cubicBezTo>
                  <a:cubicBezTo>
                    <a:pt x="117743" y="173331"/>
                    <a:pt x="126199" y="169707"/>
                    <a:pt x="135612" y="167186"/>
                  </a:cubicBezTo>
                  <a:cubicBezTo>
                    <a:pt x="145025" y="164665"/>
                    <a:pt x="154917" y="163404"/>
                    <a:pt x="165606" y="163404"/>
                  </a:cubicBezTo>
                  <a:cubicBezTo>
                    <a:pt x="184273" y="163404"/>
                    <a:pt x="201184" y="166398"/>
                    <a:pt x="216341" y="172386"/>
                  </a:cubicBezTo>
                  <a:cubicBezTo>
                    <a:pt x="231338" y="178374"/>
                    <a:pt x="244261" y="187040"/>
                    <a:pt x="254950" y="198386"/>
                  </a:cubicBezTo>
                  <a:cubicBezTo>
                    <a:pt x="265640" y="209731"/>
                    <a:pt x="273777" y="223440"/>
                    <a:pt x="279680" y="239670"/>
                  </a:cubicBezTo>
                  <a:cubicBezTo>
                    <a:pt x="285423" y="255900"/>
                    <a:pt x="288295" y="274179"/>
                    <a:pt x="288295" y="294663"/>
                  </a:cubicBezTo>
                  <a:close/>
                  <a:moveTo>
                    <a:pt x="217937" y="300021"/>
                  </a:moveTo>
                  <a:cubicBezTo>
                    <a:pt x="217937" y="287888"/>
                    <a:pt x="216500" y="276700"/>
                    <a:pt x="213629" y="266615"/>
                  </a:cubicBezTo>
                  <a:cubicBezTo>
                    <a:pt x="210757" y="256530"/>
                    <a:pt x="206290" y="248021"/>
                    <a:pt x="200546" y="240773"/>
                  </a:cubicBezTo>
                  <a:cubicBezTo>
                    <a:pt x="194643" y="233525"/>
                    <a:pt x="187304" y="228009"/>
                    <a:pt x="178370" y="224070"/>
                  </a:cubicBezTo>
                  <a:cubicBezTo>
                    <a:pt x="169435" y="220131"/>
                    <a:pt x="159065" y="218082"/>
                    <a:pt x="147099" y="218082"/>
                  </a:cubicBezTo>
                  <a:cubicBezTo>
                    <a:pt x="135133" y="218082"/>
                    <a:pt x="124603" y="220131"/>
                    <a:pt x="115509" y="224385"/>
                  </a:cubicBezTo>
                  <a:cubicBezTo>
                    <a:pt x="106415" y="228640"/>
                    <a:pt x="98758" y="234155"/>
                    <a:pt x="92695" y="241088"/>
                  </a:cubicBezTo>
                  <a:cubicBezTo>
                    <a:pt x="86472" y="248021"/>
                    <a:pt x="81846" y="255900"/>
                    <a:pt x="78815" y="264724"/>
                  </a:cubicBezTo>
                  <a:cubicBezTo>
                    <a:pt x="75783" y="273548"/>
                    <a:pt x="74188" y="282688"/>
                    <a:pt x="74188" y="291827"/>
                  </a:cubicBezTo>
                  <a:cubicBezTo>
                    <a:pt x="74188" y="301912"/>
                    <a:pt x="75623" y="312154"/>
                    <a:pt x="78495" y="322711"/>
                  </a:cubicBezTo>
                  <a:cubicBezTo>
                    <a:pt x="81367" y="333269"/>
                    <a:pt x="85835" y="342881"/>
                    <a:pt x="91738" y="351547"/>
                  </a:cubicBezTo>
                  <a:cubicBezTo>
                    <a:pt x="97800" y="360214"/>
                    <a:pt x="105299" y="367305"/>
                    <a:pt x="114552" y="372977"/>
                  </a:cubicBezTo>
                  <a:cubicBezTo>
                    <a:pt x="123805" y="378650"/>
                    <a:pt x="134814" y="381329"/>
                    <a:pt x="147578" y="381329"/>
                  </a:cubicBezTo>
                  <a:cubicBezTo>
                    <a:pt x="158905" y="381329"/>
                    <a:pt x="168957" y="379280"/>
                    <a:pt x="177731" y="375183"/>
                  </a:cubicBezTo>
                  <a:cubicBezTo>
                    <a:pt x="186506" y="371087"/>
                    <a:pt x="193845" y="365414"/>
                    <a:pt x="199748" y="358008"/>
                  </a:cubicBezTo>
                  <a:cubicBezTo>
                    <a:pt x="205651" y="350759"/>
                    <a:pt x="210119" y="342093"/>
                    <a:pt x="213150" y="332166"/>
                  </a:cubicBezTo>
                  <a:cubicBezTo>
                    <a:pt x="216181" y="322239"/>
                    <a:pt x="217777" y="311524"/>
                    <a:pt x="217777" y="299863"/>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mn-cs"/>
              </a:endParaRPr>
            </a:p>
          </p:txBody>
        </p:sp>
        <p:sp>
          <p:nvSpPr>
            <p:cNvPr id="22" name="Freeform 21">
              <a:extLst>
                <a:ext uri="{FF2B5EF4-FFF2-40B4-BE49-F238E27FC236}">
                  <a16:creationId xmlns:a16="http://schemas.microsoft.com/office/drawing/2014/main" id="{A0E85776-57B7-FC04-6517-DCC66B816D8E}"/>
                </a:ext>
              </a:extLst>
            </p:cNvPr>
            <p:cNvSpPr/>
            <p:nvPr/>
          </p:nvSpPr>
          <p:spPr>
            <a:xfrm>
              <a:off x="7998445" y="4768455"/>
              <a:ext cx="254950" cy="430964"/>
            </a:xfrm>
            <a:custGeom>
              <a:avLst/>
              <a:gdLst>
                <a:gd name="connsiteX0" fmla="*/ 254950 w 254950"/>
                <a:gd name="connsiteY0" fmla="*/ 290409 h 430964"/>
                <a:gd name="connsiteX1" fmla="*/ 244899 w 254950"/>
                <a:gd name="connsiteY1" fmla="*/ 344614 h 430964"/>
                <a:gd name="connsiteX2" fmla="*/ 214905 w 254950"/>
                <a:gd name="connsiteY2" fmla="*/ 389365 h 430964"/>
                <a:gd name="connsiteX3" fmla="*/ 165287 w 254950"/>
                <a:gd name="connsiteY3" fmla="*/ 419777 h 430964"/>
                <a:gd name="connsiteX4" fmla="*/ 96045 w 254950"/>
                <a:gd name="connsiteY4" fmla="*/ 430965 h 430964"/>
                <a:gd name="connsiteX5" fmla="*/ 65253 w 254950"/>
                <a:gd name="connsiteY5" fmla="*/ 429231 h 430964"/>
                <a:gd name="connsiteX6" fmla="*/ 37812 w 254950"/>
                <a:gd name="connsiteY6" fmla="*/ 424662 h 430964"/>
                <a:gd name="connsiteX7" fmla="*/ 15316 w 254950"/>
                <a:gd name="connsiteY7" fmla="*/ 418516 h 430964"/>
                <a:gd name="connsiteX8" fmla="*/ 0 w 254950"/>
                <a:gd name="connsiteY8" fmla="*/ 412213 h 430964"/>
                <a:gd name="connsiteX9" fmla="*/ 0 w 254950"/>
                <a:gd name="connsiteY9" fmla="*/ 346347 h 430964"/>
                <a:gd name="connsiteX10" fmla="*/ 41800 w 254950"/>
                <a:gd name="connsiteY10" fmla="*/ 366674 h 430964"/>
                <a:gd name="connsiteX11" fmla="*/ 93014 w 254950"/>
                <a:gd name="connsiteY11" fmla="*/ 375183 h 430964"/>
                <a:gd name="connsiteX12" fmla="*/ 131145 w 254950"/>
                <a:gd name="connsiteY12" fmla="*/ 369353 h 430964"/>
                <a:gd name="connsiteX13" fmla="*/ 159862 w 254950"/>
                <a:gd name="connsiteY13" fmla="*/ 352966 h 430964"/>
                <a:gd name="connsiteX14" fmla="*/ 177891 w 254950"/>
                <a:gd name="connsiteY14" fmla="*/ 327596 h 430964"/>
                <a:gd name="connsiteX15" fmla="*/ 184113 w 254950"/>
                <a:gd name="connsiteY15" fmla="*/ 294821 h 430964"/>
                <a:gd name="connsiteX16" fmla="*/ 178051 w 254950"/>
                <a:gd name="connsiteY16" fmla="*/ 265197 h 430964"/>
                <a:gd name="connsiteX17" fmla="*/ 159703 w 254950"/>
                <a:gd name="connsiteY17" fmla="*/ 241088 h 430964"/>
                <a:gd name="connsiteX18" fmla="*/ 128273 w 254950"/>
                <a:gd name="connsiteY18" fmla="*/ 225016 h 430964"/>
                <a:gd name="connsiteX19" fmla="*/ 82962 w 254950"/>
                <a:gd name="connsiteY19" fmla="*/ 219028 h 430964"/>
                <a:gd name="connsiteX20" fmla="*/ 62701 w 254950"/>
                <a:gd name="connsiteY20" fmla="*/ 219658 h 430964"/>
                <a:gd name="connsiteX21" fmla="*/ 43396 w 254950"/>
                <a:gd name="connsiteY21" fmla="*/ 220919 h 430964"/>
                <a:gd name="connsiteX22" fmla="*/ 26484 w 254950"/>
                <a:gd name="connsiteY22" fmla="*/ 222179 h 430964"/>
                <a:gd name="connsiteX23" fmla="*/ 13242 w 254950"/>
                <a:gd name="connsiteY23" fmla="*/ 223125 h 430964"/>
                <a:gd name="connsiteX24" fmla="*/ 13242 w 254950"/>
                <a:gd name="connsiteY24" fmla="*/ 0 h 430964"/>
                <a:gd name="connsiteX25" fmla="*/ 235486 w 254950"/>
                <a:gd name="connsiteY25" fmla="*/ 0 h 430964"/>
                <a:gd name="connsiteX26" fmla="*/ 235486 w 254950"/>
                <a:gd name="connsiteY26" fmla="*/ 59405 h 430964"/>
                <a:gd name="connsiteX27" fmla="*/ 76900 w 254950"/>
                <a:gd name="connsiteY27" fmla="*/ 59405 h 430964"/>
                <a:gd name="connsiteX28" fmla="*/ 76900 w 254950"/>
                <a:gd name="connsiteY28" fmla="*/ 163404 h 430964"/>
                <a:gd name="connsiteX29" fmla="*/ 93014 w 254950"/>
                <a:gd name="connsiteY29" fmla="*/ 162459 h 430964"/>
                <a:gd name="connsiteX30" fmla="*/ 110085 w 254950"/>
                <a:gd name="connsiteY30" fmla="*/ 162144 h 430964"/>
                <a:gd name="connsiteX31" fmla="*/ 174381 w 254950"/>
                <a:gd name="connsiteY31" fmla="*/ 172386 h 430964"/>
                <a:gd name="connsiteX32" fmla="*/ 219372 w 254950"/>
                <a:gd name="connsiteY32" fmla="*/ 199961 h 430964"/>
                <a:gd name="connsiteX33" fmla="*/ 245857 w 254950"/>
                <a:gd name="connsiteY33" fmla="*/ 240773 h 430964"/>
                <a:gd name="connsiteX34" fmla="*/ 254472 w 254950"/>
                <a:gd name="connsiteY34" fmla="*/ 290409 h 430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54950" h="430964">
                  <a:moveTo>
                    <a:pt x="254950" y="290409"/>
                  </a:moveTo>
                  <a:cubicBezTo>
                    <a:pt x="254950" y="309475"/>
                    <a:pt x="251600" y="327596"/>
                    <a:pt x="244899" y="344614"/>
                  </a:cubicBezTo>
                  <a:cubicBezTo>
                    <a:pt x="238198" y="361632"/>
                    <a:pt x="228307" y="376602"/>
                    <a:pt x="214905" y="389365"/>
                  </a:cubicBezTo>
                  <a:cubicBezTo>
                    <a:pt x="201663" y="402129"/>
                    <a:pt x="185071" y="412371"/>
                    <a:pt x="165287" y="419777"/>
                  </a:cubicBezTo>
                  <a:cubicBezTo>
                    <a:pt x="145504" y="427183"/>
                    <a:pt x="122370" y="430965"/>
                    <a:pt x="96045" y="430965"/>
                  </a:cubicBezTo>
                  <a:cubicBezTo>
                    <a:pt x="85515" y="430965"/>
                    <a:pt x="75145" y="430334"/>
                    <a:pt x="65253" y="429231"/>
                  </a:cubicBezTo>
                  <a:cubicBezTo>
                    <a:pt x="55362" y="428128"/>
                    <a:pt x="46108" y="426553"/>
                    <a:pt x="37812" y="424662"/>
                  </a:cubicBezTo>
                  <a:cubicBezTo>
                    <a:pt x="29516" y="422771"/>
                    <a:pt x="22017" y="420722"/>
                    <a:pt x="15316" y="418516"/>
                  </a:cubicBezTo>
                  <a:cubicBezTo>
                    <a:pt x="8775" y="416310"/>
                    <a:pt x="3669" y="414104"/>
                    <a:pt x="0" y="412213"/>
                  </a:cubicBezTo>
                  <a:lnTo>
                    <a:pt x="0" y="346347"/>
                  </a:lnTo>
                  <a:cubicBezTo>
                    <a:pt x="11806" y="354226"/>
                    <a:pt x="25686" y="361002"/>
                    <a:pt x="41800" y="366674"/>
                  </a:cubicBezTo>
                  <a:cubicBezTo>
                    <a:pt x="57914" y="372347"/>
                    <a:pt x="74985" y="375183"/>
                    <a:pt x="93014" y="375183"/>
                  </a:cubicBezTo>
                  <a:cubicBezTo>
                    <a:pt x="107213" y="375183"/>
                    <a:pt x="119817" y="373293"/>
                    <a:pt x="131145" y="369353"/>
                  </a:cubicBezTo>
                  <a:cubicBezTo>
                    <a:pt x="142472" y="365414"/>
                    <a:pt x="152045" y="360056"/>
                    <a:pt x="159862" y="352966"/>
                  </a:cubicBezTo>
                  <a:cubicBezTo>
                    <a:pt x="167680" y="345875"/>
                    <a:pt x="173743" y="337366"/>
                    <a:pt x="177891" y="327596"/>
                  </a:cubicBezTo>
                  <a:cubicBezTo>
                    <a:pt x="182039" y="317827"/>
                    <a:pt x="184113" y="306796"/>
                    <a:pt x="184113" y="294821"/>
                  </a:cubicBezTo>
                  <a:cubicBezTo>
                    <a:pt x="184113" y="284421"/>
                    <a:pt x="182039" y="274494"/>
                    <a:pt x="178051" y="265197"/>
                  </a:cubicBezTo>
                  <a:cubicBezTo>
                    <a:pt x="174062" y="255900"/>
                    <a:pt x="167999" y="247864"/>
                    <a:pt x="159703" y="241088"/>
                  </a:cubicBezTo>
                  <a:cubicBezTo>
                    <a:pt x="151407" y="234312"/>
                    <a:pt x="140877" y="228955"/>
                    <a:pt x="128273" y="225016"/>
                  </a:cubicBezTo>
                  <a:cubicBezTo>
                    <a:pt x="115669" y="221076"/>
                    <a:pt x="100512" y="219028"/>
                    <a:pt x="82962" y="219028"/>
                  </a:cubicBezTo>
                  <a:cubicBezTo>
                    <a:pt x="76102" y="219028"/>
                    <a:pt x="69402" y="219185"/>
                    <a:pt x="62701" y="219658"/>
                  </a:cubicBezTo>
                  <a:cubicBezTo>
                    <a:pt x="55840" y="220131"/>
                    <a:pt x="49459" y="220446"/>
                    <a:pt x="43396" y="220919"/>
                  </a:cubicBezTo>
                  <a:cubicBezTo>
                    <a:pt x="37333" y="221391"/>
                    <a:pt x="31749" y="221864"/>
                    <a:pt x="26484" y="222179"/>
                  </a:cubicBezTo>
                  <a:cubicBezTo>
                    <a:pt x="21379" y="222652"/>
                    <a:pt x="16912" y="222809"/>
                    <a:pt x="13242" y="223125"/>
                  </a:cubicBezTo>
                  <a:lnTo>
                    <a:pt x="13242" y="0"/>
                  </a:lnTo>
                  <a:lnTo>
                    <a:pt x="235486" y="0"/>
                  </a:lnTo>
                  <a:lnTo>
                    <a:pt x="235486" y="59405"/>
                  </a:lnTo>
                  <a:lnTo>
                    <a:pt x="76900" y="59405"/>
                  </a:lnTo>
                  <a:lnTo>
                    <a:pt x="76900" y="163404"/>
                  </a:lnTo>
                  <a:cubicBezTo>
                    <a:pt x="81527" y="163089"/>
                    <a:pt x="86792" y="162774"/>
                    <a:pt x="93014" y="162459"/>
                  </a:cubicBezTo>
                  <a:cubicBezTo>
                    <a:pt x="99236" y="162301"/>
                    <a:pt x="104820" y="162144"/>
                    <a:pt x="110085" y="162144"/>
                  </a:cubicBezTo>
                  <a:cubicBezTo>
                    <a:pt x="134814" y="162144"/>
                    <a:pt x="156193" y="165610"/>
                    <a:pt x="174381" y="172386"/>
                  </a:cubicBezTo>
                  <a:cubicBezTo>
                    <a:pt x="192569" y="179162"/>
                    <a:pt x="207566" y="188458"/>
                    <a:pt x="219372" y="199961"/>
                  </a:cubicBezTo>
                  <a:cubicBezTo>
                    <a:pt x="231178" y="211622"/>
                    <a:pt x="240113" y="225173"/>
                    <a:pt x="245857" y="240773"/>
                  </a:cubicBezTo>
                  <a:cubicBezTo>
                    <a:pt x="251600" y="256373"/>
                    <a:pt x="254472" y="272918"/>
                    <a:pt x="254472" y="290409"/>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mn-cs"/>
              </a:endParaRPr>
            </a:p>
          </p:txBody>
        </p:sp>
        <p:grpSp>
          <p:nvGrpSpPr>
            <p:cNvPr id="23" name="Group 22">
              <a:extLst>
                <a:ext uri="{FF2B5EF4-FFF2-40B4-BE49-F238E27FC236}">
                  <a16:creationId xmlns:a16="http://schemas.microsoft.com/office/drawing/2014/main" id="{1B28085A-E2F9-2F35-941B-1F8E2FB675AA}"/>
                </a:ext>
              </a:extLst>
            </p:cNvPr>
            <p:cNvGrpSpPr/>
            <p:nvPr/>
          </p:nvGrpSpPr>
          <p:grpSpPr>
            <a:xfrm>
              <a:off x="4404407" y="5333357"/>
              <a:ext cx="3834310" cy="260312"/>
              <a:chOff x="4404407" y="5333357"/>
              <a:chExt cx="3834310" cy="260312"/>
            </a:xfrm>
          </p:grpSpPr>
          <p:sp>
            <p:nvSpPr>
              <p:cNvPr id="27" name="Freeform 26">
                <a:extLst>
                  <a:ext uri="{FF2B5EF4-FFF2-40B4-BE49-F238E27FC236}">
                    <a16:creationId xmlns:a16="http://schemas.microsoft.com/office/drawing/2014/main" id="{E757CEE5-0767-CF47-4300-5F00B3634FDA}"/>
                  </a:ext>
                </a:extLst>
              </p:cNvPr>
              <p:cNvSpPr/>
              <p:nvPr/>
            </p:nvSpPr>
            <p:spPr>
              <a:xfrm>
                <a:off x="4404407" y="5333357"/>
                <a:ext cx="147258" cy="260312"/>
              </a:xfrm>
              <a:custGeom>
                <a:avLst/>
                <a:gdLst>
                  <a:gd name="connsiteX0" fmla="*/ 147259 w 147258"/>
                  <a:gd name="connsiteY0" fmla="*/ 248336 h 260312"/>
                  <a:gd name="connsiteX1" fmla="*/ 98598 w 147258"/>
                  <a:gd name="connsiteY1" fmla="*/ 260312 h 260312"/>
                  <a:gd name="connsiteX2" fmla="*/ 26484 w 147258"/>
                  <a:gd name="connsiteY2" fmla="*/ 226906 h 260312"/>
                  <a:gd name="connsiteX3" fmla="*/ 0 w 147258"/>
                  <a:gd name="connsiteY3" fmla="*/ 135829 h 260312"/>
                  <a:gd name="connsiteX4" fmla="*/ 27282 w 147258"/>
                  <a:gd name="connsiteY4" fmla="*/ 35139 h 260312"/>
                  <a:gd name="connsiteX5" fmla="*/ 104341 w 147258"/>
                  <a:gd name="connsiteY5" fmla="*/ 0 h 260312"/>
                  <a:gd name="connsiteX6" fmla="*/ 147099 w 147258"/>
                  <a:gd name="connsiteY6" fmla="*/ 8667 h 260312"/>
                  <a:gd name="connsiteX7" fmla="*/ 147099 w 147258"/>
                  <a:gd name="connsiteY7" fmla="*/ 55624 h 260312"/>
                  <a:gd name="connsiteX8" fmla="*/ 107054 w 147258"/>
                  <a:gd name="connsiteY8" fmla="*/ 42230 h 260312"/>
                  <a:gd name="connsiteX9" fmla="*/ 65732 w 147258"/>
                  <a:gd name="connsiteY9" fmla="*/ 66181 h 260312"/>
                  <a:gd name="connsiteX10" fmla="*/ 50575 w 147258"/>
                  <a:gd name="connsiteY10" fmla="*/ 131417 h 260312"/>
                  <a:gd name="connsiteX11" fmla="*/ 64934 w 147258"/>
                  <a:gd name="connsiteY11" fmla="*/ 194919 h 260312"/>
                  <a:gd name="connsiteX12" fmla="*/ 104820 w 147258"/>
                  <a:gd name="connsiteY12" fmla="*/ 217767 h 260312"/>
                  <a:gd name="connsiteX13" fmla="*/ 146940 w 147258"/>
                  <a:gd name="connsiteY13" fmla="*/ 203428 h 260312"/>
                  <a:gd name="connsiteX14" fmla="*/ 146940 w 147258"/>
                  <a:gd name="connsiteY14" fmla="*/ 248336 h 260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7258" h="260312">
                    <a:moveTo>
                      <a:pt x="147259" y="248336"/>
                    </a:moveTo>
                    <a:cubicBezTo>
                      <a:pt x="133059" y="256215"/>
                      <a:pt x="116786" y="260312"/>
                      <a:pt x="98598" y="260312"/>
                    </a:cubicBezTo>
                    <a:cubicBezTo>
                      <a:pt x="68125" y="260312"/>
                      <a:pt x="44194" y="249124"/>
                      <a:pt x="26484" y="226906"/>
                    </a:cubicBezTo>
                    <a:cubicBezTo>
                      <a:pt x="8775" y="204689"/>
                      <a:pt x="0" y="174277"/>
                      <a:pt x="0" y="135829"/>
                    </a:cubicBezTo>
                    <a:cubicBezTo>
                      <a:pt x="0" y="92181"/>
                      <a:pt x="9094" y="58460"/>
                      <a:pt x="27282" y="35139"/>
                    </a:cubicBezTo>
                    <a:cubicBezTo>
                      <a:pt x="45470" y="11818"/>
                      <a:pt x="71156" y="0"/>
                      <a:pt x="104341" y="0"/>
                    </a:cubicBezTo>
                    <a:cubicBezTo>
                      <a:pt x="119817" y="0"/>
                      <a:pt x="134176" y="2836"/>
                      <a:pt x="147099" y="8667"/>
                    </a:cubicBezTo>
                    <a:lnTo>
                      <a:pt x="147099" y="55624"/>
                    </a:lnTo>
                    <a:cubicBezTo>
                      <a:pt x="134974" y="46799"/>
                      <a:pt x="121732" y="42230"/>
                      <a:pt x="107054" y="42230"/>
                    </a:cubicBezTo>
                    <a:cubicBezTo>
                      <a:pt x="89504" y="42230"/>
                      <a:pt x="75783" y="50266"/>
                      <a:pt x="65732" y="66181"/>
                    </a:cubicBezTo>
                    <a:cubicBezTo>
                      <a:pt x="55681" y="82096"/>
                      <a:pt x="50575" y="103841"/>
                      <a:pt x="50575" y="131417"/>
                    </a:cubicBezTo>
                    <a:cubicBezTo>
                      <a:pt x="50575" y="158992"/>
                      <a:pt x="55362" y="179792"/>
                      <a:pt x="64934" y="194919"/>
                    </a:cubicBezTo>
                    <a:cubicBezTo>
                      <a:pt x="74507" y="210046"/>
                      <a:pt x="87908" y="217767"/>
                      <a:pt x="104820" y="217767"/>
                    </a:cubicBezTo>
                    <a:cubicBezTo>
                      <a:pt x="119498" y="217767"/>
                      <a:pt x="133538" y="213040"/>
                      <a:pt x="146940" y="203428"/>
                    </a:cubicBezTo>
                    <a:lnTo>
                      <a:pt x="146940" y="248336"/>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mn-cs"/>
                </a:endParaRPr>
              </a:p>
            </p:txBody>
          </p:sp>
          <p:sp>
            <p:nvSpPr>
              <p:cNvPr id="28" name="Freeform 27">
                <a:extLst>
                  <a:ext uri="{FF2B5EF4-FFF2-40B4-BE49-F238E27FC236}">
                    <a16:creationId xmlns:a16="http://schemas.microsoft.com/office/drawing/2014/main" id="{C3A51D03-2184-9BDE-6B3B-86832A9ABA31}"/>
                  </a:ext>
                </a:extLst>
              </p:cNvPr>
              <p:cNvSpPr/>
              <p:nvPr/>
            </p:nvSpPr>
            <p:spPr>
              <a:xfrm>
                <a:off x="4584053" y="5333357"/>
                <a:ext cx="182198" cy="260154"/>
              </a:xfrm>
              <a:custGeom>
                <a:avLst/>
                <a:gdLst>
                  <a:gd name="connsiteX0" fmla="*/ 90302 w 182198"/>
                  <a:gd name="connsiteY0" fmla="*/ 260154 h 260154"/>
                  <a:gd name="connsiteX1" fmla="*/ 23613 w 182198"/>
                  <a:gd name="connsiteY1" fmla="*/ 226749 h 260154"/>
                  <a:gd name="connsiteX2" fmla="*/ 0 w 182198"/>
                  <a:gd name="connsiteY2" fmla="*/ 133308 h 260154"/>
                  <a:gd name="connsiteX3" fmla="*/ 24251 w 182198"/>
                  <a:gd name="connsiteY3" fmla="*/ 34981 h 260154"/>
                  <a:gd name="connsiteX4" fmla="*/ 92695 w 182198"/>
                  <a:gd name="connsiteY4" fmla="*/ 0 h 260154"/>
                  <a:gd name="connsiteX5" fmla="*/ 159544 w 182198"/>
                  <a:gd name="connsiteY5" fmla="*/ 32933 h 260154"/>
                  <a:gd name="connsiteX6" fmla="*/ 182199 w 182198"/>
                  <a:gd name="connsiteY6" fmla="*/ 129211 h 260154"/>
                  <a:gd name="connsiteX7" fmla="*/ 158427 w 182198"/>
                  <a:gd name="connsiteY7" fmla="*/ 225803 h 260154"/>
                  <a:gd name="connsiteX8" fmla="*/ 90302 w 182198"/>
                  <a:gd name="connsiteY8" fmla="*/ 259997 h 260154"/>
                  <a:gd name="connsiteX9" fmla="*/ 92376 w 182198"/>
                  <a:gd name="connsiteY9" fmla="*/ 42387 h 260154"/>
                  <a:gd name="connsiteX10" fmla="*/ 50735 w 182198"/>
                  <a:gd name="connsiteY10" fmla="*/ 130471 h 260154"/>
                  <a:gd name="connsiteX11" fmla="*/ 91259 w 182198"/>
                  <a:gd name="connsiteY11" fmla="*/ 217767 h 260154"/>
                  <a:gd name="connsiteX12" fmla="*/ 120934 w 182198"/>
                  <a:gd name="connsiteY12" fmla="*/ 195549 h 260154"/>
                  <a:gd name="connsiteX13" fmla="*/ 131145 w 182198"/>
                  <a:gd name="connsiteY13" fmla="*/ 131889 h 260154"/>
                  <a:gd name="connsiteX14" fmla="*/ 92216 w 182198"/>
                  <a:gd name="connsiteY14" fmla="*/ 42387 h 260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2198" h="260154">
                    <a:moveTo>
                      <a:pt x="90302" y="260154"/>
                    </a:moveTo>
                    <a:cubicBezTo>
                      <a:pt x="61584" y="260154"/>
                      <a:pt x="39248" y="248967"/>
                      <a:pt x="23613" y="226749"/>
                    </a:cubicBezTo>
                    <a:cubicBezTo>
                      <a:pt x="7977" y="204531"/>
                      <a:pt x="0" y="173331"/>
                      <a:pt x="0" y="133308"/>
                    </a:cubicBezTo>
                    <a:cubicBezTo>
                      <a:pt x="0" y="91078"/>
                      <a:pt x="8137" y="58302"/>
                      <a:pt x="24251" y="34981"/>
                    </a:cubicBezTo>
                    <a:cubicBezTo>
                      <a:pt x="40365" y="11660"/>
                      <a:pt x="63179" y="0"/>
                      <a:pt x="92695" y="0"/>
                    </a:cubicBezTo>
                    <a:cubicBezTo>
                      <a:pt x="122210" y="0"/>
                      <a:pt x="144387" y="11030"/>
                      <a:pt x="159544" y="32933"/>
                    </a:cubicBezTo>
                    <a:cubicBezTo>
                      <a:pt x="174700" y="54993"/>
                      <a:pt x="182199" y="86981"/>
                      <a:pt x="182199" y="129211"/>
                    </a:cubicBezTo>
                    <a:cubicBezTo>
                      <a:pt x="182199" y="171440"/>
                      <a:pt x="174222" y="203113"/>
                      <a:pt x="158427" y="225803"/>
                    </a:cubicBezTo>
                    <a:cubicBezTo>
                      <a:pt x="142632" y="248494"/>
                      <a:pt x="119817" y="259997"/>
                      <a:pt x="90302" y="259997"/>
                    </a:cubicBezTo>
                    <a:close/>
                    <a:moveTo>
                      <a:pt x="92376" y="42387"/>
                    </a:moveTo>
                    <a:cubicBezTo>
                      <a:pt x="64615" y="42387"/>
                      <a:pt x="50735" y="71696"/>
                      <a:pt x="50735" y="130471"/>
                    </a:cubicBezTo>
                    <a:cubicBezTo>
                      <a:pt x="50735" y="189246"/>
                      <a:pt x="64296" y="217767"/>
                      <a:pt x="91259" y="217767"/>
                    </a:cubicBezTo>
                    <a:cubicBezTo>
                      <a:pt x="104342" y="217767"/>
                      <a:pt x="114233" y="210361"/>
                      <a:pt x="120934" y="195549"/>
                    </a:cubicBezTo>
                    <a:cubicBezTo>
                      <a:pt x="127794" y="180737"/>
                      <a:pt x="131145" y="159465"/>
                      <a:pt x="131145" y="131889"/>
                    </a:cubicBezTo>
                    <a:cubicBezTo>
                      <a:pt x="131145" y="72169"/>
                      <a:pt x="118222" y="42387"/>
                      <a:pt x="92216" y="42387"/>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mn-cs"/>
                </a:endParaRPr>
              </a:p>
            </p:txBody>
          </p:sp>
          <p:sp>
            <p:nvSpPr>
              <p:cNvPr id="29" name="Freeform 28">
                <a:extLst>
                  <a:ext uri="{FF2B5EF4-FFF2-40B4-BE49-F238E27FC236}">
                    <a16:creationId xmlns:a16="http://schemas.microsoft.com/office/drawing/2014/main" id="{DF1AFB47-B485-A1BB-8C51-88A4A0B50DA3}"/>
                  </a:ext>
                </a:extLst>
              </p:cNvPr>
              <p:cNvSpPr/>
              <p:nvPr/>
            </p:nvSpPr>
            <p:spPr>
              <a:xfrm>
                <a:off x="4816029" y="5337769"/>
                <a:ext cx="217138" cy="251487"/>
              </a:xfrm>
              <a:custGeom>
                <a:avLst/>
                <a:gdLst>
                  <a:gd name="connsiteX0" fmla="*/ 175179 w 217138"/>
                  <a:gd name="connsiteY0" fmla="*/ 251488 h 251487"/>
                  <a:gd name="connsiteX1" fmla="*/ 175179 w 217138"/>
                  <a:gd name="connsiteY1" fmla="*/ 105259 h 251487"/>
                  <a:gd name="connsiteX2" fmla="*/ 176934 w 217138"/>
                  <a:gd name="connsiteY2" fmla="*/ 48218 h 251487"/>
                  <a:gd name="connsiteX3" fmla="*/ 175817 w 217138"/>
                  <a:gd name="connsiteY3" fmla="*/ 48218 h 251487"/>
                  <a:gd name="connsiteX4" fmla="*/ 168159 w 217138"/>
                  <a:gd name="connsiteY4" fmla="*/ 90447 h 251487"/>
                  <a:gd name="connsiteX5" fmla="*/ 130985 w 217138"/>
                  <a:gd name="connsiteY5" fmla="*/ 251488 h 251487"/>
                  <a:gd name="connsiteX6" fmla="*/ 86154 w 217138"/>
                  <a:gd name="connsiteY6" fmla="*/ 251488 h 251487"/>
                  <a:gd name="connsiteX7" fmla="*/ 47225 w 217138"/>
                  <a:gd name="connsiteY7" fmla="*/ 92811 h 251487"/>
                  <a:gd name="connsiteX8" fmla="*/ 40365 w 217138"/>
                  <a:gd name="connsiteY8" fmla="*/ 48218 h 251487"/>
                  <a:gd name="connsiteX9" fmla="*/ 38929 w 217138"/>
                  <a:gd name="connsiteY9" fmla="*/ 48218 h 251487"/>
                  <a:gd name="connsiteX10" fmla="*/ 40684 w 217138"/>
                  <a:gd name="connsiteY10" fmla="*/ 118180 h 251487"/>
                  <a:gd name="connsiteX11" fmla="*/ 40684 w 217138"/>
                  <a:gd name="connsiteY11" fmla="*/ 251488 h 251487"/>
                  <a:gd name="connsiteX12" fmla="*/ 0 w 217138"/>
                  <a:gd name="connsiteY12" fmla="*/ 251488 h 251487"/>
                  <a:gd name="connsiteX13" fmla="*/ 0 w 217138"/>
                  <a:gd name="connsiteY13" fmla="*/ 0 h 251487"/>
                  <a:gd name="connsiteX14" fmla="*/ 68763 w 217138"/>
                  <a:gd name="connsiteY14" fmla="*/ 0 h 251487"/>
                  <a:gd name="connsiteX15" fmla="*/ 104501 w 217138"/>
                  <a:gd name="connsiteY15" fmla="*/ 153162 h 251487"/>
                  <a:gd name="connsiteX16" fmla="*/ 110883 w 217138"/>
                  <a:gd name="connsiteY16" fmla="*/ 191925 h 251487"/>
                  <a:gd name="connsiteX17" fmla="*/ 111840 w 217138"/>
                  <a:gd name="connsiteY17" fmla="*/ 191925 h 251487"/>
                  <a:gd name="connsiteX18" fmla="*/ 113116 w 217138"/>
                  <a:gd name="connsiteY18" fmla="*/ 182628 h 251487"/>
                  <a:gd name="connsiteX19" fmla="*/ 117584 w 217138"/>
                  <a:gd name="connsiteY19" fmla="*/ 151744 h 251487"/>
                  <a:gd name="connsiteX20" fmla="*/ 151088 w 217138"/>
                  <a:gd name="connsiteY20" fmla="*/ 0 h 251487"/>
                  <a:gd name="connsiteX21" fmla="*/ 217139 w 217138"/>
                  <a:gd name="connsiteY21" fmla="*/ 0 h 251487"/>
                  <a:gd name="connsiteX22" fmla="*/ 217139 w 217138"/>
                  <a:gd name="connsiteY22" fmla="*/ 251488 h 251487"/>
                  <a:gd name="connsiteX23" fmla="*/ 175019 w 217138"/>
                  <a:gd name="connsiteY23" fmla="*/ 251488 h 251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17138" h="251487">
                    <a:moveTo>
                      <a:pt x="175179" y="251488"/>
                    </a:moveTo>
                    <a:lnTo>
                      <a:pt x="175179" y="105259"/>
                    </a:lnTo>
                    <a:cubicBezTo>
                      <a:pt x="175179" y="92653"/>
                      <a:pt x="175817" y="73587"/>
                      <a:pt x="176934" y="48218"/>
                    </a:cubicBezTo>
                    <a:lnTo>
                      <a:pt x="175817" y="48218"/>
                    </a:lnTo>
                    <a:cubicBezTo>
                      <a:pt x="174222" y="58775"/>
                      <a:pt x="171669" y="72957"/>
                      <a:pt x="168159" y="90447"/>
                    </a:cubicBezTo>
                    <a:lnTo>
                      <a:pt x="130985" y="251488"/>
                    </a:lnTo>
                    <a:lnTo>
                      <a:pt x="86154" y="251488"/>
                    </a:lnTo>
                    <a:lnTo>
                      <a:pt x="47225" y="92811"/>
                    </a:lnTo>
                    <a:lnTo>
                      <a:pt x="40365" y="48218"/>
                    </a:lnTo>
                    <a:lnTo>
                      <a:pt x="38929" y="48218"/>
                    </a:lnTo>
                    <a:cubicBezTo>
                      <a:pt x="40045" y="71854"/>
                      <a:pt x="40684" y="95175"/>
                      <a:pt x="40684" y="118180"/>
                    </a:cubicBezTo>
                    <a:lnTo>
                      <a:pt x="40684" y="251488"/>
                    </a:lnTo>
                    <a:lnTo>
                      <a:pt x="0" y="251488"/>
                    </a:lnTo>
                    <a:lnTo>
                      <a:pt x="0" y="0"/>
                    </a:lnTo>
                    <a:lnTo>
                      <a:pt x="68763" y="0"/>
                    </a:lnTo>
                    <a:lnTo>
                      <a:pt x="104501" y="153162"/>
                    </a:lnTo>
                    <a:cubicBezTo>
                      <a:pt x="108011" y="168604"/>
                      <a:pt x="110245" y="181525"/>
                      <a:pt x="110883" y="191925"/>
                    </a:cubicBezTo>
                    <a:lnTo>
                      <a:pt x="111840" y="191925"/>
                    </a:lnTo>
                    <a:lnTo>
                      <a:pt x="113116" y="182628"/>
                    </a:lnTo>
                    <a:cubicBezTo>
                      <a:pt x="114712" y="168447"/>
                      <a:pt x="116148" y="158204"/>
                      <a:pt x="117584" y="151744"/>
                    </a:cubicBezTo>
                    <a:lnTo>
                      <a:pt x="151088" y="0"/>
                    </a:lnTo>
                    <a:lnTo>
                      <a:pt x="217139" y="0"/>
                    </a:lnTo>
                    <a:lnTo>
                      <a:pt x="217139" y="251488"/>
                    </a:lnTo>
                    <a:lnTo>
                      <a:pt x="175019" y="251488"/>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mn-cs"/>
                </a:endParaRPr>
              </a:p>
            </p:txBody>
          </p:sp>
          <p:sp>
            <p:nvSpPr>
              <p:cNvPr id="30" name="Freeform 29">
                <a:extLst>
                  <a:ext uri="{FF2B5EF4-FFF2-40B4-BE49-F238E27FC236}">
                    <a16:creationId xmlns:a16="http://schemas.microsoft.com/office/drawing/2014/main" id="{8DD1316D-2EFD-3609-BF50-EF3C6E945470}"/>
                  </a:ext>
                </a:extLst>
              </p:cNvPr>
              <p:cNvSpPr/>
              <p:nvPr/>
            </p:nvSpPr>
            <p:spPr>
              <a:xfrm>
                <a:off x="5091401" y="5337769"/>
                <a:ext cx="217138" cy="251487"/>
              </a:xfrm>
              <a:custGeom>
                <a:avLst/>
                <a:gdLst>
                  <a:gd name="connsiteX0" fmla="*/ 175179 w 217138"/>
                  <a:gd name="connsiteY0" fmla="*/ 251488 h 251487"/>
                  <a:gd name="connsiteX1" fmla="*/ 175179 w 217138"/>
                  <a:gd name="connsiteY1" fmla="*/ 105259 h 251487"/>
                  <a:gd name="connsiteX2" fmla="*/ 176934 w 217138"/>
                  <a:gd name="connsiteY2" fmla="*/ 48218 h 251487"/>
                  <a:gd name="connsiteX3" fmla="*/ 175817 w 217138"/>
                  <a:gd name="connsiteY3" fmla="*/ 48218 h 251487"/>
                  <a:gd name="connsiteX4" fmla="*/ 168159 w 217138"/>
                  <a:gd name="connsiteY4" fmla="*/ 90447 h 251487"/>
                  <a:gd name="connsiteX5" fmla="*/ 130985 w 217138"/>
                  <a:gd name="connsiteY5" fmla="*/ 251488 h 251487"/>
                  <a:gd name="connsiteX6" fmla="*/ 86154 w 217138"/>
                  <a:gd name="connsiteY6" fmla="*/ 251488 h 251487"/>
                  <a:gd name="connsiteX7" fmla="*/ 47225 w 217138"/>
                  <a:gd name="connsiteY7" fmla="*/ 92811 h 251487"/>
                  <a:gd name="connsiteX8" fmla="*/ 40365 w 217138"/>
                  <a:gd name="connsiteY8" fmla="*/ 48218 h 251487"/>
                  <a:gd name="connsiteX9" fmla="*/ 38929 w 217138"/>
                  <a:gd name="connsiteY9" fmla="*/ 48218 h 251487"/>
                  <a:gd name="connsiteX10" fmla="*/ 40684 w 217138"/>
                  <a:gd name="connsiteY10" fmla="*/ 118180 h 251487"/>
                  <a:gd name="connsiteX11" fmla="*/ 40684 w 217138"/>
                  <a:gd name="connsiteY11" fmla="*/ 251488 h 251487"/>
                  <a:gd name="connsiteX12" fmla="*/ 0 w 217138"/>
                  <a:gd name="connsiteY12" fmla="*/ 251488 h 251487"/>
                  <a:gd name="connsiteX13" fmla="*/ 0 w 217138"/>
                  <a:gd name="connsiteY13" fmla="*/ 0 h 251487"/>
                  <a:gd name="connsiteX14" fmla="*/ 68763 w 217138"/>
                  <a:gd name="connsiteY14" fmla="*/ 0 h 251487"/>
                  <a:gd name="connsiteX15" fmla="*/ 104501 w 217138"/>
                  <a:gd name="connsiteY15" fmla="*/ 153162 h 251487"/>
                  <a:gd name="connsiteX16" fmla="*/ 110883 w 217138"/>
                  <a:gd name="connsiteY16" fmla="*/ 191925 h 251487"/>
                  <a:gd name="connsiteX17" fmla="*/ 111840 w 217138"/>
                  <a:gd name="connsiteY17" fmla="*/ 191925 h 251487"/>
                  <a:gd name="connsiteX18" fmla="*/ 113116 w 217138"/>
                  <a:gd name="connsiteY18" fmla="*/ 182628 h 251487"/>
                  <a:gd name="connsiteX19" fmla="*/ 117584 w 217138"/>
                  <a:gd name="connsiteY19" fmla="*/ 151744 h 251487"/>
                  <a:gd name="connsiteX20" fmla="*/ 151088 w 217138"/>
                  <a:gd name="connsiteY20" fmla="*/ 0 h 251487"/>
                  <a:gd name="connsiteX21" fmla="*/ 217139 w 217138"/>
                  <a:gd name="connsiteY21" fmla="*/ 0 h 251487"/>
                  <a:gd name="connsiteX22" fmla="*/ 217139 w 217138"/>
                  <a:gd name="connsiteY22" fmla="*/ 251488 h 251487"/>
                  <a:gd name="connsiteX23" fmla="*/ 175019 w 217138"/>
                  <a:gd name="connsiteY23" fmla="*/ 251488 h 251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17138" h="251487">
                    <a:moveTo>
                      <a:pt x="175179" y="251488"/>
                    </a:moveTo>
                    <a:lnTo>
                      <a:pt x="175179" y="105259"/>
                    </a:lnTo>
                    <a:cubicBezTo>
                      <a:pt x="175179" y="92653"/>
                      <a:pt x="175817" y="73587"/>
                      <a:pt x="176934" y="48218"/>
                    </a:cubicBezTo>
                    <a:lnTo>
                      <a:pt x="175817" y="48218"/>
                    </a:lnTo>
                    <a:cubicBezTo>
                      <a:pt x="174222" y="58775"/>
                      <a:pt x="171669" y="72957"/>
                      <a:pt x="168159" y="90447"/>
                    </a:cubicBezTo>
                    <a:lnTo>
                      <a:pt x="130985" y="251488"/>
                    </a:lnTo>
                    <a:lnTo>
                      <a:pt x="86154" y="251488"/>
                    </a:lnTo>
                    <a:lnTo>
                      <a:pt x="47225" y="92811"/>
                    </a:lnTo>
                    <a:lnTo>
                      <a:pt x="40365" y="48218"/>
                    </a:lnTo>
                    <a:lnTo>
                      <a:pt x="38929" y="48218"/>
                    </a:lnTo>
                    <a:cubicBezTo>
                      <a:pt x="40045" y="71854"/>
                      <a:pt x="40684" y="95175"/>
                      <a:pt x="40684" y="118180"/>
                    </a:cubicBezTo>
                    <a:lnTo>
                      <a:pt x="40684" y="251488"/>
                    </a:lnTo>
                    <a:lnTo>
                      <a:pt x="0" y="251488"/>
                    </a:lnTo>
                    <a:lnTo>
                      <a:pt x="0" y="0"/>
                    </a:lnTo>
                    <a:lnTo>
                      <a:pt x="68763" y="0"/>
                    </a:lnTo>
                    <a:lnTo>
                      <a:pt x="104501" y="153162"/>
                    </a:lnTo>
                    <a:cubicBezTo>
                      <a:pt x="108011" y="168604"/>
                      <a:pt x="110245" y="181525"/>
                      <a:pt x="110883" y="191925"/>
                    </a:cubicBezTo>
                    <a:lnTo>
                      <a:pt x="111840" y="191925"/>
                    </a:lnTo>
                    <a:lnTo>
                      <a:pt x="113116" y="182628"/>
                    </a:lnTo>
                    <a:cubicBezTo>
                      <a:pt x="114712" y="168447"/>
                      <a:pt x="116148" y="158204"/>
                      <a:pt x="117584" y="151744"/>
                    </a:cubicBezTo>
                    <a:lnTo>
                      <a:pt x="151088" y="0"/>
                    </a:lnTo>
                    <a:lnTo>
                      <a:pt x="217139" y="0"/>
                    </a:lnTo>
                    <a:lnTo>
                      <a:pt x="217139" y="251488"/>
                    </a:lnTo>
                    <a:lnTo>
                      <a:pt x="175019" y="251488"/>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mn-cs"/>
                </a:endParaRPr>
              </a:p>
            </p:txBody>
          </p:sp>
          <p:sp>
            <p:nvSpPr>
              <p:cNvPr id="31" name="Freeform 30">
                <a:extLst>
                  <a:ext uri="{FF2B5EF4-FFF2-40B4-BE49-F238E27FC236}">
                    <a16:creationId xmlns:a16="http://schemas.microsoft.com/office/drawing/2014/main" id="{EC020512-8DF1-4890-983C-4DD2AE37D072}"/>
                  </a:ext>
                </a:extLst>
              </p:cNvPr>
              <p:cNvSpPr/>
              <p:nvPr/>
            </p:nvSpPr>
            <p:spPr>
              <a:xfrm>
                <a:off x="5365338" y="5337769"/>
                <a:ext cx="159064" cy="255900"/>
              </a:xfrm>
              <a:custGeom>
                <a:avLst/>
                <a:gdLst>
                  <a:gd name="connsiteX0" fmla="*/ 159065 w 159064"/>
                  <a:gd name="connsiteY0" fmla="*/ 145126 h 255900"/>
                  <a:gd name="connsiteX1" fmla="*/ 79612 w 159064"/>
                  <a:gd name="connsiteY1" fmla="*/ 255900 h 255900"/>
                  <a:gd name="connsiteX2" fmla="*/ 0 w 159064"/>
                  <a:gd name="connsiteY2" fmla="*/ 147647 h 255900"/>
                  <a:gd name="connsiteX3" fmla="*/ 0 w 159064"/>
                  <a:gd name="connsiteY3" fmla="*/ 0 h 255900"/>
                  <a:gd name="connsiteX4" fmla="*/ 48980 w 159064"/>
                  <a:gd name="connsiteY4" fmla="*/ 0 h 255900"/>
                  <a:gd name="connsiteX5" fmla="*/ 48980 w 159064"/>
                  <a:gd name="connsiteY5" fmla="*/ 153162 h 255900"/>
                  <a:gd name="connsiteX6" fmla="*/ 79931 w 159064"/>
                  <a:gd name="connsiteY6" fmla="*/ 213513 h 255900"/>
                  <a:gd name="connsiteX7" fmla="*/ 102906 w 159064"/>
                  <a:gd name="connsiteY7" fmla="*/ 199016 h 255900"/>
                  <a:gd name="connsiteX8" fmla="*/ 109766 w 159064"/>
                  <a:gd name="connsiteY8" fmla="*/ 154580 h 255900"/>
                  <a:gd name="connsiteX9" fmla="*/ 109766 w 159064"/>
                  <a:gd name="connsiteY9" fmla="*/ 0 h 255900"/>
                  <a:gd name="connsiteX10" fmla="*/ 158905 w 159064"/>
                  <a:gd name="connsiteY10" fmla="*/ 0 h 255900"/>
                  <a:gd name="connsiteX11" fmla="*/ 158905 w 159064"/>
                  <a:gd name="connsiteY11" fmla="*/ 145283 h 25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4" h="255900">
                    <a:moveTo>
                      <a:pt x="159065" y="145126"/>
                    </a:moveTo>
                    <a:cubicBezTo>
                      <a:pt x="159065" y="218870"/>
                      <a:pt x="132581" y="255900"/>
                      <a:pt x="79612" y="255900"/>
                    </a:cubicBezTo>
                    <a:cubicBezTo>
                      <a:pt x="26644" y="255900"/>
                      <a:pt x="0" y="219816"/>
                      <a:pt x="0" y="147647"/>
                    </a:cubicBezTo>
                    <a:lnTo>
                      <a:pt x="0" y="0"/>
                    </a:lnTo>
                    <a:lnTo>
                      <a:pt x="48980" y="0"/>
                    </a:lnTo>
                    <a:lnTo>
                      <a:pt x="48980" y="153162"/>
                    </a:lnTo>
                    <a:cubicBezTo>
                      <a:pt x="48980" y="193343"/>
                      <a:pt x="59350" y="213513"/>
                      <a:pt x="79931" y="213513"/>
                    </a:cubicBezTo>
                    <a:cubicBezTo>
                      <a:pt x="90621" y="213513"/>
                      <a:pt x="98438" y="208628"/>
                      <a:pt x="102906" y="199016"/>
                    </a:cubicBezTo>
                    <a:cubicBezTo>
                      <a:pt x="107373" y="189404"/>
                      <a:pt x="109766" y="174592"/>
                      <a:pt x="109766" y="154580"/>
                    </a:cubicBezTo>
                    <a:lnTo>
                      <a:pt x="109766" y="0"/>
                    </a:lnTo>
                    <a:lnTo>
                      <a:pt x="158905" y="0"/>
                    </a:lnTo>
                    <a:lnTo>
                      <a:pt x="158905" y="145283"/>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mn-cs"/>
                </a:endParaRPr>
              </a:p>
            </p:txBody>
          </p:sp>
          <p:sp>
            <p:nvSpPr>
              <p:cNvPr id="32" name="Freeform 31">
                <a:extLst>
                  <a:ext uri="{FF2B5EF4-FFF2-40B4-BE49-F238E27FC236}">
                    <a16:creationId xmlns:a16="http://schemas.microsoft.com/office/drawing/2014/main" id="{36A8719B-416B-6E94-7714-9F072107FBE5}"/>
                  </a:ext>
                </a:extLst>
              </p:cNvPr>
              <p:cNvSpPr/>
              <p:nvPr/>
            </p:nvSpPr>
            <p:spPr>
              <a:xfrm>
                <a:off x="5580881" y="5337612"/>
                <a:ext cx="163532" cy="251645"/>
              </a:xfrm>
              <a:custGeom>
                <a:avLst/>
                <a:gdLst>
                  <a:gd name="connsiteX0" fmla="*/ 108968 w 163532"/>
                  <a:gd name="connsiteY0" fmla="*/ 251646 h 251645"/>
                  <a:gd name="connsiteX1" fmla="*/ 52330 w 163532"/>
                  <a:gd name="connsiteY1" fmla="*/ 107938 h 251645"/>
                  <a:gd name="connsiteX2" fmla="*/ 43077 w 163532"/>
                  <a:gd name="connsiteY2" fmla="*/ 79260 h 251645"/>
                  <a:gd name="connsiteX3" fmla="*/ 40524 w 163532"/>
                  <a:gd name="connsiteY3" fmla="*/ 71223 h 251645"/>
                  <a:gd name="connsiteX4" fmla="*/ 39886 w 163532"/>
                  <a:gd name="connsiteY4" fmla="*/ 71223 h 251645"/>
                  <a:gd name="connsiteX5" fmla="*/ 41003 w 163532"/>
                  <a:gd name="connsiteY5" fmla="*/ 122592 h 251645"/>
                  <a:gd name="connsiteX6" fmla="*/ 41003 w 163532"/>
                  <a:gd name="connsiteY6" fmla="*/ 251488 h 251645"/>
                  <a:gd name="connsiteX7" fmla="*/ 0 w 163532"/>
                  <a:gd name="connsiteY7" fmla="*/ 251488 h 251645"/>
                  <a:gd name="connsiteX8" fmla="*/ 0 w 163532"/>
                  <a:gd name="connsiteY8" fmla="*/ 0 h 251645"/>
                  <a:gd name="connsiteX9" fmla="*/ 55521 w 163532"/>
                  <a:gd name="connsiteY9" fmla="*/ 0 h 251645"/>
                  <a:gd name="connsiteX10" fmla="*/ 112000 w 163532"/>
                  <a:gd name="connsiteY10" fmla="*/ 147016 h 251645"/>
                  <a:gd name="connsiteX11" fmla="*/ 122849 w 163532"/>
                  <a:gd name="connsiteY11" fmla="*/ 182943 h 251645"/>
                  <a:gd name="connsiteX12" fmla="*/ 123168 w 163532"/>
                  <a:gd name="connsiteY12" fmla="*/ 182943 h 251645"/>
                  <a:gd name="connsiteX13" fmla="*/ 122530 w 163532"/>
                  <a:gd name="connsiteY13" fmla="*/ 141501 h 251645"/>
                  <a:gd name="connsiteX14" fmla="*/ 122530 w 163532"/>
                  <a:gd name="connsiteY14" fmla="*/ 0 h 251645"/>
                  <a:gd name="connsiteX15" fmla="*/ 163532 w 163532"/>
                  <a:gd name="connsiteY15" fmla="*/ 0 h 251645"/>
                  <a:gd name="connsiteX16" fmla="*/ 163532 w 163532"/>
                  <a:gd name="connsiteY16" fmla="*/ 251488 h 251645"/>
                  <a:gd name="connsiteX17" fmla="*/ 108968 w 163532"/>
                  <a:gd name="connsiteY17" fmla="*/ 251488 h 25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3532" h="251645">
                    <a:moveTo>
                      <a:pt x="108968" y="251646"/>
                    </a:moveTo>
                    <a:lnTo>
                      <a:pt x="52330" y="107938"/>
                    </a:lnTo>
                    <a:cubicBezTo>
                      <a:pt x="49937" y="101793"/>
                      <a:pt x="46906" y="92338"/>
                      <a:pt x="43077" y="79260"/>
                    </a:cubicBezTo>
                    <a:cubicBezTo>
                      <a:pt x="42119" y="75951"/>
                      <a:pt x="41322" y="73272"/>
                      <a:pt x="40524" y="71223"/>
                    </a:cubicBezTo>
                    <a:lnTo>
                      <a:pt x="39886" y="71223"/>
                    </a:lnTo>
                    <a:cubicBezTo>
                      <a:pt x="40524" y="90763"/>
                      <a:pt x="41003" y="107938"/>
                      <a:pt x="41003" y="122592"/>
                    </a:cubicBezTo>
                    <a:lnTo>
                      <a:pt x="41003" y="251488"/>
                    </a:lnTo>
                    <a:lnTo>
                      <a:pt x="0" y="251488"/>
                    </a:lnTo>
                    <a:lnTo>
                      <a:pt x="0" y="0"/>
                    </a:lnTo>
                    <a:lnTo>
                      <a:pt x="55521" y="0"/>
                    </a:lnTo>
                    <a:lnTo>
                      <a:pt x="112000" y="147016"/>
                    </a:lnTo>
                    <a:cubicBezTo>
                      <a:pt x="113755" y="151744"/>
                      <a:pt x="117424" y="163719"/>
                      <a:pt x="122849" y="182943"/>
                    </a:cubicBezTo>
                    <a:lnTo>
                      <a:pt x="123168" y="182943"/>
                    </a:lnTo>
                    <a:lnTo>
                      <a:pt x="122530" y="141501"/>
                    </a:lnTo>
                    <a:lnTo>
                      <a:pt x="122530" y="0"/>
                    </a:lnTo>
                    <a:lnTo>
                      <a:pt x="163532" y="0"/>
                    </a:lnTo>
                    <a:lnTo>
                      <a:pt x="163532" y="251488"/>
                    </a:lnTo>
                    <a:lnTo>
                      <a:pt x="108968" y="251488"/>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mn-cs"/>
                </a:endParaRPr>
              </a:p>
            </p:txBody>
          </p:sp>
          <p:sp>
            <p:nvSpPr>
              <p:cNvPr id="33" name="Freeform 32">
                <a:extLst>
                  <a:ext uri="{FF2B5EF4-FFF2-40B4-BE49-F238E27FC236}">
                    <a16:creationId xmlns:a16="http://schemas.microsoft.com/office/drawing/2014/main" id="{8F4423CA-CB21-ACF8-7B6C-36EBF4C6588D}"/>
                  </a:ext>
                </a:extLst>
              </p:cNvPr>
              <p:cNvSpPr/>
              <p:nvPr/>
            </p:nvSpPr>
            <p:spPr>
              <a:xfrm>
                <a:off x="5802647" y="5337769"/>
                <a:ext cx="48979" cy="251487"/>
              </a:xfrm>
              <a:custGeom>
                <a:avLst/>
                <a:gdLst>
                  <a:gd name="connsiteX0" fmla="*/ 0 w 48979"/>
                  <a:gd name="connsiteY0" fmla="*/ 251488 h 251487"/>
                  <a:gd name="connsiteX1" fmla="*/ 0 w 48979"/>
                  <a:gd name="connsiteY1" fmla="*/ 0 h 251487"/>
                  <a:gd name="connsiteX2" fmla="*/ 48980 w 48979"/>
                  <a:gd name="connsiteY2" fmla="*/ 0 h 251487"/>
                  <a:gd name="connsiteX3" fmla="*/ 48980 w 48979"/>
                  <a:gd name="connsiteY3" fmla="*/ 251488 h 251487"/>
                  <a:gd name="connsiteX4" fmla="*/ 0 w 48979"/>
                  <a:gd name="connsiteY4" fmla="*/ 251488 h 251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979" h="251487">
                    <a:moveTo>
                      <a:pt x="0" y="251488"/>
                    </a:moveTo>
                    <a:lnTo>
                      <a:pt x="0" y="0"/>
                    </a:lnTo>
                    <a:lnTo>
                      <a:pt x="48980" y="0"/>
                    </a:lnTo>
                    <a:lnTo>
                      <a:pt x="48980" y="251488"/>
                    </a:lnTo>
                    <a:lnTo>
                      <a:pt x="0" y="251488"/>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mn-cs"/>
                </a:endParaRPr>
              </a:p>
            </p:txBody>
          </p:sp>
          <p:sp>
            <p:nvSpPr>
              <p:cNvPr id="34" name="Freeform 33">
                <a:extLst>
                  <a:ext uri="{FF2B5EF4-FFF2-40B4-BE49-F238E27FC236}">
                    <a16:creationId xmlns:a16="http://schemas.microsoft.com/office/drawing/2014/main" id="{53C785E6-235E-EAE8-3EAB-5797C8FE6F42}"/>
                  </a:ext>
                </a:extLst>
              </p:cNvPr>
              <p:cNvSpPr/>
              <p:nvPr/>
            </p:nvSpPr>
            <p:spPr>
              <a:xfrm>
                <a:off x="5894224" y="5337612"/>
                <a:ext cx="152364" cy="251487"/>
              </a:xfrm>
              <a:custGeom>
                <a:avLst/>
                <a:gdLst>
                  <a:gd name="connsiteX0" fmla="*/ 100353 w 152364"/>
                  <a:gd name="connsiteY0" fmla="*/ 41757 h 251487"/>
                  <a:gd name="connsiteX1" fmla="*/ 100353 w 152364"/>
                  <a:gd name="connsiteY1" fmla="*/ 251488 h 251487"/>
                  <a:gd name="connsiteX2" fmla="*/ 51373 w 152364"/>
                  <a:gd name="connsiteY2" fmla="*/ 251488 h 251487"/>
                  <a:gd name="connsiteX3" fmla="*/ 51373 w 152364"/>
                  <a:gd name="connsiteY3" fmla="*/ 41757 h 251487"/>
                  <a:gd name="connsiteX4" fmla="*/ 0 w 152364"/>
                  <a:gd name="connsiteY4" fmla="*/ 41757 h 251487"/>
                  <a:gd name="connsiteX5" fmla="*/ 0 w 152364"/>
                  <a:gd name="connsiteY5" fmla="*/ 0 h 251487"/>
                  <a:gd name="connsiteX6" fmla="*/ 152364 w 152364"/>
                  <a:gd name="connsiteY6" fmla="*/ 0 h 251487"/>
                  <a:gd name="connsiteX7" fmla="*/ 152364 w 152364"/>
                  <a:gd name="connsiteY7" fmla="*/ 41757 h 251487"/>
                  <a:gd name="connsiteX8" fmla="*/ 100353 w 152364"/>
                  <a:gd name="connsiteY8" fmla="*/ 41757 h 251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364" h="251487">
                    <a:moveTo>
                      <a:pt x="100353" y="41757"/>
                    </a:moveTo>
                    <a:lnTo>
                      <a:pt x="100353" y="251488"/>
                    </a:lnTo>
                    <a:lnTo>
                      <a:pt x="51373" y="251488"/>
                    </a:lnTo>
                    <a:lnTo>
                      <a:pt x="51373" y="41757"/>
                    </a:lnTo>
                    <a:lnTo>
                      <a:pt x="0" y="41757"/>
                    </a:lnTo>
                    <a:lnTo>
                      <a:pt x="0" y="0"/>
                    </a:lnTo>
                    <a:lnTo>
                      <a:pt x="152364" y="0"/>
                    </a:lnTo>
                    <a:lnTo>
                      <a:pt x="152364" y="41757"/>
                    </a:lnTo>
                    <a:lnTo>
                      <a:pt x="100353" y="41757"/>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mn-cs"/>
                </a:endParaRPr>
              </a:p>
            </p:txBody>
          </p:sp>
          <p:sp>
            <p:nvSpPr>
              <p:cNvPr id="35" name="Freeform 34">
                <a:extLst>
                  <a:ext uri="{FF2B5EF4-FFF2-40B4-BE49-F238E27FC236}">
                    <a16:creationId xmlns:a16="http://schemas.microsoft.com/office/drawing/2014/main" id="{397DFA36-2858-0BC9-8A7C-F7B626AEEFFA}"/>
                  </a:ext>
                </a:extLst>
              </p:cNvPr>
              <p:cNvSpPr/>
              <p:nvPr/>
            </p:nvSpPr>
            <p:spPr>
              <a:xfrm>
                <a:off x="6072435" y="5337769"/>
                <a:ext cx="171987" cy="251487"/>
              </a:xfrm>
              <a:custGeom>
                <a:avLst/>
                <a:gdLst>
                  <a:gd name="connsiteX0" fmla="*/ 110564 w 171987"/>
                  <a:gd name="connsiteY0" fmla="*/ 161986 h 251487"/>
                  <a:gd name="connsiteX1" fmla="*/ 110564 w 171987"/>
                  <a:gd name="connsiteY1" fmla="*/ 251488 h 251487"/>
                  <a:gd name="connsiteX2" fmla="*/ 61424 w 171987"/>
                  <a:gd name="connsiteY2" fmla="*/ 251488 h 251487"/>
                  <a:gd name="connsiteX3" fmla="*/ 61424 w 171987"/>
                  <a:gd name="connsiteY3" fmla="*/ 163089 h 251487"/>
                  <a:gd name="connsiteX4" fmla="*/ 0 w 171987"/>
                  <a:gd name="connsiteY4" fmla="*/ 0 h 251487"/>
                  <a:gd name="connsiteX5" fmla="*/ 56159 w 171987"/>
                  <a:gd name="connsiteY5" fmla="*/ 0 h 251487"/>
                  <a:gd name="connsiteX6" fmla="*/ 82963 w 171987"/>
                  <a:gd name="connsiteY6" fmla="*/ 90132 h 251487"/>
                  <a:gd name="connsiteX7" fmla="*/ 85994 w 171987"/>
                  <a:gd name="connsiteY7" fmla="*/ 104156 h 251487"/>
                  <a:gd name="connsiteX8" fmla="*/ 88068 w 171987"/>
                  <a:gd name="connsiteY8" fmla="*/ 116447 h 251487"/>
                  <a:gd name="connsiteX9" fmla="*/ 88706 w 171987"/>
                  <a:gd name="connsiteY9" fmla="*/ 116447 h 251487"/>
                  <a:gd name="connsiteX10" fmla="*/ 93014 w 171987"/>
                  <a:gd name="connsiteY10" fmla="*/ 91393 h 251487"/>
                  <a:gd name="connsiteX11" fmla="*/ 120296 w 171987"/>
                  <a:gd name="connsiteY11" fmla="*/ 0 h 251487"/>
                  <a:gd name="connsiteX12" fmla="*/ 171988 w 171987"/>
                  <a:gd name="connsiteY12" fmla="*/ 0 h 251487"/>
                  <a:gd name="connsiteX13" fmla="*/ 110564 w 171987"/>
                  <a:gd name="connsiteY13" fmla="*/ 162144 h 251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1987" h="251487">
                    <a:moveTo>
                      <a:pt x="110564" y="161986"/>
                    </a:moveTo>
                    <a:lnTo>
                      <a:pt x="110564" y="251488"/>
                    </a:lnTo>
                    <a:lnTo>
                      <a:pt x="61424" y="251488"/>
                    </a:lnTo>
                    <a:lnTo>
                      <a:pt x="61424" y="163089"/>
                    </a:lnTo>
                    <a:lnTo>
                      <a:pt x="0" y="0"/>
                    </a:lnTo>
                    <a:lnTo>
                      <a:pt x="56159" y="0"/>
                    </a:lnTo>
                    <a:lnTo>
                      <a:pt x="82963" y="90132"/>
                    </a:lnTo>
                    <a:cubicBezTo>
                      <a:pt x="84079" y="94072"/>
                      <a:pt x="85196" y="98799"/>
                      <a:pt x="85994" y="104156"/>
                    </a:cubicBezTo>
                    <a:cubicBezTo>
                      <a:pt x="86632" y="108726"/>
                      <a:pt x="87430" y="112823"/>
                      <a:pt x="88068" y="116447"/>
                    </a:cubicBezTo>
                    <a:lnTo>
                      <a:pt x="88706" y="116447"/>
                    </a:lnTo>
                    <a:cubicBezTo>
                      <a:pt x="90621" y="102896"/>
                      <a:pt x="92056" y="94544"/>
                      <a:pt x="93014" y="91393"/>
                    </a:cubicBezTo>
                    <a:lnTo>
                      <a:pt x="120296" y="0"/>
                    </a:lnTo>
                    <a:lnTo>
                      <a:pt x="171988" y="0"/>
                    </a:lnTo>
                    <a:lnTo>
                      <a:pt x="110564" y="162144"/>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mn-cs"/>
                </a:endParaRPr>
              </a:p>
            </p:txBody>
          </p:sp>
          <p:sp>
            <p:nvSpPr>
              <p:cNvPr id="36" name="Freeform 35">
                <a:extLst>
                  <a:ext uri="{FF2B5EF4-FFF2-40B4-BE49-F238E27FC236}">
                    <a16:creationId xmlns:a16="http://schemas.microsoft.com/office/drawing/2014/main" id="{B9D7B8D9-4D3C-26B8-775E-85147F8E05DA}"/>
                  </a:ext>
                </a:extLst>
              </p:cNvPr>
              <p:cNvSpPr/>
              <p:nvPr/>
            </p:nvSpPr>
            <p:spPr>
              <a:xfrm>
                <a:off x="6372536" y="5333357"/>
                <a:ext cx="147258" cy="260312"/>
              </a:xfrm>
              <a:custGeom>
                <a:avLst/>
                <a:gdLst>
                  <a:gd name="connsiteX0" fmla="*/ 147259 w 147258"/>
                  <a:gd name="connsiteY0" fmla="*/ 248336 h 260312"/>
                  <a:gd name="connsiteX1" fmla="*/ 98598 w 147258"/>
                  <a:gd name="connsiteY1" fmla="*/ 260312 h 260312"/>
                  <a:gd name="connsiteX2" fmla="*/ 26484 w 147258"/>
                  <a:gd name="connsiteY2" fmla="*/ 226906 h 260312"/>
                  <a:gd name="connsiteX3" fmla="*/ 0 w 147258"/>
                  <a:gd name="connsiteY3" fmla="*/ 135829 h 260312"/>
                  <a:gd name="connsiteX4" fmla="*/ 27282 w 147258"/>
                  <a:gd name="connsiteY4" fmla="*/ 35139 h 260312"/>
                  <a:gd name="connsiteX5" fmla="*/ 104341 w 147258"/>
                  <a:gd name="connsiteY5" fmla="*/ 0 h 260312"/>
                  <a:gd name="connsiteX6" fmla="*/ 147099 w 147258"/>
                  <a:gd name="connsiteY6" fmla="*/ 8667 h 260312"/>
                  <a:gd name="connsiteX7" fmla="*/ 147099 w 147258"/>
                  <a:gd name="connsiteY7" fmla="*/ 55624 h 260312"/>
                  <a:gd name="connsiteX8" fmla="*/ 107054 w 147258"/>
                  <a:gd name="connsiteY8" fmla="*/ 42230 h 260312"/>
                  <a:gd name="connsiteX9" fmla="*/ 65732 w 147258"/>
                  <a:gd name="connsiteY9" fmla="*/ 66181 h 260312"/>
                  <a:gd name="connsiteX10" fmla="*/ 50575 w 147258"/>
                  <a:gd name="connsiteY10" fmla="*/ 131417 h 260312"/>
                  <a:gd name="connsiteX11" fmla="*/ 64934 w 147258"/>
                  <a:gd name="connsiteY11" fmla="*/ 194919 h 260312"/>
                  <a:gd name="connsiteX12" fmla="*/ 104820 w 147258"/>
                  <a:gd name="connsiteY12" fmla="*/ 217767 h 260312"/>
                  <a:gd name="connsiteX13" fmla="*/ 146939 w 147258"/>
                  <a:gd name="connsiteY13" fmla="*/ 203428 h 260312"/>
                  <a:gd name="connsiteX14" fmla="*/ 146939 w 147258"/>
                  <a:gd name="connsiteY14" fmla="*/ 248336 h 260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7258" h="260312">
                    <a:moveTo>
                      <a:pt x="147259" y="248336"/>
                    </a:moveTo>
                    <a:cubicBezTo>
                      <a:pt x="133059" y="256215"/>
                      <a:pt x="116786" y="260312"/>
                      <a:pt x="98598" y="260312"/>
                    </a:cubicBezTo>
                    <a:cubicBezTo>
                      <a:pt x="68125" y="260312"/>
                      <a:pt x="44193" y="249124"/>
                      <a:pt x="26484" y="226906"/>
                    </a:cubicBezTo>
                    <a:cubicBezTo>
                      <a:pt x="8775" y="204689"/>
                      <a:pt x="0" y="174277"/>
                      <a:pt x="0" y="135829"/>
                    </a:cubicBezTo>
                    <a:cubicBezTo>
                      <a:pt x="0" y="92181"/>
                      <a:pt x="9094" y="58460"/>
                      <a:pt x="27282" y="35139"/>
                    </a:cubicBezTo>
                    <a:cubicBezTo>
                      <a:pt x="45470" y="11818"/>
                      <a:pt x="71156" y="0"/>
                      <a:pt x="104341" y="0"/>
                    </a:cubicBezTo>
                    <a:cubicBezTo>
                      <a:pt x="119817" y="0"/>
                      <a:pt x="134176" y="2836"/>
                      <a:pt x="147099" y="8667"/>
                    </a:cubicBezTo>
                    <a:lnTo>
                      <a:pt x="147099" y="55624"/>
                    </a:lnTo>
                    <a:cubicBezTo>
                      <a:pt x="134974" y="46799"/>
                      <a:pt x="121732" y="42230"/>
                      <a:pt x="107054" y="42230"/>
                    </a:cubicBezTo>
                    <a:cubicBezTo>
                      <a:pt x="89504" y="42230"/>
                      <a:pt x="75783" y="50266"/>
                      <a:pt x="65732" y="66181"/>
                    </a:cubicBezTo>
                    <a:cubicBezTo>
                      <a:pt x="55681" y="82096"/>
                      <a:pt x="50575" y="103841"/>
                      <a:pt x="50575" y="131417"/>
                    </a:cubicBezTo>
                    <a:cubicBezTo>
                      <a:pt x="50575" y="158992"/>
                      <a:pt x="55362" y="179792"/>
                      <a:pt x="64934" y="194919"/>
                    </a:cubicBezTo>
                    <a:cubicBezTo>
                      <a:pt x="74507" y="210046"/>
                      <a:pt x="87908" y="217767"/>
                      <a:pt x="104820" y="217767"/>
                    </a:cubicBezTo>
                    <a:cubicBezTo>
                      <a:pt x="119498" y="217767"/>
                      <a:pt x="133538" y="213040"/>
                      <a:pt x="146939" y="203428"/>
                    </a:cubicBezTo>
                    <a:lnTo>
                      <a:pt x="146939" y="248336"/>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mn-cs"/>
                </a:endParaRPr>
              </a:p>
            </p:txBody>
          </p:sp>
          <p:sp>
            <p:nvSpPr>
              <p:cNvPr id="37" name="Freeform 36">
                <a:extLst>
                  <a:ext uri="{FF2B5EF4-FFF2-40B4-BE49-F238E27FC236}">
                    <a16:creationId xmlns:a16="http://schemas.microsoft.com/office/drawing/2014/main" id="{07C0D17D-9D5C-90B8-7594-DB4D99681094}"/>
                  </a:ext>
                </a:extLst>
              </p:cNvPr>
              <p:cNvSpPr/>
              <p:nvPr/>
            </p:nvSpPr>
            <p:spPr>
              <a:xfrm>
                <a:off x="6552182" y="5333357"/>
                <a:ext cx="182358" cy="260154"/>
              </a:xfrm>
              <a:custGeom>
                <a:avLst/>
                <a:gdLst>
                  <a:gd name="connsiteX0" fmla="*/ 90302 w 182358"/>
                  <a:gd name="connsiteY0" fmla="*/ 260154 h 260154"/>
                  <a:gd name="connsiteX1" fmla="*/ 23612 w 182358"/>
                  <a:gd name="connsiteY1" fmla="*/ 226749 h 260154"/>
                  <a:gd name="connsiteX2" fmla="*/ 0 w 182358"/>
                  <a:gd name="connsiteY2" fmla="*/ 133308 h 260154"/>
                  <a:gd name="connsiteX3" fmla="*/ 24251 w 182358"/>
                  <a:gd name="connsiteY3" fmla="*/ 34981 h 260154"/>
                  <a:gd name="connsiteX4" fmla="*/ 92695 w 182358"/>
                  <a:gd name="connsiteY4" fmla="*/ 0 h 260154"/>
                  <a:gd name="connsiteX5" fmla="*/ 159544 w 182358"/>
                  <a:gd name="connsiteY5" fmla="*/ 32933 h 260154"/>
                  <a:gd name="connsiteX6" fmla="*/ 182358 w 182358"/>
                  <a:gd name="connsiteY6" fmla="*/ 129211 h 260154"/>
                  <a:gd name="connsiteX7" fmla="*/ 158586 w 182358"/>
                  <a:gd name="connsiteY7" fmla="*/ 225803 h 260154"/>
                  <a:gd name="connsiteX8" fmla="*/ 90302 w 182358"/>
                  <a:gd name="connsiteY8" fmla="*/ 259997 h 260154"/>
                  <a:gd name="connsiteX9" fmla="*/ 92535 w 182358"/>
                  <a:gd name="connsiteY9" fmla="*/ 42387 h 260154"/>
                  <a:gd name="connsiteX10" fmla="*/ 50894 w 182358"/>
                  <a:gd name="connsiteY10" fmla="*/ 130471 h 260154"/>
                  <a:gd name="connsiteX11" fmla="*/ 91418 w 182358"/>
                  <a:gd name="connsiteY11" fmla="*/ 217767 h 260154"/>
                  <a:gd name="connsiteX12" fmla="*/ 121094 w 182358"/>
                  <a:gd name="connsiteY12" fmla="*/ 195549 h 260154"/>
                  <a:gd name="connsiteX13" fmla="*/ 131304 w 182358"/>
                  <a:gd name="connsiteY13" fmla="*/ 131889 h 260154"/>
                  <a:gd name="connsiteX14" fmla="*/ 92376 w 182358"/>
                  <a:gd name="connsiteY14" fmla="*/ 42387 h 260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2358" h="260154">
                    <a:moveTo>
                      <a:pt x="90302" y="260154"/>
                    </a:moveTo>
                    <a:cubicBezTo>
                      <a:pt x="61584" y="260154"/>
                      <a:pt x="39248" y="248967"/>
                      <a:pt x="23612" y="226749"/>
                    </a:cubicBezTo>
                    <a:cubicBezTo>
                      <a:pt x="7977" y="204531"/>
                      <a:pt x="0" y="173331"/>
                      <a:pt x="0" y="133308"/>
                    </a:cubicBezTo>
                    <a:cubicBezTo>
                      <a:pt x="0" y="91078"/>
                      <a:pt x="8137" y="58302"/>
                      <a:pt x="24251" y="34981"/>
                    </a:cubicBezTo>
                    <a:cubicBezTo>
                      <a:pt x="40365" y="11660"/>
                      <a:pt x="63179" y="0"/>
                      <a:pt x="92695" y="0"/>
                    </a:cubicBezTo>
                    <a:cubicBezTo>
                      <a:pt x="122210" y="0"/>
                      <a:pt x="144387" y="11030"/>
                      <a:pt x="159544" y="32933"/>
                    </a:cubicBezTo>
                    <a:cubicBezTo>
                      <a:pt x="174700" y="54993"/>
                      <a:pt x="182358" y="86981"/>
                      <a:pt x="182358" y="129211"/>
                    </a:cubicBezTo>
                    <a:cubicBezTo>
                      <a:pt x="182358" y="171440"/>
                      <a:pt x="174381" y="203113"/>
                      <a:pt x="158586" y="225803"/>
                    </a:cubicBezTo>
                    <a:cubicBezTo>
                      <a:pt x="142791" y="248494"/>
                      <a:pt x="119977" y="259997"/>
                      <a:pt x="90302" y="259997"/>
                    </a:cubicBezTo>
                    <a:close/>
                    <a:moveTo>
                      <a:pt x="92535" y="42387"/>
                    </a:moveTo>
                    <a:cubicBezTo>
                      <a:pt x="64775" y="42387"/>
                      <a:pt x="50894" y="71696"/>
                      <a:pt x="50894" y="130471"/>
                    </a:cubicBezTo>
                    <a:cubicBezTo>
                      <a:pt x="50894" y="189246"/>
                      <a:pt x="64455" y="217767"/>
                      <a:pt x="91418" y="217767"/>
                    </a:cubicBezTo>
                    <a:cubicBezTo>
                      <a:pt x="104501" y="217767"/>
                      <a:pt x="114393" y="210361"/>
                      <a:pt x="121094" y="195549"/>
                    </a:cubicBezTo>
                    <a:cubicBezTo>
                      <a:pt x="127954" y="180737"/>
                      <a:pt x="131304" y="159465"/>
                      <a:pt x="131304" y="131889"/>
                    </a:cubicBezTo>
                    <a:cubicBezTo>
                      <a:pt x="131304" y="72169"/>
                      <a:pt x="118381" y="42387"/>
                      <a:pt x="92376" y="42387"/>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mn-cs"/>
                </a:endParaRPr>
              </a:p>
            </p:txBody>
          </p:sp>
          <p:sp>
            <p:nvSpPr>
              <p:cNvPr id="38" name="Freeform 37">
                <a:extLst>
                  <a:ext uri="{FF2B5EF4-FFF2-40B4-BE49-F238E27FC236}">
                    <a16:creationId xmlns:a16="http://schemas.microsoft.com/office/drawing/2014/main" id="{BF645C98-49D5-8C88-372C-B23D0ED939DE}"/>
                  </a:ext>
                </a:extLst>
              </p:cNvPr>
              <p:cNvSpPr/>
              <p:nvPr/>
            </p:nvSpPr>
            <p:spPr>
              <a:xfrm>
                <a:off x="6784477" y="5337612"/>
                <a:ext cx="163691" cy="251645"/>
              </a:xfrm>
              <a:custGeom>
                <a:avLst/>
                <a:gdLst>
                  <a:gd name="connsiteX0" fmla="*/ 108968 w 163691"/>
                  <a:gd name="connsiteY0" fmla="*/ 251646 h 251645"/>
                  <a:gd name="connsiteX1" fmla="*/ 52330 w 163691"/>
                  <a:gd name="connsiteY1" fmla="*/ 107938 h 251645"/>
                  <a:gd name="connsiteX2" fmla="*/ 43077 w 163691"/>
                  <a:gd name="connsiteY2" fmla="*/ 79260 h 251645"/>
                  <a:gd name="connsiteX3" fmla="*/ 40524 w 163691"/>
                  <a:gd name="connsiteY3" fmla="*/ 71223 h 251645"/>
                  <a:gd name="connsiteX4" fmla="*/ 39886 w 163691"/>
                  <a:gd name="connsiteY4" fmla="*/ 71223 h 251645"/>
                  <a:gd name="connsiteX5" fmla="*/ 41003 w 163691"/>
                  <a:gd name="connsiteY5" fmla="*/ 122592 h 251645"/>
                  <a:gd name="connsiteX6" fmla="*/ 41003 w 163691"/>
                  <a:gd name="connsiteY6" fmla="*/ 251488 h 251645"/>
                  <a:gd name="connsiteX7" fmla="*/ 0 w 163691"/>
                  <a:gd name="connsiteY7" fmla="*/ 251488 h 251645"/>
                  <a:gd name="connsiteX8" fmla="*/ 0 w 163691"/>
                  <a:gd name="connsiteY8" fmla="*/ 0 h 251645"/>
                  <a:gd name="connsiteX9" fmla="*/ 55681 w 163691"/>
                  <a:gd name="connsiteY9" fmla="*/ 0 h 251645"/>
                  <a:gd name="connsiteX10" fmla="*/ 112159 w 163691"/>
                  <a:gd name="connsiteY10" fmla="*/ 147016 h 251645"/>
                  <a:gd name="connsiteX11" fmla="*/ 123008 w 163691"/>
                  <a:gd name="connsiteY11" fmla="*/ 182943 h 251645"/>
                  <a:gd name="connsiteX12" fmla="*/ 123327 w 163691"/>
                  <a:gd name="connsiteY12" fmla="*/ 182943 h 251645"/>
                  <a:gd name="connsiteX13" fmla="*/ 122689 w 163691"/>
                  <a:gd name="connsiteY13" fmla="*/ 141501 h 251645"/>
                  <a:gd name="connsiteX14" fmla="*/ 122689 w 163691"/>
                  <a:gd name="connsiteY14" fmla="*/ 0 h 251645"/>
                  <a:gd name="connsiteX15" fmla="*/ 163692 w 163691"/>
                  <a:gd name="connsiteY15" fmla="*/ 0 h 251645"/>
                  <a:gd name="connsiteX16" fmla="*/ 163692 w 163691"/>
                  <a:gd name="connsiteY16" fmla="*/ 251488 h 251645"/>
                  <a:gd name="connsiteX17" fmla="*/ 109128 w 163691"/>
                  <a:gd name="connsiteY17" fmla="*/ 251488 h 25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3691" h="251645">
                    <a:moveTo>
                      <a:pt x="108968" y="251646"/>
                    </a:moveTo>
                    <a:lnTo>
                      <a:pt x="52330" y="107938"/>
                    </a:lnTo>
                    <a:cubicBezTo>
                      <a:pt x="49937" y="101793"/>
                      <a:pt x="46906" y="92338"/>
                      <a:pt x="43077" y="79260"/>
                    </a:cubicBezTo>
                    <a:cubicBezTo>
                      <a:pt x="42119" y="75951"/>
                      <a:pt x="41322" y="73272"/>
                      <a:pt x="40524" y="71223"/>
                    </a:cubicBezTo>
                    <a:lnTo>
                      <a:pt x="39886" y="71223"/>
                    </a:lnTo>
                    <a:cubicBezTo>
                      <a:pt x="40524" y="90763"/>
                      <a:pt x="41003" y="107938"/>
                      <a:pt x="41003" y="122592"/>
                    </a:cubicBezTo>
                    <a:lnTo>
                      <a:pt x="41003" y="251488"/>
                    </a:lnTo>
                    <a:lnTo>
                      <a:pt x="0" y="251488"/>
                    </a:lnTo>
                    <a:lnTo>
                      <a:pt x="0" y="0"/>
                    </a:lnTo>
                    <a:lnTo>
                      <a:pt x="55681" y="0"/>
                    </a:lnTo>
                    <a:lnTo>
                      <a:pt x="112159" y="147016"/>
                    </a:lnTo>
                    <a:cubicBezTo>
                      <a:pt x="113914" y="151744"/>
                      <a:pt x="117584" y="163719"/>
                      <a:pt x="123008" y="182943"/>
                    </a:cubicBezTo>
                    <a:lnTo>
                      <a:pt x="123327" y="182943"/>
                    </a:lnTo>
                    <a:lnTo>
                      <a:pt x="122689" y="141501"/>
                    </a:lnTo>
                    <a:lnTo>
                      <a:pt x="122689" y="0"/>
                    </a:lnTo>
                    <a:lnTo>
                      <a:pt x="163692" y="0"/>
                    </a:lnTo>
                    <a:lnTo>
                      <a:pt x="163692" y="251488"/>
                    </a:lnTo>
                    <a:lnTo>
                      <a:pt x="109128" y="251488"/>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mn-cs"/>
                </a:endParaRPr>
              </a:p>
            </p:txBody>
          </p:sp>
          <p:sp>
            <p:nvSpPr>
              <p:cNvPr id="39" name="Freeform 38">
                <a:extLst>
                  <a:ext uri="{FF2B5EF4-FFF2-40B4-BE49-F238E27FC236}">
                    <a16:creationId xmlns:a16="http://schemas.microsoft.com/office/drawing/2014/main" id="{0F2BA619-C522-5A30-1C6C-FD2229478E05}"/>
                  </a:ext>
                </a:extLst>
              </p:cNvPr>
              <p:cNvSpPr/>
              <p:nvPr/>
            </p:nvSpPr>
            <p:spPr>
              <a:xfrm>
                <a:off x="7006403" y="5337769"/>
                <a:ext cx="117424" cy="251487"/>
              </a:xfrm>
              <a:custGeom>
                <a:avLst/>
                <a:gdLst>
                  <a:gd name="connsiteX0" fmla="*/ 48980 w 117424"/>
                  <a:gd name="connsiteY0" fmla="*/ 41599 h 251487"/>
                  <a:gd name="connsiteX1" fmla="*/ 48980 w 117424"/>
                  <a:gd name="connsiteY1" fmla="*/ 111247 h 251487"/>
                  <a:gd name="connsiteX2" fmla="*/ 112000 w 117424"/>
                  <a:gd name="connsiteY2" fmla="*/ 111247 h 251487"/>
                  <a:gd name="connsiteX3" fmla="*/ 112000 w 117424"/>
                  <a:gd name="connsiteY3" fmla="*/ 152689 h 251487"/>
                  <a:gd name="connsiteX4" fmla="*/ 48980 w 117424"/>
                  <a:gd name="connsiteY4" fmla="*/ 152689 h 251487"/>
                  <a:gd name="connsiteX5" fmla="*/ 48980 w 117424"/>
                  <a:gd name="connsiteY5" fmla="*/ 251488 h 251487"/>
                  <a:gd name="connsiteX6" fmla="*/ 0 w 117424"/>
                  <a:gd name="connsiteY6" fmla="*/ 251488 h 251487"/>
                  <a:gd name="connsiteX7" fmla="*/ 0 w 117424"/>
                  <a:gd name="connsiteY7" fmla="*/ 0 h 251487"/>
                  <a:gd name="connsiteX8" fmla="*/ 117424 w 117424"/>
                  <a:gd name="connsiteY8" fmla="*/ 0 h 251487"/>
                  <a:gd name="connsiteX9" fmla="*/ 117424 w 117424"/>
                  <a:gd name="connsiteY9" fmla="*/ 41757 h 251487"/>
                  <a:gd name="connsiteX10" fmla="*/ 48980 w 117424"/>
                  <a:gd name="connsiteY10" fmla="*/ 41757 h 251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424" h="251487">
                    <a:moveTo>
                      <a:pt x="48980" y="41599"/>
                    </a:moveTo>
                    <a:lnTo>
                      <a:pt x="48980" y="111247"/>
                    </a:lnTo>
                    <a:lnTo>
                      <a:pt x="112000" y="111247"/>
                    </a:lnTo>
                    <a:lnTo>
                      <a:pt x="112000" y="152689"/>
                    </a:lnTo>
                    <a:lnTo>
                      <a:pt x="48980" y="152689"/>
                    </a:lnTo>
                    <a:lnTo>
                      <a:pt x="48980" y="251488"/>
                    </a:lnTo>
                    <a:lnTo>
                      <a:pt x="0" y="251488"/>
                    </a:lnTo>
                    <a:lnTo>
                      <a:pt x="0" y="0"/>
                    </a:lnTo>
                    <a:lnTo>
                      <a:pt x="117424" y="0"/>
                    </a:lnTo>
                    <a:lnTo>
                      <a:pt x="117424" y="41757"/>
                    </a:lnTo>
                    <a:lnTo>
                      <a:pt x="48980" y="41757"/>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mn-cs"/>
                </a:endParaRPr>
              </a:p>
            </p:txBody>
          </p:sp>
          <p:sp>
            <p:nvSpPr>
              <p:cNvPr id="40" name="Freeform 39">
                <a:extLst>
                  <a:ext uri="{FF2B5EF4-FFF2-40B4-BE49-F238E27FC236}">
                    <a16:creationId xmlns:a16="http://schemas.microsoft.com/office/drawing/2014/main" id="{A2A12E01-E0D1-B942-6658-18234FDFDF34}"/>
                  </a:ext>
                </a:extLst>
              </p:cNvPr>
              <p:cNvSpPr/>
              <p:nvPr/>
            </p:nvSpPr>
            <p:spPr>
              <a:xfrm>
                <a:off x="7170733" y="5337769"/>
                <a:ext cx="121572" cy="251645"/>
              </a:xfrm>
              <a:custGeom>
                <a:avLst/>
                <a:gdLst>
                  <a:gd name="connsiteX0" fmla="*/ 0 w 121572"/>
                  <a:gd name="connsiteY0" fmla="*/ 251488 h 251645"/>
                  <a:gd name="connsiteX1" fmla="*/ 0 w 121572"/>
                  <a:gd name="connsiteY1" fmla="*/ 0 h 251645"/>
                  <a:gd name="connsiteX2" fmla="*/ 117105 w 121572"/>
                  <a:gd name="connsiteY2" fmla="*/ 0 h 251645"/>
                  <a:gd name="connsiteX3" fmla="*/ 117105 w 121572"/>
                  <a:gd name="connsiteY3" fmla="*/ 41757 h 251645"/>
                  <a:gd name="connsiteX4" fmla="*/ 49139 w 121572"/>
                  <a:gd name="connsiteY4" fmla="*/ 41757 h 251645"/>
                  <a:gd name="connsiteX5" fmla="*/ 49139 w 121572"/>
                  <a:gd name="connsiteY5" fmla="*/ 104629 h 251645"/>
                  <a:gd name="connsiteX6" fmla="*/ 112957 w 121572"/>
                  <a:gd name="connsiteY6" fmla="*/ 104629 h 251645"/>
                  <a:gd name="connsiteX7" fmla="*/ 112957 w 121572"/>
                  <a:gd name="connsiteY7" fmla="*/ 146386 h 251645"/>
                  <a:gd name="connsiteX8" fmla="*/ 49139 w 121572"/>
                  <a:gd name="connsiteY8" fmla="*/ 146386 h 251645"/>
                  <a:gd name="connsiteX9" fmla="*/ 49139 w 121572"/>
                  <a:gd name="connsiteY9" fmla="*/ 209888 h 251645"/>
                  <a:gd name="connsiteX10" fmla="*/ 121572 w 121572"/>
                  <a:gd name="connsiteY10" fmla="*/ 209888 h 251645"/>
                  <a:gd name="connsiteX11" fmla="*/ 121572 w 121572"/>
                  <a:gd name="connsiteY11" fmla="*/ 251646 h 251645"/>
                  <a:gd name="connsiteX12" fmla="*/ 159 w 121572"/>
                  <a:gd name="connsiteY12" fmla="*/ 251646 h 25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572" h="251645">
                    <a:moveTo>
                      <a:pt x="0" y="251488"/>
                    </a:moveTo>
                    <a:lnTo>
                      <a:pt x="0" y="0"/>
                    </a:lnTo>
                    <a:lnTo>
                      <a:pt x="117105" y="0"/>
                    </a:lnTo>
                    <a:lnTo>
                      <a:pt x="117105" y="41757"/>
                    </a:lnTo>
                    <a:lnTo>
                      <a:pt x="49139" y="41757"/>
                    </a:lnTo>
                    <a:lnTo>
                      <a:pt x="49139" y="104629"/>
                    </a:lnTo>
                    <a:lnTo>
                      <a:pt x="112957" y="104629"/>
                    </a:lnTo>
                    <a:lnTo>
                      <a:pt x="112957" y="146386"/>
                    </a:lnTo>
                    <a:lnTo>
                      <a:pt x="49139" y="146386"/>
                    </a:lnTo>
                    <a:lnTo>
                      <a:pt x="49139" y="209888"/>
                    </a:lnTo>
                    <a:lnTo>
                      <a:pt x="121572" y="209888"/>
                    </a:lnTo>
                    <a:lnTo>
                      <a:pt x="121572" y="251646"/>
                    </a:lnTo>
                    <a:lnTo>
                      <a:pt x="159" y="251646"/>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mn-cs"/>
                </a:endParaRPr>
              </a:p>
            </p:txBody>
          </p:sp>
          <p:sp>
            <p:nvSpPr>
              <p:cNvPr id="41" name="Freeform 40">
                <a:extLst>
                  <a:ext uri="{FF2B5EF4-FFF2-40B4-BE49-F238E27FC236}">
                    <a16:creationId xmlns:a16="http://schemas.microsoft.com/office/drawing/2014/main" id="{4FAF59EF-5482-C92D-95E4-07CAE1F59E9E}"/>
                  </a:ext>
                </a:extLst>
              </p:cNvPr>
              <p:cNvSpPr/>
              <p:nvPr/>
            </p:nvSpPr>
            <p:spPr>
              <a:xfrm>
                <a:off x="7338413" y="5337612"/>
                <a:ext cx="157948" cy="251803"/>
              </a:xfrm>
              <a:custGeom>
                <a:avLst/>
                <a:gdLst>
                  <a:gd name="connsiteX0" fmla="*/ 103225 w 157948"/>
                  <a:gd name="connsiteY0" fmla="*/ 251646 h 251803"/>
                  <a:gd name="connsiteX1" fmla="*/ 85037 w 157948"/>
                  <a:gd name="connsiteY1" fmla="*/ 190192 h 251803"/>
                  <a:gd name="connsiteX2" fmla="*/ 56319 w 157948"/>
                  <a:gd name="connsiteY2" fmla="*/ 154895 h 251803"/>
                  <a:gd name="connsiteX3" fmla="*/ 48980 w 157948"/>
                  <a:gd name="connsiteY3" fmla="*/ 154895 h 251803"/>
                  <a:gd name="connsiteX4" fmla="*/ 48980 w 157948"/>
                  <a:gd name="connsiteY4" fmla="*/ 251488 h 251803"/>
                  <a:gd name="connsiteX5" fmla="*/ 0 w 157948"/>
                  <a:gd name="connsiteY5" fmla="*/ 251488 h 251803"/>
                  <a:gd name="connsiteX6" fmla="*/ 0 w 157948"/>
                  <a:gd name="connsiteY6" fmla="*/ 0 h 251803"/>
                  <a:gd name="connsiteX7" fmla="*/ 70837 w 157948"/>
                  <a:gd name="connsiteY7" fmla="*/ 0 h 251803"/>
                  <a:gd name="connsiteX8" fmla="*/ 147578 w 157948"/>
                  <a:gd name="connsiteY8" fmla="*/ 67914 h 251803"/>
                  <a:gd name="connsiteX9" fmla="*/ 102427 w 157948"/>
                  <a:gd name="connsiteY9" fmla="*/ 135514 h 251803"/>
                  <a:gd name="connsiteX10" fmla="*/ 102427 w 157948"/>
                  <a:gd name="connsiteY10" fmla="*/ 136459 h 251803"/>
                  <a:gd name="connsiteX11" fmla="*/ 134974 w 157948"/>
                  <a:gd name="connsiteY11" fmla="*/ 181052 h 251803"/>
                  <a:gd name="connsiteX12" fmla="*/ 157948 w 157948"/>
                  <a:gd name="connsiteY12" fmla="*/ 251803 h 251803"/>
                  <a:gd name="connsiteX13" fmla="*/ 103225 w 157948"/>
                  <a:gd name="connsiteY13" fmla="*/ 251803 h 251803"/>
                  <a:gd name="connsiteX14" fmla="*/ 49139 w 157948"/>
                  <a:gd name="connsiteY14" fmla="*/ 40654 h 251803"/>
                  <a:gd name="connsiteX15" fmla="*/ 49139 w 157948"/>
                  <a:gd name="connsiteY15" fmla="*/ 113611 h 251803"/>
                  <a:gd name="connsiteX16" fmla="*/ 64456 w 157948"/>
                  <a:gd name="connsiteY16" fmla="*/ 113611 h 251803"/>
                  <a:gd name="connsiteX17" fmla="*/ 88068 w 157948"/>
                  <a:gd name="connsiteY17" fmla="*/ 102581 h 251803"/>
                  <a:gd name="connsiteX18" fmla="*/ 97003 w 157948"/>
                  <a:gd name="connsiteY18" fmla="*/ 75320 h 251803"/>
                  <a:gd name="connsiteX19" fmla="*/ 88706 w 157948"/>
                  <a:gd name="connsiteY19" fmla="*/ 49951 h 251803"/>
                  <a:gd name="connsiteX20" fmla="*/ 64456 w 157948"/>
                  <a:gd name="connsiteY20" fmla="*/ 40496 h 251803"/>
                  <a:gd name="connsiteX21" fmla="*/ 49139 w 157948"/>
                  <a:gd name="connsiteY21" fmla="*/ 40496 h 251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7948" h="251803">
                    <a:moveTo>
                      <a:pt x="103225" y="251646"/>
                    </a:moveTo>
                    <a:lnTo>
                      <a:pt x="85037" y="190192"/>
                    </a:lnTo>
                    <a:cubicBezTo>
                      <a:pt x="78017" y="166713"/>
                      <a:pt x="68444" y="154895"/>
                      <a:pt x="56319" y="154895"/>
                    </a:cubicBezTo>
                    <a:lnTo>
                      <a:pt x="48980" y="154895"/>
                    </a:lnTo>
                    <a:lnTo>
                      <a:pt x="48980" y="251488"/>
                    </a:lnTo>
                    <a:lnTo>
                      <a:pt x="0" y="251488"/>
                    </a:lnTo>
                    <a:lnTo>
                      <a:pt x="0" y="0"/>
                    </a:lnTo>
                    <a:lnTo>
                      <a:pt x="70837" y="0"/>
                    </a:lnTo>
                    <a:cubicBezTo>
                      <a:pt x="122051" y="0"/>
                      <a:pt x="147578" y="22691"/>
                      <a:pt x="147578" y="67914"/>
                    </a:cubicBezTo>
                    <a:cubicBezTo>
                      <a:pt x="147578" y="102108"/>
                      <a:pt x="132581" y="124641"/>
                      <a:pt x="102427" y="135514"/>
                    </a:cubicBezTo>
                    <a:lnTo>
                      <a:pt x="102427" y="136459"/>
                    </a:lnTo>
                    <a:cubicBezTo>
                      <a:pt x="115988" y="141029"/>
                      <a:pt x="126678" y="155841"/>
                      <a:pt x="134974" y="181052"/>
                    </a:cubicBezTo>
                    <a:lnTo>
                      <a:pt x="157948" y="251803"/>
                    </a:lnTo>
                    <a:lnTo>
                      <a:pt x="103225" y="251803"/>
                    </a:lnTo>
                    <a:close/>
                    <a:moveTo>
                      <a:pt x="49139" y="40654"/>
                    </a:moveTo>
                    <a:lnTo>
                      <a:pt x="49139" y="113611"/>
                    </a:lnTo>
                    <a:lnTo>
                      <a:pt x="64456" y="113611"/>
                    </a:lnTo>
                    <a:cubicBezTo>
                      <a:pt x="74188" y="113611"/>
                      <a:pt x="82005" y="109987"/>
                      <a:pt x="88068" y="102581"/>
                    </a:cubicBezTo>
                    <a:cubicBezTo>
                      <a:pt x="94131" y="95175"/>
                      <a:pt x="97003" y="86193"/>
                      <a:pt x="97003" y="75320"/>
                    </a:cubicBezTo>
                    <a:cubicBezTo>
                      <a:pt x="97003" y="64448"/>
                      <a:pt x="94290" y="56254"/>
                      <a:pt x="88706" y="49951"/>
                    </a:cubicBezTo>
                    <a:cubicBezTo>
                      <a:pt x="83282" y="43648"/>
                      <a:pt x="75145" y="40496"/>
                      <a:pt x="64456" y="40496"/>
                    </a:cubicBezTo>
                    <a:lnTo>
                      <a:pt x="49139" y="40496"/>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mn-cs"/>
                </a:endParaRPr>
              </a:p>
            </p:txBody>
          </p:sp>
          <p:sp>
            <p:nvSpPr>
              <p:cNvPr id="42" name="Freeform 41">
                <a:extLst>
                  <a:ext uri="{FF2B5EF4-FFF2-40B4-BE49-F238E27FC236}">
                    <a16:creationId xmlns:a16="http://schemas.microsoft.com/office/drawing/2014/main" id="{40D1ED96-AD13-F1EE-EB9A-B9744B3B0569}"/>
                  </a:ext>
                </a:extLst>
              </p:cNvPr>
              <p:cNvSpPr/>
              <p:nvPr/>
            </p:nvSpPr>
            <p:spPr>
              <a:xfrm>
                <a:off x="7539119" y="5337769"/>
                <a:ext cx="121572" cy="251645"/>
              </a:xfrm>
              <a:custGeom>
                <a:avLst/>
                <a:gdLst>
                  <a:gd name="connsiteX0" fmla="*/ 0 w 121572"/>
                  <a:gd name="connsiteY0" fmla="*/ 251488 h 251645"/>
                  <a:gd name="connsiteX1" fmla="*/ 0 w 121572"/>
                  <a:gd name="connsiteY1" fmla="*/ 0 h 251645"/>
                  <a:gd name="connsiteX2" fmla="*/ 117105 w 121572"/>
                  <a:gd name="connsiteY2" fmla="*/ 0 h 251645"/>
                  <a:gd name="connsiteX3" fmla="*/ 117105 w 121572"/>
                  <a:gd name="connsiteY3" fmla="*/ 41757 h 251645"/>
                  <a:gd name="connsiteX4" fmla="*/ 49139 w 121572"/>
                  <a:gd name="connsiteY4" fmla="*/ 41757 h 251645"/>
                  <a:gd name="connsiteX5" fmla="*/ 49139 w 121572"/>
                  <a:gd name="connsiteY5" fmla="*/ 104629 h 251645"/>
                  <a:gd name="connsiteX6" fmla="*/ 112957 w 121572"/>
                  <a:gd name="connsiteY6" fmla="*/ 104629 h 251645"/>
                  <a:gd name="connsiteX7" fmla="*/ 112957 w 121572"/>
                  <a:gd name="connsiteY7" fmla="*/ 146386 h 251645"/>
                  <a:gd name="connsiteX8" fmla="*/ 49139 w 121572"/>
                  <a:gd name="connsiteY8" fmla="*/ 146386 h 251645"/>
                  <a:gd name="connsiteX9" fmla="*/ 49139 w 121572"/>
                  <a:gd name="connsiteY9" fmla="*/ 209888 h 251645"/>
                  <a:gd name="connsiteX10" fmla="*/ 121572 w 121572"/>
                  <a:gd name="connsiteY10" fmla="*/ 209888 h 251645"/>
                  <a:gd name="connsiteX11" fmla="*/ 121572 w 121572"/>
                  <a:gd name="connsiteY11" fmla="*/ 251646 h 251645"/>
                  <a:gd name="connsiteX12" fmla="*/ 160 w 121572"/>
                  <a:gd name="connsiteY12" fmla="*/ 251646 h 25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572" h="251645">
                    <a:moveTo>
                      <a:pt x="0" y="251488"/>
                    </a:moveTo>
                    <a:lnTo>
                      <a:pt x="0" y="0"/>
                    </a:lnTo>
                    <a:lnTo>
                      <a:pt x="117105" y="0"/>
                    </a:lnTo>
                    <a:lnTo>
                      <a:pt x="117105" y="41757"/>
                    </a:lnTo>
                    <a:lnTo>
                      <a:pt x="49139" y="41757"/>
                    </a:lnTo>
                    <a:lnTo>
                      <a:pt x="49139" y="104629"/>
                    </a:lnTo>
                    <a:lnTo>
                      <a:pt x="112957" y="104629"/>
                    </a:lnTo>
                    <a:lnTo>
                      <a:pt x="112957" y="146386"/>
                    </a:lnTo>
                    <a:lnTo>
                      <a:pt x="49139" y="146386"/>
                    </a:lnTo>
                    <a:lnTo>
                      <a:pt x="49139" y="209888"/>
                    </a:lnTo>
                    <a:lnTo>
                      <a:pt x="121572" y="209888"/>
                    </a:lnTo>
                    <a:lnTo>
                      <a:pt x="121572" y="251646"/>
                    </a:lnTo>
                    <a:lnTo>
                      <a:pt x="160" y="251646"/>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mn-cs"/>
                </a:endParaRPr>
              </a:p>
            </p:txBody>
          </p:sp>
          <p:sp>
            <p:nvSpPr>
              <p:cNvPr id="43" name="Freeform 42">
                <a:extLst>
                  <a:ext uri="{FF2B5EF4-FFF2-40B4-BE49-F238E27FC236}">
                    <a16:creationId xmlns:a16="http://schemas.microsoft.com/office/drawing/2014/main" id="{4D7FD7BE-9E47-1017-B6FF-25C86B923854}"/>
                  </a:ext>
                </a:extLst>
              </p:cNvPr>
              <p:cNvSpPr/>
              <p:nvPr/>
            </p:nvSpPr>
            <p:spPr>
              <a:xfrm>
                <a:off x="7706958" y="5337612"/>
                <a:ext cx="163691" cy="251645"/>
              </a:xfrm>
              <a:custGeom>
                <a:avLst/>
                <a:gdLst>
                  <a:gd name="connsiteX0" fmla="*/ 108969 w 163691"/>
                  <a:gd name="connsiteY0" fmla="*/ 251646 h 251645"/>
                  <a:gd name="connsiteX1" fmla="*/ 52330 w 163691"/>
                  <a:gd name="connsiteY1" fmla="*/ 107938 h 251645"/>
                  <a:gd name="connsiteX2" fmla="*/ 43077 w 163691"/>
                  <a:gd name="connsiteY2" fmla="*/ 79260 h 251645"/>
                  <a:gd name="connsiteX3" fmla="*/ 40524 w 163691"/>
                  <a:gd name="connsiteY3" fmla="*/ 71223 h 251645"/>
                  <a:gd name="connsiteX4" fmla="*/ 39886 w 163691"/>
                  <a:gd name="connsiteY4" fmla="*/ 71223 h 251645"/>
                  <a:gd name="connsiteX5" fmla="*/ 41003 w 163691"/>
                  <a:gd name="connsiteY5" fmla="*/ 122592 h 251645"/>
                  <a:gd name="connsiteX6" fmla="*/ 41003 w 163691"/>
                  <a:gd name="connsiteY6" fmla="*/ 251488 h 251645"/>
                  <a:gd name="connsiteX7" fmla="*/ 0 w 163691"/>
                  <a:gd name="connsiteY7" fmla="*/ 251488 h 251645"/>
                  <a:gd name="connsiteX8" fmla="*/ 0 w 163691"/>
                  <a:gd name="connsiteY8" fmla="*/ 0 h 251645"/>
                  <a:gd name="connsiteX9" fmla="*/ 55681 w 163691"/>
                  <a:gd name="connsiteY9" fmla="*/ 0 h 251645"/>
                  <a:gd name="connsiteX10" fmla="*/ 112159 w 163691"/>
                  <a:gd name="connsiteY10" fmla="*/ 147016 h 251645"/>
                  <a:gd name="connsiteX11" fmla="*/ 123008 w 163691"/>
                  <a:gd name="connsiteY11" fmla="*/ 182943 h 251645"/>
                  <a:gd name="connsiteX12" fmla="*/ 123327 w 163691"/>
                  <a:gd name="connsiteY12" fmla="*/ 182943 h 251645"/>
                  <a:gd name="connsiteX13" fmla="*/ 122689 w 163691"/>
                  <a:gd name="connsiteY13" fmla="*/ 141501 h 251645"/>
                  <a:gd name="connsiteX14" fmla="*/ 122689 w 163691"/>
                  <a:gd name="connsiteY14" fmla="*/ 0 h 251645"/>
                  <a:gd name="connsiteX15" fmla="*/ 163692 w 163691"/>
                  <a:gd name="connsiteY15" fmla="*/ 0 h 251645"/>
                  <a:gd name="connsiteX16" fmla="*/ 163692 w 163691"/>
                  <a:gd name="connsiteY16" fmla="*/ 251488 h 251645"/>
                  <a:gd name="connsiteX17" fmla="*/ 109128 w 163691"/>
                  <a:gd name="connsiteY17" fmla="*/ 251488 h 25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3691" h="251645">
                    <a:moveTo>
                      <a:pt x="108969" y="251646"/>
                    </a:moveTo>
                    <a:lnTo>
                      <a:pt x="52330" y="107938"/>
                    </a:lnTo>
                    <a:cubicBezTo>
                      <a:pt x="49937" y="101793"/>
                      <a:pt x="46906" y="92338"/>
                      <a:pt x="43077" y="79260"/>
                    </a:cubicBezTo>
                    <a:cubicBezTo>
                      <a:pt x="42120" y="75951"/>
                      <a:pt x="41322" y="73272"/>
                      <a:pt x="40524" y="71223"/>
                    </a:cubicBezTo>
                    <a:lnTo>
                      <a:pt x="39886" y="71223"/>
                    </a:lnTo>
                    <a:cubicBezTo>
                      <a:pt x="40524" y="90763"/>
                      <a:pt x="41003" y="107938"/>
                      <a:pt x="41003" y="122592"/>
                    </a:cubicBezTo>
                    <a:lnTo>
                      <a:pt x="41003" y="251488"/>
                    </a:lnTo>
                    <a:lnTo>
                      <a:pt x="0" y="251488"/>
                    </a:lnTo>
                    <a:lnTo>
                      <a:pt x="0" y="0"/>
                    </a:lnTo>
                    <a:lnTo>
                      <a:pt x="55681" y="0"/>
                    </a:lnTo>
                    <a:lnTo>
                      <a:pt x="112159" y="147016"/>
                    </a:lnTo>
                    <a:cubicBezTo>
                      <a:pt x="113914" y="151744"/>
                      <a:pt x="117584" y="163719"/>
                      <a:pt x="123008" y="182943"/>
                    </a:cubicBezTo>
                    <a:lnTo>
                      <a:pt x="123327" y="182943"/>
                    </a:lnTo>
                    <a:lnTo>
                      <a:pt x="122689" y="141501"/>
                    </a:lnTo>
                    <a:lnTo>
                      <a:pt x="122689" y="0"/>
                    </a:lnTo>
                    <a:lnTo>
                      <a:pt x="163692" y="0"/>
                    </a:lnTo>
                    <a:lnTo>
                      <a:pt x="163692" y="251488"/>
                    </a:lnTo>
                    <a:lnTo>
                      <a:pt x="109128" y="251488"/>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mn-cs"/>
                </a:endParaRPr>
              </a:p>
            </p:txBody>
          </p:sp>
          <p:sp>
            <p:nvSpPr>
              <p:cNvPr id="44" name="Freeform 43">
                <a:extLst>
                  <a:ext uri="{FF2B5EF4-FFF2-40B4-BE49-F238E27FC236}">
                    <a16:creationId xmlns:a16="http://schemas.microsoft.com/office/drawing/2014/main" id="{03924320-65FA-DD81-7D2D-B6CCAA8877B3}"/>
                  </a:ext>
                </a:extLst>
              </p:cNvPr>
              <p:cNvSpPr/>
              <p:nvPr/>
            </p:nvSpPr>
            <p:spPr>
              <a:xfrm>
                <a:off x="7920268" y="5333357"/>
                <a:ext cx="147258" cy="260312"/>
              </a:xfrm>
              <a:custGeom>
                <a:avLst/>
                <a:gdLst>
                  <a:gd name="connsiteX0" fmla="*/ 147258 w 147258"/>
                  <a:gd name="connsiteY0" fmla="*/ 248336 h 260312"/>
                  <a:gd name="connsiteX1" fmla="*/ 98598 w 147258"/>
                  <a:gd name="connsiteY1" fmla="*/ 260312 h 260312"/>
                  <a:gd name="connsiteX2" fmla="*/ 26484 w 147258"/>
                  <a:gd name="connsiteY2" fmla="*/ 226906 h 260312"/>
                  <a:gd name="connsiteX3" fmla="*/ 0 w 147258"/>
                  <a:gd name="connsiteY3" fmla="*/ 135829 h 260312"/>
                  <a:gd name="connsiteX4" fmla="*/ 27282 w 147258"/>
                  <a:gd name="connsiteY4" fmla="*/ 35139 h 260312"/>
                  <a:gd name="connsiteX5" fmla="*/ 104341 w 147258"/>
                  <a:gd name="connsiteY5" fmla="*/ 0 h 260312"/>
                  <a:gd name="connsiteX6" fmla="*/ 147099 w 147258"/>
                  <a:gd name="connsiteY6" fmla="*/ 8667 h 260312"/>
                  <a:gd name="connsiteX7" fmla="*/ 147099 w 147258"/>
                  <a:gd name="connsiteY7" fmla="*/ 55624 h 260312"/>
                  <a:gd name="connsiteX8" fmla="*/ 107054 w 147258"/>
                  <a:gd name="connsiteY8" fmla="*/ 42230 h 260312"/>
                  <a:gd name="connsiteX9" fmla="*/ 65732 w 147258"/>
                  <a:gd name="connsiteY9" fmla="*/ 66181 h 260312"/>
                  <a:gd name="connsiteX10" fmla="*/ 50575 w 147258"/>
                  <a:gd name="connsiteY10" fmla="*/ 131417 h 260312"/>
                  <a:gd name="connsiteX11" fmla="*/ 64934 w 147258"/>
                  <a:gd name="connsiteY11" fmla="*/ 194919 h 260312"/>
                  <a:gd name="connsiteX12" fmla="*/ 104820 w 147258"/>
                  <a:gd name="connsiteY12" fmla="*/ 217767 h 260312"/>
                  <a:gd name="connsiteX13" fmla="*/ 146939 w 147258"/>
                  <a:gd name="connsiteY13" fmla="*/ 203428 h 260312"/>
                  <a:gd name="connsiteX14" fmla="*/ 146939 w 147258"/>
                  <a:gd name="connsiteY14" fmla="*/ 248336 h 260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7258" h="260312">
                    <a:moveTo>
                      <a:pt x="147258" y="248336"/>
                    </a:moveTo>
                    <a:cubicBezTo>
                      <a:pt x="133059" y="256215"/>
                      <a:pt x="116786" y="260312"/>
                      <a:pt x="98598" y="260312"/>
                    </a:cubicBezTo>
                    <a:cubicBezTo>
                      <a:pt x="68125" y="260312"/>
                      <a:pt x="44193" y="249124"/>
                      <a:pt x="26484" y="226906"/>
                    </a:cubicBezTo>
                    <a:cubicBezTo>
                      <a:pt x="8775" y="204689"/>
                      <a:pt x="0" y="174277"/>
                      <a:pt x="0" y="135829"/>
                    </a:cubicBezTo>
                    <a:cubicBezTo>
                      <a:pt x="0" y="92181"/>
                      <a:pt x="9094" y="58460"/>
                      <a:pt x="27282" y="35139"/>
                    </a:cubicBezTo>
                    <a:cubicBezTo>
                      <a:pt x="45470" y="11818"/>
                      <a:pt x="71156" y="0"/>
                      <a:pt x="104341" y="0"/>
                    </a:cubicBezTo>
                    <a:cubicBezTo>
                      <a:pt x="119817" y="0"/>
                      <a:pt x="134176" y="2836"/>
                      <a:pt x="147099" y="8667"/>
                    </a:cubicBezTo>
                    <a:lnTo>
                      <a:pt x="147099" y="55624"/>
                    </a:lnTo>
                    <a:cubicBezTo>
                      <a:pt x="134974" y="46799"/>
                      <a:pt x="121731" y="42230"/>
                      <a:pt x="107054" y="42230"/>
                    </a:cubicBezTo>
                    <a:cubicBezTo>
                      <a:pt x="89504" y="42230"/>
                      <a:pt x="75783" y="50266"/>
                      <a:pt x="65732" y="66181"/>
                    </a:cubicBezTo>
                    <a:cubicBezTo>
                      <a:pt x="55681" y="82096"/>
                      <a:pt x="50575" y="103841"/>
                      <a:pt x="50575" y="131417"/>
                    </a:cubicBezTo>
                    <a:cubicBezTo>
                      <a:pt x="50575" y="158992"/>
                      <a:pt x="55361" y="179792"/>
                      <a:pt x="64934" y="194919"/>
                    </a:cubicBezTo>
                    <a:cubicBezTo>
                      <a:pt x="74507" y="210046"/>
                      <a:pt x="87908" y="217767"/>
                      <a:pt x="104820" y="217767"/>
                    </a:cubicBezTo>
                    <a:cubicBezTo>
                      <a:pt x="119498" y="217767"/>
                      <a:pt x="133538" y="213040"/>
                      <a:pt x="146939" y="203428"/>
                    </a:cubicBezTo>
                    <a:lnTo>
                      <a:pt x="146939" y="248336"/>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mn-cs"/>
                </a:endParaRPr>
              </a:p>
            </p:txBody>
          </p:sp>
          <p:sp>
            <p:nvSpPr>
              <p:cNvPr id="45" name="Freeform 44">
                <a:extLst>
                  <a:ext uri="{FF2B5EF4-FFF2-40B4-BE49-F238E27FC236}">
                    <a16:creationId xmlns:a16="http://schemas.microsoft.com/office/drawing/2014/main" id="{0E5081AD-DEDE-E810-9B5F-9BD3863880BC}"/>
                  </a:ext>
                </a:extLst>
              </p:cNvPr>
              <p:cNvSpPr/>
              <p:nvPr/>
            </p:nvSpPr>
            <p:spPr>
              <a:xfrm>
                <a:off x="8117145" y="5337769"/>
                <a:ext cx="121572" cy="251645"/>
              </a:xfrm>
              <a:custGeom>
                <a:avLst/>
                <a:gdLst>
                  <a:gd name="connsiteX0" fmla="*/ 0 w 121572"/>
                  <a:gd name="connsiteY0" fmla="*/ 251488 h 251645"/>
                  <a:gd name="connsiteX1" fmla="*/ 0 w 121572"/>
                  <a:gd name="connsiteY1" fmla="*/ 0 h 251645"/>
                  <a:gd name="connsiteX2" fmla="*/ 117105 w 121572"/>
                  <a:gd name="connsiteY2" fmla="*/ 0 h 251645"/>
                  <a:gd name="connsiteX3" fmla="*/ 117105 w 121572"/>
                  <a:gd name="connsiteY3" fmla="*/ 41757 h 251645"/>
                  <a:gd name="connsiteX4" fmla="*/ 49139 w 121572"/>
                  <a:gd name="connsiteY4" fmla="*/ 41757 h 251645"/>
                  <a:gd name="connsiteX5" fmla="*/ 49139 w 121572"/>
                  <a:gd name="connsiteY5" fmla="*/ 104629 h 251645"/>
                  <a:gd name="connsiteX6" fmla="*/ 112957 w 121572"/>
                  <a:gd name="connsiteY6" fmla="*/ 104629 h 251645"/>
                  <a:gd name="connsiteX7" fmla="*/ 112957 w 121572"/>
                  <a:gd name="connsiteY7" fmla="*/ 146386 h 251645"/>
                  <a:gd name="connsiteX8" fmla="*/ 49139 w 121572"/>
                  <a:gd name="connsiteY8" fmla="*/ 146386 h 251645"/>
                  <a:gd name="connsiteX9" fmla="*/ 49139 w 121572"/>
                  <a:gd name="connsiteY9" fmla="*/ 209888 h 251645"/>
                  <a:gd name="connsiteX10" fmla="*/ 121572 w 121572"/>
                  <a:gd name="connsiteY10" fmla="*/ 209888 h 251645"/>
                  <a:gd name="connsiteX11" fmla="*/ 121572 w 121572"/>
                  <a:gd name="connsiteY11" fmla="*/ 251646 h 251645"/>
                  <a:gd name="connsiteX12" fmla="*/ 159 w 121572"/>
                  <a:gd name="connsiteY12" fmla="*/ 251646 h 25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572" h="251645">
                    <a:moveTo>
                      <a:pt x="0" y="251488"/>
                    </a:moveTo>
                    <a:lnTo>
                      <a:pt x="0" y="0"/>
                    </a:lnTo>
                    <a:lnTo>
                      <a:pt x="117105" y="0"/>
                    </a:lnTo>
                    <a:lnTo>
                      <a:pt x="117105" y="41757"/>
                    </a:lnTo>
                    <a:lnTo>
                      <a:pt x="49139" y="41757"/>
                    </a:lnTo>
                    <a:lnTo>
                      <a:pt x="49139" y="104629"/>
                    </a:lnTo>
                    <a:lnTo>
                      <a:pt x="112957" y="104629"/>
                    </a:lnTo>
                    <a:lnTo>
                      <a:pt x="112957" y="146386"/>
                    </a:lnTo>
                    <a:lnTo>
                      <a:pt x="49139" y="146386"/>
                    </a:lnTo>
                    <a:lnTo>
                      <a:pt x="49139" y="209888"/>
                    </a:lnTo>
                    <a:lnTo>
                      <a:pt x="121572" y="209888"/>
                    </a:lnTo>
                    <a:lnTo>
                      <a:pt x="121572" y="251646"/>
                    </a:lnTo>
                    <a:lnTo>
                      <a:pt x="159" y="251646"/>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mn-cs"/>
                </a:endParaRPr>
              </a:p>
            </p:txBody>
          </p:sp>
        </p:grpSp>
        <p:sp>
          <p:nvSpPr>
            <p:cNvPr id="24" name="Freeform 23">
              <a:extLst>
                <a:ext uri="{FF2B5EF4-FFF2-40B4-BE49-F238E27FC236}">
                  <a16:creationId xmlns:a16="http://schemas.microsoft.com/office/drawing/2014/main" id="{3982AD17-F098-206B-C1FC-43A65BF88DA2}"/>
                </a:ext>
              </a:extLst>
            </p:cNvPr>
            <p:cNvSpPr/>
            <p:nvPr/>
          </p:nvSpPr>
          <p:spPr>
            <a:xfrm>
              <a:off x="3410610" y="4760418"/>
              <a:ext cx="593182" cy="658501"/>
            </a:xfrm>
            <a:custGeom>
              <a:avLst/>
              <a:gdLst>
                <a:gd name="connsiteX0" fmla="*/ 551861 w 593182"/>
                <a:gd name="connsiteY0" fmla="*/ 364153 h 658501"/>
                <a:gd name="connsiteX1" fmla="*/ 361526 w 593182"/>
                <a:gd name="connsiteY1" fmla="*/ 546151 h 658501"/>
                <a:gd name="connsiteX2" fmla="*/ 333287 w 593182"/>
                <a:gd name="connsiteY2" fmla="*/ 548042 h 658501"/>
                <a:gd name="connsiteX3" fmla="*/ 187623 w 593182"/>
                <a:gd name="connsiteY3" fmla="*/ 493837 h 658501"/>
                <a:gd name="connsiteX4" fmla="*/ 153002 w 593182"/>
                <a:gd name="connsiteY4" fmla="*/ 456019 h 658501"/>
                <a:gd name="connsiteX5" fmla="*/ 111840 w 593182"/>
                <a:gd name="connsiteY5" fmla="*/ 329329 h 658501"/>
                <a:gd name="connsiteX6" fmla="*/ 118381 w 593182"/>
                <a:gd name="connsiteY6" fmla="*/ 276857 h 658501"/>
                <a:gd name="connsiteX7" fmla="*/ 294358 w 593182"/>
                <a:gd name="connsiteY7" fmla="*/ 114241 h 658501"/>
                <a:gd name="connsiteX8" fmla="*/ 498414 w 593182"/>
                <a:gd name="connsiteY8" fmla="*/ 45224 h 658501"/>
                <a:gd name="connsiteX9" fmla="*/ 501924 w 593182"/>
                <a:gd name="connsiteY9" fmla="*/ 45224 h 658501"/>
                <a:gd name="connsiteX10" fmla="*/ 333287 w 593182"/>
                <a:gd name="connsiteY10" fmla="*/ 0 h 658501"/>
                <a:gd name="connsiteX11" fmla="*/ 0 w 593182"/>
                <a:gd name="connsiteY11" fmla="*/ 329329 h 658501"/>
                <a:gd name="connsiteX12" fmla="*/ 38610 w 593182"/>
                <a:gd name="connsiteY12" fmla="*/ 482964 h 658501"/>
                <a:gd name="connsiteX13" fmla="*/ 203258 w 593182"/>
                <a:gd name="connsiteY13" fmla="*/ 632344 h 658501"/>
                <a:gd name="connsiteX14" fmla="*/ 330096 w 593182"/>
                <a:gd name="connsiteY14" fmla="*/ 658501 h 658501"/>
                <a:gd name="connsiteX15" fmla="*/ 333606 w 593182"/>
                <a:gd name="connsiteY15" fmla="*/ 658501 h 658501"/>
                <a:gd name="connsiteX16" fmla="*/ 537662 w 593182"/>
                <a:gd name="connsiteY16" fmla="*/ 589484 h 658501"/>
                <a:gd name="connsiteX17" fmla="*/ 586801 w 593182"/>
                <a:gd name="connsiteY17" fmla="*/ 543000 h 658501"/>
                <a:gd name="connsiteX18" fmla="*/ 593183 w 593182"/>
                <a:gd name="connsiteY18" fmla="*/ 490685 h 658501"/>
                <a:gd name="connsiteX19" fmla="*/ 552021 w 593182"/>
                <a:gd name="connsiteY19" fmla="*/ 363838 h 658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93182" h="658501">
                  <a:moveTo>
                    <a:pt x="551861" y="364153"/>
                  </a:moveTo>
                  <a:cubicBezTo>
                    <a:pt x="536385" y="459170"/>
                    <a:pt x="458688" y="533860"/>
                    <a:pt x="361526" y="546151"/>
                  </a:cubicBezTo>
                  <a:cubicBezTo>
                    <a:pt x="352272" y="547254"/>
                    <a:pt x="342859" y="548042"/>
                    <a:pt x="333287" y="548042"/>
                  </a:cubicBezTo>
                  <a:cubicBezTo>
                    <a:pt x="277606" y="548042"/>
                    <a:pt x="226552" y="527557"/>
                    <a:pt x="187623" y="493837"/>
                  </a:cubicBezTo>
                  <a:cubicBezTo>
                    <a:pt x="174700" y="482649"/>
                    <a:pt x="163054" y="469885"/>
                    <a:pt x="153002" y="456019"/>
                  </a:cubicBezTo>
                  <a:cubicBezTo>
                    <a:pt x="127156" y="420250"/>
                    <a:pt x="111840" y="376602"/>
                    <a:pt x="111840" y="329329"/>
                  </a:cubicBezTo>
                  <a:cubicBezTo>
                    <a:pt x="111840" y="311208"/>
                    <a:pt x="114074" y="293718"/>
                    <a:pt x="118381" y="276857"/>
                  </a:cubicBezTo>
                  <a:cubicBezTo>
                    <a:pt x="139282" y="193816"/>
                    <a:pt x="208204" y="129368"/>
                    <a:pt x="294358" y="114241"/>
                  </a:cubicBezTo>
                  <a:cubicBezTo>
                    <a:pt x="350836" y="71066"/>
                    <a:pt x="421514" y="45224"/>
                    <a:pt x="498414" y="45224"/>
                  </a:cubicBezTo>
                  <a:cubicBezTo>
                    <a:pt x="499531" y="45224"/>
                    <a:pt x="500648" y="45224"/>
                    <a:pt x="501924" y="45224"/>
                  </a:cubicBezTo>
                  <a:cubicBezTo>
                    <a:pt x="452466" y="16545"/>
                    <a:pt x="394870" y="0"/>
                    <a:pt x="333287" y="0"/>
                  </a:cubicBezTo>
                  <a:cubicBezTo>
                    <a:pt x="149333" y="0"/>
                    <a:pt x="0" y="147332"/>
                    <a:pt x="0" y="329329"/>
                  </a:cubicBezTo>
                  <a:cubicBezTo>
                    <a:pt x="0" y="384795"/>
                    <a:pt x="14040" y="437110"/>
                    <a:pt x="38610" y="482964"/>
                  </a:cubicBezTo>
                  <a:cubicBezTo>
                    <a:pt x="74347" y="549618"/>
                    <a:pt x="132581" y="602720"/>
                    <a:pt x="203258" y="632344"/>
                  </a:cubicBezTo>
                  <a:cubicBezTo>
                    <a:pt x="242347" y="648732"/>
                    <a:pt x="285104" y="658029"/>
                    <a:pt x="330096" y="658501"/>
                  </a:cubicBezTo>
                  <a:cubicBezTo>
                    <a:pt x="331212" y="658501"/>
                    <a:pt x="332329" y="658501"/>
                    <a:pt x="333606" y="658501"/>
                  </a:cubicBezTo>
                  <a:cubicBezTo>
                    <a:pt x="410506" y="658501"/>
                    <a:pt x="481343" y="632659"/>
                    <a:pt x="537662" y="589484"/>
                  </a:cubicBezTo>
                  <a:cubicBezTo>
                    <a:pt x="555690" y="575775"/>
                    <a:pt x="572123" y="560018"/>
                    <a:pt x="586801" y="543000"/>
                  </a:cubicBezTo>
                  <a:cubicBezTo>
                    <a:pt x="590949" y="526297"/>
                    <a:pt x="593183" y="508806"/>
                    <a:pt x="593183" y="490685"/>
                  </a:cubicBezTo>
                  <a:cubicBezTo>
                    <a:pt x="593183" y="443413"/>
                    <a:pt x="577867" y="399607"/>
                    <a:pt x="552021" y="363838"/>
                  </a:cubicBezTo>
                  <a:close/>
                </a:path>
              </a:pathLst>
            </a:custGeom>
            <a:solidFill>
              <a:srgbClr val="5364AE"/>
            </a:solidFill>
            <a:ln w="7336"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mn-cs"/>
              </a:endParaRPr>
            </a:p>
          </p:txBody>
        </p:sp>
        <p:sp>
          <p:nvSpPr>
            <p:cNvPr id="25" name="Freeform 24">
              <a:extLst>
                <a:ext uri="{FF2B5EF4-FFF2-40B4-BE49-F238E27FC236}">
                  <a16:creationId xmlns:a16="http://schemas.microsoft.com/office/drawing/2014/main" id="{42E0C1DA-6717-35A0-5AAD-344239C27E7D}"/>
                </a:ext>
              </a:extLst>
            </p:cNvPr>
            <p:cNvSpPr/>
            <p:nvPr/>
          </p:nvSpPr>
          <p:spPr>
            <a:xfrm>
              <a:off x="3448741" y="4927132"/>
              <a:ext cx="666732" cy="653774"/>
            </a:xfrm>
            <a:custGeom>
              <a:avLst/>
              <a:gdLst>
                <a:gd name="connsiteX0" fmla="*/ 665137 w 666732"/>
                <a:gd name="connsiteY0" fmla="*/ 290724 h 653774"/>
                <a:gd name="connsiteX1" fmla="*/ 628442 w 666732"/>
                <a:gd name="connsiteY1" fmla="*/ 170495 h 653774"/>
                <a:gd name="connsiteX2" fmla="*/ 463474 w 666732"/>
                <a:gd name="connsiteY2" fmla="*/ 20800 h 653774"/>
                <a:gd name="connsiteX3" fmla="*/ 391520 w 666732"/>
                <a:gd name="connsiteY3" fmla="*/ 0 h 653774"/>
                <a:gd name="connsiteX4" fmla="*/ 258141 w 666732"/>
                <a:gd name="connsiteY4" fmla="*/ 118653 h 653774"/>
                <a:gd name="connsiteX5" fmla="*/ 333446 w 666732"/>
                <a:gd name="connsiteY5" fmla="*/ 105575 h 653774"/>
                <a:gd name="connsiteX6" fmla="*/ 513571 w 666732"/>
                <a:gd name="connsiteY6" fmla="*/ 197440 h 653774"/>
                <a:gd name="connsiteX7" fmla="*/ 554733 w 666732"/>
                <a:gd name="connsiteY7" fmla="*/ 324287 h 653774"/>
                <a:gd name="connsiteX8" fmla="*/ 548351 w 666732"/>
                <a:gd name="connsiteY8" fmla="*/ 376602 h 653774"/>
                <a:gd name="connsiteX9" fmla="*/ 535428 w 666732"/>
                <a:gd name="connsiteY9" fmla="*/ 413316 h 653774"/>
                <a:gd name="connsiteX10" fmla="*/ 402050 w 666732"/>
                <a:gd name="connsiteY10" fmla="*/ 532127 h 653774"/>
                <a:gd name="connsiteX11" fmla="*/ 333287 w 666732"/>
                <a:gd name="connsiteY11" fmla="*/ 543000 h 653774"/>
                <a:gd name="connsiteX12" fmla="*/ 164808 w 666732"/>
                <a:gd name="connsiteY12" fmla="*/ 465946 h 653774"/>
                <a:gd name="connsiteX13" fmla="*/ 160 w 666732"/>
                <a:gd name="connsiteY13" fmla="*/ 316566 h 653774"/>
                <a:gd name="connsiteX14" fmla="*/ 0 w 666732"/>
                <a:gd name="connsiteY14" fmla="*/ 324445 h 653774"/>
                <a:gd name="connsiteX15" fmla="*/ 333446 w 666732"/>
                <a:gd name="connsiteY15" fmla="*/ 653774 h 653774"/>
                <a:gd name="connsiteX16" fmla="*/ 615998 w 666732"/>
                <a:gd name="connsiteY16" fmla="*/ 499037 h 653774"/>
                <a:gd name="connsiteX17" fmla="*/ 666733 w 666732"/>
                <a:gd name="connsiteY17" fmla="*/ 324445 h 653774"/>
                <a:gd name="connsiteX18" fmla="*/ 664818 w 666732"/>
                <a:gd name="connsiteY18" fmla="*/ 290881 h 653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6732" h="653774">
                  <a:moveTo>
                    <a:pt x="665137" y="290724"/>
                  </a:moveTo>
                  <a:cubicBezTo>
                    <a:pt x="660670" y="247706"/>
                    <a:pt x="648066" y="207052"/>
                    <a:pt x="628442" y="170495"/>
                  </a:cubicBezTo>
                  <a:cubicBezTo>
                    <a:pt x="592704" y="103684"/>
                    <a:pt x="534311" y="50581"/>
                    <a:pt x="463474" y="20800"/>
                  </a:cubicBezTo>
                  <a:cubicBezTo>
                    <a:pt x="440659" y="11345"/>
                    <a:pt x="416568" y="4254"/>
                    <a:pt x="391520" y="0"/>
                  </a:cubicBezTo>
                  <a:cubicBezTo>
                    <a:pt x="332010" y="19224"/>
                    <a:pt x="283509" y="62714"/>
                    <a:pt x="258141" y="118653"/>
                  </a:cubicBezTo>
                  <a:cubicBezTo>
                    <a:pt x="281754" y="110144"/>
                    <a:pt x="306962" y="105575"/>
                    <a:pt x="333446" y="105575"/>
                  </a:cubicBezTo>
                  <a:cubicBezTo>
                    <a:pt x="407634" y="105575"/>
                    <a:pt x="473366" y="141816"/>
                    <a:pt x="513571" y="197440"/>
                  </a:cubicBezTo>
                  <a:cubicBezTo>
                    <a:pt x="539417" y="233209"/>
                    <a:pt x="554733" y="277015"/>
                    <a:pt x="554733" y="324287"/>
                  </a:cubicBezTo>
                  <a:cubicBezTo>
                    <a:pt x="554733" y="342250"/>
                    <a:pt x="552499" y="359741"/>
                    <a:pt x="548351" y="376602"/>
                  </a:cubicBezTo>
                  <a:cubicBezTo>
                    <a:pt x="545160" y="389365"/>
                    <a:pt x="540853" y="401656"/>
                    <a:pt x="535428" y="413316"/>
                  </a:cubicBezTo>
                  <a:cubicBezTo>
                    <a:pt x="510061" y="469255"/>
                    <a:pt x="461560" y="512745"/>
                    <a:pt x="402050" y="532127"/>
                  </a:cubicBezTo>
                  <a:cubicBezTo>
                    <a:pt x="380352" y="539060"/>
                    <a:pt x="357378" y="543000"/>
                    <a:pt x="333287" y="543000"/>
                  </a:cubicBezTo>
                  <a:cubicBezTo>
                    <a:pt x="265800" y="543000"/>
                    <a:pt x="205333" y="513061"/>
                    <a:pt x="164808" y="465946"/>
                  </a:cubicBezTo>
                  <a:cubicBezTo>
                    <a:pt x="94131" y="436322"/>
                    <a:pt x="35897" y="383220"/>
                    <a:pt x="160" y="316566"/>
                  </a:cubicBezTo>
                  <a:cubicBezTo>
                    <a:pt x="160" y="319245"/>
                    <a:pt x="0" y="321766"/>
                    <a:pt x="0" y="324445"/>
                  </a:cubicBezTo>
                  <a:cubicBezTo>
                    <a:pt x="0" y="506285"/>
                    <a:pt x="149333" y="653774"/>
                    <a:pt x="333446" y="653774"/>
                  </a:cubicBezTo>
                  <a:cubicBezTo>
                    <a:pt x="452625" y="653774"/>
                    <a:pt x="557126" y="592005"/>
                    <a:pt x="615998" y="499037"/>
                  </a:cubicBezTo>
                  <a:cubicBezTo>
                    <a:pt x="648066" y="448455"/>
                    <a:pt x="666733" y="388577"/>
                    <a:pt x="666733" y="324445"/>
                  </a:cubicBezTo>
                  <a:cubicBezTo>
                    <a:pt x="666733" y="313099"/>
                    <a:pt x="665935" y="301912"/>
                    <a:pt x="664818" y="290881"/>
                  </a:cubicBezTo>
                  <a:close/>
                </a:path>
              </a:pathLst>
            </a:custGeom>
            <a:solidFill>
              <a:srgbClr val="762775"/>
            </a:solidFill>
            <a:ln w="7336"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mn-cs"/>
              </a:endParaRPr>
            </a:p>
          </p:txBody>
        </p:sp>
        <p:sp>
          <p:nvSpPr>
            <p:cNvPr id="26" name="Freeform 25">
              <a:extLst>
                <a:ext uri="{FF2B5EF4-FFF2-40B4-BE49-F238E27FC236}">
                  <a16:creationId xmlns:a16="http://schemas.microsoft.com/office/drawing/2014/main" id="{32D022E5-F4DB-FC89-3338-45D68D5D4948}"/>
                </a:ext>
              </a:extLst>
            </p:cNvPr>
            <p:cNvSpPr/>
            <p:nvPr/>
          </p:nvSpPr>
          <p:spPr>
            <a:xfrm>
              <a:off x="3575578" y="4805642"/>
              <a:ext cx="667051" cy="620525"/>
            </a:xfrm>
            <a:custGeom>
              <a:avLst/>
              <a:gdLst>
                <a:gd name="connsiteX0" fmla="*/ 336956 w 667051"/>
                <a:gd name="connsiteY0" fmla="*/ 0 h 620525"/>
                <a:gd name="connsiteX1" fmla="*/ 333446 w 667051"/>
                <a:gd name="connsiteY1" fmla="*/ 0 h 620525"/>
                <a:gd name="connsiteX2" fmla="*/ 129390 w 667051"/>
                <a:gd name="connsiteY2" fmla="*/ 69017 h 620525"/>
                <a:gd name="connsiteX3" fmla="*/ 50894 w 667051"/>
                <a:gd name="connsiteY3" fmla="*/ 154738 h 620525"/>
                <a:gd name="connsiteX4" fmla="*/ 0 w 667051"/>
                <a:gd name="connsiteY4" fmla="*/ 329329 h 620525"/>
                <a:gd name="connsiteX5" fmla="*/ 1755 w 667051"/>
                <a:gd name="connsiteY5" fmla="*/ 363050 h 620525"/>
                <a:gd name="connsiteX6" fmla="*/ 22655 w 667051"/>
                <a:gd name="connsiteY6" fmla="*/ 448613 h 620525"/>
                <a:gd name="connsiteX7" fmla="*/ 168318 w 667051"/>
                <a:gd name="connsiteY7" fmla="*/ 502818 h 620525"/>
                <a:gd name="connsiteX8" fmla="*/ 196558 w 667051"/>
                <a:gd name="connsiteY8" fmla="*/ 500927 h 620525"/>
                <a:gd name="connsiteX9" fmla="*/ 112000 w 667051"/>
                <a:gd name="connsiteY9" fmla="*/ 329329 h 620525"/>
                <a:gd name="connsiteX10" fmla="*/ 131304 w 667051"/>
                <a:gd name="connsiteY10" fmla="*/ 240300 h 620525"/>
                <a:gd name="connsiteX11" fmla="*/ 264683 w 667051"/>
                <a:gd name="connsiteY11" fmla="*/ 121647 h 620525"/>
                <a:gd name="connsiteX12" fmla="*/ 305207 w 667051"/>
                <a:gd name="connsiteY12" fmla="*/ 112665 h 620525"/>
                <a:gd name="connsiteX13" fmla="*/ 333446 w 667051"/>
                <a:gd name="connsiteY13" fmla="*/ 110774 h 620525"/>
                <a:gd name="connsiteX14" fmla="*/ 479109 w 667051"/>
                <a:gd name="connsiteY14" fmla="*/ 164980 h 620525"/>
                <a:gd name="connsiteX15" fmla="*/ 554892 w 667051"/>
                <a:gd name="connsiteY15" fmla="*/ 329487 h 620525"/>
                <a:gd name="connsiteX16" fmla="*/ 538300 w 667051"/>
                <a:gd name="connsiteY16" fmla="*/ 412371 h 620525"/>
                <a:gd name="connsiteX17" fmla="*/ 540215 w 667051"/>
                <a:gd name="connsiteY17" fmla="*/ 445934 h 620525"/>
                <a:gd name="connsiteX18" fmla="*/ 489480 w 667051"/>
                <a:gd name="connsiteY18" fmla="*/ 620526 h 620525"/>
                <a:gd name="connsiteX19" fmla="*/ 667052 w 667051"/>
                <a:gd name="connsiteY19" fmla="*/ 329487 h 620525"/>
                <a:gd name="connsiteX20" fmla="*/ 337116 w 667051"/>
                <a:gd name="connsiteY20" fmla="*/ 315 h 62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67051" h="620525">
                  <a:moveTo>
                    <a:pt x="336956" y="0"/>
                  </a:moveTo>
                  <a:cubicBezTo>
                    <a:pt x="335839" y="0"/>
                    <a:pt x="334722" y="0"/>
                    <a:pt x="333446" y="0"/>
                  </a:cubicBezTo>
                  <a:cubicBezTo>
                    <a:pt x="256546" y="0"/>
                    <a:pt x="185709" y="25842"/>
                    <a:pt x="129390" y="69017"/>
                  </a:cubicBezTo>
                  <a:cubicBezTo>
                    <a:pt x="98438" y="92811"/>
                    <a:pt x="71795" y="121805"/>
                    <a:pt x="50894" y="154738"/>
                  </a:cubicBezTo>
                  <a:cubicBezTo>
                    <a:pt x="18667" y="205319"/>
                    <a:pt x="0" y="265197"/>
                    <a:pt x="0" y="329329"/>
                  </a:cubicBezTo>
                  <a:cubicBezTo>
                    <a:pt x="0" y="340675"/>
                    <a:pt x="638" y="352020"/>
                    <a:pt x="1755" y="363050"/>
                  </a:cubicBezTo>
                  <a:cubicBezTo>
                    <a:pt x="4786" y="392989"/>
                    <a:pt x="11966" y="421668"/>
                    <a:pt x="22655" y="448613"/>
                  </a:cubicBezTo>
                  <a:cubicBezTo>
                    <a:pt x="61584" y="482334"/>
                    <a:pt x="112638" y="502818"/>
                    <a:pt x="168318" y="502818"/>
                  </a:cubicBezTo>
                  <a:cubicBezTo>
                    <a:pt x="177891" y="502818"/>
                    <a:pt x="187304" y="502188"/>
                    <a:pt x="196558" y="500927"/>
                  </a:cubicBezTo>
                  <a:cubicBezTo>
                    <a:pt x="145185" y="460904"/>
                    <a:pt x="112000" y="398820"/>
                    <a:pt x="112000" y="329329"/>
                  </a:cubicBezTo>
                  <a:cubicBezTo>
                    <a:pt x="112000" y="297657"/>
                    <a:pt x="118860" y="267403"/>
                    <a:pt x="131304" y="240300"/>
                  </a:cubicBezTo>
                  <a:cubicBezTo>
                    <a:pt x="156672" y="184361"/>
                    <a:pt x="205173" y="140871"/>
                    <a:pt x="264683" y="121647"/>
                  </a:cubicBezTo>
                  <a:cubicBezTo>
                    <a:pt x="277765" y="117393"/>
                    <a:pt x="291167" y="114399"/>
                    <a:pt x="305207" y="112665"/>
                  </a:cubicBezTo>
                  <a:cubicBezTo>
                    <a:pt x="314460" y="111562"/>
                    <a:pt x="323873" y="110774"/>
                    <a:pt x="333446" y="110774"/>
                  </a:cubicBezTo>
                  <a:cubicBezTo>
                    <a:pt x="389127" y="110774"/>
                    <a:pt x="440181" y="131259"/>
                    <a:pt x="479109" y="164980"/>
                  </a:cubicBezTo>
                  <a:cubicBezTo>
                    <a:pt x="525536" y="205161"/>
                    <a:pt x="554892" y="263936"/>
                    <a:pt x="554892" y="329487"/>
                  </a:cubicBezTo>
                  <a:cubicBezTo>
                    <a:pt x="554892" y="358796"/>
                    <a:pt x="548989" y="386844"/>
                    <a:pt x="538300" y="412371"/>
                  </a:cubicBezTo>
                  <a:cubicBezTo>
                    <a:pt x="539417" y="423401"/>
                    <a:pt x="540215" y="434589"/>
                    <a:pt x="540215" y="445934"/>
                  </a:cubicBezTo>
                  <a:cubicBezTo>
                    <a:pt x="540215" y="510067"/>
                    <a:pt x="521548" y="569945"/>
                    <a:pt x="489480" y="620526"/>
                  </a:cubicBezTo>
                  <a:cubicBezTo>
                    <a:pt x="595097" y="565218"/>
                    <a:pt x="667052" y="455704"/>
                    <a:pt x="667052" y="329487"/>
                  </a:cubicBezTo>
                  <a:cubicBezTo>
                    <a:pt x="667052" y="148750"/>
                    <a:pt x="519633" y="2048"/>
                    <a:pt x="337116" y="315"/>
                  </a:cubicBezTo>
                  <a:close/>
                </a:path>
              </a:pathLst>
            </a:custGeom>
            <a:solidFill>
              <a:srgbClr val="1E959D"/>
            </a:solidFill>
            <a:ln w="7336"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mn-cs"/>
              </a:endParaRPr>
            </a:p>
          </p:txBody>
        </p:sp>
      </p:grpSp>
    </p:spTree>
    <p:extLst>
      <p:ext uri="{BB962C8B-B14F-4D97-AF65-F5344CB8AC3E}">
        <p14:creationId xmlns:p14="http://schemas.microsoft.com/office/powerpoint/2010/main" val="11728339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172953-9124-276A-BB50-BD2F4C24D9BA}"/>
              </a:ext>
            </a:extLst>
          </p:cNvPr>
          <p:cNvSpPr>
            <a:spLocks noGrp="1"/>
          </p:cNvSpPr>
          <p:nvPr>
            <p:ph type="title"/>
          </p:nvPr>
        </p:nvSpPr>
        <p:spPr>
          <a:xfrm>
            <a:off x="644893" y="529389"/>
            <a:ext cx="4408369" cy="152801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6159689-30F3-F218-A97C-F85C6D2A04ED}"/>
              </a:ext>
            </a:extLst>
          </p:cNvPr>
          <p:cNvSpPr>
            <a:spLocks noGrp="1"/>
          </p:cNvSpPr>
          <p:nvPr>
            <p:ph type="pic" idx="1"/>
          </p:nvPr>
        </p:nvSpPr>
        <p:spPr>
          <a:xfrm>
            <a:off x="5274644" y="529389"/>
            <a:ext cx="6448926" cy="581365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B797312A-79E3-C52B-11B9-50A3F6DEE4D1}"/>
              </a:ext>
            </a:extLst>
          </p:cNvPr>
          <p:cNvSpPr>
            <a:spLocks noGrp="1"/>
          </p:cNvSpPr>
          <p:nvPr>
            <p:ph type="body" sz="half" idx="2"/>
          </p:nvPr>
        </p:nvSpPr>
        <p:spPr>
          <a:xfrm>
            <a:off x="644894" y="2057399"/>
            <a:ext cx="4408368" cy="4271211"/>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327308077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wo Column Bulleted Tex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307777"/>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489639"/>
          </a:xfrm>
        </p:spPr>
        <p:txBody>
          <a:bodyPr>
            <a:spAutoFit/>
          </a:bodyPr>
          <a:lstStyle>
            <a:lvl1pPr marL="171450" indent="-171450">
              <a:defRPr lang="en-US" sz="20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307777"/>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489639"/>
          </a:xfrm>
        </p:spPr>
        <p:txBody>
          <a:bodyPr>
            <a:spAutoFit/>
          </a:bodyPr>
          <a:lstStyle>
            <a:lvl1pPr marL="171450" indent="-171450">
              <a:defRPr lang="en-US" sz="20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07544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wo Column Non-Bulleted Tex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307777"/>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1489639"/>
          </a:xfrm>
        </p:spPr>
        <p:txBody>
          <a:bodyPr/>
          <a:lstStyle>
            <a:lvl1pPr marL="0" indent="0">
              <a:buNone/>
              <a:defRPr sz="2000"/>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307777"/>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1489639"/>
          </a:xfrm>
        </p:spPr>
        <p:txBody>
          <a:bodyPr/>
          <a:lstStyle>
            <a:lvl1pPr marL="0" indent="0">
              <a:buNone/>
              <a:defRPr sz="2000"/>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39647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hree Column Bulleted Tex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55032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Four Column Bulleted Tex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197125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Five Column Bulleted Tex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555331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Quote Full Photo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DA7ED4F-056F-C53F-E2BF-EA4A8412DDD9}"/>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bwMode="white">
          <a:xfrm>
            <a:off x="3385" y="0"/>
            <a:ext cx="12185230" cy="6858000"/>
          </a:xfrm>
          <a:prstGeom prst="rect">
            <a:avLst/>
          </a:prstGeom>
        </p:spPr>
      </p:pic>
      <p:pic>
        <p:nvPicPr>
          <p:cNvPr id="12" name="Picture 11">
            <a:extLst>
              <a:ext uri="{FF2B5EF4-FFF2-40B4-BE49-F238E27FC236}">
                <a16:creationId xmlns:a16="http://schemas.microsoft.com/office/drawing/2014/main" id="{DAA83F9C-7592-411B-E1FE-6872AE779BD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574675" y="585788"/>
            <a:ext cx="7262813" cy="5683250"/>
          </a:xfrm>
          <a:prstGeom prst="roundRect">
            <a:avLst>
              <a:gd name="adj" fmla="val 1407"/>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1236663" y="1871327"/>
            <a:ext cx="5948362" cy="553998"/>
          </a:xfrm>
        </p:spPr>
        <p:txBody>
          <a:bodyPr wrap="square" anchor="t">
            <a:sp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n-lt"/>
                <a:ea typeface="+mn-ea"/>
                <a:cs typeface="Segoe Sans Display" pitchFamily="2" charset="0"/>
              </a:defRPr>
            </a:lvl1pPr>
          </a:lstStyle>
          <a:p>
            <a:r>
              <a:rPr lang="en-US"/>
              <a:t>Click to edit Master title style</a:t>
            </a:r>
          </a:p>
        </p:txBody>
      </p:sp>
      <p:grpSp>
        <p:nvGrpSpPr>
          <p:cNvPr id="3" name="Group 2">
            <a:extLst>
              <a:ext uri="{FF2B5EF4-FFF2-40B4-BE49-F238E27FC236}">
                <a16:creationId xmlns:a16="http://schemas.microsoft.com/office/drawing/2014/main" id="{A374D167-A877-DD4F-71B6-1B226D482EC6}"/>
              </a:ext>
              <a:ext uri="{C183D7F6-B498-43B3-948B-1728B52AA6E4}">
                <adec:decorative xmlns:adec="http://schemas.microsoft.com/office/drawing/2017/decorative" val="1"/>
              </a:ext>
            </a:extLst>
          </p:cNvPr>
          <p:cNvGrpSpPr>
            <a:grpSpLocks noChangeAspect="1"/>
          </p:cNvGrpSpPr>
          <p:nvPr userDrawn="1"/>
        </p:nvGrpSpPr>
        <p:grpSpPr bwMode="black">
          <a:xfrm>
            <a:off x="1236663" y="1053765"/>
            <a:ext cx="524538" cy="457200"/>
            <a:chOff x="4169763" y="585788"/>
            <a:chExt cx="713371" cy="622746"/>
          </a:xfrm>
          <a:solidFill>
            <a:schemeClr val="tx2"/>
          </a:solidFill>
        </p:grpSpPr>
        <p:sp>
          <p:nvSpPr>
            <p:cNvPr id="4" name="Graphic 9">
              <a:extLst>
                <a:ext uri="{FF2B5EF4-FFF2-40B4-BE49-F238E27FC236}">
                  <a16:creationId xmlns:a16="http://schemas.microsoft.com/office/drawing/2014/main" id="{7E30BC2E-C9E5-9640-484B-8757872AA340}"/>
                </a:ext>
              </a:extLst>
            </p:cNvPr>
            <p:cNvSpPr/>
            <p:nvPr/>
          </p:nvSpPr>
          <p:spPr bwMode="black">
            <a:xfrm>
              <a:off x="4565666" y="585788"/>
              <a:ext cx="317468" cy="622746"/>
            </a:xfrm>
            <a:custGeom>
              <a:avLst/>
              <a:gdLst>
                <a:gd name="connsiteX0" fmla="*/ 19526 w 317468"/>
                <a:gd name="connsiteY0" fmla="*/ 622746 h 622746"/>
                <a:gd name="connsiteX1" fmla="*/ 0 w 317468"/>
                <a:gd name="connsiteY1" fmla="*/ 603315 h 622746"/>
                <a:gd name="connsiteX2" fmla="*/ 0 w 317468"/>
                <a:gd name="connsiteY2" fmla="*/ 387955 h 622746"/>
                <a:gd name="connsiteX3" fmla="*/ 81915 w 317468"/>
                <a:gd name="connsiteY3" fmla="*/ 123160 h 622746"/>
                <a:gd name="connsiteX4" fmla="*/ 298037 w 317468"/>
                <a:gd name="connsiteY4" fmla="*/ 287 h 622746"/>
                <a:gd name="connsiteX5" fmla="*/ 311944 w 317468"/>
                <a:gd name="connsiteY5" fmla="*/ 11336 h 622746"/>
                <a:gd name="connsiteX6" fmla="*/ 311944 w 317468"/>
                <a:gd name="connsiteY6" fmla="*/ 104681 h 622746"/>
                <a:gd name="connsiteX7" fmla="*/ 304229 w 317468"/>
                <a:gd name="connsiteY7" fmla="*/ 115445 h 622746"/>
                <a:gd name="connsiteX8" fmla="*/ 160401 w 317468"/>
                <a:gd name="connsiteY8" fmla="*/ 237555 h 622746"/>
                <a:gd name="connsiteX9" fmla="*/ 142018 w 317468"/>
                <a:gd name="connsiteY9" fmla="*/ 322709 h 622746"/>
                <a:gd name="connsiteX10" fmla="*/ 149543 w 317468"/>
                <a:gd name="connsiteY10" fmla="*/ 329948 h 622746"/>
                <a:gd name="connsiteX11" fmla="*/ 297942 w 317468"/>
                <a:gd name="connsiteY11" fmla="*/ 329948 h 622746"/>
                <a:gd name="connsiteX12" fmla="*/ 317468 w 317468"/>
                <a:gd name="connsiteY12" fmla="*/ 349379 h 622746"/>
                <a:gd name="connsiteX13" fmla="*/ 317468 w 317468"/>
                <a:gd name="connsiteY13" fmla="*/ 560643 h 622746"/>
                <a:gd name="connsiteX14" fmla="*/ 255461 w 317468"/>
                <a:gd name="connsiteY14" fmla="*/ 622556 h 622746"/>
                <a:gd name="connsiteX15" fmla="*/ 19526 w 317468"/>
                <a:gd name="connsiteY15" fmla="*/ 622556 h 62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7468" h="622746">
                  <a:moveTo>
                    <a:pt x="19526" y="622746"/>
                  </a:moveTo>
                  <a:cubicBezTo>
                    <a:pt x="8763" y="622746"/>
                    <a:pt x="0" y="613983"/>
                    <a:pt x="0" y="603315"/>
                  </a:cubicBezTo>
                  <a:lnTo>
                    <a:pt x="0" y="387955"/>
                  </a:lnTo>
                  <a:cubicBezTo>
                    <a:pt x="0" y="275274"/>
                    <a:pt x="27337" y="186977"/>
                    <a:pt x="81915" y="123160"/>
                  </a:cubicBezTo>
                  <a:cubicBezTo>
                    <a:pt x="133922" y="62295"/>
                    <a:pt x="205931" y="21338"/>
                    <a:pt x="298037" y="287"/>
                  </a:cubicBezTo>
                  <a:cubicBezTo>
                    <a:pt x="305181" y="-1332"/>
                    <a:pt x="311944" y="4097"/>
                    <a:pt x="311944" y="11336"/>
                  </a:cubicBezTo>
                  <a:lnTo>
                    <a:pt x="311944" y="104681"/>
                  </a:lnTo>
                  <a:cubicBezTo>
                    <a:pt x="311944" y="109539"/>
                    <a:pt x="308896" y="113921"/>
                    <a:pt x="304229" y="115445"/>
                  </a:cubicBezTo>
                  <a:cubicBezTo>
                    <a:pt x="233458" y="138876"/>
                    <a:pt x="185452" y="179643"/>
                    <a:pt x="160401" y="237555"/>
                  </a:cubicBezTo>
                  <a:cubicBezTo>
                    <a:pt x="146780" y="266892"/>
                    <a:pt x="140589" y="295277"/>
                    <a:pt x="142018" y="322709"/>
                  </a:cubicBezTo>
                  <a:cubicBezTo>
                    <a:pt x="142208" y="326805"/>
                    <a:pt x="145542" y="329948"/>
                    <a:pt x="149543" y="329948"/>
                  </a:cubicBezTo>
                  <a:lnTo>
                    <a:pt x="297942" y="329948"/>
                  </a:lnTo>
                  <a:cubicBezTo>
                    <a:pt x="308705" y="329948"/>
                    <a:pt x="317468" y="338711"/>
                    <a:pt x="317468" y="349379"/>
                  </a:cubicBezTo>
                  <a:lnTo>
                    <a:pt x="317468" y="560643"/>
                  </a:lnTo>
                  <a:cubicBezTo>
                    <a:pt x="317468" y="594838"/>
                    <a:pt x="289751" y="622556"/>
                    <a:pt x="255461" y="622556"/>
                  </a:cubicBezTo>
                  <a:lnTo>
                    <a:pt x="19526" y="622556"/>
                  </a:lnTo>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5" name="Graphic 9">
              <a:extLst>
                <a:ext uri="{FF2B5EF4-FFF2-40B4-BE49-F238E27FC236}">
                  <a16:creationId xmlns:a16="http://schemas.microsoft.com/office/drawing/2014/main" id="{E3CA75AC-6E69-6F07-C66F-627EE593FCC1}"/>
                </a:ext>
              </a:extLst>
            </p:cNvPr>
            <p:cNvSpPr/>
            <p:nvPr userDrawn="1"/>
          </p:nvSpPr>
          <p:spPr bwMode="black">
            <a:xfrm>
              <a:off x="4169763" y="585788"/>
              <a:ext cx="317468" cy="622746"/>
            </a:xfrm>
            <a:custGeom>
              <a:avLst/>
              <a:gdLst>
                <a:gd name="connsiteX0" fmla="*/ 19526 w 317468"/>
                <a:gd name="connsiteY0" fmla="*/ 622746 h 622746"/>
                <a:gd name="connsiteX1" fmla="*/ 0 w 317468"/>
                <a:gd name="connsiteY1" fmla="*/ 603315 h 622746"/>
                <a:gd name="connsiteX2" fmla="*/ 0 w 317468"/>
                <a:gd name="connsiteY2" fmla="*/ 387955 h 622746"/>
                <a:gd name="connsiteX3" fmla="*/ 81915 w 317468"/>
                <a:gd name="connsiteY3" fmla="*/ 123160 h 622746"/>
                <a:gd name="connsiteX4" fmla="*/ 298037 w 317468"/>
                <a:gd name="connsiteY4" fmla="*/ 287 h 622746"/>
                <a:gd name="connsiteX5" fmla="*/ 311944 w 317468"/>
                <a:gd name="connsiteY5" fmla="*/ 11336 h 622746"/>
                <a:gd name="connsiteX6" fmla="*/ 311944 w 317468"/>
                <a:gd name="connsiteY6" fmla="*/ 104681 h 622746"/>
                <a:gd name="connsiteX7" fmla="*/ 304229 w 317468"/>
                <a:gd name="connsiteY7" fmla="*/ 115445 h 622746"/>
                <a:gd name="connsiteX8" fmla="*/ 160401 w 317468"/>
                <a:gd name="connsiteY8" fmla="*/ 237555 h 622746"/>
                <a:gd name="connsiteX9" fmla="*/ 142018 w 317468"/>
                <a:gd name="connsiteY9" fmla="*/ 322709 h 622746"/>
                <a:gd name="connsiteX10" fmla="*/ 149543 w 317468"/>
                <a:gd name="connsiteY10" fmla="*/ 329948 h 622746"/>
                <a:gd name="connsiteX11" fmla="*/ 297942 w 317468"/>
                <a:gd name="connsiteY11" fmla="*/ 329948 h 622746"/>
                <a:gd name="connsiteX12" fmla="*/ 317468 w 317468"/>
                <a:gd name="connsiteY12" fmla="*/ 349379 h 622746"/>
                <a:gd name="connsiteX13" fmla="*/ 317468 w 317468"/>
                <a:gd name="connsiteY13" fmla="*/ 560643 h 622746"/>
                <a:gd name="connsiteX14" fmla="*/ 255461 w 317468"/>
                <a:gd name="connsiteY14" fmla="*/ 622556 h 622746"/>
                <a:gd name="connsiteX15" fmla="*/ 19526 w 317468"/>
                <a:gd name="connsiteY15" fmla="*/ 622556 h 62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7468" h="622746">
                  <a:moveTo>
                    <a:pt x="19526" y="622746"/>
                  </a:moveTo>
                  <a:cubicBezTo>
                    <a:pt x="8763" y="622746"/>
                    <a:pt x="0" y="613983"/>
                    <a:pt x="0" y="603315"/>
                  </a:cubicBezTo>
                  <a:lnTo>
                    <a:pt x="0" y="387955"/>
                  </a:lnTo>
                  <a:cubicBezTo>
                    <a:pt x="0" y="275274"/>
                    <a:pt x="27337" y="186977"/>
                    <a:pt x="81915" y="123160"/>
                  </a:cubicBezTo>
                  <a:cubicBezTo>
                    <a:pt x="133922" y="62295"/>
                    <a:pt x="205931" y="21338"/>
                    <a:pt x="298037" y="287"/>
                  </a:cubicBezTo>
                  <a:cubicBezTo>
                    <a:pt x="305181" y="-1332"/>
                    <a:pt x="311944" y="4097"/>
                    <a:pt x="311944" y="11336"/>
                  </a:cubicBezTo>
                  <a:lnTo>
                    <a:pt x="311944" y="104681"/>
                  </a:lnTo>
                  <a:cubicBezTo>
                    <a:pt x="311944" y="109539"/>
                    <a:pt x="308896" y="113921"/>
                    <a:pt x="304229" y="115445"/>
                  </a:cubicBezTo>
                  <a:cubicBezTo>
                    <a:pt x="233458" y="138876"/>
                    <a:pt x="185452" y="179643"/>
                    <a:pt x="160401" y="237555"/>
                  </a:cubicBezTo>
                  <a:cubicBezTo>
                    <a:pt x="146780" y="266892"/>
                    <a:pt x="140589" y="295277"/>
                    <a:pt x="142018" y="322709"/>
                  </a:cubicBezTo>
                  <a:cubicBezTo>
                    <a:pt x="142208" y="326805"/>
                    <a:pt x="145542" y="329948"/>
                    <a:pt x="149543" y="329948"/>
                  </a:cubicBezTo>
                  <a:lnTo>
                    <a:pt x="297942" y="329948"/>
                  </a:lnTo>
                  <a:cubicBezTo>
                    <a:pt x="308705" y="329948"/>
                    <a:pt x="317468" y="338711"/>
                    <a:pt x="317468" y="349379"/>
                  </a:cubicBezTo>
                  <a:lnTo>
                    <a:pt x="317468" y="560643"/>
                  </a:lnTo>
                  <a:cubicBezTo>
                    <a:pt x="317468" y="594838"/>
                    <a:pt x="289751" y="622556"/>
                    <a:pt x="255461" y="622556"/>
                  </a:cubicBezTo>
                  <a:lnTo>
                    <a:pt x="19526" y="622556"/>
                  </a:lnTo>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grpSp>
    </p:spTree>
    <p:extLst>
      <p:ext uri="{BB962C8B-B14F-4D97-AF65-F5344CB8AC3E}">
        <p14:creationId xmlns:p14="http://schemas.microsoft.com/office/powerpoint/2010/main" val="6922606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4">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12">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Quote Full Photo 2">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53DC386-0D96-E22F-E2BE-804A581FD2D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bwMode="white">
          <a:xfrm>
            <a:off x="0" y="1551"/>
            <a:ext cx="12192000" cy="6854897"/>
          </a:xfrm>
          <a:prstGeom prst="rect">
            <a:avLst/>
          </a:prstGeom>
        </p:spPr>
      </p:pic>
      <p:pic>
        <p:nvPicPr>
          <p:cNvPr id="12" name="Picture 11">
            <a:extLst>
              <a:ext uri="{FF2B5EF4-FFF2-40B4-BE49-F238E27FC236}">
                <a16:creationId xmlns:a16="http://schemas.microsoft.com/office/drawing/2014/main" id="{DAA83F9C-7592-411B-E1FE-6872AE779BD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574675" y="585788"/>
            <a:ext cx="7262813" cy="5683250"/>
          </a:xfrm>
          <a:prstGeom prst="roundRect">
            <a:avLst>
              <a:gd name="adj" fmla="val 1407"/>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1236663" y="1871327"/>
            <a:ext cx="5948362" cy="553998"/>
          </a:xfrm>
        </p:spPr>
        <p:txBody>
          <a:bodyPr wrap="square" anchor="t">
            <a:sp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n-lt"/>
                <a:ea typeface="+mn-ea"/>
                <a:cs typeface="Segoe Sans Display" pitchFamily="2" charset="0"/>
              </a:defRPr>
            </a:lvl1pPr>
          </a:lstStyle>
          <a:p>
            <a:r>
              <a:rPr lang="en-US"/>
              <a:t>Click to edit Master title style</a:t>
            </a:r>
          </a:p>
        </p:txBody>
      </p:sp>
      <p:grpSp>
        <p:nvGrpSpPr>
          <p:cNvPr id="3" name="Group 2">
            <a:extLst>
              <a:ext uri="{FF2B5EF4-FFF2-40B4-BE49-F238E27FC236}">
                <a16:creationId xmlns:a16="http://schemas.microsoft.com/office/drawing/2014/main" id="{A374D167-A877-DD4F-71B6-1B226D482EC6}"/>
              </a:ext>
              <a:ext uri="{C183D7F6-B498-43B3-948B-1728B52AA6E4}">
                <adec:decorative xmlns:adec="http://schemas.microsoft.com/office/drawing/2017/decorative" val="1"/>
              </a:ext>
            </a:extLst>
          </p:cNvPr>
          <p:cNvGrpSpPr>
            <a:grpSpLocks noChangeAspect="1"/>
          </p:cNvGrpSpPr>
          <p:nvPr userDrawn="1"/>
        </p:nvGrpSpPr>
        <p:grpSpPr bwMode="black">
          <a:xfrm>
            <a:off x="1236663" y="1053765"/>
            <a:ext cx="524538" cy="457200"/>
            <a:chOff x="4169763" y="585788"/>
            <a:chExt cx="713371" cy="622746"/>
          </a:xfrm>
          <a:solidFill>
            <a:schemeClr val="tx2"/>
          </a:solidFill>
        </p:grpSpPr>
        <p:sp>
          <p:nvSpPr>
            <p:cNvPr id="4" name="Graphic 9">
              <a:extLst>
                <a:ext uri="{FF2B5EF4-FFF2-40B4-BE49-F238E27FC236}">
                  <a16:creationId xmlns:a16="http://schemas.microsoft.com/office/drawing/2014/main" id="{7E30BC2E-C9E5-9640-484B-8757872AA340}"/>
                </a:ext>
              </a:extLst>
            </p:cNvPr>
            <p:cNvSpPr/>
            <p:nvPr/>
          </p:nvSpPr>
          <p:spPr bwMode="black">
            <a:xfrm>
              <a:off x="4565666" y="585788"/>
              <a:ext cx="317468" cy="622746"/>
            </a:xfrm>
            <a:custGeom>
              <a:avLst/>
              <a:gdLst>
                <a:gd name="connsiteX0" fmla="*/ 19526 w 317468"/>
                <a:gd name="connsiteY0" fmla="*/ 622746 h 622746"/>
                <a:gd name="connsiteX1" fmla="*/ 0 w 317468"/>
                <a:gd name="connsiteY1" fmla="*/ 603315 h 622746"/>
                <a:gd name="connsiteX2" fmla="*/ 0 w 317468"/>
                <a:gd name="connsiteY2" fmla="*/ 387955 h 622746"/>
                <a:gd name="connsiteX3" fmla="*/ 81915 w 317468"/>
                <a:gd name="connsiteY3" fmla="*/ 123160 h 622746"/>
                <a:gd name="connsiteX4" fmla="*/ 298037 w 317468"/>
                <a:gd name="connsiteY4" fmla="*/ 287 h 622746"/>
                <a:gd name="connsiteX5" fmla="*/ 311944 w 317468"/>
                <a:gd name="connsiteY5" fmla="*/ 11336 h 622746"/>
                <a:gd name="connsiteX6" fmla="*/ 311944 w 317468"/>
                <a:gd name="connsiteY6" fmla="*/ 104681 h 622746"/>
                <a:gd name="connsiteX7" fmla="*/ 304229 w 317468"/>
                <a:gd name="connsiteY7" fmla="*/ 115445 h 622746"/>
                <a:gd name="connsiteX8" fmla="*/ 160401 w 317468"/>
                <a:gd name="connsiteY8" fmla="*/ 237555 h 622746"/>
                <a:gd name="connsiteX9" fmla="*/ 142018 w 317468"/>
                <a:gd name="connsiteY9" fmla="*/ 322709 h 622746"/>
                <a:gd name="connsiteX10" fmla="*/ 149543 w 317468"/>
                <a:gd name="connsiteY10" fmla="*/ 329948 h 622746"/>
                <a:gd name="connsiteX11" fmla="*/ 297942 w 317468"/>
                <a:gd name="connsiteY11" fmla="*/ 329948 h 622746"/>
                <a:gd name="connsiteX12" fmla="*/ 317468 w 317468"/>
                <a:gd name="connsiteY12" fmla="*/ 349379 h 622746"/>
                <a:gd name="connsiteX13" fmla="*/ 317468 w 317468"/>
                <a:gd name="connsiteY13" fmla="*/ 560643 h 622746"/>
                <a:gd name="connsiteX14" fmla="*/ 255461 w 317468"/>
                <a:gd name="connsiteY14" fmla="*/ 622556 h 622746"/>
                <a:gd name="connsiteX15" fmla="*/ 19526 w 317468"/>
                <a:gd name="connsiteY15" fmla="*/ 622556 h 62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7468" h="622746">
                  <a:moveTo>
                    <a:pt x="19526" y="622746"/>
                  </a:moveTo>
                  <a:cubicBezTo>
                    <a:pt x="8763" y="622746"/>
                    <a:pt x="0" y="613983"/>
                    <a:pt x="0" y="603315"/>
                  </a:cubicBezTo>
                  <a:lnTo>
                    <a:pt x="0" y="387955"/>
                  </a:lnTo>
                  <a:cubicBezTo>
                    <a:pt x="0" y="275274"/>
                    <a:pt x="27337" y="186977"/>
                    <a:pt x="81915" y="123160"/>
                  </a:cubicBezTo>
                  <a:cubicBezTo>
                    <a:pt x="133922" y="62295"/>
                    <a:pt x="205931" y="21338"/>
                    <a:pt x="298037" y="287"/>
                  </a:cubicBezTo>
                  <a:cubicBezTo>
                    <a:pt x="305181" y="-1332"/>
                    <a:pt x="311944" y="4097"/>
                    <a:pt x="311944" y="11336"/>
                  </a:cubicBezTo>
                  <a:lnTo>
                    <a:pt x="311944" y="104681"/>
                  </a:lnTo>
                  <a:cubicBezTo>
                    <a:pt x="311944" y="109539"/>
                    <a:pt x="308896" y="113921"/>
                    <a:pt x="304229" y="115445"/>
                  </a:cubicBezTo>
                  <a:cubicBezTo>
                    <a:pt x="233458" y="138876"/>
                    <a:pt x="185452" y="179643"/>
                    <a:pt x="160401" y="237555"/>
                  </a:cubicBezTo>
                  <a:cubicBezTo>
                    <a:pt x="146780" y="266892"/>
                    <a:pt x="140589" y="295277"/>
                    <a:pt x="142018" y="322709"/>
                  </a:cubicBezTo>
                  <a:cubicBezTo>
                    <a:pt x="142208" y="326805"/>
                    <a:pt x="145542" y="329948"/>
                    <a:pt x="149543" y="329948"/>
                  </a:cubicBezTo>
                  <a:lnTo>
                    <a:pt x="297942" y="329948"/>
                  </a:lnTo>
                  <a:cubicBezTo>
                    <a:pt x="308705" y="329948"/>
                    <a:pt x="317468" y="338711"/>
                    <a:pt x="317468" y="349379"/>
                  </a:cubicBezTo>
                  <a:lnTo>
                    <a:pt x="317468" y="560643"/>
                  </a:lnTo>
                  <a:cubicBezTo>
                    <a:pt x="317468" y="594838"/>
                    <a:pt x="289751" y="622556"/>
                    <a:pt x="255461" y="622556"/>
                  </a:cubicBezTo>
                  <a:lnTo>
                    <a:pt x="19526" y="622556"/>
                  </a:lnTo>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5" name="Graphic 9">
              <a:extLst>
                <a:ext uri="{FF2B5EF4-FFF2-40B4-BE49-F238E27FC236}">
                  <a16:creationId xmlns:a16="http://schemas.microsoft.com/office/drawing/2014/main" id="{E3CA75AC-6E69-6F07-C66F-627EE593FCC1}"/>
                </a:ext>
              </a:extLst>
            </p:cNvPr>
            <p:cNvSpPr/>
            <p:nvPr userDrawn="1"/>
          </p:nvSpPr>
          <p:spPr bwMode="black">
            <a:xfrm>
              <a:off x="4169763" y="585788"/>
              <a:ext cx="317468" cy="622746"/>
            </a:xfrm>
            <a:custGeom>
              <a:avLst/>
              <a:gdLst>
                <a:gd name="connsiteX0" fmla="*/ 19526 w 317468"/>
                <a:gd name="connsiteY0" fmla="*/ 622746 h 622746"/>
                <a:gd name="connsiteX1" fmla="*/ 0 w 317468"/>
                <a:gd name="connsiteY1" fmla="*/ 603315 h 622746"/>
                <a:gd name="connsiteX2" fmla="*/ 0 w 317468"/>
                <a:gd name="connsiteY2" fmla="*/ 387955 h 622746"/>
                <a:gd name="connsiteX3" fmla="*/ 81915 w 317468"/>
                <a:gd name="connsiteY3" fmla="*/ 123160 h 622746"/>
                <a:gd name="connsiteX4" fmla="*/ 298037 w 317468"/>
                <a:gd name="connsiteY4" fmla="*/ 287 h 622746"/>
                <a:gd name="connsiteX5" fmla="*/ 311944 w 317468"/>
                <a:gd name="connsiteY5" fmla="*/ 11336 h 622746"/>
                <a:gd name="connsiteX6" fmla="*/ 311944 w 317468"/>
                <a:gd name="connsiteY6" fmla="*/ 104681 h 622746"/>
                <a:gd name="connsiteX7" fmla="*/ 304229 w 317468"/>
                <a:gd name="connsiteY7" fmla="*/ 115445 h 622746"/>
                <a:gd name="connsiteX8" fmla="*/ 160401 w 317468"/>
                <a:gd name="connsiteY8" fmla="*/ 237555 h 622746"/>
                <a:gd name="connsiteX9" fmla="*/ 142018 w 317468"/>
                <a:gd name="connsiteY9" fmla="*/ 322709 h 622746"/>
                <a:gd name="connsiteX10" fmla="*/ 149543 w 317468"/>
                <a:gd name="connsiteY10" fmla="*/ 329948 h 622746"/>
                <a:gd name="connsiteX11" fmla="*/ 297942 w 317468"/>
                <a:gd name="connsiteY11" fmla="*/ 329948 h 622746"/>
                <a:gd name="connsiteX12" fmla="*/ 317468 w 317468"/>
                <a:gd name="connsiteY12" fmla="*/ 349379 h 622746"/>
                <a:gd name="connsiteX13" fmla="*/ 317468 w 317468"/>
                <a:gd name="connsiteY13" fmla="*/ 560643 h 622746"/>
                <a:gd name="connsiteX14" fmla="*/ 255461 w 317468"/>
                <a:gd name="connsiteY14" fmla="*/ 622556 h 622746"/>
                <a:gd name="connsiteX15" fmla="*/ 19526 w 317468"/>
                <a:gd name="connsiteY15" fmla="*/ 622556 h 62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7468" h="622746">
                  <a:moveTo>
                    <a:pt x="19526" y="622746"/>
                  </a:moveTo>
                  <a:cubicBezTo>
                    <a:pt x="8763" y="622746"/>
                    <a:pt x="0" y="613983"/>
                    <a:pt x="0" y="603315"/>
                  </a:cubicBezTo>
                  <a:lnTo>
                    <a:pt x="0" y="387955"/>
                  </a:lnTo>
                  <a:cubicBezTo>
                    <a:pt x="0" y="275274"/>
                    <a:pt x="27337" y="186977"/>
                    <a:pt x="81915" y="123160"/>
                  </a:cubicBezTo>
                  <a:cubicBezTo>
                    <a:pt x="133922" y="62295"/>
                    <a:pt x="205931" y="21338"/>
                    <a:pt x="298037" y="287"/>
                  </a:cubicBezTo>
                  <a:cubicBezTo>
                    <a:pt x="305181" y="-1332"/>
                    <a:pt x="311944" y="4097"/>
                    <a:pt x="311944" y="11336"/>
                  </a:cubicBezTo>
                  <a:lnTo>
                    <a:pt x="311944" y="104681"/>
                  </a:lnTo>
                  <a:cubicBezTo>
                    <a:pt x="311944" y="109539"/>
                    <a:pt x="308896" y="113921"/>
                    <a:pt x="304229" y="115445"/>
                  </a:cubicBezTo>
                  <a:cubicBezTo>
                    <a:pt x="233458" y="138876"/>
                    <a:pt x="185452" y="179643"/>
                    <a:pt x="160401" y="237555"/>
                  </a:cubicBezTo>
                  <a:cubicBezTo>
                    <a:pt x="146780" y="266892"/>
                    <a:pt x="140589" y="295277"/>
                    <a:pt x="142018" y="322709"/>
                  </a:cubicBezTo>
                  <a:cubicBezTo>
                    <a:pt x="142208" y="326805"/>
                    <a:pt x="145542" y="329948"/>
                    <a:pt x="149543" y="329948"/>
                  </a:cubicBezTo>
                  <a:lnTo>
                    <a:pt x="297942" y="329948"/>
                  </a:lnTo>
                  <a:cubicBezTo>
                    <a:pt x="308705" y="329948"/>
                    <a:pt x="317468" y="338711"/>
                    <a:pt x="317468" y="349379"/>
                  </a:cubicBezTo>
                  <a:lnTo>
                    <a:pt x="317468" y="560643"/>
                  </a:lnTo>
                  <a:cubicBezTo>
                    <a:pt x="317468" y="594838"/>
                    <a:pt x="289751" y="622556"/>
                    <a:pt x="255461" y="622556"/>
                  </a:cubicBezTo>
                  <a:lnTo>
                    <a:pt x="19526" y="622556"/>
                  </a:lnTo>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grpSp>
    </p:spTree>
    <p:extLst>
      <p:ext uri="{BB962C8B-B14F-4D97-AF65-F5344CB8AC3E}">
        <p14:creationId xmlns:p14="http://schemas.microsoft.com/office/powerpoint/2010/main" val="32704320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4">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12">
          <p15:clr>
            <a:srgbClr val="A4A3A4"/>
          </p15:clr>
        </p15:guide>
        <p15:guide id="26" pos="6717">
          <p15:clr>
            <a:srgbClr val="A4A3A4"/>
          </p15:clr>
        </p15:guide>
        <p15:guide id="27" pos="6900">
          <p15:clr>
            <a:srgbClr val="A4A3A4"/>
          </p15:clr>
        </p15:guide>
        <p15:guide id="30" orient="horz" pos="288">
          <p15:clr>
            <a:srgbClr val="5ACBF0"/>
          </p15:clr>
        </p15:guide>
        <p15:guide id="33" pos="2976">
          <p15:clr>
            <a:srgbClr val="5ACBF0"/>
          </p15:clr>
        </p15:guide>
        <p15:guide id="34" pos="3336">
          <p15:clr>
            <a:srgbClr val="5ACBF0"/>
          </p15:clr>
        </p15:guide>
        <p15:guide id="35" orient="horz" pos="2160">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Quote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362200"/>
            <a:ext cx="7249224" cy="553998"/>
          </a:xfrm>
        </p:spPr>
        <p:txBody>
          <a:bodyPr wrap="square" anchor="t">
            <a:sp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n-lt"/>
                <a:ea typeface="+mn-ea"/>
                <a:cs typeface="Segoe Sans Display" pitchFamily="2" charset="0"/>
              </a:defRPr>
            </a:lvl1pPr>
          </a:lstStyle>
          <a:p>
            <a:r>
              <a:rPr lang="en-US"/>
              <a:t>Click to edit Master title style</a:t>
            </a:r>
          </a:p>
        </p:txBody>
      </p:sp>
      <p:grpSp>
        <p:nvGrpSpPr>
          <p:cNvPr id="4" name="Group 3">
            <a:extLst>
              <a:ext uri="{FF2B5EF4-FFF2-40B4-BE49-F238E27FC236}">
                <a16:creationId xmlns:a16="http://schemas.microsoft.com/office/drawing/2014/main" id="{A3F2B542-236C-FF9E-34DA-F674AC8C23DA}"/>
              </a:ext>
              <a:ext uri="{C183D7F6-B498-43B3-948B-1728B52AA6E4}">
                <adec:decorative xmlns:adec="http://schemas.microsoft.com/office/drawing/2017/decorative" val="1"/>
              </a:ext>
            </a:extLst>
          </p:cNvPr>
          <p:cNvGrpSpPr>
            <a:grpSpLocks noChangeAspect="1"/>
          </p:cNvGrpSpPr>
          <p:nvPr userDrawn="1"/>
        </p:nvGrpSpPr>
        <p:grpSpPr bwMode="black">
          <a:xfrm>
            <a:off x="582391" y="585788"/>
            <a:ext cx="1049075" cy="914400"/>
            <a:chOff x="4169763" y="585788"/>
            <a:chExt cx="713371" cy="622746"/>
          </a:xfrm>
          <a:solidFill>
            <a:schemeClr val="tx2"/>
          </a:solidFill>
        </p:grpSpPr>
        <p:sp>
          <p:nvSpPr>
            <p:cNvPr id="5" name="Graphic 9">
              <a:extLst>
                <a:ext uri="{FF2B5EF4-FFF2-40B4-BE49-F238E27FC236}">
                  <a16:creationId xmlns:a16="http://schemas.microsoft.com/office/drawing/2014/main" id="{8616100D-B493-F639-609A-59DC6A2B2945}"/>
                </a:ext>
              </a:extLst>
            </p:cNvPr>
            <p:cNvSpPr/>
            <p:nvPr/>
          </p:nvSpPr>
          <p:spPr bwMode="black">
            <a:xfrm>
              <a:off x="4565666" y="585788"/>
              <a:ext cx="317468" cy="622746"/>
            </a:xfrm>
            <a:custGeom>
              <a:avLst/>
              <a:gdLst>
                <a:gd name="connsiteX0" fmla="*/ 19526 w 317468"/>
                <a:gd name="connsiteY0" fmla="*/ 622746 h 622746"/>
                <a:gd name="connsiteX1" fmla="*/ 0 w 317468"/>
                <a:gd name="connsiteY1" fmla="*/ 603315 h 622746"/>
                <a:gd name="connsiteX2" fmla="*/ 0 w 317468"/>
                <a:gd name="connsiteY2" fmla="*/ 387955 h 622746"/>
                <a:gd name="connsiteX3" fmla="*/ 81915 w 317468"/>
                <a:gd name="connsiteY3" fmla="*/ 123160 h 622746"/>
                <a:gd name="connsiteX4" fmla="*/ 298037 w 317468"/>
                <a:gd name="connsiteY4" fmla="*/ 287 h 622746"/>
                <a:gd name="connsiteX5" fmla="*/ 311944 w 317468"/>
                <a:gd name="connsiteY5" fmla="*/ 11336 h 622746"/>
                <a:gd name="connsiteX6" fmla="*/ 311944 w 317468"/>
                <a:gd name="connsiteY6" fmla="*/ 104681 h 622746"/>
                <a:gd name="connsiteX7" fmla="*/ 304229 w 317468"/>
                <a:gd name="connsiteY7" fmla="*/ 115445 h 622746"/>
                <a:gd name="connsiteX8" fmla="*/ 160401 w 317468"/>
                <a:gd name="connsiteY8" fmla="*/ 237555 h 622746"/>
                <a:gd name="connsiteX9" fmla="*/ 142018 w 317468"/>
                <a:gd name="connsiteY9" fmla="*/ 322709 h 622746"/>
                <a:gd name="connsiteX10" fmla="*/ 149543 w 317468"/>
                <a:gd name="connsiteY10" fmla="*/ 329948 h 622746"/>
                <a:gd name="connsiteX11" fmla="*/ 297942 w 317468"/>
                <a:gd name="connsiteY11" fmla="*/ 329948 h 622746"/>
                <a:gd name="connsiteX12" fmla="*/ 317468 w 317468"/>
                <a:gd name="connsiteY12" fmla="*/ 349379 h 622746"/>
                <a:gd name="connsiteX13" fmla="*/ 317468 w 317468"/>
                <a:gd name="connsiteY13" fmla="*/ 560643 h 622746"/>
                <a:gd name="connsiteX14" fmla="*/ 255461 w 317468"/>
                <a:gd name="connsiteY14" fmla="*/ 622556 h 622746"/>
                <a:gd name="connsiteX15" fmla="*/ 19526 w 317468"/>
                <a:gd name="connsiteY15" fmla="*/ 622556 h 62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7468" h="622746">
                  <a:moveTo>
                    <a:pt x="19526" y="622746"/>
                  </a:moveTo>
                  <a:cubicBezTo>
                    <a:pt x="8763" y="622746"/>
                    <a:pt x="0" y="613983"/>
                    <a:pt x="0" y="603315"/>
                  </a:cubicBezTo>
                  <a:lnTo>
                    <a:pt x="0" y="387955"/>
                  </a:lnTo>
                  <a:cubicBezTo>
                    <a:pt x="0" y="275274"/>
                    <a:pt x="27337" y="186977"/>
                    <a:pt x="81915" y="123160"/>
                  </a:cubicBezTo>
                  <a:cubicBezTo>
                    <a:pt x="133922" y="62295"/>
                    <a:pt x="205931" y="21338"/>
                    <a:pt x="298037" y="287"/>
                  </a:cubicBezTo>
                  <a:cubicBezTo>
                    <a:pt x="305181" y="-1332"/>
                    <a:pt x="311944" y="4097"/>
                    <a:pt x="311944" y="11336"/>
                  </a:cubicBezTo>
                  <a:lnTo>
                    <a:pt x="311944" y="104681"/>
                  </a:lnTo>
                  <a:cubicBezTo>
                    <a:pt x="311944" y="109539"/>
                    <a:pt x="308896" y="113921"/>
                    <a:pt x="304229" y="115445"/>
                  </a:cubicBezTo>
                  <a:cubicBezTo>
                    <a:pt x="233458" y="138876"/>
                    <a:pt x="185452" y="179643"/>
                    <a:pt x="160401" y="237555"/>
                  </a:cubicBezTo>
                  <a:cubicBezTo>
                    <a:pt x="146780" y="266892"/>
                    <a:pt x="140589" y="295277"/>
                    <a:pt x="142018" y="322709"/>
                  </a:cubicBezTo>
                  <a:cubicBezTo>
                    <a:pt x="142208" y="326805"/>
                    <a:pt x="145542" y="329948"/>
                    <a:pt x="149543" y="329948"/>
                  </a:cubicBezTo>
                  <a:lnTo>
                    <a:pt x="297942" y="329948"/>
                  </a:lnTo>
                  <a:cubicBezTo>
                    <a:pt x="308705" y="329948"/>
                    <a:pt x="317468" y="338711"/>
                    <a:pt x="317468" y="349379"/>
                  </a:cubicBezTo>
                  <a:lnTo>
                    <a:pt x="317468" y="560643"/>
                  </a:lnTo>
                  <a:cubicBezTo>
                    <a:pt x="317468" y="594838"/>
                    <a:pt x="289751" y="622556"/>
                    <a:pt x="255461" y="622556"/>
                  </a:cubicBezTo>
                  <a:lnTo>
                    <a:pt x="19526" y="622556"/>
                  </a:lnTo>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6" name="Graphic 9">
              <a:extLst>
                <a:ext uri="{FF2B5EF4-FFF2-40B4-BE49-F238E27FC236}">
                  <a16:creationId xmlns:a16="http://schemas.microsoft.com/office/drawing/2014/main" id="{254D7E75-4226-8293-E429-5E73E9130D6B}"/>
                </a:ext>
              </a:extLst>
            </p:cNvPr>
            <p:cNvSpPr/>
            <p:nvPr userDrawn="1"/>
          </p:nvSpPr>
          <p:spPr bwMode="black">
            <a:xfrm>
              <a:off x="4169763" y="585788"/>
              <a:ext cx="317468" cy="622746"/>
            </a:xfrm>
            <a:custGeom>
              <a:avLst/>
              <a:gdLst>
                <a:gd name="connsiteX0" fmla="*/ 19526 w 317468"/>
                <a:gd name="connsiteY0" fmla="*/ 622746 h 622746"/>
                <a:gd name="connsiteX1" fmla="*/ 0 w 317468"/>
                <a:gd name="connsiteY1" fmla="*/ 603315 h 622746"/>
                <a:gd name="connsiteX2" fmla="*/ 0 w 317468"/>
                <a:gd name="connsiteY2" fmla="*/ 387955 h 622746"/>
                <a:gd name="connsiteX3" fmla="*/ 81915 w 317468"/>
                <a:gd name="connsiteY3" fmla="*/ 123160 h 622746"/>
                <a:gd name="connsiteX4" fmla="*/ 298037 w 317468"/>
                <a:gd name="connsiteY4" fmla="*/ 287 h 622746"/>
                <a:gd name="connsiteX5" fmla="*/ 311944 w 317468"/>
                <a:gd name="connsiteY5" fmla="*/ 11336 h 622746"/>
                <a:gd name="connsiteX6" fmla="*/ 311944 w 317468"/>
                <a:gd name="connsiteY6" fmla="*/ 104681 h 622746"/>
                <a:gd name="connsiteX7" fmla="*/ 304229 w 317468"/>
                <a:gd name="connsiteY7" fmla="*/ 115445 h 622746"/>
                <a:gd name="connsiteX8" fmla="*/ 160401 w 317468"/>
                <a:gd name="connsiteY8" fmla="*/ 237555 h 622746"/>
                <a:gd name="connsiteX9" fmla="*/ 142018 w 317468"/>
                <a:gd name="connsiteY9" fmla="*/ 322709 h 622746"/>
                <a:gd name="connsiteX10" fmla="*/ 149543 w 317468"/>
                <a:gd name="connsiteY10" fmla="*/ 329948 h 622746"/>
                <a:gd name="connsiteX11" fmla="*/ 297942 w 317468"/>
                <a:gd name="connsiteY11" fmla="*/ 329948 h 622746"/>
                <a:gd name="connsiteX12" fmla="*/ 317468 w 317468"/>
                <a:gd name="connsiteY12" fmla="*/ 349379 h 622746"/>
                <a:gd name="connsiteX13" fmla="*/ 317468 w 317468"/>
                <a:gd name="connsiteY13" fmla="*/ 560643 h 622746"/>
                <a:gd name="connsiteX14" fmla="*/ 255461 w 317468"/>
                <a:gd name="connsiteY14" fmla="*/ 622556 h 622746"/>
                <a:gd name="connsiteX15" fmla="*/ 19526 w 317468"/>
                <a:gd name="connsiteY15" fmla="*/ 622556 h 62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7468" h="622746">
                  <a:moveTo>
                    <a:pt x="19526" y="622746"/>
                  </a:moveTo>
                  <a:cubicBezTo>
                    <a:pt x="8763" y="622746"/>
                    <a:pt x="0" y="613983"/>
                    <a:pt x="0" y="603315"/>
                  </a:cubicBezTo>
                  <a:lnTo>
                    <a:pt x="0" y="387955"/>
                  </a:lnTo>
                  <a:cubicBezTo>
                    <a:pt x="0" y="275274"/>
                    <a:pt x="27337" y="186977"/>
                    <a:pt x="81915" y="123160"/>
                  </a:cubicBezTo>
                  <a:cubicBezTo>
                    <a:pt x="133922" y="62295"/>
                    <a:pt x="205931" y="21338"/>
                    <a:pt x="298037" y="287"/>
                  </a:cubicBezTo>
                  <a:cubicBezTo>
                    <a:pt x="305181" y="-1332"/>
                    <a:pt x="311944" y="4097"/>
                    <a:pt x="311944" y="11336"/>
                  </a:cubicBezTo>
                  <a:lnTo>
                    <a:pt x="311944" y="104681"/>
                  </a:lnTo>
                  <a:cubicBezTo>
                    <a:pt x="311944" y="109539"/>
                    <a:pt x="308896" y="113921"/>
                    <a:pt x="304229" y="115445"/>
                  </a:cubicBezTo>
                  <a:cubicBezTo>
                    <a:pt x="233458" y="138876"/>
                    <a:pt x="185452" y="179643"/>
                    <a:pt x="160401" y="237555"/>
                  </a:cubicBezTo>
                  <a:cubicBezTo>
                    <a:pt x="146780" y="266892"/>
                    <a:pt x="140589" y="295277"/>
                    <a:pt x="142018" y="322709"/>
                  </a:cubicBezTo>
                  <a:cubicBezTo>
                    <a:pt x="142208" y="326805"/>
                    <a:pt x="145542" y="329948"/>
                    <a:pt x="149543" y="329948"/>
                  </a:cubicBezTo>
                  <a:lnTo>
                    <a:pt x="297942" y="329948"/>
                  </a:lnTo>
                  <a:cubicBezTo>
                    <a:pt x="308705" y="329948"/>
                    <a:pt x="317468" y="338711"/>
                    <a:pt x="317468" y="349379"/>
                  </a:cubicBezTo>
                  <a:lnTo>
                    <a:pt x="317468" y="560643"/>
                  </a:lnTo>
                  <a:cubicBezTo>
                    <a:pt x="317468" y="594838"/>
                    <a:pt x="289751" y="622556"/>
                    <a:pt x="255461" y="622556"/>
                  </a:cubicBezTo>
                  <a:lnTo>
                    <a:pt x="19526" y="622556"/>
                  </a:lnTo>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grpSp>
    </p:spTree>
    <p:extLst>
      <p:ext uri="{BB962C8B-B14F-4D97-AF65-F5344CB8AC3E}">
        <p14:creationId xmlns:p14="http://schemas.microsoft.com/office/powerpoint/2010/main" val="35573120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4">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12">
          <p15:clr>
            <a:srgbClr val="A4A3A4"/>
          </p15:clr>
        </p15:guide>
        <p15:guide id="26" pos="6717">
          <p15:clr>
            <a:srgbClr val="A4A3A4"/>
          </p15:clr>
        </p15:guide>
        <p15:guide id="27" pos="6900">
          <p15:clr>
            <a:srgbClr val="A4A3A4"/>
          </p15:clr>
        </p15:guide>
        <p15:guide id="30" orient="horz" pos="288">
          <p15:clr>
            <a:srgbClr val="5ACBF0"/>
          </p15:clr>
        </p15:guide>
        <p15:guide id="32" orient="horz" pos="14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Quote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2390" y="2362200"/>
            <a:ext cx="7255097" cy="553998"/>
          </a:xfrm>
        </p:spPr>
        <p:txBody>
          <a:bodyPr wrap="square" anchor="t">
            <a:spAutoFit/>
          </a:bodyPr>
          <a:lstStyle>
            <a:lvl1pPr>
              <a:defRPr lang="en-US" sz="3600" b="0" kern="1200" cap="none" spc="-50" baseline="0" dirty="0">
                <a:ln w="3175">
                  <a:noFill/>
                </a:ln>
                <a:solidFill>
                  <a:schemeClr val="tx1"/>
                </a:solidFill>
                <a:effectLst/>
                <a:latin typeface="+mn-lt"/>
                <a:ea typeface="+mn-ea"/>
                <a:cs typeface="Segoe Sans Display" pitchFamily="2" charset="0"/>
              </a:defRPr>
            </a:lvl1pPr>
          </a:lstStyle>
          <a:p>
            <a:r>
              <a:rPr lang="en-US"/>
              <a:t>Click to edit Master title style</a:t>
            </a:r>
          </a:p>
        </p:txBody>
      </p:sp>
      <p:grpSp>
        <p:nvGrpSpPr>
          <p:cNvPr id="3" name="Group 2">
            <a:extLst>
              <a:ext uri="{FF2B5EF4-FFF2-40B4-BE49-F238E27FC236}">
                <a16:creationId xmlns:a16="http://schemas.microsoft.com/office/drawing/2014/main" id="{9DAA9347-2B91-81A1-D35B-C367CA321C46}"/>
              </a:ext>
              <a:ext uri="{C183D7F6-B498-43B3-948B-1728B52AA6E4}">
                <adec:decorative xmlns:adec="http://schemas.microsoft.com/office/drawing/2017/decorative" val="1"/>
              </a:ext>
            </a:extLst>
          </p:cNvPr>
          <p:cNvGrpSpPr>
            <a:grpSpLocks noChangeAspect="1"/>
          </p:cNvGrpSpPr>
          <p:nvPr userDrawn="1"/>
        </p:nvGrpSpPr>
        <p:grpSpPr bwMode="black">
          <a:xfrm>
            <a:off x="582391" y="585788"/>
            <a:ext cx="1049075" cy="914400"/>
            <a:chOff x="4169763" y="585788"/>
            <a:chExt cx="713371" cy="622746"/>
          </a:xfrm>
          <a:solidFill>
            <a:schemeClr val="tx2"/>
          </a:solidFill>
        </p:grpSpPr>
        <p:sp>
          <p:nvSpPr>
            <p:cNvPr id="7" name="Graphic 9">
              <a:extLst>
                <a:ext uri="{FF2B5EF4-FFF2-40B4-BE49-F238E27FC236}">
                  <a16:creationId xmlns:a16="http://schemas.microsoft.com/office/drawing/2014/main" id="{1955151A-4300-7EE0-BD6F-1D9D68052193}"/>
                </a:ext>
              </a:extLst>
            </p:cNvPr>
            <p:cNvSpPr/>
            <p:nvPr/>
          </p:nvSpPr>
          <p:spPr bwMode="black">
            <a:xfrm>
              <a:off x="4565666" y="585788"/>
              <a:ext cx="317468" cy="622746"/>
            </a:xfrm>
            <a:custGeom>
              <a:avLst/>
              <a:gdLst>
                <a:gd name="connsiteX0" fmla="*/ 19526 w 317468"/>
                <a:gd name="connsiteY0" fmla="*/ 622746 h 622746"/>
                <a:gd name="connsiteX1" fmla="*/ 0 w 317468"/>
                <a:gd name="connsiteY1" fmla="*/ 603315 h 622746"/>
                <a:gd name="connsiteX2" fmla="*/ 0 w 317468"/>
                <a:gd name="connsiteY2" fmla="*/ 387955 h 622746"/>
                <a:gd name="connsiteX3" fmla="*/ 81915 w 317468"/>
                <a:gd name="connsiteY3" fmla="*/ 123160 h 622746"/>
                <a:gd name="connsiteX4" fmla="*/ 298037 w 317468"/>
                <a:gd name="connsiteY4" fmla="*/ 287 h 622746"/>
                <a:gd name="connsiteX5" fmla="*/ 311944 w 317468"/>
                <a:gd name="connsiteY5" fmla="*/ 11336 h 622746"/>
                <a:gd name="connsiteX6" fmla="*/ 311944 w 317468"/>
                <a:gd name="connsiteY6" fmla="*/ 104681 h 622746"/>
                <a:gd name="connsiteX7" fmla="*/ 304229 w 317468"/>
                <a:gd name="connsiteY7" fmla="*/ 115445 h 622746"/>
                <a:gd name="connsiteX8" fmla="*/ 160401 w 317468"/>
                <a:gd name="connsiteY8" fmla="*/ 237555 h 622746"/>
                <a:gd name="connsiteX9" fmla="*/ 142018 w 317468"/>
                <a:gd name="connsiteY9" fmla="*/ 322709 h 622746"/>
                <a:gd name="connsiteX10" fmla="*/ 149543 w 317468"/>
                <a:gd name="connsiteY10" fmla="*/ 329948 h 622746"/>
                <a:gd name="connsiteX11" fmla="*/ 297942 w 317468"/>
                <a:gd name="connsiteY11" fmla="*/ 329948 h 622746"/>
                <a:gd name="connsiteX12" fmla="*/ 317468 w 317468"/>
                <a:gd name="connsiteY12" fmla="*/ 349379 h 622746"/>
                <a:gd name="connsiteX13" fmla="*/ 317468 w 317468"/>
                <a:gd name="connsiteY13" fmla="*/ 560643 h 622746"/>
                <a:gd name="connsiteX14" fmla="*/ 255461 w 317468"/>
                <a:gd name="connsiteY14" fmla="*/ 622556 h 622746"/>
                <a:gd name="connsiteX15" fmla="*/ 19526 w 317468"/>
                <a:gd name="connsiteY15" fmla="*/ 622556 h 62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7468" h="622746">
                  <a:moveTo>
                    <a:pt x="19526" y="622746"/>
                  </a:moveTo>
                  <a:cubicBezTo>
                    <a:pt x="8763" y="622746"/>
                    <a:pt x="0" y="613983"/>
                    <a:pt x="0" y="603315"/>
                  </a:cubicBezTo>
                  <a:lnTo>
                    <a:pt x="0" y="387955"/>
                  </a:lnTo>
                  <a:cubicBezTo>
                    <a:pt x="0" y="275274"/>
                    <a:pt x="27337" y="186977"/>
                    <a:pt x="81915" y="123160"/>
                  </a:cubicBezTo>
                  <a:cubicBezTo>
                    <a:pt x="133922" y="62295"/>
                    <a:pt x="205931" y="21338"/>
                    <a:pt x="298037" y="287"/>
                  </a:cubicBezTo>
                  <a:cubicBezTo>
                    <a:pt x="305181" y="-1332"/>
                    <a:pt x="311944" y="4097"/>
                    <a:pt x="311944" y="11336"/>
                  </a:cubicBezTo>
                  <a:lnTo>
                    <a:pt x="311944" y="104681"/>
                  </a:lnTo>
                  <a:cubicBezTo>
                    <a:pt x="311944" y="109539"/>
                    <a:pt x="308896" y="113921"/>
                    <a:pt x="304229" y="115445"/>
                  </a:cubicBezTo>
                  <a:cubicBezTo>
                    <a:pt x="233458" y="138876"/>
                    <a:pt x="185452" y="179643"/>
                    <a:pt x="160401" y="237555"/>
                  </a:cubicBezTo>
                  <a:cubicBezTo>
                    <a:pt x="146780" y="266892"/>
                    <a:pt x="140589" y="295277"/>
                    <a:pt x="142018" y="322709"/>
                  </a:cubicBezTo>
                  <a:cubicBezTo>
                    <a:pt x="142208" y="326805"/>
                    <a:pt x="145542" y="329948"/>
                    <a:pt x="149543" y="329948"/>
                  </a:cubicBezTo>
                  <a:lnTo>
                    <a:pt x="297942" y="329948"/>
                  </a:lnTo>
                  <a:cubicBezTo>
                    <a:pt x="308705" y="329948"/>
                    <a:pt x="317468" y="338711"/>
                    <a:pt x="317468" y="349379"/>
                  </a:cubicBezTo>
                  <a:lnTo>
                    <a:pt x="317468" y="560643"/>
                  </a:lnTo>
                  <a:cubicBezTo>
                    <a:pt x="317468" y="594838"/>
                    <a:pt x="289751" y="622556"/>
                    <a:pt x="255461" y="622556"/>
                  </a:cubicBezTo>
                  <a:lnTo>
                    <a:pt x="19526" y="622556"/>
                  </a:lnTo>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sp>
          <p:nvSpPr>
            <p:cNvPr id="8" name="Graphic 9">
              <a:extLst>
                <a:ext uri="{FF2B5EF4-FFF2-40B4-BE49-F238E27FC236}">
                  <a16:creationId xmlns:a16="http://schemas.microsoft.com/office/drawing/2014/main" id="{CE786B1F-884A-07DB-5A7A-8634C2585C33}"/>
                </a:ext>
              </a:extLst>
            </p:cNvPr>
            <p:cNvSpPr/>
            <p:nvPr userDrawn="1"/>
          </p:nvSpPr>
          <p:spPr bwMode="black">
            <a:xfrm>
              <a:off x="4169763" y="585788"/>
              <a:ext cx="317468" cy="622746"/>
            </a:xfrm>
            <a:custGeom>
              <a:avLst/>
              <a:gdLst>
                <a:gd name="connsiteX0" fmla="*/ 19526 w 317468"/>
                <a:gd name="connsiteY0" fmla="*/ 622746 h 622746"/>
                <a:gd name="connsiteX1" fmla="*/ 0 w 317468"/>
                <a:gd name="connsiteY1" fmla="*/ 603315 h 622746"/>
                <a:gd name="connsiteX2" fmla="*/ 0 w 317468"/>
                <a:gd name="connsiteY2" fmla="*/ 387955 h 622746"/>
                <a:gd name="connsiteX3" fmla="*/ 81915 w 317468"/>
                <a:gd name="connsiteY3" fmla="*/ 123160 h 622746"/>
                <a:gd name="connsiteX4" fmla="*/ 298037 w 317468"/>
                <a:gd name="connsiteY4" fmla="*/ 287 h 622746"/>
                <a:gd name="connsiteX5" fmla="*/ 311944 w 317468"/>
                <a:gd name="connsiteY5" fmla="*/ 11336 h 622746"/>
                <a:gd name="connsiteX6" fmla="*/ 311944 w 317468"/>
                <a:gd name="connsiteY6" fmla="*/ 104681 h 622746"/>
                <a:gd name="connsiteX7" fmla="*/ 304229 w 317468"/>
                <a:gd name="connsiteY7" fmla="*/ 115445 h 622746"/>
                <a:gd name="connsiteX8" fmla="*/ 160401 w 317468"/>
                <a:gd name="connsiteY8" fmla="*/ 237555 h 622746"/>
                <a:gd name="connsiteX9" fmla="*/ 142018 w 317468"/>
                <a:gd name="connsiteY9" fmla="*/ 322709 h 622746"/>
                <a:gd name="connsiteX10" fmla="*/ 149543 w 317468"/>
                <a:gd name="connsiteY10" fmla="*/ 329948 h 622746"/>
                <a:gd name="connsiteX11" fmla="*/ 297942 w 317468"/>
                <a:gd name="connsiteY11" fmla="*/ 329948 h 622746"/>
                <a:gd name="connsiteX12" fmla="*/ 317468 w 317468"/>
                <a:gd name="connsiteY12" fmla="*/ 349379 h 622746"/>
                <a:gd name="connsiteX13" fmla="*/ 317468 w 317468"/>
                <a:gd name="connsiteY13" fmla="*/ 560643 h 622746"/>
                <a:gd name="connsiteX14" fmla="*/ 255461 w 317468"/>
                <a:gd name="connsiteY14" fmla="*/ 622556 h 622746"/>
                <a:gd name="connsiteX15" fmla="*/ 19526 w 317468"/>
                <a:gd name="connsiteY15" fmla="*/ 622556 h 62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7468" h="622746">
                  <a:moveTo>
                    <a:pt x="19526" y="622746"/>
                  </a:moveTo>
                  <a:cubicBezTo>
                    <a:pt x="8763" y="622746"/>
                    <a:pt x="0" y="613983"/>
                    <a:pt x="0" y="603315"/>
                  </a:cubicBezTo>
                  <a:lnTo>
                    <a:pt x="0" y="387955"/>
                  </a:lnTo>
                  <a:cubicBezTo>
                    <a:pt x="0" y="275274"/>
                    <a:pt x="27337" y="186977"/>
                    <a:pt x="81915" y="123160"/>
                  </a:cubicBezTo>
                  <a:cubicBezTo>
                    <a:pt x="133922" y="62295"/>
                    <a:pt x="205931" y="21338"/>
                    <a:pt x="298037" y="287"/>
                  </a:cubicBezTo>
                  <a:cubicBezTo>
                    <a:pt x="305181" y="-1332"/>
                    <a:pt x="311944" y="4097"/>
                    <a:pt x="311944" y="11336"/>
                  </a:cubicBezTo>
                  <a:lnTo>
                    <a:pt x="311944" y="104681"/>
                  </a:lnTo>
                  <a:cubicBezTo>
                    <a:pt x="311944" y="109539"/>
                    <a:pt x="308896" y="113921"/>
                    <a:pt x="304229" y="115445"/>
                  </a:cubicBezTo>
                  <a:cubicBezTo>
                    <a:pt x="233458" y="138876"/>
                    <a:pt x="185452" y="179643"/>
                    <a:pt x="160401" y="237555"/>
                  </a:cubicBezTo>
                  <a:cubicBezTo>
                    <a:pt x="146780" y="266892"/>
                    <a:pt x="140589" y="295277"/>
                    <a:pt x="142018" y="322709"/>
                  </a:cubicBezTo>
                  <a:cubicBezTo>
                    <a:pt x="142208" y="326805"/>
                    <a:pt x="145542" y="329948"/>
                    <a:pt x="149543" y="329948"/>
                  </a:cubicBezTo>
                  <a:lnTo>
                    <a:pt x="297942" y="329948"/>
                  </a:lnTo>
                  <a:cubicBezTo>
                    <a:pt x="308705" y="329948"/>
                    <a:pt x="317468" y="338711"/>
                    <a:pt x="317468" y="349379"/>
                  </a:cubicBezTo>
                  <a:lnTo>
                    <a:pt x="317468" y="560643"/>
                  </a:lnTo>
                  <a:cubicBezTo>
                    <a:pt x="317468" y="594838"/>
                    <a:pt x="289751" y="622556"/>
                    <a:pt x="255461" y="622556"/>
                  </a:cubicBezTo>
                  <a:lnTo>
                    <a:pt x="19526" y="622556"/>
                  </a:lnTo>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grpSp>
    </p:spTree>
    <p:extLst>
      <p:ext uri="{BB962C8B-B14F-4D97-AF65-F5344CB8AC3E}">
        <p14:creationId xmlns:p14="http://schemas.microsoft.com/office/powerpoint/2010/main" val="23042068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44">
          <p15:clr>
            <a:srgbClr val="A4A3A4"/>
          </p15:clr>
        </p15:guide>
        <p15:guide id="16" pos="3749">
          <p15:clr>
            <a:srgbClr val="A4A3A4"/>
          </p15:clr>
        </p15:guide>
        <p15:guide id="17" pos="3932">
          <p15:clr>
            <a:srgbClr val="A4A3A4"/>
          </p15:clr>
        </p15:guide>
        <p15:guide id="18" pos="4344">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12">
          <p15:clr>
            <a:srgbClr val="A4A3A4"/>
          </p15:clr>
        </p15:guide>
        <p15:guide id="26" pos="6717">
          <p15:clr>
            <a:srgbClr val="A4A3A4"/>
          </p15:clr>
        </p15:guide>
        <p15:guide id="27" pos="6900">
          <p15:clr>
            <a:srgbClr val="A4A3A4"/>
          </p15:clr>
        </p15:guide>
        <p15:guide id="30" orient="horz" pos="288">
          <p15:clr>
            <a:srgbClr val="5ACBF0"/>
          </p15:clr>
        </p15:guide>
        <p15:guide id="32" orient="horz" pos="148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Quote &amp; Photo Light">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0C13A1B1-3A31-817C-8E25-E88AD8A3474B}"/>
              </a:ext>
            </a:extLst>
          </p:cNvPr>
          <p:cNvSpPr>
            <a:spLocks noGrp="1"/>
          </p:cNvSpPr>
          <p:nvPr>
            <p:ph type="title"/>
          </p:nvPr>
        </p:nvSpPr>
        <p:spPr>
          <a:xfrm>
            <a:off x="588264" y="2362200"/>
            <a:ext cx="5363274" cy="1107996"/>
          </a:xfrm>
        </p:spPr>
        <p:txBody>
          <a:bodyPr wrap="square" anchor="t">
            <a:spAutoFit/>
          </a:bodyPr>
          <a:lstStyle>
            <a:lvl1pPr>
              <a:defRPr lang="en-US" sz="3600" b="0" kern="1200" cap="none" spc="-50" baseline="0" dirty="0">
                <a:ln w="3175">
                  <a:noFill/>
                </a:ln>
                <a:solidFill>
                  <a:schemeClr val="tx1"/>
                </a:solidFill>
                <a:effectLst/>
                <a:latin typeface="+mn-lt"/>
                <a:ea typeface="+mn-ea"/>
                <a:cs typeface="Segoe Sans Display" pitchFamily="2" charset="0"/>
              </a:defRPr>
            </a:lvl1pPr>
          </a:lstStyle>
          <a:p>
            <a:r>
              <a:rPr lang="en-US"/>
              <a:t>Click to edit Master title style</a:t>
            </a:r>
          </a:p>
        </p:txBody>
      </p:sp>
      <p:grpSp>
        <p:nvGrpSpPr>
          <p:cNvPr id="8" name="Group 7">
            <a:extLst>
              <a:ext uri="{FF2B5EF4-FFF2-40B4-BE49-F238E27FC236}">
                <a16:creationId xmlns:a16="http://schemas.microsoft.com/office/drawing/2014/main" id="{EA4970E2-4100-E5B0-8BBF-0C578DCB4547}"/>
              </a:ext>
              <a:ext uri="{C183D7F6-B498-43B3-948B-1728B52AA6E4}">
                <adec:decorative xmlns:adec="http://schemas.microsoft.com/office/drawing/2017/decorative" val="1"/>
              </a:ext>
            </a:extLst>
          </p:cNvPr>
          <p:cNvGrpSpPr>
            <a:grpSpLocks noChangeAspect="1"/>
          </p:cNvGrpSpPr>
          <p:nvPr userDrawn="1"/>
        </p:nvGrpSpPr>
        <p:grpSpPr bwMode="black">
          <a:xfrm>
            <a:off x="582391" y="585788"/>
            <a:ext cx="1049075" cy="914400"/>
            <a:chOff x="4169763" y="585788"/>
            <a:chExt cx="713371" cy="622746"/>
          </a:xfrm>
          <a:solidFill>
            <a:schemeClr val="tx2"/>
          </a:solidFill>
        </p:grpSpPr>
        <p:sp>
          <p:nvSpPr>
            <p:cNvPr id="9" name="Graphic 9">
              <a:extLst>
                <a:ext uri="{FF2B5EF4-FFF2-40B4-BE49-F238E27FC236}">
                  <a16:creationId xmlns:a16="http://schemas.microsoft.com/office/drawing/2014/main" id="{5A418B6C-90EA-A6F6-53A8-E205BD8DE8CB}"/>
                </a:ext>
              </a:extLst>
            </p:cNvPr>
            <p:cNvSpPr/>
            <p:nvPr/>
          </p:nvSpPr>
          <p:spPr bwMode="black">
            <a:xfrm>
              <a:off x="4565666" y="585788"/>
              <a:ext cx="317468" cy="622746"/>
            </a:xfrm>
            <a:custGeom>
              <a:avLst/>
              <a:gdLst>
                <a:gd name="connsiteX0" fmla="*/ 19526 w 317468"/>
                <a:gd name="connsiteY0" fmla="*/ 622746 h 622746"/>
                <a:gd name="connsiteX1" fmla="*/ 0 w 317468"/>
                <a:gd name="connsiteY1" fmla="*/ 603315 h 622746"/>
                <a:gd name="connsiteX2" fmla="*/ 0 w 317468"/>
                <a:gd name="connsiteY2" fmla="*/ 387955 h 622746"/>
                <a:gd name="connsiteX3" fmla="*/ 81915 w 317468"/>
                <a:gd name="connsiteY3" fmla="*/ 123160 h 622746"/>
                <a:gd name="connsiteX4" fmla="*/ 298037 w 317468"/>
                <a:gd name="connsiteY4" fmla="*/ 287 h 622746"/>
                <a:gd name="connsiteX5" fmla="*/ 311944 w 317468"/>
                <a:gd name="connsiteY5" fmla="*/ 11336 h 622746"/>
                <a:gd name="connsiteX6" fmla="*/ 311944 w 317468"/>
                <a:gd name="connsiteY6" fmla="*/ 104681 h 622746"/>
                <a:gd name="connsiteX7" fmla="*/ 304229 w 317468"/>
                <a:gd name="connsiteY7" fmla="*/ 115445 h 622746"/>
                <a:gd name="connsiteX8" fmla="*/ 160401 w 317468"/>
                <a:gd name="connsiteY8" fmla="*/ 237555 h 622746"/>
                <a:gd name="connsiteX9" fmla="*/ 142018 w 317468"/>
                <a:gd name="connsiteY9" fmla="*/ 322709 h 622746"/>
                <a:gd name="connsiteX10" fmla="*/ 149543 w 317468"/>
                <a:gd name="connsiteY10" fmla="*/ 329948 h 622746"/>
                <a:gd name="connsiteX11" fmla="*/ 297942 w 317468"/>
                <a:gd name="connsiteY11" fmla="*/ 329948 h 622746"/>
                <a:gd name="connsiteX12" fmla="*/ 317468 w 317468"/>
                <a:gd name="connsiteY12" fmla="*/ 349379 h 622746"/>
                <a:gd name="connsiteX13" fmla="*/ 317468 w 317468"/>
                <a:gd name="connsiteY13" fmla="*/ 560643 h 622746"/>
                <a:gd name="connsiteX14" fmla="*/ 255461 w 317468"/>
                <a:gd name="connsiteY14" fmla="*/ 622556 h 622746"/>
                <a:gd name="connsiteX15" fmla="*/ 19526 w 317468"/>
                <a:gd name="connsiteY15" fmla="*/ 622556 h 62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7468" h="622746">
                  <a:moveTo>
                    <a:pt x="19526" y="622746"/>
                  </a:moveTo>
                  <a:cubicBezTo>
                    <a:pt x="8763" y="622746"/>
                    <a:pt x="0" y="613983"/>
                    <a:pt x="0" y="603315"/>
                  </a:cubicBezTo>
                  <a:lnTo>
                    <a:pt x="0" y="387955"/>
                  </a:lnTo>
                  <a:cubicBezTo>
                    <a:pt x="0" y="275274"/>
                    <a:pt x="27337" y="186977"/>
                    <a:pt x="81915" y="123160"/>
                  </a:cubicBezTo>
                  <a:cubicBezTo>
                    <a:pt x="133922" y="62295"/>
                    <a:pt x="205931" y="21338"/>
                    <a:pt x="298037" y="287"/>
                  </a:cubicBezTo>
                  <a:cubicBezTo>
                    <a:pt x="305181" y="-1332"/>
                    <a:pt x="311944" y="4097"/>
                    <a:pt x="311944" y="11336"/>
                  </a:cubicBezTo>
                  <a:lnTo>
                    <a:pt x="311944" y="104681"/>
                  </a:lnTo>
                  <a:cubicBezTo>
                    <a:pt x="311944" y="109539"/>
                    <a:pt x="308896" y="113921"/>
                    <a:pt x="304229" y="115445"/>
                  </a:cubicBezTo>
                  <a:cubicBezTo>
                    <a:pt x="233458" y="138876"/>
                    <a:pt x="185452" y="179643"/>
                    <a:pt x="160401" y="237555"/>
                  </a:cubicBezTo>
                  <a:cubicBezTo>
                    <a:pt x="146780" y="266892"/>
                    <a:pt x="140589" y="295277"/>
                    <a:pt x="142018" y="322709"/>
                  </a:cubicBezTo>
                  <a:cubicBezTo>
                    <a:pt x="142208" y="326805"/>
                    <a:pt x="145542" y="329948"/>
                    <a:pt x="149543" y="329948"/>
                  </a:cubicBezTo>
                  <a:lnTo>
                    <a:pt x="297942" y="329948"/>
                  </a:lnTo>
                  <a:cubicBezTo>
                    <a:pt x="308705" y="329948"/>
                    <a:pt x="317468" y="338711"/>
                    <a:pt x="317468" y="349379"/>
                  </a:cubicBezTo>
                  <a:lnTo>
                    <a:pt x="317468" y="560643"/>
                  </a:lnTo>
                  <a:cubicBezTo>
                    <a:pt x="317468" y="594838"/>
                    <a:pt x="289751" y="622556"/>
                    <a:pt x="255461" y="622556"/>
                  </a:cubicBezTo>
                  <a:lnTo>
                    <a:pt x="19526" y="622556"/>
                  </a:lnTo>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0" name="Graphic 9">
              <a:extLst>
                <a:ext uri="{FF2B5EF4-FFF2-40B4-BE49-F238E27FC236}">
                  <a16:creationId xmlns:a16="http://schemas.microsoft.com/office/drawing/2014/main" id="{514C0156-92FD-636D-EE62-515C7E197032}"/>
                </a:ext>
              </a:extLst>
            </p:cNvPr>
            <p:cNvSpPr/>
            <p:nvPr userDrawn="1"/>
          </p:nvSpPr>
          <p:spPr bwMode="black">
            <a:xfrm>
              <a:off x="4169763" y="585788"/>
              <a:ext cx="317468" cy="622746"/>
            </a:xfrm>
            <a:custGeom>
              <a:avLst/>
              <a:gdLst>
                <a:gd name="connsiteX0" fmla="*/ 19526 w 317468"/>
                <a:gd name="connsiteY0" fmla="*/ 622746 h 622746"/>
                <a:gd name="connsiteX1" fmla="*/ 0 w 317468"/>
                <a:gd name="connsiteY1" fmla="*/ 603315 h 622746"/>
                <a:gd name="connsiteX2" fmla="*/ 0 w 317468"/>
                <a:gd name="connsiteY2" fmla="*/ 387955 h 622746"/>
                <a:gd name="connsiteX3" fmla="*/ 81915 w 317468"/>
                <a:gd name="connsiteY3" fmla="*/ 123160 h 622746"/>
                <a:gd name="connsiteX4" fmla="*/ 298037 w 317468"/>
                <a:gd name="connsiteY4" fmla="*/ 287 h 622746"/>
                <a:gd name="connsiteX5" fmla="*/ 311944 w 317468"/>
                <a:gd name="connsiteY5" fmla="*/ 11336 h 622746"/>
                <a:gd name="connsiteX6" fmla="*/ 311944 w 317468"/>
                <a:gd name="connsiteY6" fmla="*/ 104681 h 622746"/>
                <a:gd name="connsiteX7" fmla="*/ 304229 w 317468"/>
                <a:gd name="connsiteY7" fmla="*/ 115445 h 622746"/>
                <a:gd name="connsiteX8" fmla="*/ 160401 w 317468"/>
                <a:gd name="connsiteY8" fmla="*/ 237555 h 622746"/>
                <a:gd name="connsiteX9" fmla="*/ 142018 w 317468"/>
                <a:gd name="connsiteY9" fmla="*/ 322709 h 622746"/>
                <a:gd name="connsiteX10" fmla="*/ 149543 w 317468"/>
                <a:gd name="connsiteY10" fmla="*/ 329948 h 622746"/>
                <a:gd name="connsiteX11" fmla="*/ 297942 w 317468"/>
                <a:gd name="connsiteY11" fmla="*/ 329948 h 622746"/>
                <a:gd name="connsiteX12" fmla="*/ 317468 w 317468"/>
                <a:gd name="connsiteY12" fmla="*/ 349379 h 622746"/>
                <a:gd name="connsiteX13" fmla="*/ 317468 w 317468"/>
                <a:gd name="connsiteY13" fmla="*/ 560643 h 622746"/>
                <a:gd name="connsiteX14" fmla="*/ 255461 w 317468"/>
                <a:gd name="connsiteY14" fmla="*/ 622556 h 622746"/>
                <a:gd name="connsiteX15" fmla="*/ 19526 w 317468"/>
                <a:gd name="connsiteY15" fmla="*/ 622556 h 62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7468" h="622746">
                  <a:moveTo>
                    <a:pt x="19526" y="622746"/>
                  </a:moveTo>
                  <a:cubicBezTo>
                    <a:pt x="8763" y="622746"/>
                    <a:pt x="0" y="613983"/>
                    <a:pt x="0" y="603315"/>
                  </a:cubicBezTo>
                  <a:lnTo>
                    <a:pt x="0" y="387955"/>
                  </a:lnTo>
                  <a:cubicBezTo>
                    <a:pt x="0" y="275274"/>
                    <a:pt x="27337" y="186977"/>
                    <a:pt x="81915" y="123160"/>
                  </a:cubicBezTo>
                  <a:cubicBezTo>
                    <a:pt x="133922" y="62295"/>
                    <a:pt x="205931" y="21338"/>
                    <a:pt x="298037" y="287"/>
                  </a:cubicBezTo>
                  <a:cubicBezTo>
                    <a:pt x="305181" y="-1332"/>
                    <a:pt x="311944" y="4097"/>
                    <a:pt x="311944" y="11336"/>
                  </a:cubicBezTo>
                  <a:lnTo>
                    <a:pt x="311944" y="104681"/>
                  </a:lnTo>
                  <a:cubicBezTo>
                    <a:pt x="311944" y="109539"/>
                    <a:pt x="308896" y="113921"/>
                    <a:pt x="304229" y="115445"/>
                  </a:cubicBezTo>
                  <a:cubicBezTo>
                    <a:pt x="233458" y="138876"/>
                    <a:pt x="185452" y="179643"/>
                    <a:pt x="160401" y="237555"/>
                  </a:cubicBezTo>
                  <a:cubicBezTo>
                    <a:pt x="146780" y="266892"/>
                    <a:pt x="140589" y="295277"/>
                    <a:pt x="142018" y="322709"/>
                  </a:cubicBezTo>
                  <a:cubicBezTo>
                    <a:pt x="142208" y="326805"/>
                    <a:pt x="145542" y="329948"/>
                    <a:pt x="149543" y="329948"/>
                  </a:cubicBezTo>
                  <a:lnTo>
                    <a:pt x="297942" y="329948"/>
                  </a:lnTo>
                  <a:cubicBezTo>
                    <a:pt x="308705" y="329948"/>
                    <a:pt x="317468" y="338711"/>
                    <a:pt x="317468" y="349379"/>
                  </a:cubicBezTo>
                  <a:lnTo>
                    <a:pt x="317468" y="560643"/>
                  </a:lnTo>
                  <a:cubicBezTo>
                    <a:pt x="317468" y="594838"/>
                    <a:pt x="289751" y="622556"/>
                    <a:pt x="255461" y="622556"/>
                  </a:cubicBezTo>
                  <a:lnTo>
                    <a:pt x="19526" y="622556"/>
                  </a:lnTo>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gr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B709A26E-BED0-3294-69A4-0DDAAE9C2CCB}"/>
              </a:ext>
              <a:ext uri="{C183D7F6-B498-43B3-948B-1728B52AA6E4}">
                <adec:decorative xmlns:adec="http://schemas.microsoft.com/office/drawing/2017/decorative" val="0"/>
              </a:ext>
            </a:extLst>
          </p:cNvPr>
          <p:cNvSpPr>
            <a:spLocks noGrp="1"/>
          </p:cNvSpPr>
          <p:nvPr>
            <p:ph type="pic" sz="quarter" idx="13" hasCustomPrompt="1"/>
          </p:nvPr>
        </p:nvSpPr>
        <p:spPr bwMode="ltGray">
          <a:xfrm>
            <a:off x="7185025" y="1211263"/>
            <a:ext cx="4435475" cy="4435475"/>
          </a:xfrm>
          <a:prstGeom prst="ellipse">
            <a:avLst/>
          </a:prstGeom>
          <a:blipFill>
            <a:blip r:embed="rId2"/>
            <a:stretch>
              <a:fillRect/>
            </a:stretch>
          </a:blipFill>
          <a:effectLst/>
        </p:spPr>
        <p:txBody>
          <a:bodyPr lIns="0" tIns="0" rIns="0" bIns="1005840" anchor="ctr" anchorCtr="0">
            <a:noAutofit/>
          </a:bodyPr>
          <a:lstStyle>
            <a:lvl1pPr marL="0" indent="0" algn="ctr">
              <a:lnSpc>
                <a:spcPct val="100000"/>
              </a:lnSpc>
              <a:buNone/>
              <a:defRPr sz="10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48319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68">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44">
          <p15:clr>
            <a:srgbClr val="A4A3A4"/>
          </p15:clr>
        </p15:guide>
        <p15:guide id="16" pos="3749">
          <p15:clr>
            <a:srgbClr val="A4A3A4"/>
          </p15:clr>
        </p15:guide>
        <p15:guide id="17" pos="3932">
          <p15:clr>
            <a:srgbClr val="A4A3A4"/>
          </p15:clr>
        </p15:guide>
        <p15:guide id="18" pos="4344">
          <p15:clr>
            <a:srgbClr val="A4A3A4"/>
          </p15:clr>
        </p15:guide>
        <p15:guide id="19" pos="4536">
          <p15:clr>
            <a:srgbClr val="A4A3A4"/>
          </p15:clr>
        </p15:guide>
        <p15:guide id="20" pos="4937">
          <p15:clr>
            <a:srgbClr val="A4A3A4"/>
          </p15:clr>
        </p15:guide>
        <p15:guide id="21" pos="5120">
          <p15:clr>
            <a:srgbClr val="A4A3A4"/>
          </p15:clr>
        </p15:guide>
        <p15:guide id="22" pos="5520">
          <p15:clr>
            <a:srgbClr val="A4A3A4"/>
          </p15:clr>
        </p15:guide>
        <p15:guide id="23" pos="5714">
          <p15:clr>
            <a:srgbClr val="A4A3A4"/>
          </p15:clr>
        </p15:guide>
        <p15:guide id="24" pos="6123">
          <p15:clr>
            <a:srgbClr val="A4A3A4"/>
          </p15:clr>
        </p15:guide>
        <p15:guide id="25" pos="6312">
          <p15:clr>
            <a:srgbClr val="A4A3A4"/>
          </p15:clr>
        </p15:guide>
        <p15:guide id="26" pos="6717">
          <p15:clr>
            <a:srgbClr val="A4A3A4"/>
          </p15:clr>
        </p15:guide>
        <p15:guide id="27" pos="6900">
          <p15:clr>
            <a:srgbClr val="A4A3A4"/>
          </p15:clr>
        </p15:guide>
        <p15:guide id="30" orient="horz" pos="288">
          <p15:clr>
            <a:srgbClr val="5ACBF0"/>
          </p15:clr>
        </p15:guide>
        <p15:guide id="32" orient="horz" pos="1488">
          <p15:clr>
            <a:srgbClr val="5ACBF0"/>
          </p15:clr>
        </p15:guide>
        <p15:guide id="33" pos="3336">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Full page picture">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DB1E7546-6F08-2CA1-9CC5-8B527B1021C5}"/>
              </a:ext>
            </a:extLst>
          </p:cNvPr>
          <p:cNvSpPr/>
          <p:nvPr userDrawn="1"/>
        </p:nvSpPr>
        <p:spPr>
          <a:xfrm>
            <a:off x="322521" y="283028"/>
            <a:ext cx="11546958" cy="6291943"/>
          </a:xfrm>
          <a:prstGeom prst="roundRect">
            <a:avLst>
              <a:gd name="adj" fmla="val 3511"/>
            </a:avLst>
          </a:prstGeom>
          <a:solidFill>
            <a:schemeClr val="bg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 name="Picture Placeholder 2">
            <a:extLst>
              <a:ext uri="{FF2B5EF4-FFF2-40B4-BE49-F238E27FC236}">
                <a16:creationId xmlns:a16="http://schemas.microsoft.com/office/drawing/2014/main" id="{96159689-30F3-F218-A97C-F85C6D2A04ED}"/>
              </a:ext>
            </a:extLst>
          </p:cNvPr>
          <p:cNvSpPr>
            <a:spLocks noGrp="1"/>
          </p:cNvSpPr>
          <p:nvPr>
            <p:ph type="pic" idx="1"/>
          </p:nvPr>
        </p:nvSpPr>
        <p:spPr>
          <a:xfrm>
            <a:off x="375385" y="298383"/>
            <a:ext cx="11511815" cy="6285297"/>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253887806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Quote &amp; Photo Dark">
    <p:bg>
      <p:bgRef idx="1001">
        <a:schemeClr val="bg2"/>
      </p:bgRef>
    </p:bg>
    <p:spTree>
      <p:nvGrpSpPr>
        <p:cNvPr id="1" name=""/>
        <p:cNvGrpSpPr/>
        <p:nvPr/>
      </p:nvGrpSpPr>
      <p:grpSpPr>
        <a:xfrm>
          <a:off x="0" y="0"/>
          <a:ext cx="0" cy="0"/>
          <a:chOff x="0" y="0"/>
          <a:chExt cx="0" cy="0"/>
        </a:xfrm>
      </p:grpSpPr>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6D6EE357-5FBE-EF45-EDC4-EB022C75B1A6}"/>
              </a:ext>
              <a:ext uri="{C183D7F6-B498-43B3-948B-1728B52AA6E4}">
                <adec:decorative xmlns:adec="http://schemas.microsoft.com/office/drawing/2017/decorative" val="0"/>
              </a:ext>
            </a:extLst>
          </p:cNvPr>
          <p:cNvSpPr>
            <a:spLocks noGrp="1"/>
          </p:cNvSpPr>
          <p:nvPr>
            <p:ph type="pic" sz="quarter" idx="13" hasCustomPrompt="1"/>
          </p:nvPr>
        </p:nvSpPr>
        <p:spPr bwMode="ltGray">
          <a:xfrm>
            <a:off x="7185025" y="1211262"/>
            <a:ext cx="4435475" cy="4435475"/>
          </a:xfrm>
          <a:prstGeom prst="ellipse">
            <a:avLst/>
          </a:prstGeom>
          <a:blipFill>
            <a:blip r:embed="rId2"/>
            <a:stretch>
              <a:fillRect/>
            </a:stretch>
          </a:blipFill>
          <a:effectLst/>
        </p:spPr>
        <p:txBody>
          <a:bodyPr lIns="0" tIns="0" rIns="0" bIns="1005840" anchor="ctr" anchorCtr="0">
            <a:noAutofit/>
          </a:bodyPr>
          <a:lstStyle>
            <a:lvl1pPr marL="0" indent="0" algn="ctr">
              <a:lnSpc>
                <a:spcPct val="100000"/>
              </a:lnSpc>
              <a:buNone/>
              <a:defRPr sz="10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1" name="Title 1">
            <a:extLst>
              <a:ext uri="{FF2B5EF4-FFF2-40B4-BE49-F238E27FC236}">
                <a16:creationId xmlns:a16="http://schemas.microsoft.com/office/drawing/2014/main" id="{9B16CA86-851F-5A66-72F8-611E57EE996E}"/>
              </a:ext>
            </a:extLst>
          </p:cNvPr>
          <p:cNvSpPr>
            <a:spLocks noGrp="1"/>
          </p:cNvSpPr>
          <p:nvPr>
            <p:ph type="title"/>
          </p:nvPr>
        </p:nvSpPr>
        <p:spPr>
          <a:xfrm>
            <a:off x="588264" y="2362200"/>
            <a:ext cx="5363274" cy="1107996"/>
          </a:xfrm>
        </p:spPr>
        <p:txBody>
          <a:bodyPr wrap="square" anchor="t">
            <a:spAutoFit/>
          </a:bodyPr>
          <a:lstStyle>
            <a:lvl1pPr>
              <a:defRPr lang="en-US" sz="3600" b="0" kern="1200" cap="none" spc="-50" baseline="0" dirty="0">
                <a:ln w="3175">
                  <a:noFill/>
                </a:ln>
                <a:solidFill>
                  <a:schemeClr val="tx1"/>
                </a:solidFill>
                <a:effectLst/>
                <a:latin typeface="+mn-lt"/>
                <a:ea typeface="+mn-ea"/>
                <a:cs typeface="Segoe Sans Display" pitchFamily="2" charset="0"/>
              </a:defRPr>
            </a:lvl1pPr>
          </a:lstStyle>
          <a:p>
            <a:r>
              <a:rPr lang="en-US"/>
              <a:t>Click to edit Master title style</a:t>
            </a:r>
          </a:p>
        </p:txBody>
      </p:sp>
      <p:grpSp>
        <p:nvGrpSpPr>
          <p:cNvPr id="12" name="Group 11">
            <a:extLst>
              <a:ext uri="{FF2B5EF4-FFF2-40B4-BE49-F238E27FC236}">
                <a16:creationId xmlns:a16="http://schemas.microsoft.com/office/drawing/2014/main" id="{E0A80FC4-BF13-32EC-AC2C-CCF799F915D8}"/>
              </a:ext>
              <a:ext uri="{C183D7F6-B498-43B3-948B-1728B52AA6E4}">
                <adec:decorative xmlns:adec="http://schemas.microsoft.com/office/drawing/2017/decorative" val="1"/>
              </a:ext>
            </a:extLst>
          </p:cNvPr>
          <p:cNvGrpSpPr>
            <a:grpSpLocks noChangeAspect="1"/>
          </p:cNvGrpSpPr>
          <p:nvPr userDrawn="1"/>
        </p:nvGrpSpPr>
        <p:grpSpPr bwMode="black">
          <a:xfrm>
            <a:off x="582391" y="585788"/>
            <a:ext cx="1049075" cy="914400"/>
            <a:chOff x="4169763" y="585788"/>
            <a:chExt cx="713371" cy="622746"/>
          </a:xfrm>
          <a:solidFill>
            <a:schemeClr val="tx2"/>
          </a:solidFill>
        </p:grpSpPr>
        <p:sp>
          <p:nvSpPr>
            <p:cNvPr id="13" name="Graphic 9">
              <a:extLst>
                <a:ext uri="{FF2B5EF4-FFF2-40B4-BE49-F238E27FC236}">
                  <a16:creationId xmlns:a16="http://schemas.microsoft.com/office/drawing/2014/main" id="{ACB80D2C-8BBC-86B2-4F0A-E84BC66B3773}"/>
                </a:ext>
              </a:extLst>
            </p:cNvPr>
            <p:cNvSpPr/>
            <p:nvPr/>
          </p:nvSpPr>
          <p:spPr bwMode="black">
            <a:xfrm>
              <a:off x="4565666" y="585788"/>
              <a:ext cx="317468" cy="622746"/>
            </a:xfrm>
            <a:custGeom>
              <a:avLst/>
              <a:gdLst>
                <a:gd name="connsiteX0" fmla="*/ 19526 w 317468"/>
                <a:gd name="connsiteY0" fmla="*/ 622746 h 622746"/>
                <a:gd name="connsiteX1" fmla="*/ 0 w 317468"/>
                <a:gd name="connsiteY1" fmla="*/ 603315 h 622746"/>
                <a:gd name="connsiteX2" fmla="*/ 0 w 317468"/>
                <a:gd name="connsiteY2" fmla="*/ 387955 h 622746"/>
                <a:gd name="connsiteX3" fmla="*/ 81915 w 317468"/>
                <a:gd name="connsiteY3" fmla="*/ 123160 h 622746"/>
                <a:gd name="connsiteX4" fmla="*/ 298037 w 317468"/>
                <a:gd name="connsiteY4" fmla="*/ 287 h 622746"/>
                <a:gd name="connsiteX5" fmla="*/ 311944 w 317468"/>
                <a:gd name="connsiteY5" fmla="*/ 11336 h 622746"/>
                <a:gd name="connsiteX6" fmla="*/ 311944 w 317468"/>
                <a:gd name="connsiteY6" fmla="*/ 104681 h 622746"/>
                <a:gd name="connsiteX7" fmla="*/ 304229 w 317468"/>
                <a:gd name="connsiteY7" fmla="*/ 115445 h 622746"/>
                <a:gd name="connsiteX8" fmla="*/ 160401 w 317468"/>
                <a:gd name="connsiteY8" fmla="*/ 237555 h 622746"/>
                <a:gd name="connsiteX9" fmla="*/ 142018 w 317468"/>
                <a:gd name="connsiteY9" fmla="*/ 322709 h 622746"/>
                <a:gd name="connsiteX10" fmla="*/ 149543 w 317468"/>
                <a:gd name="connsiteY10" fmla="*/ 329948 h 622746"/>
                <a:gd name="connsiteX11" fmla="*/ 297942 w 317468"/>
                <a:gd name="connsiteY11" fmla="*/ 329948 h 622746"/>
                <a:gd name="connsiteX12" fmla="*/ 317468 w 317468"/>
                <a:gd name="connsiteY12" fmla="*/ 349379 h 622746"/>
                <a:gd name="connsiteX13" fmla="*/ 317468 w 317468"/>
                <a:gd name="connsiteY13" fmla="*/ 560643 h 622746"/>
                <a:gd name="connsiteX14" fmla="*/ 255461 w 317468"/>
                <a:gd name="connsiteY14" fmla="*/ 622556 h 622746"/>
                <a:gd name="connsiteX15" fmla="*/ 19526 w 317468"/>
                <a:gd name="connsiteY15" fmla="*/ 622556 h 62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7468" h="622746">
                  <a:moveTo>
                    <a:pt x="19526" y="622746"/>
                  </a:moveTo>
                  <a:cubicBezTo>
                    <a:pt x="8763" y="622746"/>
                    <a:pt x="0" y="613983"/>
                    <a:pt x="0" y="603315"/>
                  </a:cubicBezTo>
                  <a:lnTo>
                    <a:pt x="0" y="387955"/>
                  </a:lnTo>
                  <a:cubicBezTo>
                    <a:pt x="0" y="275274"/>
                    <a:pt x="27337" y="186977"/>
                    <a:pt x="81915" y="123160"/>
                  </a:cubicBezTo>
                  <a:cubicBezTo>
                    <a:pt x="133922" y="62295"/>
                    <a:pt x="205931" y="21338"/>
                    <a:pt x="298037" y="287"/>
                  </a:cubicBezTo>
                  <a:cubicBezTo>
                    <a:pt x="305181" y="-1332"/>
                    <a:pt x="311944" y="4097"/>
                    <a:pt x="311944" y="11336"/>
                  </a:cubicBezTo>
                  <a:lnTo>
                    <a:pt x="311944" y="104681"/>
                  </a:lnTo>
                  <a:cubicBezTo>
                    <a:pt x="311944" y="109539"/>
                    <a:pt x="308896" y="113921"/>
                    <a:pt x="304229" y="115445"/>
                  </a:cubicBezTo>
                  <a:cubicBezTo>
                    <a:pt x="233458" y="138876"/>
                    <a:pt x="185452" y="179643"/>
                    <a:pt x="160401" y="237555"/>
                  </a:cubicBezTo>
                  <a:cubicBezTo>
                    <a:pt x="146780" y="266892"/>
                    <a:pt x="140589" y="295277"/>
                    <a:pt x="142018" y="322709"/>
                  </a:cubicBezTo>
                  <a:cubicBezTo>
                    <a:pt x="142208" y="326805"/>
                    <a:pt x="145542" y="329948"/>
                    <a:pt x="149543" y="329948"/>
                  </a:cubicBezTo>
                  <a:lnTo>
                    <a:pt x="297942" y="329948"/>
                  </a:lnTo>
                  <a:cubicBezTo>
                    <a:pt x="308705" y="329948"/>
                    <a:pt x="317468" y="338711"/>
                    <a:pt x="317468" y="349379"/>
                  </a:cubicBezTo>
                  <a:lnTo>
                    <a:pt x="317468" y="560643"/>
                  </a:lnTo>
                  <a:cubicBezTo>
                    <a:pt x="317468" y="594838"/>
                    <a:pt x="289751" y="622556"/>
                    <a:pt x="255461" y="622556"/>
                  </a:cubicBezTo>
                  <a:lnTo>
                    <a:pt x="19526" y="622556"/>
                  </a:lnTo>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sp>
          <p:nvSpPr>
            <p:cNvPr id="14" name="Graphic 9">
              <a:extLst>
                <a:ext uri="{FF2B5EF4-FFF2-40B4-BE49-F238E27FC236}">
                  <a16:creationId xmlns:a16="http://schemas.microsoft.com/office/drawing/2014/main" id="{730E620F-1CE6-FC30-06F9-60DE40676085}"/>
                </a:ext>
              </a:extLst>
            </p:cNvPr>
            <p:cNvSpPr/>
            <p:nvPr userDrawn="1"/>
          </p:nvSpPr>
          <p:spPr bwMode="black">
            <a:xfrm>
              <a:off x="4169763" y="585788"/>
              <a:ext cx="317468" cy="622746"/>
            </a:xfrm>
            <a:custGeom>
              <a:avLst/>
              <a:gdLst>
                <a:gd name="connsiteX0" fmla="*/ 19526 w 317468"/>
                <a:gd name="connsiteY0" fmla="*/ 622746 h 622746"/>
                <a:gd name="connsiteX1" fmla="*/ 0 w 317468"/>
                <a:gd name="connsiteY1" fmla="*/ 603315 h 622746"/>
                <a:gd name="connsiteX2" fmla="*/ 0 w 317468"/>
                <a:gd name="connsiteY2" fmla="*/ 387955 h 622746"/>
                <a:gd name="connsiteX3" fmla="*/ 81915 w 317468"/>
                <a:gd name="connsiteY3" fmla="*/ 123160 h 622746"/>
                <a:gd name="connsiteX4" fmla="*/ 298037 w 317468"/>
                <a:gd name="connsiteY4" fmla="*/ 287 h 622746"/>
                <a:gd name="connsiteX5" fmla="*/ 311944 w 317468"/>
                <a:gd name="connsiteY5" fmla="*/ 11336 h 622746"/>
                <a:gd name="connsiteX6" fmla="*/ 311944 w 317468"/>
                <a:gd name="connsiteY6" fmla="*/ 104681 h 622746"/>
                <a:gd name="connsiteX7" fmla="*/ 304229 w 317468"/>
                <a:gd name="connsiteY7" fmla="*/ 115445 h 622746"/>
                <a:gd name="connsiteX8" fmla="*/ 160401 w 317468"/>
                <a:gd name="connsiteY8" fmla="*/ 237555 h 622746"/>
                <a:gd name="connsiteX9" fmla="*/ 142018 w 317468"/>
                <a:gd name="connsiteY9" fmla="*/ 322709 h 622746"/>
                <a:gd name="connsiteX10" fmla="*/ 149543 w 317468"/>
                <a:gd name="connsiteY10" fmla="*/ 329948 h 622746"/>
                <a:gd name="connsiteX11" fmla="*/ 297942 w 317468"/>
                <a:gd name="connsiteY11" fmla="*/ 329948 h 622746"/>
                <a:gd name="connsiteX12" fmla="*/ 317468 w 317468"/>
                <a:gd name="connsiteY12" fmla="*/ 349379 h 622746"/>
                <a:gd name="connsiteX13" fmla="*/ 317468 w 317468"/>
                <a:gd name="connsiteY13" fmla="*/ 560643 h 622746"/>
                <a:gd name="connsiteX14" fmla="*/ 255461 w 317468"/>
                <a:gd name="connsiteY14" fmla="*/ 622556 h 622746"/>
                <a:gd name="connsiteX15" fmla="*/ 19526 w 317468"/>
                <a:gd name="connsiteY15" fmla="*/ 622556 h 62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7468" h="622746">
                  <a:moveTo>
                    <a:pt x="19526" y="622746"/>
                  </a:moveTo>
                  <a:cubicBezTo>
                    <a:pt x="8763" y="622746"/>
                    <a:pt x="0" y="613983"/>
                    <a:pt x="0" y="603315"/>
                  </a:cubicBezTo>
                  <a:lnTo>
                    <a:pt x="0" y="387955"/>
                  </a:lnTo>
                  <a:cubicBezTo>
                    <a:pt x="0" y="275274"/>
                    <a:pt x="27337" y="186977"/>
                    <a:pt x="81915" y="123160"/>
                  </a:cubicBezTo>
                  <a:cubicBezTo>
                    <a:pt x="133922" y="62295"/>
                    <a:pt x="205931" y="21338"/>
                    <a:pt x="298037" y="287"/>
                  </a:cubicBezTo>
                  <a:cubicBezTo>
                    <a:pt x="305181" y="-1332"/>
                    <a:pt x="311944" y="4097"/>
                    <a:pt x="311944" y="11336"/>
                  </a:cubicBezTo>
                  <a:lnTo>
                    <a:pt x="311944" y="104681"/>
                  </a:lnTo>
                  <a:cubicBezTo>
                    <a:pt x="311944" y="109539"/>
                    <a:pt x="308896" y="113921"/>
                    <a:pt x="304229" y="115445"/>
                  </a:cubicBezTo>
                  <a:cubicBezTo>
                    <a:pt x="233458" y="138876"/>
                    <a:pt x="185452" y="179643"/>
                    <a:pt x="160401" y="237555"/>
                  </a:cubicBezTo>
                  <a:cubicBezTo>
                    <a:pt x="146780" y="266892"/>
                    <a:pt x="140589" y="295277"/>
                    <a:pt x="142018" y="322709"/>
                  </a:cubicBezTo>
                  <a:cubicBezTo>
                    <a:pt x="142208" y="326805"/>
                    <a:pt x="145542" y="329948"/>
                    <a:pt x="149543" y="329948"/>
                  </a:cubicBezTo>
                  <a:lnTo>
                    <a:pt x="297942" y="329948"/>
                  </a:lnTo>
                  <a:cubicBezTo>
                    <a:pt x="308705" y="329948"/>
                    <a:pt x="317468" y="338711"/>
                    <a:pt x="317468" y="349379"/>
                  </a:cubicBezTo>
                  <a:lnTo>
                    <a:pt x="317468" y="560643"/>
                  </a:lnTo>
                  <a:cubicBezTo>
                    <a:pt x="317468" y="594838"/>
                    <a:pt x="289751" y="622556"/>
                    <a:pt x="255461" y="622556"/>
                  </a:cubicBezTo>
                  <a:lnTo>
                    <a:pt x="19526" y="622556"/>
                  </a:lnTo>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grpSp>
    </p:spTree>
    <p:extLst>
      <p:ext uri="{BB962C8B-B14F-4D97-AF65-F5344CB8AC3E}">
        <p14:creationId xmlns:p14="http://schemas.microsoft.com/office/powerpoint/2010/main" val="12440570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44">
          <p15:clr>
            <a:srgbClr val="A4A3A4"/>
          </p15:clr>
        </p15:guide>
        <p15:guide id="16" pos="3749">
          <p15:clr>
            <a:srgbClr val="A4A3A4"/>
          </p15:clr>
        </p15:guide>
        <p15:guide id="17" pos="3932">
          <p15:clr>
            <a:srgbClr val="A4A3A4"/>
          </p15:clr>
        </p15:guide>
        <p15:guide id="18" pos="4344">
          <p15:clr>
            <a:srgbClr val="A4A3A4"/>
          </p15:clr>
        </p15:guide>
        <p15:guide id="19" pos="453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12">
          <p15:clr>
            <a:srgbClr val="A4A3A4"/>
          </p15:clr>
        </p15:guide>
        <p15:guide id="26" pos="6717">
          <p15:clr>
            <a:srgbClr val="A4A3A4"/>
          </p15:clr>
        </p15:guide>
        <p15:guide id="27" pos="6900">
          <p15:clr>
            <a:srgbClr val="A4A3A4"/>
          </p15:clr>
        </p15:guide>
        <p15:guide id="30" orient="horz" pos="288">
          <p15:clr>
            <a:srgbClr val="5ACBF0"/>
          </p15:clr>
        </p15:guide>
        <p15:guide id="32" orient="horz" pos="1488">
          <p15:clr>
            <a:srgbClr val="5ACBF0"/>
          </p15:clr>
        </p15:guide>
        <p15:guide id="33" pos="3336">
          <p15:clr>
            <a:srgbClr val="A4A3A4"/>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Content &amp; Square Photo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8"/>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 uri="{C183D7F6-B498-43B3-948B-1728B52AA6E4}">
                <adec:decorative xmlns:adec="http://schemas.microsoft.com/office/drawing/2017/decorative" val="0"/>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7205109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Content &amp; 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 uri="{C183D7F6-B498-43B3-948B-1728B52AA6E4}">
                <adec:decorative xmlns:adec="http://schemas.microsoft.com/office/drawing/2017/decorative" val="0"/>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9920815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Content &amp; 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 uri="{C183D7F6-B498-43B3-948B-1728B52AA6E4}">
                <adec:decorative xmlns:adec="http://schemas.microsoft.com/office/drawing/2017/decorative" val="0"/>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5936214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Photo Full Bleed Lower Text">
    <p:bg>
      <p:bgRef idx="1001">
        <a:schemeClr val="bg2"/>
      </p:bgRef>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 uri="{C183D7F6-B498-43B3-948B-1728B52AA6E4}">
                <adec:decorative xmlns:adec="http://schemas.microsoft.com/office/drawing/2017/decorative" val="0"/>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 uri="{C183D7F6-B498-43B3-948B-1728B52AA6E4}">
                <adec:decorative xmlns:adec="http://schemas.microsoft.com/office/drawing/2017/decorative" val="0"/>
              </a:ext>
            </a:extLst>
          </p:cNvPr>
          <p:cNvSpPr>
            <a:spLocks noGrp="1"/>
          </p:cNvSpPr>
          <p:nvPr>
            <p:ph type="title"/>
          </p:nvPr>
        </p:nvSpPr>
        <p:spPr bwMode="blackWhite">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chemeClr val="tx1"/>
                </a:solidFill>
              </a:defRPr>
            </a:lvl1pPr>
          </a:lstStyle>
          <a:p>
            <a:r>
              <a:rPr lang="en-US"/>
              <a:t>Click to edit Master title style</a:t>
            </a:r>
          </a:p>
        </p:txBody>
      </p:sp>
    </p:spTree>
    <p:extLst>
      <p:ext uri="{BB962C8B-B14F-4D97-AF65-F5344CB8AC3E}">
        <p14:creationId xmlns:p14="http://schemas.microsoft.com/office/powerpoint/2010/main" val="82859562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Photo Full Bleed Left Text">
    <p:bg>
      <p:bgRef idx="1001">
        <a:schemeClr val="bg2"/>
      </p:bgRef>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 uri="{C183D7F6-B498-43B3-948B-1728B52AA6E4}">
                <adec:decorative xmlns:adec="http://schemas.microsoft.com/office/drawing/2017/decorative" val="0"/>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 uri="{C183D7F6-B498-43B3-948B-1728B52AA6E4}">
                <adec:decorative xmlns:adec="http://schemas.microsoft.com/office/drawing/2017/decorative" val="0"/>
              </a:ext>
            </a:extLst>
          </p:cNvPr>
          <p:cNvSpPr>
            <a:spLocks noGrp="1"/>
          </p:cNvSpPr>
          <p:nvPr>
            <p:ph type="title" hasCustomPrompt="1"/>
          </p:nvPr>
        </p:nvSpPr>
        <p:spPr bwMode="blackWhite">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chemeClr val="tx1"/>
                </a:soli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231139506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Photo Full Bleed Right Text">
    <p:bg>
      <p:bgRef idx="1001">
        <a:schemeClr val="bg2"/>
      </p:bgRef>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 uri="{C183D7F6-B498-43B3-948B-1728B52AA6E4}">
                <adec:decorative xmlns:adec="http://schemas.microsoft.com/office/drawing/2017/decorative" val="0"/>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 uri="{C183D7F6-B498-43B3-948B-1728B52AA6E4}">
                <adec:decorative xmlns:adec="http://schemas.microsoft.com/office/drawing/2017/decorative" val="0"/>
              </a:ext>
            </a:extLst>
          </p:cNvPr>
          <p:cNvSpPr>
            <a:spLocks noGrp="1"/>
          </p:cNvSpPr>
          <p:nvPr>
            <p:ph type="title" hasCustomPrompt="1"/>
          </p:nvPr>
        </p:nvSpPr>
        <p:spPr bwMode="blackWhite">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chemeClr val="tx1"/>
                </a:soli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6043698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op Horizontal Photo Lower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 uri="{C183D7F6-B498-43B3-948B-1728B52AA6E4}">
                <adec:decorative xmlns:adec="http://schemas.microsoft.com/office/drawing/2017/decorative" val="0"/>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851200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Bottom Horizontal Photo Upper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 uri="{C183D7F6-B498-43B3-948B-1728B52AA6E4}">
                <adec:decorative xmlns:adec="http://schemas.microsoft.com/office/drawing/2017/decorative" val="0"/>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8129329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 uri="{C183D7F6-B498-43B3-948B-1728B52AA6E4}">
                <adec:decorative xmlns:adec="http://schemas.microsoft.com/office/drawing/2017/decorative" val="0"/>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 uri="{C183D7F6-B498-43B3-948B-1728B52AA6E4}">
                <adec:decorative xmlns:adec="http://schemas.microsoft.com/office/drawing/2017/decorative" val="0"/>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547877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reserve="1">
  <p:cSld name="Rainbow Blank">
    <p:bg>
      <p:bgPr>
        <a:gradFill>
          <a:gsLst>
            <a:gs pos="2000">
              <a:srgbClr val="0179D4"/>
            </a:gs>
            <a:gs pos="32000">
              <a:srgbClr val="2CB6FF"/>
            </a:gs>
            <a:gs pos="44000">
              <a:srgbClr val="2DB6FF"/>
            </a:gs>
            <a:gs pos="81000">
              <a:srgbClr val="D962FA"/>
            </a:gs>
            <a:gs pos="96000">
              <a:srgbClr val="F69991"/>
            </a:gs>
          </a:gsLst>
          <a:lin ang="3600000" scaled="0"/>
        </a:gra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0239FA0-8DC7-5F1D-3921-B8597DF32CB1}"/>
              </a:ext>
            </a:extLst>
          </p:cNvPr>
          <p:cNvSpPr/>
          <p:nvPr userDrawn="1"/>
        </p:nvSpPr>
        <p:spPr>
          <a:xfrm>
            <a:off x="1" y="0"/>
            <a:ext cx="12192000" cy="6858000"/>
          </a:xfrm>
          <a:prstGeom prst="rect">
            <a:avLst/>
          </a:prstGeom>
          <a:solidFill>
            <a:schemeClr val="bg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2754965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 uri="{C183D7F6-B498-43B3-948B-1728B52AA6E4}">
                <adec:decorative xmlns:adec="http://schemas.microsoft.com/office/drawing/2017/decorative" val="0"/>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 uri="{C183D7F6-B498-43B3-948B-1728B52AA6E4}">
                <adec:decorative xmlns:adec="http://schemas.microsoft.com/office/drawing/2017/decorative" val="0"/>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 uri="{C183D7F6-B498-43B3-948B-1728B52AA6E4}">
                <adec:decorative xmlns:adec="http://schemas.microsoft.com/office/drawing/2017/decorative" val="0"/>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5064142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4078388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wo Filmstrip Photos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335050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hree Filmstrip Photos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4226965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Four Filmstrip Photos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1504698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Five Filmstrip Photos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536934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hree Round Photos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Tree>
    <p:extLst>
      <p:ext uri="{BB962C8B-B14F-4D97-AF65-F5344CB8AC3E}">
        <p14:creationId xmlns:p14="http://schemas.microsoft.com/office/powerpoint/2010/main" val="365473576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Four Round Photos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Tree>
    <p:extLst>
      <p:ext uri="{BB962C8B-B14F-4D97-AF65-F5344CB8AC3E}">
        <p14:creationId xmlns:p14="http://schemas.microsoft.com/office/powerpoint/2010/main" val="333422657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Five Round Photos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Tree>
    <p:extLst>
      <p:ext uri="{BB962C8B-B14F-4D97-AF65-F5344CB8AC3E}">
        <p14:creationId xmlns:p14="http://schemas.microsoft.com/office/powerpoint/2010/main" val="317804374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Agenda and Text Side by Sid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sz="2000"/>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bwMode="auto">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238080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blank" preserve="1">
  <p:cSld name="White 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683952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Agenda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5"/>
            <a:ext cx="6667500" cy="5683254"/>
          </a:xfrm>
        </p:spPr>
        <p:txBody>
          <a:bodyPr anchor="ctr"/>
          <a:lstStyle>
            <a:lvl1pPr marL="231775" indent="-231775">
              <a:spcAft>
                <a:spcPts val="600"/>
              </a:spcAft>
              <a:buFont typeface="Wingdings" panose="05000000000000000000" pitchFamily="2" charset="2"/>
              <a:buChar char=""/>
              <a:defRPr sz="2000"/>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445452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Sans Display"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662601495"/>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Sans Display"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9053221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Sans Display"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68122502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Cod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Sans Display"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6160902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Code Lef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Sans Display"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8115561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Demo L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096551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Demo Dark">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6323986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Section Tech Scan 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DFF55AF-07A0-E53A-0789-86E0BA8D665F}"/>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bwMode="ltGray">
          <a:xfrm>
            <a:off x="0" y="1730"/>
            <a:ext cx="12192000" cy="6854540"/>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486849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Section Tech Scan 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1A91C97-0F4B-CB0B-3806-07BEEA5F7272}"/>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0" y="319"/>
            <a:ext cx="12192000" cy="6857361"/>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1942730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ark blank">
    <p:bg>
      <p:bgPr>
        <a:solidFill>
          <a:srgbClr val="091F2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99447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Section Tech Scan 3">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6780E26-77D9-EDA1-6B0D-E498A450A3A4}"/>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1824888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Section Tech Scan 4">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510B085-DDE7-88C6-CC2C-8FA66A131AD6}"/>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ltGray">
          <a:xfrm>
            <a:off x="0" y="0"/>
            <a:ext cx="12192000" cy="6855163"/>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3200994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Section Tech Scan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67A2C0C-5A6D-7740-29B0-946ED0BE2F65}"/>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ltGray">
          <a:xfrm>
            <a:off x="0" y="0"/>
            <a:ext cx="12186409" cy="6858000"/>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304549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Section Tech Scan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BF2C24F-5B26-E853-33E8-371952F8F129}"/>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sp>
        <p:nvSpPr>
          <p:cNvPr id="2" name="Title 1"/>
          <p:cNvSpPr>
            <a:spLocks noGrp="1"/>
          </p:cNvSpPr>
          <p:nvPr>
            <p:ph type="title" hasCustomPrompt="1"/>
          </p:nvPr>
        </p:nvSpPr>
        <p:spPr>
          <a:xfrm>
            <a:off x="585216" y="2980408"/>
            <a:ext cx="9487698" cy="553998"/>
          </a:xfrm>
          <a:noFill/>
        </p:spPr>
        <p:txBody>
          <a:bodyPr wrap="square"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2923949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Section Tech Scan 7">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F34D503-F46F-BFA0-6453-FB10F5385FD5}"/>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ltGray">
          <a:xfrm>
            <a:off x="-15917" y="1691"/>
            <a:ext cx="12192000" cy="6856309"/>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1077680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Section Tech Scan 8">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6189FDC-525A-CF23-3070-940BC162EE0A}"/>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1195526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Section Tech Scan 9">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B370C3B-D4ED-F3F0-36A3-8D6A980CB41C}"/>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ltGray">
          <a:xfrm>
            <a:off x="1146" y="0"/>
            <a:ext cx="12189708" cy="6858000"/>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3751526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Section Tech Scan 10">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6A9DD60-6582-EC28-94B1-2DB255180C5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bwMode="ltGray">
          <a:xfrm>
            <a:off x="0" y="0"/>
            <a:ext cx="12182400" cy="6858000"/>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1468392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Section L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653215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B9675-1EDC-10A9-79BB-CA60778FC665}"/>
              </a:ext>
            </a:extLst>
          </p:cNvPr>
          <p:cNvSpPr>
            <a:spLocks noGrp="1"/>
          </p:cNvSpPr>
          <p:nvPr>
            <p:ph type="title" hasCustomPrompt="1"/>
          </p:nvPr>
        </p:nvSpPr>
        <p:spPr>
          <a:xfrm>
            <a:off x="588263" y="-824268"/>
            <a:ext cx="11018520" cy="553998"/>
          </a:xfrm>
        </p:spPr>
        <p:txBody>
          <a:bodyPr anchor="b"/>
          <a:lstStyle>
            <a:lvl1pPr>
              <a:defRPr>
                <a:solidFill>
                  <a:srgbClr val="B1B3B3"/>
                </a:solidFill>
              </a:defRPr>
            </a:lvl1pPr>
          </a:lstStyle>
          <a:p>
            <a:r>
              <a:rPr lang="en-US"/>
              <a:t>Title</a:t>
            </a:r>
          </a:p>
        </p:txBody>
      </p:sp>
    </p:spTree>
    <p:extLst>
      <p:ext uri="{BB962C8B-B14F-4D97-AF65-F5344CB8AC3E}">
        <p14:creationId xmlns:p14="http://schemas.microsoft.com/office/powerpoint/2010/main" val="325344750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Full rainbow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5052641"/>
      </p:ext>
    </p:extLst>
  </p:cSld>
  <p:clrMapOvr>
    <a:masterClrMapping/>
  </p:clrMapOvr>
  <p:transition>
    <p:fade/>
  </p:transition>
  <p:hf sldNum="0" hdr="0" ftr="0" dt="0"/>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Notes Slide">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mj-lt"/>
                <a:ea typeface="Segoe Sans Display" pitchFamily="2" charset="0"/>
                <a:cs typeface="Segoe Sans Display" pitchFamily="2"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Sans Display" pitchFamily="2" charset="0"/>
                <a:ea typeface="Segoe Sans Display" pitchFamily="2" charset="0"/>
                <a:cs typeface="Segoe Sans Display" pitchFamily="2" charset="0"/>
              </a:defRPr>
            </a:lvl1pPr>
          </a:lstStyle>
          <a:p>
            <a:pPr lvl="0"/>
            <a:r>
              <a:rPr lang="en-US"/>
              <a:t>Next:</a:t>
            </a:r>
          </a:p>
        </p:txBody>
      </p:sp>
    </p:spTree>
    <p:extLst>
      <p:ext uri="{BB962C8B-B14F-4D97-AF65-F5344CB8AC3E}">
        <p14:creationId xmlns:p14="http://schemas.microsoft.com/office/powerpoint/2010/main" val="118345740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Sans Display"/>
                <a:ea typeface="+mn-ea"/>
                <a:cs typeface="Segoe Sans Display" pitchFamily="2" charset="0"/>
              </a:rPr>
              <a:t>© Copyright Microsoft Corporation. All rights reserved. </a:t>
            </a:r>
          </a:p>
        </p:txBody>
      </p:sp>
      <p:pic>
        <p:nvPicPr>
          <p:cNvPr id="4" name="Picture 3" descr="Microsoft Security">
            <a:extLst>
              <a:ext uri="{FF2B5EF4-FFF2-40B4-BE49-F238E27FC236}">
                <a16:creationId xmlns:a16="http://schemas.microsoft.com/office/drawing/2014/main" id="{4AF1DC5D-9E4C-61B6-29E6-3134DF76ECE0}"/>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bwMode="black">
          <a:xfrm>
            <a:off x="289702" y="296820"/>
            <a:ext cx="2876596" cy="868680"/>
          </a:xfrm>
          <a:prstGeom prst="rect">
            <a:avLst/>
          </a:prstGeom>
        </p:spPr>
      </p:pic>
      <p:sp>
        <p:nvSpPr>
          <p:cNvPr id="3" name="Title 1">
            <a:extLst>
              <a:ext uri="{FF2B5EF4-FFF2-40B4-BE49-F238E27FC236}">
                <a16:creationId xmlns:a16="http://schemas.microsoft.com/office/drawing/2014/main" id="{89FF0FC9-6B16-7B48-F8A5-349518F8D93B}"/>
              </a:ext>
              <a:ext uri="{C183D7F6-B498-43B3-948B-1728B52AA6E4}">
                <adec:decorative xmlns:adec="http://schemas.microsoft.com/office/drawing/2017/decorative" val="0"/>
              </a:ext>
            </a:extLst>
          </p:cNvPr>
          <p:cNvSpPr>
            <a:spLocks noGrp="1"/>
          </p:cNvSpPr>
          <p:nvPr>
            <p:ph type="title" hasCustomPrompt="1"/>
          </p:nvPr>
        </p:nvSpPr>
        <p:spPr>
          <a:xfrm>
            <a:off x="588263" y="-824268"/>
            <a:ext cx="11018520" cy="553998"/>
          </a:xfrm>
        </p:spPr>
        <p:txBody>
          <a:bodyPr anchor="b"/>
          <a:lstStyle>
            <a:lvl1pPr>
              <a:defRPr>
                <a:solidFill>
                  <a:srgbClr val="B1B3B3"/>
                </a:solidFill>
              </a:defRPr>
            </a:lvl1pPr>
          </a:lstStyle>
          <a:p>
            <a:r>
              <a:rPr lang="en-US"/>
              <a:t>Closing</a:t>
            </a:r>
          </a:p>
        </p:txBody>
      </p:sp>
    </p:spTree>
    <p:extLst>
      <p:ext uri="{BB962C8B-B14F-4D97-AF65-F5344CB8AC3E}">
        <p14:creationId xmlns:p14="http://schemas.microsoft.com/office/powerpoint/2010/main" val="33059338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A5CEE-45B3-E213-2371-B7B62F21BC5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9FC0477-B021-6B66-E644-97C2F7F359F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F69F92-1FD7-055F-8FA0-32B56F5B0FB5}"/>
              </a:ext>
            </a:extLst>
          </p:cNvPr>
          <p:cNvSpPr>
            <a:spLocks noGrp="1"/>
          </p:cNvSpPr>
          <p:nvPr>
            <p:ph type="dt" sz="half" idx="10"/>
          </p:nvPr>
        </p:nvSpPr>
        <p:spPr>
          <a:xfrm>
            <a:off x="838200" y="6356350"/>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7A2B8B8-F160-4E5B-9193-363885835B7A}" type="datetimeFigureOut">
              <a:rPr kumimoji="0" lang="en-US" sz="1200" b="0" i="0" u="none" strike="noStrike" kern="1200" cap="none" spc="0" normalizeH="0" baseline="0" noProof="0" smtClean="0">
                <a:ln>
                  <a:noFill/>
                </a:ln>
                <a:solidFill>
                  <a:prstClr val="black">
                    <a:tint val="82000"/>
                  </a:prstClr>
                </a:solidFill>
                <a:effectLst/>
                <a:uLnTx/>
                <a:uFillTx/>
                <a:latin typeface="Segoe Sans Display"/>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5/2025</a:t>
            </a:fld>
            <a:endParaRPr kumimoji="0" lang="en-US" sz="1200" b="0" i="0" u="none" strike="noStrike" kern="1200" cap="none" spc="0" normalizeH="0" baseline="0" noProof="0">
              <a:ln>
                <a:noFill/>
              </a:ln>
              <a:solidFill>
                <a:prstClr val="black">
                  <a:tint val="82000"/>
                </a:prstClr>
              </a:solidFill>
              <a:effectLst/>
              <a:uLnTx/>
              <a:uFillTx/>
              <a:latin typeface="Segoe Sans Display"/>
              <a:ea typeface="+mn-ea"/>
              <a:cs typeface="+mn-cs"/>
            </a:endParaRPr>
          </a:p>
        </p:txBody>
      </p:sp>
      <p:sp>
        <p:nvSpPr>
          <p:cNvPr id="5" name="Footer Placeholder 4">
            <a:extLst>
              <a:ext uri="{FF2B5EF4-FFF2-40B4-BE49-F238E27FC236}">
                <a16:creationId xmlns:a16="http://schemas.microsoft.com/office/drawing/2014/main" id="{127FD6C3-9104-EEF6-B9D1-E751B797C1BD}"/>
              </a:ext>
            </a:extLst>
          </p:cNvPr>
          <p:cNvSpPr>
            <a:spLocks noGrp="1"/>
          </p:cNvSpPr>
          <p:nvPr>
            <p:ph type="ftr" sz="quarter" idx="11"/>
          </p:nvPr>
        </p:nvSpPr>
        <p:spPr>
          <a:xfrm>
            <a:off x="4038600" y="6356350"/>
            <a:ext cx="4114800" cy="365125"/>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82000"/>
                </a:prstClr>
              </a:solidFill>
              <a:effectLst/>
              <a:uLnTx/>
              <a:uFillTx/>
              <a:latin typeface="Segoe Sans Display"/>
              <a:ea typeface="+mn-ea"/>
              <a:cs typeface="+mn-cs"/>
            </a:endParaRPr>
          </a:p>
        </p:txBody>
      </p:sp>
      <p:sp>
        <p:nvSpPr>
          <p:cNvPr id="6" name="Slide Number Placeholder 5">
            <a:extLst>
              <a:ext uri="{FF2B5EF4-FFF2-40B4-BE49-F238E27FC236}">
                <a16:creationId xmlns:a16="http://schemas.microsoft.com/office/drawing/2014/main" id="{A90B29CA-B002-AE97-D975-8B7FE2D3CAA7}"/>
              </a:ext>
            </a:extLst>
          </p:cNvPr>
          <p:cNvSpPr>
            <a:spLocks noGrp="1"/>
          </p:cNvSpPr>
          <p:nvPr>
            <p:ph type="sldNum" sz="quarter" idx="12"/>
          </p:nvPr>
        </p:nvSpPr>
        <p:spPr>
          <a:xfrm>
            <a:off x="8610600" y="6356350"/>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41F779-C9CC-4175-935B-E4EF2DB6611D}" type="slidenum">
              <a:rPr kumimoji="0" lang="en-US" sz="1200" b="0" i="0" u="none" strike="noStrike" kern="1200" cap="none" spc="0" normalizeH="0" baseline="0" noProof="0" smtClean="0">
                <a:ln>
                  <a:noFill/>
                </a:ln>
                <a:solidFill>
                  <a:prstClr val="black">
                    <a:tint val="82000"/>
                  </a:prstClr>
                </a:solidFill>
                <a:effectLst/>
                <a:uLnTx/>
                <a:uFillTx/>
                <a:latin typeface="Segoe Sans Display"/>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82000"/>
                </a:prstClr>
              </a:solidFill>
              <a:effectLst/>
              <a:uLnTx/>
              <a:uFillTx/>
              <a:latin typeface="Segoe Sans Display"/>
              <a:ea typeface="+mn-ea"/>
              <a:cs typeface="+mn-cs"/>
            </a:endParaRPr>
          </a:p>
        </p:txBody>
      </p:sp>
    </p:spTree>
    <p:extLst>
      <p:ext uri="{BB962C8B-B14F-4D97-AF65-F5344CB8AC3E}">
        <p14:creationId xmlns:p14="http://schemas.microsoft.com/office/powerpoint/2010/main" val="312114655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Title right photo tech scan 5">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898137" cy="1231106"/>
          </a:xfrm>
        </p:spPr>
        <p:txBody>
          <a:bodyPr wrap="square"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894254"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3" name="Graphic 2" descr="Microsoft Security">
            <a:extLst>
              <a:ext uri="{FF2B5EF4-FFF2-40B4-BE49-F238E27FC236}">
                <a16:creationId xmlns:a16="http://schemas.microsoft.com/office/drawing/2014/main" id="{CD178E6C-344F-91D9-35BD-CD8D9458FDF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2164" y="583123"/>
            <a:ext cx="2291715" cy="290498"/>
          </a:xfrm>
          <a:prstGeom prst="rect">
            <a:avLst/>
          </a:prstGeom>
        </p:spPr>
      </p:pic>
      <p:pic>
        <p:nvPicPr>
          <p:cNvPr id="8" name="Picture 7">
            <a:extLst>
              <a:ext uri="{FF2B5EF4-FFF2-40B4-BE49-F238E27FC236}">
                <a16:creationId xmlns:a16="http://schemas.microsoft.com/office/drawing/2014/main" id="{7D8FD23E-BB72-2CF1-C9C6-EF44EA7CDE87}"/>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rcRect l="31304" t="3463" r="7343" b="3463"/>
          <a:stretch/>
        </p:blipFill>
        <p:spPr>
          <a:xfrm>
            <a:off x="6106651" y="0"/>
            <a:ext cx="6085349" cy="6858000"/>
          </a:xfrm>
          <a:custGeom>
            <a:avLst/>
            <a:gdLst>
              <a:gd name="connsiteX0" fmla="*/ 0 w 6085349"/>
              <a:gd name="connsiteY0" fmla="*/ 0 h 6858000"/>
              <a:gd name="connsiteX1" fmla="*/ 6085349 w 6085349"/>
              <a:gd name="connsiteY1" fmla="*/ 0 h 6858000"/>
              <a:gd name="connsiteX2" fmla="*/ 6085349 w 6085349"/>
              <a:gd name="connsiteY2" fmla="*/ 6858000 h 6858000"/>
              <a:gd name="connsiteX3" fmla="*/ 0 w 608534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85349" h="6858000">
                <a:moveTo>
                  <a:pt x="0" y="0"/>
                </a:moveTo>
                <a:lnTo>
                  <a:pt x="6085349" y="0"/>
                </a:lnTo>
                <a:lnTo>
                  <a:pt x="6085349" y="6858000"/>
                </a:lnTo>
                <a:lnTo>
                  <a:pt x="0" y="6858000"/>
                </a:lnTo>
                <a:close/>
              </a:path>
            </a:pathLst>
          </a:custGeom>
        </p:spPr>
      </p:pic>
    </p:spTree>
    <p:extLst>
      <p:ext uri="{BB962C8B-B14F-4D97-AF65-F5344CB8AC3E}">
        <p14:creationId xmlns:p14="http://schemas.microsoft.com/office/powerpoint/2010/main" val="15463502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456">
          <p15:clr>
            <a:srgbClr val="5ACBF0"/>
          </p15:clr>
        </p15:guide>
        <p15:guide id="5" orient="horz" pos="2160">
          <p15:clr>
            <a:srgbClr val="FBAE40"/>
          </p15:clr>
        </p15:guide>
        <p15:guide id="6" orient="horz" pos="2229">
          <p15:clr>
            <a:srgbClr val="5ACBF0"/>
          </p15:clr>
        </p15:guide>
        <p15:guide id="7" pos="3840">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Section divider 10">
    <p:bg>
      <p:bgPr>
        <a:solidFill>
          <a:schemeClr val="tx1"/>
        </a:solidFill>
        <a:effectLst/>
      </p:bgPr>
    </p:bg>
    <p:spTree>
      <p:nvGrpSpPr>
        <p:cNvPr id="1" name=""/>
        <p:cNvGrpSpPr/>
        <p:nvPr/>
      </p:nvGrpSpPr>
      <p:grpSpPr>
        <a:xfrm>
          <a:off x="0" y="0"/>
          <a:ext cx="0" cy="0"/>
          <a:chOff x="0" y="0"/>
          <a:chExt cx="0" cy="0"/>
        </a:xfrm>
      </p:grpSpPr>
      <p:pic>
        <p:nvPicPr>
          <p:cNvPr id="5" name="Picture 4" descr="A close-up of a yellow and blue background&#10;&#10;Description automatically generated">
            <a:extLst>
              <a:ext uri="{FF2B5EF4-FFF2-40B4-BE49-F238E27FC236}">
                <a16:creationId xmlns:a16="http://schemas.microsoft.com/office/drawing/2014/main" id="{A6A9DD60-6582-EC28-94B1-2DB255180C50}"/>
              </a:ext>
            </a:extLst>
          </p:cNvPr>
          <p:cNvPicPr>
            <a:picLocks noChangeAspect="1"/>
          </p:cNvPicPr>
          <p:nvPr userDrawn="1"/>
        </p:nvPicPr>
        <p:blipFill>
          <a:blip r:embed="rId2"/>
          <a:stretch>
            <a:fillRect/>
          </a:stretch>
        </p:blipFill>
        <p:spPr>
          <a:xfrm>
            <a:off x="4800" y="0"/>
            <a:ext cx="12182400" cy="6858000"/>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15822034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1_Section divider 10">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5D26C3B-62D8-1AE2-F714-8A96C1541F2F}"/>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ltGray">
          <a:xfrm>
            <a:off x="0" y="0"/>
            <a:ext cx="12186409" cy="6858000"/>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12700911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Quote 6">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EF2A93D-EA52-E933-A063-C89BF9DFEBE0}"/>
              </a:ext>
            </a:extLst>
          </p:cNvPr>
          <p:cNvPicPr>
            <a:picLocks noChangeAspect="1"/>
          </p:cNvPicPr>
          <p:nvPr userDrawn="1"/>
        </p:nvPicPr>
        <p:blipFill>
          <a:blip r:embed="rId2">
            <a:extLst>
              <a:ext uri="{28A0092B-C50C-407E-A947-70E740481C1C}">
                <a14:useLocalDpi xmlns:a14="http://schemas.microsoft.com/office/drawing/2010/main" val="0"/>
              </a:ext>
            </a:extLst>
          </a:blip>
          <a:srcRect l="29466" r="29466"/>
          <a:stretch/>
        </p:blipFill>
        <p:spPr>
          <a:xfrm>
            <a:off x="7185023" y="0"/>
            <a:ext cx="5006977"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1236662" y="1871327"/>
            <a:ext cx="4059237" cy="1107996"/>
          </a:xfrm>
        </p:spPr>
        <p:txBody>
          <a:bodyPr wrap="square" anchor="t">
            <a:sp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n-lt"/>
                <a:ea typeface="+mn-ea"/>
                <a:cs typeface="Segoe Sans Display" pitchFamily="2" charset="0"/>
              </a:defRPr>
            </a:lvl1pPr>
          </a:lstStyle>
          <a:p>
            <a:r>
              <a:rPr lang="en-US"/>
              <a:t>Click to edit Master title style</a:t>
            </a:r>
          </a:p>
        </p:txBody>
      </p:sp>
      <p:grpSp>
        <p:nvGrpSpPr>
          <p:cNvPr id="3" name="Group 2">
            <a:extLst>
              <a:ext uri="{FF2B5EF4-FFF2-40B4-BE49-F238E27FC236}">
                <a16:creationId xmlns:a16="http://schemas.microsoft.com/office/drawing/2014/main" id="{A374D167-A877-DD4F-71B6-1B226D482EC6}"/>
              </a:ext>
              <a:ext uri="{C183D7F6-B498-43B3-948B-1728B52AA6E4}">
                <adec:decorative xmlns:adec="http://schemas.microsoft.com/office/drawing/2017/decorative" val="1"/>
              </a:ext>
            </a:extLst>
          </p:cNvPr>
          <p:cNvGrpSpPr>
            <a:grpSpLocks noChangeAspect="1"/>
          </p:cNvGrpSpPr>
          <p:nvPr userDrawn="1"/>
        </p:nvGrpSpPr>
        <p:grpSpPr>
          <a:xfrm>
            <a:off x="1236663" y="1053765"/>
            <a:ext cx="524538" cy="457200"/>
            <a:chOff x="4169763" y="585788"/>
            <a:chExt cx="713371" cy="622746"/>
          </a:xfrm>
          <a:solidFill>
            <a:schemeClr val="tx1"/>
          </a:solidFill>
        </p:grpSpPr>
        <p:sp>
          <p:nvSpPr>
            <p:cNvPr id="4" name="Graphic 9">
              <a:extLst>
                <a:ext uri="{FF2B5EF4-FFF2-40B4-BE49-F238E27FC236}">
                  <a16:creationId xmlns:a16="http://schemas.microsoft.com/office/drawing/2014/main" id="{7E30BC2E-C9E5-9640-484B-8757872AA340}"/>
                </a:ext>
              </a:extLst>
            </p:cNvPr>
            <p:cNvSpPr/>
            <p:nvPr/>
          </p:nvSpPr>
          <p:spPr>
            <a:xfrm>
              <a:off x="4565666" y="585788"/>
              <a:ext cx="317468" cy="622746"/>
            </a:xfrm>
            <a:custGeom>
              <a:avLst/>
              <a:gdLst>
                <a:gd name="connsiteX0" fmla="*/ 19526 w 317468"/>
                <a:gd name="connsiteY0" fmla="*/ 622746 h 622746"/>
                <a:gd name="connsiteX1" fmla="*/ 0 w 317468"/>
                <a:gd name="connsiteY1" fmla="*/ 603315 h 622746"/>
                <a:gd name="connsiteX2" fmla="*/ 0 w 317468"/>
                <a:gd name="connsiteY2" fmla="*/ 387955 h 622746"/>
                <a:gd name="connsiteX3" fmla="*/ 81915 w 317468"/>
                <a:gd name="connsiteY3" fmla="*/ 123160 h 622746"/>
                <a:gd name="connsiteX4" fmla="*/ 298037 w 317468"/>
                <a:gd name="connsiteY4" fmla="*/ 287 h 622746"/>
                <a:gd name="connsiteX5" fmla="*/ 311944 w 317468"/>
                <a:gd name="connsiteY5" fmla="*/ 11336 h 622746"/>
                <a:gd name="connsiteX6" fmla="*/ 311944 w 317468"/>
                <a:gd name="connsiteY6" fmla="*/ 104681 h 622746"/>
                <a:gd name="connsiteX7" fmla="*/ 304229 w 317468"/>
                <a:gd name="connsiteY7" fmla="*/ 115445 h 622746"/>
                <a:gd name="connsiteX8" fmla="*/ 160401 w 317468"/>
                <a:gd name="connsiteY8" fmla="*/ 237555 h 622746"/>
                <a:gd name="connsiteX9" fmla="*/ 142018 w 317468"/>
                <a:gd name="connsiteY9" fmla="*/ 322709 h 622746"/>
                <a:gd name="connsiteX10" fmla="*/ 149543 w 317468"/>
                <a:gd name="connsiteY10" fmla="*/ 329948 h 622746"/>
                <a:gd name="connsiteX11" fmla="*/ 297942 w 317468"/>
                <a:gd name="connsiteY11" fmla="*/ 329948 h 622746"/>
                <a:gd name="connsiteX12" fmla="*/ 317468 w 317468"/>
                <a:gd name="connsiteY12" fmla="*/ 349379 h 622746"/>
                <a:gd name="connsiteX13" fmla="*/ 317468 w 317468"/>
                <a:gd name="connsiteY13" fmla="*/ 560643 h 622746"/>
                <a:gd name="connsiteX14" fmla="*/ 255461 w 317468"/>
                <a:gd name="connsiteY14" fmla="*/ 622556 h 622746"/>
                <a:gd name="connsiteX15" fmla="*/ 19526 w 317468"/>
                <a:gd name="connsiteY15" fmla="*/ 622556 h 62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7468" h="622746">
                  <a:moveTo>
                    <a:pt x="19526" y="622746"/>
                  </a:moveTo>
                  <a:cubicBezTo>
                    <a:pt x="8763" y="622746"/>
                    <a:pt x="0" y="613983"/>
                    <a:pt x="0" y="603315"/>
                  </a:cubicBezTo>
                  <a:lnTo>
                    <a:pt x="0" y="387955"/>
                  </a:lnTo>
                  <a:cubicBezTo>
                    <a:pt x="0" y="275274"/>
                    <a:pt x="27337" y="186977"/>
                    <a:pt x="81915" y="123160"/>
                  </a:cubicBezTo>
                  <a:cubicBezTo>
                    <a:pt x="133922" y="62295"/>
                    <a:pt x="205931" y="21338"/>
                    <a:pt x="298037" y="287"/>
                  </a:cubicBezTo>
                  <a:cubicBezTo>
                    <a:pt x="305181" y="-1332"/>
                    <a:pt x="311944" y="4097"/>
                    <a:pt x="311944" y="11336"/>
                  </a:cubicBezTo>
                  <a:lnTo>
                    <a:pt x="311944" y="104681"/>
                  </a:lnTo>
                  <a:cubicBezTo>
                    <a:pt x="311944" y="109539"/>
                    <a:pt x="308896" y="113921"/>
                    <a:pt x="304229" y="115445"/>
                  </a:cubicBezTo>
                  <a:cubicBezTo>
                    <a:pt x="233458" y="138876"/>
                    <a:pt x="185452" y="179643"/>
                    <a:pt x="160401" y="237555"/>
                  </a:cubicBezTo>
                  <a:cubicBezTo>
                    <a:pt x="146780" y="266892"/>
                    <a:pt x="140589" y="295277"/>
                    <a:pt x="142018" y="322709"/>
                  </a:cubicBezTo>
                  <a:cubicBezTo>
                    <a:pt x="142208" y="326805"/>
                    <a:pt x="145542" y="329948"/>
                    <a:pt x="149543" y="329948"/>
                  </a:cubicBezTo>
                  <a:lnTo>
                    <a:pt x="297942" y="329948"/>
                  </a:lnTo>
                  <a:cubicBezTo>
                    <a:pt x="308705" y="329948"/>
                    <a:pt x="317468" y="338711"/>
                    <a:pt x="317468" y="349379"/>
                  </a:cubicBezTo>
                  <a:lnTo>
                    <a:pt x="317468" y="560643"/>
                  </a:lnTo>
                  <a:cubicBezTo>
                    <a:pt x="317468" y="594838"/>
                    <a:pt x="289751" y="622556"/>
                    <a:pt x="255461" y="622556"/>
                  </a:cubicBezTo>
                  <a:lnTo>
                    <a:pt x="19526" y="622556"/>
                  </a:lnTo>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Sans Display"/>
                <a:ea typeface="+mn-ea"/>
                <a:cs typeface="+mn-cs"/>
              </a:endParaRPr>
            </a:p>
          </p:txBody>
        </p:sp>
        <p:sp>
          <p:nvSpPr>
            <p:cNvPr id="5" name="Graphic 9">
              <a:extLst>
                <a:ext uri="{FF2B5EF4-FFF2-40B4-BE49-F238E27FC236}">
                  <a16:creationId xmlns:a16="http://schemas.microsoft.com/office/drawing/2014/main" id="{E3CA75AC-6E69-6F07-C66F-627EE593FCC1}"/>
                </a:ext>
              </a:extLst>
            </p:cNvPr>
            <p:cNvSpPr/>
            <p:nvPr userDrawn="1"/>
          </p:nvSpPr>
          <p:spPr>
            <a:xfrm>
              <a:off x="4169763" y="585788"/>
              <a:ext cx="317468" cy="622746"/>
            </a:xfrm>
            <a:custGeom>
              <a:avLst/>
              <a:gdLst>
                <a:gd name="connsiteX0" fmla="*/ 19526 w 317468"/>
                <a:gd name="connsiteY0" fmla="*/ 622746 h 622746"/>
                <a:gd name="connsiteX1" fmla="*/ 0 w 317468"/>
                <a:gd name="connsiteY1" fmla="*/ 603315 h 622746"/>
                <a:gd name="connsiteX2" fmla="*/ 0 w 317468"/>
                <a:gd name="connsiteY2" fmla="*/ 387955 h 622746"/>
                <a:gd name="connsiteX3" fmla="*/ 81915 w 317468"/>
                <a:gd name="connsiteY3" fmla="*/ 123160 h 622746"/>
                <a:gd name="connsiteX4" fmla="*/ 298037 w 317468"/>
                <a:gd name="connsiteY4" fmla="*/ 287 h 622746"/>
                <a:gd name="connsiteX5" fmla="*/ 311944 w 317468"/>
                <a:gd name="connsiteY5" fmla="*/ 11336 h 622746"/>
                <a:gd name="connsiteX6" fmla="*/ 311944 w 317468"/>
                <a:gd name="connsiteY6" fmla="*/ 104681 h 622746"/>
                <a:gd name="connsiteX7" fmla="*/ 304229 w 317468"/>
                <a:gd name="connsiteY7" fmla="*/ 115445 h 622746"/>
                <a:gd name="connsiteX8" fmla="*/ 160401 w 317468"/>
                <a:gd name="connsiteY8" fmla="*/ 237555 h 622746"/>
                <a:gd name="connsiteX9" fmla="*/ 142018 w 317468"/>
                <a:gd name="connsiteY9" fmla="*/ 322709 h 622746"/>
                <a:gd name="connsiteX10" fmla="*/ 149543 w 317468"/>
                <a:gd name="connsiteY10" fmla="*/ 329948 h 622746"/>
                <a:gd name="connsiteX11" fmla="*/ 297942 w 317468"/>
                <a:gd name="connsiteY11" fmla="*/ 329948 h 622746"/>
                <a:gd name="connsiteX12" fmla="*/ 317468 w 317468"/>
                <a:gd name="connsiteY12" fmla="*/ 349379 h 622746"/>
                <a:gd name="connsiteX13" fmla="*/ 317468 w 317468"/>
                <a:gd name="connsiteY13" fmla="*/ 560643 h 622746"/>
                <a:gd name="connsiteX14" fmla="*/ 255461 w 317468"/>
                <a:gd name="connsiteY14" fmla="*/ 622556 h 622746"/>
                <a:gd name="connsiteX15" fmla="*/ 19526 w 317468"/>
                <a:gd name="connsiteY15" fmla="*/ 622556 h 62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7468" h="622746">
                  <a:moveTo>
                    <a:pt x="19526" y="622746"/>
                  </a:moveTo>
                  <a:cubicBezTo>
                    <a:pt x="8763" y="622746"/>
                    <a:pt x="0" y="613983"/>
                    <a:pt x="0" y="603315"/>
                  </a:cubicBezTo>
                  <a:lnTo>
                    <a:pt x="0" y="387955"/>
                  </a:lnTo>
                  <a:cubicBezTo>
                    <a:pt x="0" y="275274"/>
                    <a:pt x="27337" y="186977"/>
                    <a:pt x="81915" y="123160"/>
                  </a:cubicBezTo>
                  <a:cubicBezTo>
                    <a:pt x="133922" y="62295"/>
                    <a:pt x="205931" y="21338"/>
                    <a:pt x="298037" y="287"/>
                  </a:cubicBezTo>
                  <a:cubicBezTo>
                    <a:pt x="305181" y="-1332"/>
                    <a:pt x="311944" y="4097"/>
                    <a:pt x="311944" y="11336"/>
                  </a:cubicBezTo>
                  <a:lnTo>
                    <a:pt x="311944" y="104681"/>
                  </a:lnTo>
                  <a:cubicBezTo>
                    <a:pt x="311944" y="109539"/>
                    <a:pt x="308896" y="113921"/>
                    <a:pt x="304229" y="115445"/>
                  </a:cubicBezTo>
                  <a:cubicBezTo>
                    <a:pt x="233458" y="138876"/>
                    <a:pt x="185452" y="179643"/>
                    <a:pt x="160401" y="237555"/>
                  </a:cubicBezTo>
                  <a:cubicBezTo>
                    <a:pt x="146780" y="266892"/>
                    <a:pt x="140589" y="295277"/>
                    <a:pt x="142018" y="322709"/>
                  </a:cubicBezTo>
                  <a:cubicBezTo>
                    <a:pt x="142208" y="326805"/>
                    <a:pt x="145542" y="329948"/>
                    <a:pt x="149543" y="329948"/>
                  </a:cubicBezTo>
                  <a:lnTo>
                    <a:pt x="297942" y="329948"/>
                  </a:lnTo>
                  <a:cubicBezTo>
                    <a:pt x="308705" y="329948"/>
                    <a:pt x="317468" y="338711"/>
                    <a:pt x="317468" y="349379"/>
                  </a:cubicBezTo>
                  <a:lnTo>
                    <a:pt x="317468" y="560643"/>
                  </a:lnTo>
                  <a:cubicBezTo>
                    <a:pt x="317468" y="594838"/>
                    <a:pt x="289751" y="622556"/>
                    <a:pt x="255461" y="622556"/>
                  </a:cubicBezTo>
                  <a:lnTo>
                    <a:pt x="19526" y="622556"/>
                  </a:lnTo>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Sans Display"/>
                <a:ea typeface="+mn-ea"/>
                <a:cs typeface="+mn-cs"/>
              </a:endParaRPr>
            </a:p>
          </p:txBody>
        </p:sp>
      </p:gr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FC028E71-17BB-C9A7-F5A0-5931B1E9EBB9}"/>
              </a:ext>
              <a:ext uri="{C183D7F6-B498-43B3-948B-1728B52AA6E4}">
                <adec:decorative xmlns:adec="http://schemas.microsoft.com/office/drawing/2017/decorative" val="0"/>
              </a:ext>
            </a:extLst>
          </p:cNvPr>
          <p:cNvSpPr>
            <a:spLocks noGrp="1"/>
          </p:cNvSpPr>
          <p:nvPr>
            <p:ph type="pic" sz="quarter" idx="13" hasCustomPrompt="1"/>
          </p:nvPr>
        </p:nvSpPr>
        <p:spPr bwMode="ltGray">
          <a:xfrm>
            <a:off x="6242050" y="1072356"/>
            <a:ext cx="4713287" cy="4713287"/>
          </a:xfrm>
          <a:prstGeom prst="roundRect">
            <a:avLst>
              <a:gd name="adj" fmla="val 1073"/>
            </a:avLst>
          </a:prstGeom>
          <a:blipFill>
            <a:blip r:embed="rId3"/>
            <a:stretch>
              <a:fillRect/>
            </a:stretch>
          </a:blipFill>
          <a:effectLst>
            <a:outerShdw blurRad="190500" dist="50800" dir="8100000" algn="ctr" rotWithShape="0">
              <a:srgbClr val="000000">
                <a:alpha val="25000"/>
              </a:srgbClr>
            </a:outerShdw>
          </a:effectLst>
        </p:spPr>
        <p:txBody>
          <a:bodyPr lIns="0" tIns="0" rIns="0" bIns="1005840" anchor="ctr" anchorCtr="0">
            <a:noAutofit/>
          </a:bodyPr>
          <a:lstStyle>
            <a:lvl1pPr marL="0" indent="0" algn="ctr">
              <a:lnSpc>
                <a:spcPct val="100000"/>
              </a:lnSpc>
              <a:buNone/>
              <a:defRPr sz="10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87618148"/>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4">
          <p15:clr>
            <a:srgbClr val="A4A3A4"/>
          </p15:clr>
        </p15:guide>
        <p15:guide id="19" pos="4526">
          <p15:clr>
            <a:srgbClr val="A4A3A4"/>
          </p15:clr>
        </p15:guide>
        <p15:guide id="20" pos="4937">
          <p15:clr>
            <a:srgbClr val="A4A3A4"/>
          </p15:clr>
        </p15:guide>
        <p15:guide id="21" pos="5120">
          <p15:clr>
            <a:srgbClr val="A4A3A4"/>
          </p15:clr>
        </p15:guide>
        <p15:guide id="22" pos="5520">
          <p15:clr>
            <a:srgbClr val="A4A3A4"/>
          </p15:clr>
        </p15:guide>
        <p15:guide id="23" pos="5714">
          <p15:clr>
            <a:srgbClr val="A4A3A4"/>
          </p15:clr>
        </p15:guide>
        <p15:guide id="24" pos="6123">
          <p15:clr>
            <a:srgbClr val="A4A3A4"/>
          </p15:clr>
        </p15:guide>
        <p15:guide id="25" pos="6312">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Quote 4">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B1A66B69-4B28-393A-984F-8CF9B3347C29}"/>
              </a:ext>
              <a:ext uri="{C183D7F6-B498-43B3-948B-1728B52AA6E4}">
                <adec:decorative xmlns:adec="http://schemas.microsoft.com/office/drawing/2017/decorative" val="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DAA83F9C-7592-411B-E1FE-6872AE779BD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574675" y="585788"/>
            <a:ext cx="7262813" cy="5683250"/>
          </a:xfrm>
          <a:prstGeom prst="roundRect">
            <a:avLst>
              <a:gd name="adj" fmla="val 1407"/>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1236663" y="1871327"/>
            <a:ext cx="5948362" cy="553998"/>
          </a:xfrm>
        </p:spPr>
        <p:txBody>
          <a:bodyPr wrap="square" anchor="t">
            <a:sp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n-lt"/>
                <a:ea typeface="+mn-ea"/>
                <a:cs typeface="Segoe Sans Display" pitchFamily="2" charset="0"/>
              </a:defRPr>
            </a:lvl1pPr>
          </a:lstStyle>
          <a:p>
            <a:r>
              <a:rPr lang="en-US"/>
              <a:t>Click to edit Master title style</a:t>
            </a:r>
          </a:p>
        </p:txBody>
      </p:sp>
      <p:grpSp>
        <p:nvGrpSpPr>
          <p:cNvPr id="3" name="Group 2">
            <a:extLst>
              <a:ext uri="{FF2B5EF4-FFF2-40B4-BE49-F238E27FC236}">
                <a16:creationId xmlns:a16="http://schemas.microsoft.com/office/drawing/2014/main" id="{A374D167-A877-DD4F-71B6-1B226D482EC6}"/>
              </a:ext>
              <a:ext uri="{C183D7F6-B498-43B3-948B-1728B52AA6E4}">
                <adec:decorative xmlns:adec="http://schemas.microsoft.com/office/drawing/2017/decorative" val="1"/>
              </a:ext>
            </a:extLst>
          </p:cNvPr>
          <p:cNvGrpSpPr>
            <a:grpSpLocks noChangeAspect="1"/>
          </p:cNvGrpSpPr>
          <p:nvPr userDrawn="1"/>
        </p:nvGrpSpPr>
        <p:grpSpPr>
          <a:xfrm>
            <a:off x="1236663" y="1053765"/>
            <a:ext cx="524538" cy="457200"/>
            <a:chOff x="4169763" y="585788"/>
            <a:chExt cx="713371" cy="622746"/>
          </a:xfrm>
          <a:solidFill>
            <a:schemeClr val="tx1"/>
          </a:solidFill>
        </p:grpSpPr>
        <p:sp>
          <p:nvSpPr>
            <p:cNvPr id="4" name="Graphic 9">
              <a:extLst>
                <a:ext uri="{FF2B5EF4-FFF2-40B4-BE49-F238E27FC236}">
                  <a16:creationId xmlns:a16="http://schemas.microsoft.com/office/drawing/2014/main" id="{7E30BC2E-C9E5-9640-484B-8757872AA340}"/>
                </a:ext>
              </a:extLst>
            </p:cNvPr>
            <p:cNvSpPr/>
            <p:nvPr/>
          </p:nvSpPr>
          <p:spPr>
            <a:xfrm>
              <a:off x="4565666" y="585788"/>
              <a:ext cx="317468" cy="622746"/>
            </a:xfrm>
            <a:custGeom>
              <a:avLst/>
              <a:gdLst>
                <a:gd name="connsiteX0" fmla="*/ 19526 w 317468"/>
                <a:gd name="connsiteY0" fmla="*/ 622746 h 622746"/>
                <a:gd name="connsiteX1" fmla="*/ 0 w 317468"/>
                <a:gd name="connsiteY1" fmla="*/ 603315 h 622746"/>
                <a:gd name="connsiteX2" fmla="*/ 0 w 317468"/>
                <a:gd name="connsiteY2" fmla="*/ 387955 h 622746"/>
                <a:gd name="connsiteX3" fmla="*/ 81915 w 317468"/>
                <a:gd name="connsiteY3" fmla="*/ 123160 h 622746"/>
                <a:gd name="connsiteX4" fmla="*/ 298037 w 317468"/>
                <a:gd name="connsiteY4" fmla="*/ 287 h 622746"/>
                <a:gd name="connsiteX5" fmla="*/ 311944 w 317468"/>
                <a:gd name="connsiteY5" fmla="*/ 11336 h 622746"/>
                <a:gd name="connsiteX6" fmla="*/ 311944 w 317468"/>
                <a:gd name="connsiteY6" fmla="*/ 104681 h 622746"/>
                <a:gd name="connsiteX7" fmla="*/ 304229 w 317468"/>
                <a:gd name="connsiteY7" fmla="*/ 115445 h 622746"/>
                <a:gd name="connsiteX8" fmla="*/ 160401 w 317468"/>
                <a:gd name="connsiteY8" fmla="*/ 237555 h 622746"/>
                <a:gd name="connsiteX9" fmla="*/ 142018 w 317468"/>
                <a:gd name="connsiteY9" fmla="*/ 322709 h 622746"/>
                <a:gd name="connsiteX10" fmla="*/ 149543 w 317468"/>
                <a:gd name="connsiteY10" fmla="*/ 329948 h 622746"/>
                <a:gd name="connsiteX11" fmla="*/ 297942 w 317468"/>
                <a:gd name="connsiteY11" fmla="*/ 329948 h 622746"/>
                <a:gd name="connsiteX12" fmla="*/ 317468 w 317468"/>
                <a:gd name="connsiteY12" fmla="*/ 349379 h 622746"/>
                <a:gd name="connsiteX13" fmla="*/ 317468 w 317468"/>
                <a:gd name="connsiteY13" fmla="*/ 560643 h 622746"/>
                <a:gd name="connsiteX14" fmla="*/ 255461 w 317468"/>
                <a:gd name="connsiteY14" fmla="*/ 622556 h 622746"/>
                <a:gd name="connsiteX15" fmla="*/ 19526 w 317468"/>
                <a:gd name="connsiteY15" fmla="*/ 622556 h 62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7468" h="622746">
                  <a:moveTo>
                    <a:pt x="19526" y="622746"/>
                  </a:moveTo>
                  <a:cubicBezTo>
                    <a:pt x="8763" y="622746"/>
                    <a:pt x="0" y="613983"/>
                    <a:pt x="0" y="603315"/>
                  </a:cubicBezTo>
                  <a:lnTo>
                    <a:pt x="0" y="387955"/>
                  </a:lnTo>
                  <a:cubicBezTo>
                    <a:pt x="0" y="275274"/>
                    <a:pt x="27337" y="186977"/>
                    <a:pt x="81915" y="123160"/>
                  </a:cubicBezTo>
                  <a:cubicBezTo>
                    <a:pt x="133922" y="62295"/>
                    <a:pt x="205931" y="21338"/>
                    <a:pt x="298037" y="287"/>
                  </a:cubicBezTo>
                  <a:cubicBezTo>
                    <a:pt x="305181" y="-1332"/>
                    <a:pt x="311944" y="4097"/>
                    <a:pt x="311944" y="11336"/>
                  </a:cubicBezTo>
                  <a:lnTo>
                    <a:pt x="311944" y="104681"/>
                  </a:lnTo>
                  <a:cubicBezTo>
                    <a:pt x="311944" y="109539"/>
                    <a:pt x="308896" y="113921"/>
                    <a:pt x="304229" y="115445"/>
                  </a:cubicBezTo>
                  <a:cubicBezTo>
                    <a:pt x="233458" y="138876"/>
                    <a:pt x="185452" y="179643"/>
                    <a:pt x="160401" y="237555"/>
                  </a:cubicBezTo>
                  <a:cubicBezTo>
                    <a:pt x="146780" y="266892"/>
                    <a:pt x="140589" y="295277"/>
                    <a:pt x="142018" y="322709"/>
                  </a:cubicBezTo>
                  <a:cubicBezTo>
                    <a:pt x="142208" y="326805"/>
                    <a:pt x="145542" y="329948"/>
                    <a:pt x="149543" y="329948"/>
                  </a:cubicBezTo>
                  <a:lnTo>
                    <a:pt x="297942" y="329948"/>
                  </a:lnTo>
                  <a:cubicBezTo>
                    <a:pt x="308705" y="329948"/>
                    <a:pt x="317468" y="338711"/>
                    <a:pt x="317468" y="349379"/>
                  </a:cubicBezTo>
                  <a:lnTo>
                    <a:pt x="317468" y="560643"/>
                  </a:lnTo>
                  <a:cubicBezTo>
                    <a:pt x="317468" y="594838"/>
                    <a:pt x="289751" y="622556"/>
                    <a:pt x="255461" y="622556"/>
                  </a:cubicBezTo>
                  <a:lnTo>
                    <a:pt x="19526" y="622556"/>
                  </a:lnTo>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Sans Display"/>
                <a:ea typeface="+mn-ea"/>
                <a:cs typeface="+mn-cs"/>
              </a:endParaRPr>
            </a:p>
          </p:txBody>
        </p:sp>
        <p:sp>
          <p:nvSpPr>
            <p:cNvPr id="5" name="Graphic 9">
              <a:extLst>
                <a:ext uri="{FF2B5EF4-FFF2-40B4-BE49-F238E27FC236}">
                  <a16:creationId xmlns:a16="http://schemas.microsoft.com/office/drawing/2014/main" id="{E3CA75AC-6E69-6F07-C66F-627EE593FCC1}"/>
                </a:ext>
              </a:extLst>
            </p:cNvPr>
            <p:cNvSpPr/>
            <p:nvPr userDrawn="1"/>
          </p:nvSpPr>
          <p:spPr>
            <a:xfrm>
              <a:off x="4169763" y="585788"/>
              <a:ext cx="317468" cy="622746"/>
            </a:xfrm>
            <a:custGeom>
              <a:avLst/>
              <a:gdLst>
                <a:gd name="connsiteX0" fmla="*/ 19526 w 317468"/>
                <a:gd name="connsiteY0" fmla="*/ 622746 h 622746"/>
                <a:gd name="connsiteX1" fmla="*/ 0 w 317468"/>
                <a:gd name="connsiteY1" fmla="*/ 603315 h 622746"/>
                <a:gd name="connsiteX2" fmla="*/ 0 w 317468"/>
                <a:gd name="connsiteY2" fmla="*/ 387955 h 622746"/>
                <a:gd name="connsiteX3" fmla="*/ 81915 w 317468"/>
                <a:gd name="connsiteY3" fmla="*/ 123160 h 622746"/>
                <a:gd name="connsiteX4" fmla="*/ 298037 w 317468"/>
                <a:gd name="connsiteY4" fmla="*/ 287 h 622746"/>
                <a:gd name="connsiteX5" fmla="*/ 311944 w 317468"/>
                <a:gd name="connsiteY5" fmla="*/ 11336 h 622746"/>
                <a:gd name="connsiteX6" fmla="*/ 311944 w 317468"/>
                <a:gd name="connsiteY6" fmla="*/ 104681 h 622746"/>
                <a:gd name="connsiteX7" fmla="*/ 304229 w 317468"/>
                <a:gd name="connsiteY7" fmla="*/ 115445 h 622746"/>
                <a:gd name="connsiteX8" fmla="*/ 160401 w 317468"/>
                <a:gd name="connsiteY8" fmla="*/ 237555 h 622746"/>
                <a:gd name="connsiteX9" fmla="*/ 142018 w 317468"/>
                <a:gd name="connsiteY9" fmla="*/ 322709 h 622746"/>
                <a:gd name="connsiteX10" fmla="*/ 149543 w 317468"/>
                <a:gd name="connsiteY10" fmla="*/ 329948 h 622746"/>
                <a:gd name="connsiteX11" fmla="*/ 297942 w 317468"/>
                <a:gd name="connsiteY11" fmla="*/ 329948 h 622746"/>
                <a:gd name="connsiteX12" fmla="*/ 317468 w 317468"/>
                <a:gd name="connsiteY12" fmla="*/ 349379 h 622746"/>
                <a:gd name="connsiteX13" fmla="*/ 317468 w 317468"/>
                <a:gd name="connsiteY13" fmla="*/ 560643 h 622746"/>
                <a:gd name="connsiteX14" fmla="*/ 255461 w 317468"/>
                <a:gd name="connsiteY14" fmla="*/ 622556 h 622746"/>
                <a:gd name="connsiteX15" fmla="*/ 19526 w 317468"/>
                <a:gd name="connsiteY15" fmla="*/ 622556 h 62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7468" h="622746">
                  <a:moveTo>
                    <a:pt x="19526" y="622746"/>
                  </a:moveTo>
                  <a:cubicBezTo>
                    <a:pt x="8763" y="622746"/>
                    <a:pt x="0" y="613983"/>
                    <a:pt x="0" y="603315"/>
                  </a:cubicBezTo>
                  <a:lnTo>
                    <a:pt x="0" y="387955"/>
                  </a:lnTo>
                  <a:cubicBezTo>
                    <a:pt x="0" y="275274"/>
                    <a:pt x="27337" y="186977"/>
                    <a:pt x="81915" y="123160"/>
                  </a:cubicBezTo>
                  <a:cubicBezTo>
                    <a:pt x="133922" y="62295"/>
                    <a:pt x="205931" y="21338"/>
                    <a:pt x="298037" y="287"/>
                  </a:cubicBezTo>
                  <a:cubicBezTo>
                    <a:pt x="305181" y="-1332"/>
                    <a:pt x="311944" y="4097"/>
                    <a:pt x="311944" y="11336"/>
                  </a:cubicBezTo>
                  <a:lnTo>
                    <a:pt x="311944" y="104681"/>
                  </a:lnTo>
                  <a:cubicBezTo>
                    <a:pt x="311944" y="109539"/>
                    <a:pt x="308896" y="113921"/>
                    <a:pt x="304229" y="115445"/>
                  </a:cubicBezTo>
                  <a:cubicBezTo>
                    <a:pt x="233458" y="138876"/>
                    <a:pt x="185452" y="179643"/>
                    <a:pt x="160401" y="237555"/>
                  </a:cubicBezTo>
                  <a:cubicBezTo>
                    <a:pt x="146780" y="266892"/>
                    <a:pt x="140589" y="295277"/>
                    <a:pt x="142018" y="322709"/>
                  </a:cubicBezTo>
                  <a:cubicBezTo>
                    <a:pt x="142208" y="326805"/>
                    <a:pt x="145542" y="329948"/>
                    <a:pt x="149543" y="329948"/>
                  </a:cubicBezTo>
                  <a:lnTo>
                    <a:pt x="297942" y="329948"/>
                  </a:lnTo>
                  <a:cubicBezTo>
                    <a:pt x="308705" y="329948"/>
                    <a:pt x="317468" y="338711"/>
                    <a:pt x="317468" y="349379"/>
                  </a:cubicBezTo>
                  <a:lnTo>
                    <a:pt x="317468" y="560643"/>
                  </a:lnTo>
                  <a:cubicBezTo>
                    <a:pt x="317468" y="594838"/>
                    <a:pt x="289751" y="622556"/>
                    <a:pt x="255461" y="622556"/>
                  </a:cubicBezTo>
                  <a:lnTo>
                    <a:pt x="19526" y="622556"/>
                  </a:lnTo>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Sans Display"/>
                <a:ea typeface="+mn-ea"/>
                <a:cs typeface="+mn-cs"/>
              </a:endParaRPr>
            </a:p>
          </p:txBody>
        </p:sp>
      </p:grpSp>
    </p:spTree>
    <p:extLst>
      <p:ext uri="{BB962C8B-B14F-4D97-AF65-F5344CB8AC3E}">
        <p14:creationId xmlns:p14="http://schemas.microsoft.com/office/powerpoint/2010/main" val="3583194486"/>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4">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12">
          <p15:clr>
            <a:srgbClr val="A4A3A4"/>
          </p15:clr>
        </p15:guide>
        <p15:guide id="26" pos="6717">
          <p15:clr>
            <a:srgbClr val="A4A3A4"/>
          </p15:clr>
        </p15:guide>
        <p15:guide id="27" pos="6900">
          <p15:clr>
            <a:srgbClr val="A4A3A4"/>
          </p15:clr>
        </p15:guide>
        <p15:guide id="30" orient="horz" pos="288">
          <p15:clr>
            <a:srgbClr val="5ACBF0"/>
          </p15:clr>
        </p15:guide>
        <p15:guide id="32" orient="horz" pos="2184">
          <p15:clr>
            <a:srgbClr val="5ACBF0"/>
          </p15:clr>
        </p15:guide>
        <p15:guide id="33" pos="2976">
          <p15:clr>
            <a:srgbClr val="5ACBF0"/>
          </p15:clr>
        </p15:guide>
        <p15:guide id="34" pos="3336">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_Graphic Header">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D56BC81-79FE-6633-4A0F-A6EB76D6B5A3}"/>
              </a:ext>
            </a:extLst>
          </p:cNvPr>
          <p:cNvPicPr>
            <a:picLocks noChangeAspect="1"/>
          </p:cNvPicPr>
          <p:nvPr userDrawn="1"/>
        </p:nvPicPr>
        <p:blipFill>
          <a:blip r:embed="rId2"/>
          <a:srcRect t="6318" b="75600"/>
          <a:stretch/>
        </p:blipFill>
        <p:spPr>
          <a:xfrm>
            <a:off x="1838" y="0"/>
            <a:ext cx="12188949" cy="1239768"/>
          </a:xfrm>
          <a:prstGeom prst="rect">
            <a:avLst/>
          </a:prstGeom>
        </p:spPr>
      </p:pic>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5" name="Content Placeholder 3">
            <a:extLst>
              <a:ext uri="{FF2B5EF4-FFF2-40B4-BE49-F238E27FC236}">
                <a16:creationId xmlns:a16="http://schemas.microsoft.com/office/drawing/2014/main" id="{A1EBC19B-DFE0-3BAB-4973-BFAD8A738382}"/>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727578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hank you">
    <p:bg>
      <p:bgPr>
        <a:solidFill>
          <a:schemeClr val="tx1"/>
        </a:solidFill>
        <a:effectLst/>
      </p:bgPr>
    </p:bg>
    <p:spTree>
      <p:nvGrpSpPr>
        <p:cNvPr id="1" name=""/>
        <p:cNvGrpSpPr/>
        <p:nvPr/>
      </p:nvGrpSpPr>
      <p:grpSpPr>
        <a:xfrm>
          <a:off x="0" y="0"/>
          <a:ext cx="0" cy="0"/>
          <a:chOff x="0" y="0"/>
          <a:chExt cx="0" cy="0"/>
        </a:xfrm>
      </p:grpSpPr>
      <p:pic>
        <p:nvPicPr>
          <p:cNvPr id="5" name="Picture 4" descr="A close-up of a yellow and blue background&#10;&#10;Description automatically generated">
            <a:extLst>
              <a:ext uri="{FF2B5EF4-FFF2-40B4-BE49-F238E27FC236}">
                <a16:creationId xmlns:a16="http://schemas.microsoft.com/office/drawing/2014/main" id="{A6A9DD60-6582-EC28-94B1-2DB255180C50}"/>
              </a:ext>
            </a:extLst>
          </p:cNvPr>
          <p:cNvPicPr>
            <a:picLocks noChangeAspect="1"/>
          </p:cNvPicPr>
          <p:nvPr userDrawn="1"/>
        </p:nvPicPr>
        <p:blipFill>
          <a:blip r:embed="rId2"/>
          <a:stretch>
            <a:fillRect/>
          </a:stretch>
        </p:blipFill>
        <p:spPr>
          <a:xfrm>
            <a:off x="4800" y="0"/>
            <a:ext cx="12182400" cy="6858000"/>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Thank you</a:t>
            </a:r>
          </a:p>
        </p:txBody>
      </p:sp>
    </p:spTree>
    <p:extLst>
      <p:ext uri="{BB962C8B-B14F-4D97-AF65-F5344CB8AC3E}">
        <p14:creationId xmlns:p14="http://schemas.microsoft.com/office/powerpoint/2010/main" val="1088235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ig Number">
    <p:bg>
      <p:bgPr>
        <a:gradFill>
          <a:gsLst>
            <a:gs pos="2000">
              <a:srgbClr val="0179D4"/>
            </a:gs>
            <a:gs pos="32000">
              <a:srgbClr val="2CB6FF"/>
            </a:gs>
            <a:gs pos="44000">
              <a:srgbClr val="2DB6FF"/>
            </a:gs>
            <a:gs pos="81000">
              <a:srgbClr val="D962FA"/>
            </a:gs>
            <a:gs pos="96000">
              <a:srgbClr val="F69991"/>
            </a:gs>
          </a:gsLst>
          <a:lin ang="3600000" scaled="0"/>
        </a:gradFill>
        <a:effectLst/>
      </p:bgPr>
    </p:bg>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205DF549-0A30-C713-1ACA-9C2994C8D47A}"/>
              </a:ext>
            </a:extLst>
          </p:cNvPr>
          <p:cNvSpPr/>
          <p:nvPr userDrawn="1"/>
        </p:nvSpPr>
        <p:spPr>
          <a:xfrm>
            <a:off x="2144777" y="741145"/>
            <a:ext cx="7899400" cy="5428649"/>
          </a:xfrm>
          <a:prstGeom prst="roundRect">
            <a:avLst>
              <a:gd name="adj" fmla="val 3511"/>
            </a:avLst>
          </a:prstGeom>
          <a:solidFill>
            <a:schemeClr val="bg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 name="Title 3">
            <a:extLst>
              <a:ext uri="{FF2B5EF4-FFF2-40B4-BE49-F238E27FC236}">
                <a16:creationId xmlns:a16="http://schemas.microsoft.com/office/drawing/2014/main" id="{DE53C62E-72E5-F065-0EA5-5455A61A105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6" name="Text Placeholder 5">
            <a:extLst>
              <a:ext uri="{FF2B5EF4-FFF2-40B4-BE49-F238E27FC236}">
                <a16:creationId xmlns:a16="http://schemas.microsoft.com/office/drawing/2014/main" id="{E61FDE9D-CE47-EE58-DDEB-A4E2C9956FDB}"/>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7" name="Text Placeholder 5">
            <a:extLst>
              <a:ext uri="{FF2B5EF4-FFF2-40B4-BE49-F238E27FC236}">
                <a16:creationId xmlns:a16="http://schemas.microsoft.com/office/drawing/2014/main" id="{483921F1-D334-EC88-D639-C6492418B9D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9737961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2">
          <p15:clr>
            <a:srgbClr val="A4A3A4"/>
          </p15:clr>
        </p15:guide>
        <p15:guide id="24" pos="6120">
          <p15:clr>
            <a:srgbClr val="A4A3A4"/>
          </p15:clr>
        </p15:guide>
        <p15:guide id="25" pos="6308">
          <p15:clr>
            <a:srgbClr val="A4A3A4"/>
          </p15:clr>
        </p15:guide>
        <p15:guide id="26" pos="6717">
          <p15:clr>
            <a:srgbClr val="A4A3A4"/>
          </p15:clr>
        </p15:guide>
        <p15:guide id="27" pos="6900">
          <p15:clr>
            <a:srgbClr val="A4A3A4"/>
          </p15:clr>
        </p15:guide>
        <p15:guide id="28" orient="horz" pos="888">
          <p15:clr>
            <a:srgbClr val="5ACBF0"/>
          </p15:clr>
        </p15:guide>
        <p15:guide id="29" orient="horz" pos="1271">
          <p15:clr>
            <a:srgbClr val="5ACBF0"/>
          </p15:clr>
        </p15:guide>
        <p15:guide id="30"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1356485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Quote 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394202"/>
            <a:ext cx="6309360" cy="553998"/>
          </a:xfrm>
        </p:spPr>
        <p:txBody>
          <a:bodyPr wrap="square" anchor="t">
            <a:sp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n-lt"/>
                <a:ea typeface="+mn-ea"/>
                <a:cs typeface="Segoe Sans Display" pitchFamily="2" charset="0"/>
              </a:defRPr>
            </a:lvl1pPr>
          </a:lstStyle>
          <a:p>
            <a:r>
              <a:rPr lang="en-US"/>
              <a:t>Click to edit Master title style</a:t>
            </a:r>
          </a:p>
        </p:txBody>
      </p:sp>
      <p:grpSp>
        <p:nvGrpSpPr>
          <p:cNvPr id="4" name="Group 3">
            <a:extLst>
              <a:ext uri="{FF2B5EF4-FFF2-40B4-BE49-F238E27FC236}">
                <a16:creationId xmlns:a16="http://schemas.microsoft.com/office/drawing/2014/main" id="{A3F2B542-236C-FF9E-34DA-F674AC8C23DA}"/>
              </a:ext>
              <a:ext uri="{C183D7F6-B498-43B3-948B-1728B52AA6E4}">
                <adec:decorative xmlns:adec="http://schemas.microsoft.com/office/drawing/2017/decorative" val="1"/>
              </a:ext>
            </a:extLst>
          </p:cNvPr>
          <p:cNvGrpSpPr>
            <a:grpSpLocks noChangeAspect="1"/>
          </p:cNvGrpSpPr>
          <p:nvPr userDrawn="1"/>
        </p:nvGrpSpPr>
        <p:grpSpPr>
          <a:xfrm>
            <a:off x="582391" y="585788"/>
            <a:ext cx="1049075" cy="914400"/>
            <a:chOff x="4169763" y="585788"/>
            <a:chExt cx="713371" cy="622746"/>
          </a:xfrm>
          <a:solidFill>
            <a:schemeClr val="tx1"/>
          </a:solidFill>
        </p:grpSpPr>
        <p:sp>
          <p:nvSpPr>
            <p:cNvPr id="5" name="Graphic 9">
              <a:extLst>
                <a:ext uri="{FF2B5EF4-FFF2-40B4-BE49-F238E27FC236}">
                  <a16:creationId xmlns:a16="http://schemas.microsoft.com/office/drawing/2014/main" id="{8616100D-B493-F639-609A-59DC6A2B2945}"/>
                </a:ext>
              </a:extLst>
            </p:cNvPr>
            <p:cNvSpPr/>
            <p:nvPr/>
          </p:nvSpPr>
          <p:spPr>
            <a:xfrm>
              <a:off x="4565666" y="585788"/>
              <a:ext cx="317468" cy="622746"/>
            </a:xfrm>
            <a:custGeom>
              <a:avLst/>
              <a:gdLst>
                <a:gd name="connsiteX0" fmla="*/ 19526 w 317468"/>
                <a:gd name="connsiteY0" fmla="*/ 622746 h 622746"/>
                <a:gd name="connsiteX1" fmla="*/ 0 w 317468"/>
                <a:gd name="connsiteY1" fmla="*/ 603315 h 622746"/>
                <a:gd name="connsiteX2" fmla="*/ 0 w 317468"/>
                <a:gd name="connsiteY2" fmla="*/ 387955 h 622746"/>
                <a:gd name="connsiteX3" fmla="*/ 81915 w 317468"/>
                <a:gd name="connsiteY3" fmla="*/ 123160 h 622746"/>
                <a:gd name="connsiteX4" fmla="*/ 298037 w 317468"/>
                <a:gd name="connsiteY4" fmla="*/ 287 h 622746"/>
                <a:gd name="connsiteX5" fmla="*/ 311944 w 317468"/>
                <a:gd name="connsiteY5" fmla="*/ 11336 h 622746"/>
                <a:gd name="connsiteX6" fmla="*/ 311944 w 317468"/>
                <a:gd name="connsiteY6" fmla="*/ 104681 h 622746"/>
                <a:gd name="connsiteX7" fmla="*/ 304229 w 317468"/>
                <a:gd name="connsiteY7" fmla="*/ 115445 h 622746"/>
                <a:gd name="connsiteX8" fmla="*/ 160401 w 317468"/>
                <a:gd name="connsiteY8" fmla="*/ 237555 h 622746"/>
                <a:gd name="connsiteX9" fmla="*/ 142018 w 317468"/>
                <a:gd name="connsiteY9" fmla="*/ 322709 h 622746"/>
                <a:gd name="connsiteX10" fmla="*/ 149543 w 317468"/>
                <a:gd name="connsiteY10" fmla="*/ 329948 h 622746"/>
                <a:gd name="connsiteX11" fmla="*/ 297942 w 317468"/>
                <a:gd name="connsiteY11" fmla="*/ 329948 h 622746"/>
                <a:gd name="connsiteX12" fmla="*/ 317468 w 317468"/>
                <a:gd name="connsiteY12" fmla="*/ 349379 h 622746"/>
                <a:gd name="connsiteX13" fmla="*/ 317468 w 317468"/>
                <a:gd name="connsiteY13" fmla="*/ 560643 h 622746"/>
                <a:gd name="connsiteX14" fmla="*/ 255461 w 317468"/>
                <a:gd name="connsiteY14" fmla="*/ 622556 h 622746"/>
                <a:gd name="connsiteX15" fmla="*/ 19526 w 317468"/>
                <a:gd name="connsiteY15" fmla="*/ 622556 h 62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7468" h="622746">
                  <a:moveTo>
                    <a:pt x="19526" y="622746"/>
                  </a:moveTo>
                  <a:cubicBezTo>
                    <a:pt x="8763" y="622746"/>
                    <a:pt x="0" y="613983"/>
                    <a:pt x="0" y="603315"/>
                  </a:cubicBezTo>
                  <a:lnTo>
                    <a:pt x="0" y="387955"/>
                  </a:lnTo>
                  <a:cubicBezTo>
                    <a:pt x="0" y="275274"/>
                    <a:pt x="27337" y="186977"/>
                    <a:pt x="81915" y="123160"/>
                  </a:cubicBezTo>
                  <a:cubicBezTo>
                    <a:pt x="133922" y="62295"/>
                    <a:pt x="205931" y="21338"/>
                    <a:pt x="298037" y="287"/>
                  </a:cubicBezTo>
                  <a:cubicBezTo>
                    <a:pt x="305181" y="-1332"/>
                    <a:pt x="311944" y="4097"/>
                    <a:pt x="311944" y="11336"/>
                  </a:cubicBezTo>
                  <a:lnTo>
                    <a:pt x="311944" y="104681"/>
                  </a:lnTo>
                  <a:cubicBezTo>
                    <a:pt x="311944" y="109539"/>
                    <a:pt x="308896" y="113921"/>
                    <a:pt x="304229" y="115445"/>
                  </a:cubicBezTo>
                  <a:cubicBezTo>
                    <a:pt x="233458" y="138876"/>
                    <a:pt x="185452" y="179643"/>
                    <a:pt x="160401" y="237555"/>
                  </a:cubicBezTo>
                  <a:cubicBezTo>
                    <a:pt x="146780" y="266892"/>
                    <a:pt x="140589" y="295277"/>
                    <a:pt x="142018" y="322709"/>
                  </a:cubicBezTo>
                  <a:cubicBezTo>
                    <a:pt x="142208" y="326805"/>
                    <a:pt x="145542" y="329948"/>
                    <a:pt x="149543" y="329948"/>
                  </a:cubicBezTo>
                  <a:lnTo>
                    <a:pt x="297942" y="329948"/>
                  </a:lnTo>
                  <a:cubicBezTo>
                    <a:pt x="308705" y="329948"/>
                    <a:pt x="317468" y="338711"/>
                    <a:pt x="317468" y="349379"/>
                  </a:cubicBezTo>
                  <a:lnTo>
                    <a:pt x="317468" y="560643"/>
                  </a:lnTo>
                  <a:cubicBezTo>
                    <a:pt x="317468" y="594838"/>
                    <a:pt x="289751" y="622556"/>
                    <a:pt x="255461" y="622556"/>
                  </a:cubicBezTo>
                  <a:lnTo>
                    <a:pt x="19526" y="622556"/>
                  </a:lnTo>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Sans Display"/>
                <a:ea typeface="+mn-ea"/>
                <a:cs typeface="+mn-cs"/>
              </a:endParaRPr>
            </a:p>
          </p:txBody>
        </p:sp>
        <p:sp>
          <p:nvSpPr>
            <p:cNvPr id="6" name="Graphic 9">
              <a:extLst>
                <a:ext uri="{FF2B5EF4-FFF2-40B4-BE49-F238E27FC236}">
                  <a16:creationId xmlns:a16="http://schemas.microsoft.com/office/drawing/2014/main" id="{254D7E75-4226-8293-E429-5E73E9130D6B}"/>
                </a:ext>
              </a:extLst>
            </p:cNvPr>
            <p:cNvSpPr/>
            <p:nvPr userDrawn="1"/>
          </p:nvSpPr>
          <p:spPr>
            <a:xfrm>
              <a:off x="4169763" y="585788"/>
              <a:ext cx="317468" cy="622746"/>
            </a:xfrm>
            <a:custGeom>
              <a:avLst/>
              <a:gdLst>
                <a:gd name="connsiteX0" fmla="*/ 19526 w 317468"/>
                <a:gd name="connsiteY0" fmla="*/ 622746 h 622746"/>
                <a:gd name="connsiteX1" fmla="*/ 0 w 317468"/>
                <a:gd name="connsiteY1" fmla="*/ 603315 h 622746"/>
                <a:gd name="connsiteX2" fmla="*/ 0 w 317468"/>
                <a:gd name="connsiteY2" fmla="*/ 387955 h 622746"/>
                <a:gd name="connsiteX3" fmla="*/ 81915 w 317468"/>
                <a:gd name="connsiteY3" fmla="*/ 123160 h 622746"/>
                <a:gd name="connsiteX4" fmla="*/ 298037 w 317468"/>
                <a:gd name="connsiteY4" fmla="*/ 287 h 622746"/>
                <a:gd name="connsiteX5" fmla="*/ 311944 w 317468"/>
                <a:gd name="connsiteY5" fmla="*/ 11336 h 622746"/>
                <a:gd name="connsiteX6" fmla="*/ 311944 w 317468"/>
                <a:gd name="connsiteY6" fmla="*/ 104681 h 622746"/>
                <a:gd name="connsiteX7" fmla="*/ 304229 w 317468"/>
                <a:gd name="connsiteY7" fmla="*/ 115445 h 622746"/>
                <a:gd name="connsiteX8" fmla="*/ 160401 w 317468"/>
                <a:gd name="connsiteY8" fmla="*/ 237555 h 622746"/>
                <a:gd name="connsiteX9" fmla="*/ 142018 w 317468"/>
                <a:gd name="connsiteY9" fmla="*/ 322709 h 622746"/>
                <a:gd name="connsiteX10" fmla="*/ 149543 w 317468"/>
                <a:gd name="connsiteY10" fmla="*/ 329948 h 622746"/>
                <a:gd name="connsiteX11" fmla="*/ 297942 w 317468"/>
                <a:gd name="connsiteY11" fmla="*/ 329948 h 622746"/>
                <a:gd name="connsiteX12" fmla="*/ 317468 w 317468"/>
                <a:gd name="connsiteY12" fmla="*/ 349379 h 622746"/>
                <a:gd name="connsiteX13" fmla="*/ 317468 w 317468"/>
                <a:gd name="connsiteY13" fmla="*/ 560643 h 622746"/>
                <a:gd name="connsiteX14" fmla="*/ 255461 w 317468"/>
                <a:gd name="connsiteY14" fmla="*/ 622556 h 622746"/>
                <a:gd name="connsiteX15" fmla="*/ 19526 w 317468"/>
                <a:gd name="connsiteY15" fmla="*/ 622556 h 62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7468" h="622746">
                  <a:moveTo>
                    <a:pt x="19526" y="622746"/>
                  </a:moveTo>
                  <a:cubicBezTo>
                    <a:pt x="8763" y="622746"/>
                    <a:pt x="0" y="613983"/>
                    <a:pt x="0" y="603315"/>
                  </a:cubicBezTo>
                  <a:lnTo>
                    <a:pt x="0" y="387955"/>
                  </a:lnTo>
                  <a:cubicBezTo>
                    <a:pt x="0" y="275274"/>
                    <a:pt x="27337" y="186977"/>
                    <a:pt x="81915" y="123160"/>
                  </a:cubicBezTo>
                  <a:cubicBezTo>
                    <a:pt x="133922" y="62295"/>
                    <a:pt x="205931" y="21338"/>
                    <a:pt x="298037" y="287"/>
                  </a:cubicBezTo>
                  <a:cubicBezTo>
                    <a:pt x="305181" y="-1332"/>
                    <a:pt x="311944" y="4097"/>
                    <a:pt x="311944" y="11336"/>
                  </a:cubicBezTo>
                  <a:lnTo>
                    <a:pt x="311944" y="104681"/>
                  </a:lnTo>
                  <a:cubicBezTo>
                    <a:pt x="311944" y="109539"/>
                    <a:pt x="308896" y="113921"/>
                    <a:pt x="304229" y="115445"/>
                  </a:cubicBezTo>
                  <a:cubicBezTo>
                    <a:pt x="233458" y="138876"/>
                    <a:pt x="185452" y="179643"/>
                    <a:pt x="160401" y="237555"/>
                  </a:cubicBezTo>
                  <a:cubicBezTo>
                    <a:pt x="146780" y="266892"/>
                    <a:pt x="140589" y="295277"/>
                    <a:pt x="142018" y="322709"/>
                  </a:cubicBezTo>
                  <a:cubicBezTo>
                    <a:pt x="142208" y="326805"/>
                    <a:pt x="145542" y="329948"/>
                    <a:pt x="149543" y="329948"/>
                  </a:cubicBezTo>
                  <a:lnTo>
                    <a:pt x="297942" y="329948"/>
                  </a:lnTo>
                  <a:cubicBezTo>
                    <a:pt x="308705" y="329948"/>
                    <a:pt x="317468" y="338711"/>
                    <a:pt x="317468" y="349379"/>
                  </a:cubicBezTo>
                  <a:lnTo>
                    <a:pt x="317468" y="560643"/>
                  </a:lnTo>
                  <a:cubicBezTo>
                    <a:pt x="317468" y="594838"/>
                    <a:pt x="289751" y="622556"/>
                    <a:pt x="255461" y="622556"/>
                  </a:cubicBezTo>
                  <a:lnTo>
                    <a:pt x="19526" y="622556"/>
                  </a:lnTo>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Sans Display"/>
                <a:ea typeface="+mn-ea"/>
                <a:cs typeface="+mn-cs"/>
              </a:endParaRPr>
            </a:p>
          </p:txBody>
        </p:sp>
      </p:grpSp>
    </p:spTree>
    <p:extLst>
      <p:ext uri="{BB962C8B-B14F-4D97-AF65-F5344CB8AC3E}">
        <p14:creationId xmlns:p14="http://schemas.microsoft.com/office/powerpoint/2010/main" val="39694033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4">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12">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Agenda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sz="2000"/>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994532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489639"/>
          </a:xfrm>
        </p:spPr>
        <p:txBody>
          <a:bodyPr wrap="square">
            <a:spAutoFit/>
          </a:bodyPr>
          <a:lstStyle>
            <a:lvl1pPr marL="0" indent="0">
              <a:buNone/>
              <a:defRPr sz="2000"/>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065257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489639"/>
          </a:xfrm>
        </p:spPr>
        <p:txBody>
          <a:bodyPr/>
          <a:lstStyle>
            <a:lvl1pPr>
              <a:defRPr sz="20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Tree>
    <p:extLst>
      <p:ext uri="{BB962C8B-B14F-4D97-AF65-F5344CB8AC3E}">
        <p14:creationId xmlns:p14="http://schemas.microsoft.com/office/powerpoint/2010/main" val="346519295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307777"/>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489639"/>
          </a:xfrm>
        </p:spPr>
        <p:txBody>
          <a:bodyPr>
            <a:spAutoFit/>
          </a:bodyPr>
          <a:lstStyle>
            <a:lvl1pPr marL="171450" indent="-171450">
              <a:defRPr lang="en-US" sz="20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307777"/>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489639"/>
          </a:xfrm>
        </p:spPr>
        <p:txBody>
          <a:bodyPr>
            <a:spAutoFit/>
          </a:bodyPr>
          <a:lstStyle>
            <a:lvl1pPr marL="171450" indent="-171450">
              <a:defRPr lang="en-US" sz="20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34060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0054020"/>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991820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8"/>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a:extLst>
              <a:ext uri="{FF2B5EF4-FFF2-40B4-BE49-F238E27FC236}">
                <a16:creationId xmlns:a16="http://schemas.microsoft.com/office/drawing/2014/main" id="{2E18FD0C-FA99-4937-92CD-5CF7F279CD8E}"/>
              </a:ext>
              <a:ext uri="{C183D7F6-B498-43B3-948B-1728B52AA6E4}">
                <adec:decorative xmlns:adec="http://schemas.microsoft.com/office/drawing/2017/decorative" val="0"/>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0"/>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Tree>
    <p:extLst>
      <p:ext uri="{BB962C8B-B14F-4D97-AF65-F5344CB8AC3E}">
        <p14:creationId xmlns:p14="http://schemas.microsoft.com/office/powerpoint/2010/main" val="36636364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a:extLst>
              <a:ext uri="{FF2B5EF4-FFF2-40B4-BE49-F238E27FC236}">
                <a16:creationId xmlns:a16="http://schemas.microsoft.com/office/drawing/2014/main" id="{FEB5B31F-7AD9-4BC6-8D61-62AD8011666E}"/>
              </a:ext>
              <a:ext uri="{C183D7F6-B498-43B3-948B-1728B52AA6E4}">
                <adec:decorative xmlns:adec="http://schemas.microsoft.com/office/drawing/2017/decorative" val="0"/>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0"/>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Tree>
    <p:extLst>
      <p:ext uri="{BB962C8B-B14F-4D97-AF65-F5344CB8AC3E}">
        <p14:creationId xmlns:p14="http://schemas.microsoft.com/office/powerpoint/2010/main" val="96555904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page">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143208B3-217E-A316-BD41-000CF45068A3}"/>
              </a:ext>
            </a:extLst>
          </p:cNvPr>
          <p:cNvSpPr/>
          <p:nvPr userDrawn="1"/>
        </p:nvSpPr>
        <p:spPr>
          <a:xfrm>
            <a:off x="322521" y="283028"/>
            <a:ext cx="11546958" cy="6291943"/>
          </a:xfrm>
          <a:prstGeom prst="roundRect">
            <a:avLst>
              <a:gd name="adj" fmla="val 3511"/>
            </a:avLst>
          </a:prstGeom>
          <a:solidFill>
            <a:schemeClr val="bg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61080454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a:extLst>
              <a:ext uri="{FF2B5EF4-FFF2-40B4-BE49-F238E27FC236}">
                <a16:creationId xmlns:a16="http://schemas.microsoft.com/office/drawing/2014/main" id="{1231301F-62BD-4CF6-8990-CDF00AFC8CCF}"/>
              </a:ext>
              <a:ext uri="{C183D7F6-B498-43B3-948B-1728B52AA6E4}">
                <adec:decorative xmlns:adec="http://schemas.microsoft.com/office/drawing/2017/decorative" val="0"/>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a:extLst>
              <a:ext uri="{FF2B5EF4-FFF2-40B4-BE49-F238E27FC236}">
                <a16:creationId xmlns:a16="http://schemas.microsoft.com/office/drawing/2014/main" id="{7223C820-5673-4288-A9D6-185A95066B1E}"/>
              </a:ext>
              <a:ext uri="{C183D7F6-B498-43B3-948B-1728B52AA6E4}">
                <adec:decorative xmlns:adec="http://schemas.microsoft.com/office/drawing/2017/decorative" val="0"/>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Tree>
    <p:extLst>
      <p:ext uri="{BB962C8B-B14F-4D97-AF65-F5344CB8AC3E}">
        <p14:creationId xmlns:p14="http://schemas.microsoft.com/office/powerpoint/2010/main" val="348542423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 uri="{C183D7F6-B498-43B3-948B-1728B52AA6E4}">
                <adec:decorative xmlns:adec="http://schemas.microsoft.com/office/drawing/2017/decorative" val="0"/>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 uri="{C183D7F6-B498-43B3-948B-1728B52AA6E4}">
                <adec:decorative xmlns:adec="http://schemas.microsoft.com/office/drawing/2017/decorative" val="0"/>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 uri="{C183D7F6-B498-43B3-948B-1728B52AA6E4}">
                <adec:decorative xmlns:adec="http://schemas.microsoft.com/office/drawing/2017/decorative" val="0"/>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Tree>
    <p:extLst>
      <p:ext uri="{BB962C8B-B14F-4D97-AF65-F5344CB8AC3E}">
        <p14:creationId xmlns:p14="http://schemas.microsoft.com/office/powerpoint/2010/main" val="193911595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Tree>
    <p:extLst>
      <p:ext uri="{BB962C8B-B14F-4D97-AF65-F5344CB8AC3E}">
        <p14:creationId xmlns:p14="http://schemas.microsoft.com/office/powerpoint/2010/main" val="338361985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Tree>
    <p:extLst>
      <p:ext uri="{BB962C8B-B14F-4D97-AF65-F5344CB8AC3E}">
        <p14:creationId xmlns:p14="http://schemas.microsoft.com/office/powerpoint/2010/main" val="184438286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Tree>
    <p:extLst>
      <p:ext uri="{BB962C8B-B14F-4D97-AF65-F5344CB8AC3E}">
        <p14:creationId xmlns:p14="http://schemas.microsoft.com/office/powerpoint/2010/main" val="141826871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Tree>
    <p:extLst>
      <p:ext uri="{BB962C8B-B14F-4D97-AF65-F5344CB8AC3E}">
        <p14:creationId xmlns:p14="http://schemas.microsoft.com/office/powerpoint/2010/main" val="183606221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a:extLst>
              <a:ext uri="{FF2B5EF4-FFF2-40B4-BE49-F238E27FC236}">
                <a16:creationId xmlns:a16="http://schemas.microsoft.com/office/drawing/2014/main" id="{FEB5B31F-7AD9-4BC6-8D61-62AD8011666E}"/>
              </a:ext>
              <a:ext uri="{C183D7F6-B498-43B3-948B-1728B52AA6E4}">
                <adec:decorative xmlns:adec="http://schemas.microsoft.com/office/drawing/2017/decorative" val="0"/>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0"/>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Tree>
    <p:extLst>
      <p:ext uri="{BB962C8B-B14F-4D97-AF65-F5344CB8AC3E}">
        <p14:creationId xmlns:p14="http://schemas.microsoft.com/office/powerpoint/2010/main" val="237490973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a:extLst>
              <a:ext uri="{FF2B5EF4-FFF2-40B4-BE49-F238E27FC236}">
                <a16:creationId xmlns:a16="http://schemas.microsoft.com/office/drawing/2014/main" id="{FEB5B31F-7AD9-4BC6-8D61-62AD8011666E}"/>
              </a:ext>
              <a:ext uri="{C183D7F6-B498-43B3-948B-1728B52AA6E4}">
                <adec:decorative xmlns:adec="http://schemas.microsoft.com/office/drawing/2017/decorative" val="0"/>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Tree>
    <p:extLst>
      <p:ext uri="{BB962C8B-B14F-4D97-AF65-F5344CB8AC3E}">
        <p14:creationId xmlns:p14="http://schemas.microsoft.com/office/powerpoint/2010/main" val="126273506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A608AEF-BE66-4029-BA63-DA15E89C3291}"/>
              </a:ext>
              <a:ext uri="{C183D7F6-B498-43B3-948B-1728B52AA6E4}">
                <adec:decorative xmlns:adec="http://schemas.microsoft.com/office/drawing/2017/decorative" val="0"/>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 uri="{C183D7F6-B498-43B3-948B-1728B52AA6E4}">
                <adec:decorative xmlns:adec="http://schemas.microsoft.com/office/drawing/2017/decorative" val="0"/>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0"/>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Tree>
    <p:extLst>
      <p:ext uri="{BB962C8B-B14F-4D97-AF65-F5344CB8AC3E}">
        <p14:creationId xmlns:p14="http://schemas.microsoft.com/office/powerpoint/2010/main" val="3247668828"/>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A608AEF-BE66-4029-BA63-DA15E89C3291}"/>
              </a:ext>
              <a:ext uri="{C183D7F6-B498-43B3-948B-1728B52AA6E4}">
                <adec:decorative xmlns:adec="http://schemas.microsoft.com/office/drawing/2017/decorative" val="0"/>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 uri="{C183D7F6-B498-43B3-948B-1728B52AA6E4}">
                <adec:decorative xmlns:adec="http://schemas.microsoft.com/office/drawing/2017/decorative" val="0"/>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0"/>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Tree>
    <p:extLst>
      <p:ext uri="{BB962C8B-B14F-4D97-AF65-F5344CB8AC3E}">
        <p14:creationId xmlns:p14="http://schemas.microsoft.com/office/powerpoint/2010/main" val="422144394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3_Title Only">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23311484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A608AEF-BE66-4029-BA63-DA15E89C3291}"/>
              </a:ext>
              <a:ext uri="{C183D7F6-B498-43B3-948B-1728B52AA6E4}">
                <adec:decorative xmlns:adec="http://schemas.microsoft.com/office/drawing/2017/decorative" val="0"/>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 uri="{C183D7F6-B498-43B3-948B-1728B52AA6E4}">
                <adec:decorative xmlns:adec="http://schemas.microsoft.com/office/drawing/2017/decorative" val="0"/>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0"/>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Tree>
    <p:extLst>
      <p:ext uri="{BB962C8B-B14F-4D97-AF65-F5344CB8AC3E}">
        <p14:creationId xmlns:p14="http://schemas.microsoft.com/office/powerpoint/2010/main" val="87417452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1022210"/>
      </p:ext>
    </p:extLst>
  </p:cSld>
  <p:clrMapOvr>
    <a:masterClrMapping/>
  </p:clrMapOvr>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Tree>
    <p:extLst>
      <p:ext uri="{BB962C8B-B14F-4D97-AF65-F5344CB8AC3E}">
        <p14:creationId xmlns:p14="http://schemas.microsoft.com/office/powerpoint/2010/main" val="3898324007"/>
      </p:ext>
    </p:extLst>
  </p:cSld>
  <p:clrMapOvr>
    <a:masterClrMapping/>
  </p:clrMapOvr>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Sans Display"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0707889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Sans Display"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52330893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Sans Display"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404243344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Sans Display"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44771556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Sans Display"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37381806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Demo slide dark">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0795857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Demo slide l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533248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Closing logo slide">
    <p:bg>
      <p:bgPr>
        <a:solidFill>
          <a:srgbClr val="091F2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24813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Sans Display"/>
                <a:ea typeface="+mn-ea"/>
                <a:cs typeface="Segoe Sans Display" pitchFamily="2" charset="0"/>
              </a:rPr>
              <a:t>© Copyright Microsoft Corporation. All rights reserved. </a:t>
            </a:r>
          </a:p>
        </p:txBody>
      </p:sp>
      <p:pic>
        <p:nvPicPr>
          <p:cNvPr id="4" name="Picture 3" descr="Microsoft Security">
            <a:extLst>
              <a:ext uri="{FF2B5EF4-FFF2-40B4-BE49-F238E27FC236}">
                <a16:creationId xmlns:a16="http://schemas.microsoft.com/office/drawing/2014/main" id="{4AF1DC5D-9E4C-61B6-29E6-3134DF76ECE0}"/>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bwMode="black">
          <a:xfrm>
            <a:off x="289702" y="296820"/>
            <a:ext cx="2876596" cy="868680"/>
          </a:xfrm>
          <a:prstGeom prst="rect">
            <a:avLst/>
          </a:prstGeom>
        </p:spPr>
      </p:pic>
      <p:sp>
        <p:nvSpPr>
          <p:cNvPr id="3" name="Title 1">
            <a:extLst>
              <a:ext uri="{FF2B5EF4-FFF2-40B4-BE49-F238E27FC236}">
                <a16:creationId xmlns:a16="http://schemas.microsoft.com/office/drawing/2014/main" id="{89FF0FC9-6B16-7B48-F8A5-349518F8D93B}"/>
              </a:ext>
              <a:ext uri="{C183D7F6-B498-43B3-948B-1728B52AA6E4}">
                <adec:decorative xmlns:adec="http://schemas.microsoft.com/office/drawing/2017/decorative" val="0"/>
              </a:ext>
            </a:extLst>
          </p:cNvPr>
          <p:cNvSpPr>
            <a:spLocks noGrp="1"/>
          </p:cNvSpPr>
          <p:nvPr>
            <p:ph type="title" hasCustomPrompt="1"/>
          </p:nvPr>
        </p:nvSpPr>
        <p:spPr>
          <a:xfrm>
            <a:off x="588263" y="-824268"/>
            <a:ext cx="11018520" cy="553998"/>
          </a:xfrm>
        </p:spPr>
        <p:txBody>
          <a:bodyPr anchor="b"/>
          <a:lstStyle>
            <a:lvl1pPr>
              <a:defRPr>
                <a:solidFill>
                  <a:srgbClr val="B1B3B3"/>
                </a:solidFill>
              </a:defRPr>
            </a:lvl1pPr>
          </a:lstStyle>
          <a:p>
            <a:r>
              <a:rPr lang="en-US"/>
              <a:t>Closing</a:t>
            </a:r>
          </a:p>
        </p:txBody>
      </p:sp>
    </p:spTree>
    <p:extLst>
      <p:ext uri="{BB962C8B-B14F-4D97-AF65-F5344CB8AC3E}">
        <p14:creationId xmlns:p14="http://schemas.microsoft.com/office/powerpoint/2010/main" val="2039635446"/>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5142854"/>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cSld name="Blank 2">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589275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cSld name="Header Tex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182156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cSld name="Small Header Text Light">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25166687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Title Presentation">
    <p:bg>
      <p:bgPr>
        <a:gradFill>
          <a:gsLst>
            <a:gs pos="2000">
              <a:srgbClr val="0179D4"/>
            </a:gs>
            <a:gs pos="32000">
              <a:srgbClr val="2CB6FF"/>
            </a:gs>
            <a:gs pos="44000">
              <a:srgbClr val="2DB6FF"/>
            </a:gs>
            <a:gs pos="81000">
              <a:srgbClr val="D962FA"/>
            </a:gs>
            <a:gs pos="96000">
              <a:srgbClr val="F69991"/>
            </a:gs>
          </a:gsLst>
          <a:lin ang="3600000" scaled="0"/>
        </a:gradFill>
        <a:effectLst/>
      </p:bgPr>
    </p:bg>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E9233ADA-E271-6E93-F32E-718454D76C3D}"/>
              </a:ext>
            </a:extLst>
          </p:cNvPr>
          <p:cNvSpPr/>
          <p:nvPr userDrawn="1"/>
        </p:nvSpPr>
        <p:spPr>
          <a:xfrm>
            <a:off x="322521" y="283028"/>
            <a:ext cx="11546958" cy="6291943"/>
          </a:xfrm>
          <a:prstGeom prst="roundRect">
            <a:avLst>
              <a:gd name="adj" fmla="val 3511"/>
            </a:avLst>
          </a:prstGeom>
          <a:solidFill>
            <a:srgbClr val="091F2C">
              <a:alpha val="8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758597" y="2922191"/>
            <a:ext cx="8193024" cy="1495794"/>
          </a:xfrm>
          <a:noFill/>
        </p:spPr>
        <p:txBody>
          <a:bodyPr wrap="square" lIns="0" tIns="0" rIns="0" bIns="0" anchor="b" anchorCtr="0">
            <a:spAutoFit/>
          </a:bodyPr>
          <a:lstStyle>
            <a:lvl1pPr algn="l">
              <a:defRPr sz="5400" b="1" i="0" spc="-50" baseline="0">
                <a:gradFill>
                  <a:gsLst>
                    <a:gs pos="2000">
                      <a:srgbClr val="0179D4"/>
                    </a:gs>
                    <a:gs pos="32000">
                      <a:srgbClr val="2CB6FF"/>
                    </a:gs>
                    <a:gs pos="44000">
                      <a:srgbClr val="2DB6FF"/>
                    </a:gs>
                    <a:gs pos="81000">
                      <a:srgbClr val="D962FA"/>
                    </a:gs>
                    <a:gs pos="96000">
                      <a:srgbClr val="F69991"/>
                    </a:gs>
                  </a:gsLst>
                  <a:lin ang="3600000" scaled="0"/>
                </a:gradFill>
                <a:latin typeface="Segoe UI" panose="020B0502040204020203" pitchFamily="34" charset="0"/>
                <a:cs typeface="Segoe UI" panose="020B0502040204020203" pitchFamily="34" charset="0"/>
              </a:defRPr>
            </a:lvl1pPr>
          </a:lstStyle>
          <a:p>
            <a:r>
              <a:rPr lang="en-US" dirty="0"/>
              <a:t>Event name or </a:t>
            </a:r>
            <a:br>
              <a:rPr lang="en-US" dirty="0"/>
            </a:br>
            <a:r>
              <a:rPr lang="en-US" dirty="0"/>
              <a:t>presentation title </a:t>
            </a:r>
          </a:p>
        </p:txBody>
      </p:sp>
      <p:sp>
        <p:nvSpPr>
          <p:cNvPr id="3" name="Subtitle">
            <a:extLst>
              <a:ext uri="{FF2B5EF4-FFF2-40B4-BE49-F238E27FC236}">
                <a16:creationId xmlns:a16="http://schemas.microsoft.com/office/drawing/2014/main" id="{AA1ADBE6-5E29-7A6B-E210-597F443C7BFA}"/>
              </a:ext>
            </a:extLst>
          </p:cNvPr>
          <p:cNvSpPr>
            <a:spLocks noGrp="1"/>
          </p:cNvSpPr>
          <p:nvPr>
            <p:ph type="body" sz="quarter" idx="12" hasCustomPrompt="1"/>
          </p:nvPr>
        </p:nvSpPr>
        <p:spPr>
          <a:xfrm>
            <a:off x="758597" y="4573783"/>
            <a:ext cx="8193024" cy="276999"/>
          </a:xfrm>
          <a:prstGeom prst="rect">
            <a:avLst/>
          </a:prstGeom>
          <a:noFill/>
        </p:spPr>
        <p:txBody>
          <a:bodyPr wrap="square" lIns="0" tIns="0" rIns="0" bIns="0">
            <a:spAutoFit/>
          </a:bodyPr>
          <a:lstStyle>
            <a:lvl1pPr marL="0" indent="0">
              <a:spcBef>
                <a:spcPts val="0"/>
              </a:spcBef>
              <a:buNone/>
              <a:defRPr sz="2000" spc="0" baseline="0">
                <a:solidFill>
                  <a:schemeClr val="bg1"/>
                </a:solidFill>
                <a:latin typeface="Segoe UI" panose="020B0502040204020203" pitchFamily="34" charset="0"/>
                <a:cs typeface="Segoe UI" panose="020B0502040204020203" pitchFamily="34" charset="0"/>
              </a:defRPr>
            </a:lvl1pPr>
          </a:lstStyle>
          <a:p>
            <a:pPr lvl="0"/>
            <a:r>
              <a:rPr lang="en-US" dirty="0"/>
              <a:t>Speaker name or subtitle</a:t>
            </a:r>
          </a:p>
        </p:txBody>
      </p:sp>
      <p:sp>
        <p:nvSpPr>
          <p:cNvPr id="9" name="Text Placeholder 4">
            <a:extLst>
              <a:ext uri="{FF2B5EF4-FFF2-40B4-BE49-F238E27FC236}">
                <a16:creationId xmlns:a16="http://schemas.microsoft.com/office/drawing/2014/main" id="{9D791B19-58A7-CCC1-7E59-596D25308565}"/>
              </a:ext>
            </a:extLst>
          </p:cNvPr>
          <p:cNvSpPr>
            <a:spLocks noGrp="1"/>
          </p:cNvSpPr>
          <p:nvPr>
            <p:ph type="body" sz="quarter" idx="13" hasCustomPrompt="1"/>
          </p:nvPr>
        </p:nvSpPr>
        <p:spPr>
          <a:xfrm>
            <a:off x="758597" y="6135070"/>
            <a:ext cx="1645920" cy="139397"/>
          </a:xfrm>
          <a:prstGeom prst="rect">
            <a:avLst/>
          </a:prstGeom>
          <a:noFill/>
        </p:spPr>
        <p:txBody>
          <a:bodyPr wrap="square" lIns="0" tIns="0" rIns="0" bIns="0">
            <a:spAutoFit/>
          </a:bodyPr>
          <a:lstStyle>
            <a:lvl1pPr marL="0" indent="0">
              <a:spcBef>
                <a:spcPts val="0"/>
              </a:spcBef>
              <a:buNone/>
              <a:defRPr sz="1000" spc="0" baseline="0">
                <a:solidFill>
                  <a:schemeClr val="bg1"/>
                </a:solidFill>
                <a:latin typeface="Segoe UI" panose="020B0502040204020203" pitchFamily="34" charset="0"/>
                <a:cs typeface="Segoe UI" panose="020B0502040204020203" pitchFamily="34" charset="0"/>
              </a:defRPr>
            </a:lvl1pPr>
          </a:lstStyle>
          <a:p>
            <a:pPr lvl="0"/>
            <a:r>
              <a:rPr lang="en-US"/>
              <a:t>Date</a:t>
            </a:r>
          </a:p>
        </p:txBody>
      </p:sp>
      <p:sp>
        <p:nvSpPr>
          <p:cNvPr id="11" name="TextBox 10">
            <a:extLst>
              <a:ext uri="{FF2B5EF4-FFF2-40B4-BE49-F238E27FC236}">
                <a16:creationId xmlns:a16="http://schemas.microsoft.com/office/drawing/2014/main" id="{79D24C9A-89BC-97E2-72D1-CB264F76EC90}"/>
              </a:ext>
            </a:extLst>
          </p:cNvPr>
          <p:cNvSpPr txBox="1"/>
          <p:nvPr userDrawn="1"/>
        </p:nvSpPr>
        <p:spPr>
          <a:xfrm>
            <a:off x="2647609" y="6135070"/>
            <a:ext cx="3143489" cy="153888"/>
          </a:xfrm>
          <a:prstGeom prst="rect">
            <a:avLst/>
          </a:prstGeom>
          <a:noFill/>
        </p:spPr>
        <p:txBody>
          <a:bodyPr wrap="none" lIns="0" tIns="0" rIns="0" bIns="0" rtlCol="0">
            <a:spAutoFit/>
          </a:bodyPr>
          <a:lstStyle/>
          <a:p>
            <a:pPr marL="0" marR="0" lvl="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lang="en-US" sz="1000" kern="1200" spc="0" baseline="0" dirty="0">
                <a:solidFill>
                  <a:schemeClr val="bg1"/>
                </a:solidFill>
                <a:latin typeface="Segoe UI" panose="020B0502040204020203" pitchFamily="34" charset="0"/>
                <a:ea typeface="+mn-ea"/>
                <a:cs typeface="Segoe UI" panose="020B0502040204020203" pitchFamily="34" charset="0"/>
              </a:rPr>
              <a:t>© Copyright Microsoft Corporation. All rights reserved. </a:t>
            </a:r>
          </a:p>
        </p:txBody>
      </p:sp>
      <p:pic>
        <p:nvPicPr>
          <p:cNvPr id="12" name="MS logo gray - EMF">
            <a:extLst>
              <a:ext uri="{FF2B5EF4-FFF2-40B4-BE49-F238E27FC236}">
                <a16:creationId xmlns:a16="http://schemas.microsoft.com/office/drawing/2014/main" id="{AAF3FFA6-DD3A-C046-9BAB-42C1143979D3}"/>
              </a:ext>
            </a:extLst>
          </p:cNvPr>
          <p:cNvPicPr>
            <a:picLocks noChangeAspect="1"/>
          </p:cNvPicPr>
          <p:nvPr userDrawn="1"/>
        </p:nvPicPr>
        <p:blipFill>
          <a:blip r:embed="rId2">
            <a:extLst>
              <a:ext uri="{28A0092B-C50C-407E-A947-70E740481C1C}">
                <a14:useLocalDpi xmlns:a14="http://schemas.microsoft.com/office/drawing/2010/main" val="0"/>
              </a:ext>
            </a:extLst>
          </a:blip>
          <a:srcRect l="12679" t="30223" r="10306" b="29367"/>
          <a:stretch/>
        </p:blipFill>
        <p:spPr bwMode="black">
          <a:xfrm>
            <a:off x="10104777" y="6035405"/>
            <a:ext cx="1501911" cy="353217"/>
          </a:xfrm>
          <a:prstGeom prst="rect">
            <a:avLst/>
          </a:prstGeom>
        </p:spPr>
      </p:pic>
      <p:grpSp>
        <p:nvGrpSpPr>
          <p:cNvPr id="5" name="Group 4">
            <a:extLst>
              <a:ext uri="{FF2B5EF4-FFF2-40B4-BE49-F238E27FC236}">
                <a16:creationId xmlns:a16="http://schemas.microsoft.com/office/drawing/2014/main" id="{12A5064F-17A8-03BF-8543-492C03DD908A}"/>
              </a:ext>
            </a:extLst>
          </p:cNvPr>
          <p:cNvGrpSpPr/>
          <p:nvPr userDrawn="1"/>
        </p:nvGrpSpPr>
        <p:grpSpPr>
          <a:xfrm>
            <a:off x="745718" y="722820"/>
            <a:ext cx="3452795" cy="610828"/>
            <a:chOff x="3410610" y="4736940"/>
            <a:chExt cx="4842785" cy="856729"/>
          </a:xfrm>
        </p:grpSpPr>
        <p:sp>
          <p:nvSpPr>
            <p:cNvPr id="7" name="Freeform 6">
              <a:extLst>
                <a:ext uri="{FF2B5EF4-FFF2-40B4-BE49-F238E27FC236}">
                  <a16:creationId xmlns:a16="http://schemas.microsoft.com/office/drawing/2014/main" id="{4FF490EB-9A25-E392-1D80-59CDC0DC5F85}"/>
                </a:ext>
              </a:extLst>
            </p:cNvPr>
            <p:cNvSpPr/>
            <p:nvPr/>
          </p:nvSpPr>
          <p:spPr>
            <a:xfrm>
              <a:off x="4422116" y="4768455"/>
              <a:ext cx="464590" cy="423716"/>
            </a:xfrm>
            <a:custGeom>
              <a:avLst/>
              <a:gdLst>
                <a:gd name="connsiteX0" fmla="*/ 393913 w 464590"/>
                <a:gd name="connsiteY0" fmla="*/ 423716 h 423716"/>
                <a:gd name="connsiteX1" fmla="*/ 393913 w 464590"/>
                <a:gd name="connsiteY1" fmla="*/ 153950 h 423716"/>
                <a:gd name="connsiteX2" fmla="*/ 394392 w 464590"/>
                <a:gd name="connsiteY2" fmla="*/ 124956 h 423716"/>
                <a:gd name="connsiteX3" fmla="*/ 395349 w 464590"/>
                <a:gd name="connsiteY3" fmla="*/ 98641 h 423716"/>
                <a:gd name="connsiteX4" fmla="*/ 396625 w 464590"/>
                <a:gd name="connsiteY4" fmla="*/ 77211 h 423716"/>
                <a:gd name="connsiteX5" fmla="*/ 397742 w 464590"/>
                <a:gd name="connsiteY5" fmla="*/ 62872 h 423716"/>
                <a:gd name="connsiteX6" fmla="*/ 396466 w 464590"/>
                <a:gd name="connsiteY6" fmla="*/ 62872 h 423716"/>
                <a:gd name="connsiteX7" fmla="*/ 394232 w 464590"/>
                <a:gd name="connsiteY7" fmla="*/ 73902 h 423716"/>
                <a:gd name="connsiteX8" fmla="*/ 391201 w 464590"/>
                <a:gd name="connsiteY8" fmla="*/ 86823 h 423716"/>
                <a:gd name="connsiteX9" fmla="*/ 387691 w 464590"/>
                <a:gd name="connsiteY9" fmla="*/ 99587 h 423716"/>
                <a:gd name="connsiteX10" fmla="*/ 384021 w 464590"/>
                <a:gd name="connsiteY10" fmla="*/ 110144 h 423716"/>
                <a:gd name="connsiteX11" fmla="*/ 254153 w 464590"/>
                <a:gd name="connsiteY11" fmla="*/ 423559 h 423716"/>
                <a:gd name="connsiteX12" fmla="*/ 207726 w 464590"/>
                <a:gd name="connsiteY12" fmla="*/ 423559 h 423716"/>
                <a:gd name="connsiteX13" fmla="*/ 77060 w 464590"/>
                <a:gd name="connsiteY13" fmla="*/ 112980 h 423716"/>
                <a:gd name="connsiteX14" fmla="*/ 74028 w 464590"/>
                <a:gd name="connsiteY14" fmla="*/ 102738 h 423716"/>
                <a:gd name="connsiteX15" fmla="*/ 70518 w 464590"/>
                <a:gd name="connsiteY15" fmla="*/ 88714 h 423716"/>
                <a:gd name="connsiteX16" fmla="*/ 67168 w 464590"/>
                <a:gd name="connsiteY16" fmla="*/ 74217 h 423716"/>
                <a:gd name="connsiteX17" fmla="*/ 64615 w 464590"/>
                <a:gd name="connsiteY17" fmla="*/ 62714 h 423716"/>
                <a:gd name="connsiteX18" fmla="*/ 62860 w 464590"/>
                <a:gd name="connsiteY18" fmla="*/ 62714 h 423716"/>
                <a:gd name="connsiteX19" fmla="*/ 63977 w 464590"/>
                <a:gd name="connsiteY19" fmla="*/ 79575 h 423716"/>
                <a:gd name="connsiteX20" fmla="*/ 64934 w 464590"/>
                <a:gd name="connsiteY20" fmla="*/ 104629 h 423716"/>
                <a:gd name="connsiteX21" fmla="*/ 65732 w 464590"/>
                <a:gd name="connsiteY21" fmla="*/ 133780 h 423716"/>
                <a:gd name="connsiteX22" fmla="*/ 66051 w 464590"/>
                <a:gd name="connsiteY22" fmla="*/ 162616 h 423716"/>
                <a:gd name="connsiteX23" fmla="*/ 66051 w 464590"/>
                <a:gd name="connsiteY23" fmla="*/ 423559 h 423716"/>
                <a:gd name="connsiteX24" fmla="*/ 0 w 464590"/>
                <a:gd name="connsiteY24" fmla="*/ 423559 h 423716"/>
                <a:gd name="connsiteX25" fmla="*/ 0 w 464590"/>
                <a:gd name="connsiteY25" fmla="*/ 0 h 423716"/>
                <a:gd name="connsiteX26" fmla="*/ 101789 w 464590"/>
                <a:gd name="connsiteY26" fmla="*/ 0 h 423716"/>
                <a:gd name="connsiteX27" fmla="*/ 210917 w 464590"/>
                <a:gd name="connsiteY27" fmla="*/ 267718 h 423716"/>
                <a:gd name="connsiteX28" fmla="*/ 216182 w 464590"/>
                <a:gd name="connsiteY28" fmla="*/ 281742 h 423716"/>
                <a:gd name="connsiteX29" fmla="*/ 222085 w 464590"/>
                <a:gd name="connsiteY29" fmla="*/ 298130 h 423716"/>
                <a:gd name="connsiteX30" fmla="*/ 227350 w 464590"/>
                <a:gd name="connsiteY30" fmla="*/ 313887 h 423716"/>
                <a:gd name="connsiteX31" fmla="*/ 230540 w 464590"/>
                <a:gd name="connsiteY31" fmla="*/ 326178 h 423716"/>
                <a:gd name="connsiteX32" fmla="*/ 232295 w 464590"/>
                <a:gd name="connsiteY32" fmla="*/ 326178 h 423716"/>
                <a:gd name="connsiteX33" fmla="*/ 237082 w 464590"/>
                <a:gd name="connsiteY33" fmla="*/ 313414 h 423716"/>
                <a:gd name="connsiteX34" fmla="*/ 243144 w 464590"/>
                <a:gd name="connsiteY34" fmla="*/ 297500 h 423716"/>
                <a:gd name="connsiteX35" fmla="*/ 249367 w 464590"/>
                <a:gd name="connsiteY35" fmla="*/ 281112 h 423716"/>
                <a:gd name="connsiteX36" fmla="*/ 254951 w 464590"/>
                <a:gd name="connsiteY36" fmla="*/ 267088 h 423716"/>
                <a:gd name="connsiteX37" fmla="*/ 367110 w 464590"/>
                <a:gd name="connsiteY37" fmla="*/ 0 h 423716"/>
                <a:gd name="connsiteX38" fmla="*/ 464591 w 464590"/>
                <a:gd name="connsiteY38" fmla="*/ 0 h 423716"/>
                <a:gd name="connsiteX39" fmla="*/ 464591 w 464590"/>
                <a:gd name="connsiteY39" fmla="*/ 423716 h 423716"/>
                <a:gd name="connsiteX40" fmla="*/ 393913 w 464590"/>
                <a:gd name="connsiteY40" fmla="*/ 423716 h 423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64590" h="423716">
                  <a:moveTo>
                    <a:pt x="393913" y="423716"/>
                  </a:moveTo>
                  <a:lnTo>
                    <a:pt x="393913" y="153950"/>
                  </a:lnTo>
                  <a:cubicBezTo>
                    <a:pt x="393913" y="144180"/>
                    <a:pt x="393913" y="134411"/>
                    <a:pt x="394392" y="124956"/>
                  </a:cubicBezTo>
                  <a:cubicBezTo>
                    <a:pt x="394870" y="115502"/>
                    <a:pt x="395030" y="106678"/>
                    <a:pt x="395349" y="98641"/>
                  </a:cubicBezTo>
                  <a:cubicBezTo>
                    <a:pt x="395668" y="90605"/>
                    <a:pt x="395987" y="83357"/>
                    <a:pt x="396625" y="77211"/>
                  </a:cubicBezTo>
                  <a:cubicBezTo>
                    <a:pt x="397263" y="71066"/>
                    <a:pt x="397423" y="66181"/>
                    <a:pt x="397742" y="62872"/>
                  </a:cubicBezTo>
                  <a:lnTo>
                    <a:pt x="396466" y="62872"/>
                  </a:lnTo>
                  <a:cubicBezTo>
                    <a:pt x="395828" y="66023"/>
                    <a:pt x="395189" y="69648"/>
                    <a:pt x="394232" y="73902"/>
                  </a:cubicBezTo>
                  <a:cubicBezTo>
                    <a:pt x="393275" y="78157"/>
                    <a:pt x="392318" y="82411"/>
                    <a:pt x="391201" y="86823"/>
                  </a:cubicBezTo>
                  <a:cubicBezTo>
                    <a:pt x="390084" y="91235"/>
                    <a:pt x="388967" y="95490"/>
                    <a:pt x="387691" y="99587"/>
                  </a:cubicBezTo>
                  <a:cubicBezTo>
                    <a:pt x="386414" y="103684"/>
                    <a:pt x="385298" y="107150"/>
                    <a:pt x="384021" y="110144"/>
                  </a:cubicBezTo>
                  <a:lnTo>
                    <a:pt x="254153" y="423559"/>
                  </a:lnTo>
                  <a:lnTo>
                    <a:pt x="207726" y="423559"/>
                  </a:lnTo>
                  <a:lnTo>
                    <a:pt x="77060" y="112980"/>
                  </a:lnTo>
                  <a:cubicBezTo>
                    <a:pt x="76262" y="110617"/>
                    <a:pt x="75305" y="107150"/>
                    <a:pt x="74028" y="102738"/>
                  </a:cubicBezTo>
                  <a:cubicBezTo>
                    <a:pt x="72752" y="98326"/>
                    <a:pt x="71635" y="93599"/>
                    <a:pt x="70518" y="88714"/>
                  </a:cubicBezTo>
                  <a:cubicBezTo>
                    <a:pt x="69401" y="83829"/>
                    <a:pt x="68285" y="78945"/>
                    <a:pt x="67168" y="74217"/>
                  </a:cubicBezTo>
                  <a:cubicBezTo>
                    <a:pt x="66051" y="69490"/>
                    <a:pt x="65253" y="65708"/>
                    <a:pt x="64615" y="62714"/>
                  </a:cubicBezTo>
                  <a:lnTo>
                    <a:pt x="62860" y="62714"/>
                  </a:lnTo>
                  <a:cubicBezTo>
                    <a:pt x="63179" y="66496"/>
                    <a:pt x="63658" y="72011"/>
                    <a:pt x="63977" y="79575"/>
                  </a:cubicBezTo>
                  <a:cubicBezTo>
                    <a:pt x="64296" y="87138"/>
                    <a:pt x="64615" y="95490"/>
                    <a:pt x="64934" y="104629"/>
                  </a:cubicBezTo>
                  <a:cubicBezTo>
                    <a:pt x="65253" y="113926"/>
                    <a:pt x="65413" y="123538"/>
                    <a:pt x="65732" y="133780"/>
                  </a:cubicBezTo>
                  <a:cubicBezTo>
                    <a:pt x="65892" y="143865"/>
                    <a:pt x="66051" y="153477"/>
                    <a:pt x="66051" y="162616"/>
                  </a:cubicBezTo>
                  <a:lnTo>
                    <a:pt x="66051" y="423559"/>
                  </a:lnTo>
                  <a:lnTo>
                    <a:pt x="0" y="423559"/>
                  </a:lnTo>
                  <a:lnTo>
                    <a:pt x="0" y="0"/>
                  </a:lnTo>
                  <a:lnTo>
                    <a:pt x="101789" y="0"/>
                  </a:lnTo>
                  <a:lnTo>
                    <a:pt x="210917" y="267718"/>
                  </a:lnTo>
                  <a:cubicBezTo>
                    <a:pt x="212512" y="271657"/>
                    <a:pt x="214267" y="276385"/>
                    <a:pt x="216182" y="281742"/>
                  </a:cubicBezTo>
                  <a:cubicBezTo>
                    <a:pt x="218096" y="287100"/>
                    <a:pt x="220011" y="292615"/>
                    <a:pt x="222085" y="298130"/>
                  </a:cubicBezTo>
                  <a:cubicBezTo>
                    <a:pt x="224159" y="303645"/>
                    <a:pt x="225754" y="308845"/>
                    <a:pt x="227350" y="313887"/>
                  </a:cubicBezTo>
                  <a:cubicBezTo>
                    <a:pt x="228945" y="318930"/>
                    <a:pt x="229902" y="323026"/>
                    <a:pt x="230540" y="326178"/>
                  </a:cubicBezTo>
                  <a:lnTo>
                    <a:pt x="232295" y="326178"/>
                  </a:lnTo>
                  <a:cubicBezTo>
                    <a:pt x="233412" y="322869"/>
                    <a:pt x="235008" y="318614"/>
                    <a:pt x="237082" y="313414"/>
                  </a:cubicBezTo>
                  <a:cubicBezTo>
                    <a:pt x="239156" y="308372"/>
                    <a:pt x="241070" y="303015"/>
                    <a:pt x="243144" y="297500"/>
                  </a:cubicBezTo>
                  <a:cubicBezTo>
                    <a:pt x="245218" y="291984"/>
                    <a:pt x="247292" y="286469"/>
                    <a:pt x="249367" y="281112"/>
                  </a:cubicBezTo>
                  <a:cubicBezTo>
                    <a:pt x="251441" y="275754"/>
                    <a:pt x="253355" y="271027"/>
                    <a:pt x="254951" y="267088"/>
                  </a:cubicBezTo>
                  <a:lnTo>
                    <a:pt x="367110" y="0"/>
                  </a:lnTo>
                  <a:lnTo>
                    <a:pt x="464591" y="0"/>
                  </a:lnTo>
                  <a:lnTo>
                    <a:pt x="464591" y="423716"/>
                  </a:lnTo>
                  <a:lnTo>
                    <a:pt x="393913" y="423716"/>
                  </a:lnTo>
                  <a:close/>
                </a:path>
              </a:pathLst>
            </a:custGeom>
            <a:solidFill>
              <a:srgbClr val="FFFFFF"/>
            </a:soli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8" name="Freeform 7">
              <a:extLst>
                <a:ext uri="{FF2B5EF4-FFF2-40B4-BE49-F238E27FC236}">
                  <a16:creationId xmlns:a16="http://schemas.microsoft.com/office/drawing/2014/main" id="{A7543BB7-C6F2-4AFE-9FA9-BC00DEB1506E}"/>
                </a:ext>
              </a:extLst>
            </p:cNvPr>
            <p:cNvSpPr/>
            <p:nvPr/>
          </p:nvSpPr>
          <p:spPr>
            <a:xfrm>
              <a:off x="4987060" y="4742455"/>
              <a:ext cx="84558" cy="449715"/>
            </a:xfrm>
            <a:custGeom>
              <a:avLst/>
              <a:gdLst>
                <a:gd name="connsiteX0" fmla="*/ 84558 w 84558"/>
                <a:gd name="connsiteY0" fmla="*/ 40181 h 449715"/>
                <a:gd name="connsiteX1" fmla="*/ 81367 w 84558"/>
                <a:gd name="connsiteY1" fmla="*/ 55466 h 449715"/>
                <a:gd name="connsiteX2" fmla="*/ 72592 w 84558"/>
                <a:gd name="connsiteY2" fmla="*/ 68072 h 449715"/>
                <a:gd name="connsiteX3" fmla="*/ 59191 w 84558"/>
                <a:gd name="connsiteY3" fmla="*/ 76423 h 449715"/>
                <a:gd name="connsiteX4" fmla="*/ 42119 w 84558"/>
                <a:gd name="connsiteY4" fmla="*/ 79575 h 449715"/>
                <a:gd name="connsiteX5" fmla="*/ 25367 w 84558"/>
                <a:gd name="connsiteY5" fmla="*/ 76423 h 449715"/>
                <a:gd name="connsiteX6" fmla="*/ 11966 w 84558"/>
                <a:gd name="connsiteY6" fmla="*/ 68072 h 449715"/>
                <a:gd name="connsiteX7" fmla="*/ 3191 w 84558"/>
                <a:gd name="connsiteY7" fmla="*/ 55466 h 449715"/>
                <a:gd name="connsiteX8" fmla="*/ 0 w 84558"/>
                <a:gd name="connsiteY8" fmla="*/ 40181 h 449715"/>
                <a:gd name="connsiteX9" fmla="*/ 3350 w 84558"/>
                <a:gd name="connsiteY9" fmla="*/ 24266 h 449715"/>
                <a:gd name="connsiteX10" fmla="*/ 12285 w 84558"/>
                <a:gd name="connsiteY10" fmla="*/ 11503 h 449715"/>
                <a:gd name="connsiteX11" fmla="*/ 25527 w 84558"/>
                <a:gd name="connsiteY11" fmla="*/ 3151 h 449715"/>
                <a:gd name="connsiteX12" fmla="*/ 42119 w 84558"/>
                <a:gd name="connsiteY12" fmla="*/ 0 h 449715"/>
                <a:gd name="connsiteX13" fmla="*/ 58872 w 84558"/>
                <a:gd name="connsiteY13" fmla="*/ 3151 h 449715"/>
                <a:gd name="connsiteX14" fmla="*/ 72273 w 84558"/>
                <a:gd name="connsiteY14" fmla="*/ 11660 h 449715"/>
                <a:gd name="connsiteX15" fmla="*/ 81208 w 84558"/>
                <a:gd name="connsiteY15" fmla="*/ 24424 h 449715"/>
                <a:gd name="connsiteX16" fmla="*/ 84558 w 84558"/>
                <a:gd name="connsiteY16" fmla="*/ 40181 h 449715"/>
                <a:gd name="connsiteX17" fmla="*/ 6860 w 84558"/>
                <a:gd name="connsiteY17" fmla="*/ 449716 h 449715"/>
                <a:gd name="connsiteX18" fmla="*/ 6860 w 84558"/>
                <a:gd name="connsiteY18" fmla="*/ 147016 h 449715"/>
                <a:gd name="connsiteX19" fmla="*/ 75943 w 84558"/>
                <a:gd name="connsiteY19" fmla="*/ 147016 h 449715"/>
                <a:gd name="connsiteX20" fmla="*/ 75943 w 84558"/>
                <a:gd name="connsiteY20" fmla="*/ 449558 h 449715"/>
                <a:gd name="connsiteX21" fmla="*/ 6860 w 84558"/>
                <a:gd name="connsiteY21" fmla="*/ 449558 h 449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4558" h="449715">
                  <a:moveTo>
                    <a:pt x="84558" y="40181"/>
                  </a:moveTo>
                  <a:cubicBezTo>
                    <a:pt x="84558" y="45539"/>
                    <a:pt x="83441" y="50581"/>
                    <a:pt x="81367" y="55466"/>
                  </a:cubicBezTo>
                  <a:cubicBezTo>
                    <a:pt x="79293" y="60351"/>
                    <a:pt x="76262" y="64448"/>
                    <a:pt x="72592" y="68072"/>
                  </a:cubicBezTo>
                  <a:cubicBezTo>
                    <a:pt x="68763" y="71696"/>
                    <a:pt x="64296" y="74375"/>
                    <a:pt x="59191" y="76423"/>
                  </a:cubicBezTo>
                  <a:cubicBezTo>
                    <a:pt x="53926" y="78472"/>
                    <a:pt x="48342" y="79575"/>
                    <a:pt x="42119" y="79575"/>
                  </a:cubicBezTo>
                  <a:cubicBezTo>
                    <a:pt x="35897" y="79575"/>
                    <a:pt x="30473" y="78472"/>
                    <a:pt x="25367" y="76423"/>
                  </a:cubicBezTo>
                  <a:cubicBezTo>
                    <a:pt x="20103" y="74375"/>
                    <a:pt x="15635" y="71539"/>
                    <a:pt x="11966" y="68072"/>
                  </a:cubicBezTo>
                  <a:cubicBezTo>
                    <a:pt x="8137" y="64448"/>
                    <a:pt x="5265" y="60351"/>
                    <a:pt x="3191" y="55466"/>
                  </a:cubicBezTo>
                  <a:cubicBezTo>
                    <a:pt x="1117" y="50581"/>
                    <a:pt x="0" y="45539"/>
                    <a:pt x="0" y="40181"/>
                  </a:cubicBezTo>
                  <a:cubicBezTo>
                    <a:pt x="0" y="34509"/>
                    <a:pt x="1117" y="29151"/>
                    <a:pt x="3350" y="24266"/>
                  </a:cubicBezTo>
                  <a:cubicBezTo>
                    <a:pt x="5584" y="19382"/>
                    <a:pt x="8456" y="15127"/>
                    <a:pt x="12285" y="11503"/>
                  </a:cubicBezTo>
                  <a:cubicBezTo>
                    <a:pt x="16114" y="7879"/>
                    <a:pt x="20581" y="5200"/>
                    <a:pt x="25527" y="3151"/>
                  </a:cubicBezTo>
                  <a:cubicBezTo>
                    <a:pt x="30473" y="1103"/>
                    <a:pt x="36216" y="0"/>
                    <a:pt x="42119" y="0"/>
                  </a:cubicBezTo>
                  <a:cubicBezTo>
                    <a:pt x="48023" y="0"/>
                    <a:pt x="53607" y="1103"/>
                    <a:pt x="58872" y="3151"/>
                  </a:cubicBezTo>
                  <a:cubicBezTo>
                    <a:pt x="63977" y="5200"/>
                    <a:pt x="68604" y="8036"/>
                    <a:pt x="72273" y="11660"/>
                  </a:cubicBezTo>
                  <a:cubicBezTo>
                    <a:pt x="76102" y="15285"/>
                    <a:pt x="78974" y="19539"/>
                    <a:pt x="81208" y="24424"/>
                  </a:cubicBezTo>
                  <a:cubicBezTo>
                    <a:pt x="83441" y="29309"/>
                    <a:pt x="84558" y="34509"/>
                    <a:pt x="84558" y="40181"/>
                  </a:cubicBezTo>
                  <a:close/>
                  <a:moveTo>
                    <a:pt x="6860" y="449716"/>
                  </a:moveTo>
                  <a:lnTo>
                    <a:pt x="6860" y="147016"/>
                  </a:lnTo>
                  <a:lnTo>
                    <a:pt x="75943" y="147016"/>
                  </a:lnTo>
                  <a:lnTo>
                    <a:pt x="75943" y="449558"/>
                  </a:lnTo>
                  <a:lnTo>
                    <a:pt x="6860" y="449558"/>
                  </a:lnTo>
                  <a:close/>
                </a:path>
              </a:pathLst>
            </a:custGeom>
            <a:solidFill>
              <a:srgbClr val="FFFFFF"/>
            </a:soli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3" name="Freeform 12">
              <a:extLst>
                <a:ext uri="{FF2B5EF4-FFF2-40B4-BE49-F238E27FC236}">
                  <a16:creationId xmlns:a16="http://schemas.microsoft.com/office/drawing/2014/main" id="{F71B528E-BCC9-7AA9-9973-99E1D505B755}"/>
                </a:ext>
              </a:extLst>
            </p:cNvPr>
            <p:cNvSpPr/>
            <p:nvPr/>
          </p:nvSpPr>
          <p:spPr>
            <a:xfrm>
              <a:off x="5140381" y="4882065"/>
              <a:ext cx="238836" cy="317511"/>
            </a:xfrm>
            <a:custGeom>
              <a:avLst/>
              <a:gdLst>
                <a:gd name="connsiteX0" fmla="*/ 201823 w 238836"/>
                <a:gd name="connsiteY0" fmla="*/ 311996 h 317511"/>
                <a:gd name="connsiteX1" fmla="*/ 151885 w 238836"/>
                <a:gd name="connsiteY1" fmla="*/ 317511 h 317511"/>
                <a:gd name="connsiteX2" fmla="*/ 89025 w 238836"/>
                <a:gd name="connsiteY2" fmla="*/ 306166 h 317511"/>
                <a:gd name="connsiteX3" fmla="*/ 41162 w 238836"/>
                <a:gd name="connsiteY3" fmla="*/ 274494 h 317511"/>
                <a:gd name="connsiteX4" fmla="*/ 10689 w 238836"/>
                <a:gd name="connsiteY4" fmla="*/ 226591 h 317511"/>
                <a:gd name="connsiteX5" fmla="*/ 0 w 238836"/>
                <a:gd name="connsiteY5" fmla="*/ 166713 h 317511"/>
                <a:gd name="connsiteX6" fmla="*/ 11487 w 238836"/>
                <a:gd name="connsiteY6" fmla="*/ 98169 h 317511"/>
                <a:gd name="connsiteX7" fmla="*/ 44513 w 238836"/>
                <a:gd name="connsiteY7" fmla="*/ 45696 h 317511"/>
                <a:gd name="connsiteX8" fmla="*/ 96683 w 238836"/>
                <a:gd name="connsiteY8" fmla="*/ 11976 h 317511"/>
                <a:gd name="connsiteX9" fmla="*/ 165287 w 238836"/>
                <a:gd name="connsiteY9" fmla="*/ 0 h 317511"/>
                <a:gd name="connsiteX10" fmla="*/ 188580 w 238836"/>
                <a:gd name="connsiteY10" fmla="*/ 1418 h 317511"/>
                <a:gd name="connsiteX11" fmla="*/ 209162 w 238836"/>
                <a:gd name="connsiteY11" fmla="*/ 5042 h 317511"/>
                <a:gd name="connsiteX12" fmla="*/ 226392 w 238836"/>
                <a:gd name="connsiteY12" fmla="*/ 9927 h 317511"/>
                <a:gd name="connsiteX13" fmla="*/ 238837 w 238836"/>
                <a:gd name="connsiteY13" fmla="*/ 15285 h 317511"/>
                <a:gd name="connsiteX14" fmla="*/ 238837 w 238836"/>
                <a:gd name="connsiteY14" fmla="*/ 80048 h 317511"/>
                <a:gd name="connsiteX15" fmla="*/ 206449 w 238836"/>
                <a:gd name="connsiteY15" fmla="*/ 62399 h 317511"/>
                <a:gd name="connsiteX16" fmla="*/ 168318 w 238836"/>
                <a:gd name="connsiteY16" fmla="*/ 55781 h 317511"/>
                <a:gd name="connsiteX17" fmla="*/ 130347 w 238836"/>
                <a:gd name="connsiteY17" fmla="*/ 62714 h 317511"/>
                <a:gd name="connsiteX18" fmla="*/ 99715 w 238836"/>
                <a:gd name="connsiteY18" fmla="*/ 82884 h 317511"/>
                <a:gd name="connsiteX19" fmla="*/ 79293 w 238836"/>
                <a:gd name="connsiteY19" fmla="*/ 115659 h 317511"/>
                <a:gd name="connsiteX20" fmla="*/ 71795 w 238836"/>
                <a:gd name="connsiteY20" fmla="*/ 160253 h 317511"/>
                <a:gd name="connsiteX21" fmla="*/ 78336 w 238836"/>
                <a:gd name="connsiteY21" fmla="*/ 202325 h 317511"/>
                <a:gd name="connsiteX22" fmla="*/ 97162 w 238836"/>
                <a:gd name="connsiteY22" fmla="*/ 234155 h 317511"/>
                <a:gd name="connsiteX23" fmla="*/ 127156 w 238836"/>
                <a:gd name="connsiteY23" fmla="*/ 254167 h 317511"/>
                <a:gd name="connsiteX24" fmla="*/ 167202 w 238836"/>
                <a:gd name="connsiteY24" fmla="*/ 261258 h 317511"/>
                <a:gd name="connsiteX25" fmla="*/ 185709 w 238836"/>
                <a:gd name="connsiteY25" fmla="*/ 259209 h 317511"/>
                <a:gd name="connsiteX26" fmla="*/ 204694 w 238836"/>
                <a:gd name="connsiteY26" fmla="*/ 253694 h 317511"/>
                <a:gd name="connsiteX27" fmla="*/ 222723 w 238836"/>
                <a:gd name="connsiteY27" fmla="*/ 245658 h 317511"/>
                <a:gd name="connsiteX28" fmla="*/ 238837 w 238836"/>
                <a:gd name="connsiteY28" fmla="*/ 235731 h 317511"/>
                <a:gd name="connsiteX29" fmla="*/ 238837 w 238836"/>
                <a:gd name="connsiteY29" fmla="*/ 296869 h 317511"/>
                <a:gd name="connsiteX30" fmla="*/ 201823 w 238836"/>
                <a:gd name="connsiteY30" fmla="*/ 311524 h 317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38836" h="317511">
                  <a:moveTo>
                    <a:pt x="201823" y="311996"/>
                  </a:moveTo>
                  <a:cubicBezTo>
                    <a:pt x="187623" y="315621"/>
                    <a:pt x="171031" y="317511"/>
                    <a:pt x="151885" y="317511"/>
                  </a:cubicBezTo>
                  <a:cubicBezTo>
                    <a:pt x="128752" y="317511"/>
                    <a:pt x="107851" y="313730"/>
                    <a:pt x="89025" y="306166"/>
                  </a:cubicBezTo>
                  <a:cubicBezTo>
                    <a:pt x="70199" y="298603"/>
                    <a:pt x="54404" y="288045"/>
                    <a:pt x="41162" y="274494"/>
                  </a:cubicBezTo>
                  <a:cubicBezTo>
                    <a:pt x="27920" y="260942"/>
                    <a:pt x="17869" y="245027"/>
                    <a:pt x="10689" y="226591"/>
                  </a:cubicBezTo>
                  <a:cubicBezTo>
                    <a:pt x="3510" y="208155"/>
                    <a:pt x="0" y="188301"/>
                    <a:pt x="0" y="166713"/>
                  </a:cubicBezTo>
                  <a:cubicBezTo>
                    <a:pt x="0" y="141501"/>
                    <a:pt x="3829" y="118653"/>
                    <a:pt x="11487" y="98169"/>
                  </a:cubicBezTo>
                  <a:cubicBezTo>
                    <a:pt x="19145" y="77684"/>
                    <a:pt x="30154" y="60193"/>
                    <a:pt x="44513" y="45696"/>
                  </a:cubicBezTo>
                  <a:cubicBezTo>
                    <a:pt x="58871" y="31200"/>
                    <a:pt x="76262" y="20012"/>
                    <a:pt x="96683" y="11976"/>
                  </a:cubicBezTo>
                  <a:cubicBezTo>
                    <a:pt x="117105" y="3939"/>
                    <a:pt x="140079" y="0"/>
                    <a:pt x="165287" y="0"/>
                  </a:cubicBezTo>
                  <a:cubicBezTo>
                    <a:pt x="173424" y="0"/>
                    <a:pt x="181241" y="473"/>
                    <a:pt x="188580" y="1418"/>
                  </a:cubicBezTo>
                  <a:cubicBezTo>
                    <a:pt x="195919" y="2364"/>
                    <a:pt x="202780" y="3624"/>
                    <a:pt x="209162" y="5042"/>
                  </a:cubicBezTo>
                  <a:cubicBezTo>
                    <a:pt x="215543" y="6461"/>
                    <a:pt x="221287" y="8194"/>
                    <a:pt x="226392" y="9927"/>
                  </a:cubicBezTo>
                  <a:cubicBezTo>
                    <a:pt x="231498" y="11660"/>
                    <a:pt x="235646" y="13551"/>
                    <a:pt x="238837" y="15285"/>
                  </a:cubicBezTo>
                  <a:lnTo>
                    <a:pt x="238837" y="80048"/>
                  </a:lnTo>
                  <a:cubicBezTo>
                    <a:pt x="228785" y="72799"/>
                    <a:pt x="218096" y="66969"/>
                    <a:pt x="206449" y="62399"/>
                  </a:cubicBezTo>
                  <a:cubicBezTo>
                    <a:pt x="194803" y="57830"/>
                    <a:pt x="182039" y="55781"/>
                    <a:pt x="168318" y="55781"/>
                  </a:cubicBezTo>
                  <a:cubicBezTo>
                    <a:pt x="154598" y="55781"/>
                    <a:pt x="142153" y="58145"/>
                    <a:pt x="130347" y="62714"/>
                  </a:cubicBezTo>
                  <a:cubicBezTo>
                    <a:pt x="118541" y="67284"/>
                    <a:pt x="108330" y="74060"/>
                    <a:pt x="99715" y="82884"/>
                  </a:cubicBezTo>
                  <a:cubicBezTo>
                    <a:pt x="91099" y="91708"/>
                    <a:pt x="84239" y="102738"/>
                    <a:pt x="79293" y="115659"/>
                  </a:cubicBezTo>
                  <a:cubicBezTo>
                    <a:pt x="74347" y="128738"/>
                    <a:pt x="71795" y="143550"/>
                    <a:pt x="71795" y="160253"/>
                  </a:cubicBezTo>
                  <a:cubicBezTo>
                    <a:pt x="71795" y="175852"/>
                    <a:pt x="74028" y="189877"/>
                    <a:pt x="78336" y="202325"/>
                  </a:cubicBezTo>
                  <a:cubicBezTo>
                    <a:pt x="82644" y="214773"/>
                    <a:pt x="89025" y="225488"/>
                    <a:pt x="97162" y="234155"/>
                  </a:cubicBezTo>
                  <a:cubicBezTo>
                    <a:pt x="105299" y="242821"/>
                    <a:pt x="115350" y="249439"/>
                    <a:pt x="127156" y="254167"/>
                  </a:cubicBezTo>
                  <a:cubicBezTo>
                    <a:pt x="138962" y="258894"/>
                    <a:pt x="152205" y="261258"/>
                    <a:pt x="167202" y="261258"/>
                  </a:cubicBezTo>
                  <a:cubicBezTo>
                    <a:pt x="173264" y="261258"/>
                    <a:pt x="179327" y="260627"/>
                    <a:pt x="185709" y="259209"/>
                  </a:cubicBezTo>
                  <a:cubicBezTo>
                    <a:pt x="192090" y="257791"/>
                    <a:pt x="198472" y="256058"/>
                    <a:pt x="204694" y="253694"/>
                  </a:cubicBezTo>
                  <a:cubicBezTo>
                    <a:pt x="210917" y="251488"/>
                    <a:pt x="216979" y="248809"/>
                    <a:pt x="222723" y="245658"/>
                  </a:cubicBezTo>
                  <a:cubicBezTo>
                    <a:pt x="228466" y="242664"/>
                    <a:pt x="233891" y="239355"/>
                    <a:pt x="238837" y="235731"/>
                  </a:cubicBezTo>
                  <a:lnTo>
                    <a:pt x="238837" y="296869"/>
                  </a:lnTo>
                  <a:cubicBezTo>
                    <a:pt x="228307" y="303015"/>
                    <a:pt x="215862" y="307899"/>
                    <a:pt x="201823" y="311524"/>
                  </a:cubicBezTo>
                  <a:close/>
                </a:path>
              </a:pathLst>
            </a:custGeom>
            <a:solidFill>
              <a:srgbClr val="FFFFFF"/>
            </a:soli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Freeform 13">
              <a:extLst>
                <a:ext uri="{FF2B5EF4-FFF2-40B4-BE49-F238E27FC236}">
                  <a16:creationId xmlns:a16="http://schemas.microsoft.com/office/drawing/2014/main" id="{9DA27039-BF78-F412-1517-204D646DDAB1}"/>
                </a:ext>
              </a:extLst>
            </p:cNvPr>
            <p:cNvSpPr/>
            <p:nvPr/>
          </p:nvSpPr>
          <p:spPr>
            <a:xfrm>
              <a:off x="5457235" y="4884114"/>
              <a:ext cx="176455" cy="307899"/>
            </a:xfrm>
            <a:custGeom>
              <a:avLst/>
              <a:gdLst>
                <a:gd name="connsiteX0" fmla="*/ 168797 w 176455"/>
                <a:gd name="connsiteY0" fmla="*/ 68072 h 307899"/>
                <a:gd name="connsiteX1" fmla="*/ 158746 w 176455"/>
                <a:gd name="connsiteY1" fmla="*/ 64763 h 307899"/>
                <a:gd name="connsiteX2" fmla="*/ 147578 w 176455"/>
                <a:gd name="connsiteY2" fmla="*/ 62399 h 307899"/>
                <a:gd name="connsiteX3" fmla="*/ 136410 w 176455"/>
                <a:gd name="connsiteY3" fmla="*/ 61454 h 307899"/>
                <a:gd name="connsiteX4" fmla="*/ 109766 w 176455"/>
                <a:gd name="connsiteY4" fmla="*/ 67599 h 307899"/>
                <a:gd name="connsiteX5" fmla="*/ 88547 w 176455"/>
                <a:gd name="connsiteY5" fmla="*/ 85563 h 307899"/>
                <a:gd name="connsiteX6" fmla="*/ 74347 w 176455"/>
                <a:gd name="connsiteY6" fmla="*/ 114399 h 307899"/>
                <a:gd name="connsiteX7" fmla="*/ 69082 w 176455"/>
                <a:gd name="connsiteY7" fmla="*/ 153004 h 307899"/>
                <a:gd name="connsiteX8" fmla="*/ 69082 w 176455"/>
                <a:gd name="connsiteY8" fmla="*/ 307899 h 307899"/>
                <a:gd name="connsiteX9" fmla="*/ 0 w 176455"/>
                <a:gd name="connsiteY9" fmla="*/ 307899 h 307899"/>
                <a:gd name="connsiteX10" fmla="*/ 0 w 176455"/>
                <a:gd name="connsiteY10" fmla="*/ 5358 h 307899"/>
                <a:gd name="connsiteX11" fmla="*/ 69082 w 176455"/>
                <a:gd name="connsiteY11" fmla="*/ 5358 h 307899"/>
                <a:gd name="connsiteX12" fmla="*/ 69082 w 176455"/>
                <a:gd name="connsiteY12" fmla="*/ 64133 h 307899"/>
                <a:gd name="connsiteX13" fmla="*/ 70199 w 176455"/>
                <a:gd name="connsiteY13" fmla="*/ 64133 h 307899"/>
                <a:gd name="connsiteX14" fmla="*/ 84399 w 176455"/>
                <a:gd name="connsiteY14" fmla="*/ 35139 h 307899"/>
                <a:gd name="connsiteX15" fmla="*/ 103225 w 176455"/>
                <a:gd name="connsiteY15" fmla="*/ 15127 h 307899"/>
                <a:gd name="connsiteX16" fmla="*/ 125082 w 176455"/>
                <a:gd name="connsiteY16" fmla="*/ 3624 h 307899"/>
                <a:gd name="connsiteX17" fmla="*/ 148535 w 176455"/>
                <a:gd name="connsiteY17" fmla="*/ 0 h 307899"/>
                <a:gd name="connsiteX18" fmla="*/ 163532 w 176455"/>
                <a:gd name="connsiteY18" fmla="*/ 945 h 307899"/>
                <a:gd name="connsiteX19" fmla="*/ 176455 w 176455"/>
                <a:gd name="connsiteY19" fmla="*/ 4255 h 307899"/>
                <a:gd name="connsiteX20" fmla="*/ 176455 w 176455"/>
                <a:gd name="connsiteY20" fmla="*/ 71854 h 307899"/>
                <a:gd name="connsiteX21" fmla="*/ 168797 w 176455"/>
                <a:gd name="connsiteY21" fmla="*/ 68072 h 307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76455" h="307899">
                  <a:moveTo>
                    <a:pt x="168797" y="68072"/>
                  </a:moveTo>
                  <a:cubicBezTo>
                    <a:pt x="165766" y="66969"/>
                    <a:pt x="162415" y="65866"/>
                    <a:pt x="158746" y="64763"/>
                  </a:cubicBezTo>
                  <a:cubicBezTo>
                    <a:pt x="155076" y="63817"/>
                    <a:pt x="151407" y="63030"/>
                    <a:pt x="147578" y="62399"/>
                  </a:cubicBezTo>
                  <a:cubicBezTo>
                    <a:pt x="143749" y="61769"/>
                    <a:pt x="139920" y="61454"/>
                    <a:pt x="136410" y="61454"/>
                  </a:cubicBezTo>
                  <a:cubicBezTo>
                    <a:pt x="126837" y="61454"/>
                    <a:pt x="117903" y="63502"/>
                    <a:pt x="109766" y="67599"/>
                  </a:cubicBezTo>
                  <a:cubicBezTo>
                    <a:pt x="101629" y="71696"/>
                    <a:pt x="94450" y="77684"/>
                    <a:pt x="88547" y="85563"/>
                  </a:cubicBezTo>
                  <a:cubicBezTo>
                    <a:pt x="82484" y="93441"/>
                    <a:pt x="77857" y="103053"/>
                    <a:pt x="74347" y="114399"/>
                  </a:cubicBezTo>
                  <a:cubicBezTo>
                    <a:pt x="70837" y="125744"/>
                    <a:pt x="69082" y="138665"/>
                    <a:pt x="69082" y="153004"/>
                  </a:cubicBezTo>
                  <a:lnTo>
                    <a:pt x="69082" y="307899"/>
                  </a:lnTo>
                  <a:lnTo>
                    <a:pt x="0" y="307899"/>
                  </a:lnTo>
                  <a:lnTo>
                    <a:pt x="0" y="5358"/>
                  </a:lnTo>
                  <a:lnTo>
                    <a:pt x="69082" y="5358"/>
                  </a:lnTo>
                  <a:lnTo>
                    <a:pt x="69082" y="64133"/>
                  </a:lnTo>
                  <a:lnTo>
                    <a:pt x="70199" y="64133"/>
                  </a:lnTo>
                  <a:cubicBezTo>
                    <a:pt x="74028" y="52945"/>
                    <a:pt x="78655" y="43333"/>
                    <a:pt x="84399" y="35139"/>
                  </a:cubicBezTo>
                  <a:cubicBezTo>
                    <a:pt x="90142" y="27103"/>
                    <a:pt x="96364" y="20485"/>
                    <a:pt x="103225" y="15127"/>
                  </a:cubicBezTo>
                  <a:cubicBezTo>
                    <a:pt x="110085" y="9927"/>
                    <a:pt x="117424" y="6145"/>
                    <a:pt x="125082" y="3624"/>
                  </a:cubicBezTo>
                  <a:cubicBezTo>
                    <a:pt x="132740" y="1103"/>
                    <a:pt x="140558" y="0"/>
                    <a:pt x="148535" y="0"/>
                  </a:cubicBezTo>
                  <a:cubicBezTo>
                    <a:pt x="153641" y="0"/>
                    <a:pt x="158746" y="315"/>
                    <a:pt x="163532" y="945"/>
                  </a:cubicBezTo>
                  <a:cubicBezTo>
                    <a:pt x="168319" y="1576"/>
                    <a:pt x="172626" y="2679"/>
                    <a:pt x="176455" y="4255"/>
                  </a:cubicBezTo>
                  <a:lnTo>
                    <a:pt x="176455" y="71854"/>
                  </a:lnTo>
                  <a:cubicBezTo>
                    <a:pt x="174381" y="70436"/>
                    <a:pt x="171988" y="69175"/>
                    <a:pt x="168797" y="68072"/>
                  </a:cubicBezTo>
                  <a:close/>
                </a:path>
              </a:pathLst>
            </a:custGeom>
            <a:solidFill>
              <a:srgbClr val="FFFFFF"/>
            </a:soli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5" name="Freeform 14">
              <a:extLst>
                <a:ext uri="{FF2B5EF4-FFF2-40B4-BE49-F238E27FC236}">
                  <a16:creationId xmlns:a16="http://schemas.microsoft.com/office/drawing/2014/main" id="{D5661CB5-786C-C012-6856-B5D35370AB0C}"/>
                </a:ext>
              </a:extLst>
            </p:cNvPr>
            <p:cNvSpPr/>
            <p:nvPr/>
          </p:nvSpPr>
          <p:spPr>
            <a:xfrm>
              <a:off x="5656185" y="4881908"/>
              <a:ext cx="315098" cy="317353"/>
            </a:xfrm>
            <a:custGeom>
              <a:avLst/>
              <a:gdLst>
                <a:gd name="connsiteX0" fmla="*/ 315099 w 315098"/>
                <a:gd name="connsiteY0" fmla="*/ 155998 h 317353"/>
                <a:gd name="connsiteX1" fmla="*/ 303611 w 315098"/>
                <a:gd name="connsiteY1" fmla="*/ 223440 h 317353"/>
                <a:gd name="connsiteX2" fmla="*/ 271224 w 315098"/>
                <a:gd name="connsiteY2" fmla="*/ 274336 h 317353"/>
                <a:gd name="connsiteX3" fmla="*/ 220808 w 315098"/>
                <a:gd name="connsiteY3" fmla="*/ 306324 h 317353"/>
                <a:gd name="connsiteX4" fmla="*/ 155076 w 315098"/>
                <a:gd name="connsiteY4" fmla="*/ 317354 h 317353"/>
                <a:gd name="connsiteX5" fmla="*/ 90621 w 315098"/>
                <a:gd name="connsiteY5" fmla="*/ 306481 h 317353"/>
                <a:gd name="connsiteX6" fmla="*/ 41801 w 315098"/>
                <a:gd name="connsiteY6" fmla="*/ 275282 h 317353"/>
                <a:gd name="connsiteX7" fmla="*/ 10849 w 315098"/>
                <a:gd name="connsiteY7" fmla="*/ 226434 h 317353"/>
                <a:gd name="connsiteX8" fmla="*/ 0 w 315098"/>
                <a:gd name="connsiteY8" fmla="*/ 162301 h 317353"/>
                <a:gd name="connsiteX9" fmla="*/ 11966 w 315098"/>
                <a:gd name="connsiteY9" fmla="*/ 92181 h 317353"/>
                <a:gd name="connsiteX10" fmla="*/ 45311 w 315098"/>
                <a:gd name="connsiteY10" fmla="*/ 41284 h 317353"/>
                <a:gd name="connsiteX11" fmla="*/ 96683 w 315098"/>
                <a:gd name="connsiteY11" fmla="*/ 10400 h 317353"/>
                <a:gd name="connsiteX12" fmla="*/ 162415 w 315098"/>
                <a:gd name="connsiteY12" fmla="*/ 0 h 317353"/>
                <a:gd name="connsiteX13" fmla="*/ 228147 w 315098"/>
                <a:gd name="connsiteY13" fmla="*/ 11188 h 317353"/>
                <a:gd name="connsiteX14" fmla="*/ 276010 w 315098"/>
                <a:gd name="connsiteY14" fmla="*/ 43018 h 317353"/>
                <a:gd name="connsiteX15" fmla="*/ 305207 w 315098"/>
                <a:gd name="connsiteY15" fmla="*/ 92181 h 317353"/>
                <a:gd name="connsiteX16" fmla="*/ 315099 w 315098"/>
                <a:gd name="connsiteY16" fmla="*/ 155683 h 317353"/>
                <a:gd name="connsiteX17" fmla="*/ 243304 w 315098"/>
                <a:gd name="connsiteY17" fmla="*/ 158362 h 317353"/>
                <a:gd name="connsiteX18" fmla="*/ 220649 w 315098"/>
                <a:gd name="connsiteY18" fmla="*/ 82096 h 317353"/>
                <a:gd name="connsiteX19" fmla="*/ 158586 w 315098"/>
                <a:gd name="connsiteY19" fmla="*/ 56096 h 317353"/>
                <a:gd name="connsiteX20" fmla="*/ 124125 w 315098"/>
                <a:gd name="connsiteY20" fmla="*/ 62242 h 317353"/>
                <a:gd name="connsiteX21" fmla="*/ 96683 w 315098"/>
                <a:gd name="connsiteY21" fmla="*/ 81308 h 317353"/>
                <a:gd name="connsiteX22" fmla="*/ 78495 w 315098"/>
                <a:gd name="connsiteY22" fmla="*/ 113768 h 317353"/>
                <a:gd name="connsiteX23" fmla="*/ 71954 w 315098"/>
                <a:gd name="connsiteY23" fmla="*/ 159938 h 317353"/>
                <a:gd name="connsiteX24" fmla="*/ 78336 w 315098"/>
                <a:gd name="connsiteY24" fmla="*/ 204689 h 317353"/>
                <a:gd name="connsiteX25" fmla="*/ 96364 w 315098"/>
                <a:gd name="connsiteY25" fmla="*/ 236518 h 317353"/>
                <a:gd name="connsiteX26" fmla="*/ 123965 w 315098"/>
                <a:gd name="connsiteY26" fmla="*/ 255427 h 317353"/>
                <a:gd name="connsiteX27" fmla="*/ 159065 w 315098"/>
                <a:gd name="connsiteY27" fmla="*/ 261573 h 317353"/>
                <a:gd name="connsiteX28" fmla="*/ 221766 w 315098"/>
                <a:gd name="connsiteY28" fmla="*/ 235100 h 317353"/>
                <a:gd name="connsiteX29" fmla="*/ 243144 w 315098"/>
                <a:gd name="connsiteY29" fmla="*/ 158204 h 317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15098" h="317353">
                  <a:moveTo>
                    <a:pt x="315099" y="155998"/>
                  </a:moveTo>
                  <a:cubicBezTo>
                    <a:pt x="315099" y="181052"/>
                    <a:pt x="311270" y="203585"/>
                    <a:pt x="303611" y="223440"/>
                  </a:cubicBezTo>
                  <a:cubicBezTo>
                    <a:pt x="295953" y="243452"/>
                    <a:pt x="285105" y="260470"/>
                    <a:pt x="271224" y="274336"/>
                  </a:cubicBezTo>
                  <a:cubicBezTo>
                    <a:pt x="257184" y="288360"/>
                    <a:pt x="240432" y="299075"/>
                    <a:pt x="220808" y="306324"/>
                  </a:cubicBezTo>
                  <a:cubicBezTo>
                    <a:pt x="201184" y="313730"/>
                    <a:pt x="179327" y="317354"/>
                    <a:pt x="155076" y="317354"/>
                  </a:cubicBezTo>
                  <a:cubicBezTo>
                    <a:pt x="130826" y="317354"/>
                    <a:pt x="109607" y="313730"/>
                    <a:pt x="90621" y="306481"/>
                  </a:cubicBezTo>
                  <a:cubicBezTo>
                    <a:pt x="71635" y="299233"/>
                    <a:pt x="55362" y="288833"/>
                    <a:pt x="41801" y="275282"/>
                  </a:cubicBezTo>
                  <a:cubicBezTo>
                    <a:pt x="28399" y="261730"/>
                    <a:pt x="18029" y="245500"/>
                    <a:pt x="10849" y="226434"/>
                  </a:cubicBezTo>
                  <a:cubicBezTo>
                    <a:pt x="3670" y="207367"/>
                    <a:pt x="0" y="185937"/>
                    <a:pt x="0" y="162301"/>
                  </a:cubicBezTo>
                  <a:cubicBezTo>
                    <a:pt x="0" y="135671"/>
                    <a:pt x="3989" y="112350"/>
                    <a:pt x="11966" y="92181"/>
                  </a:cubicBezTo>
                  <a:cubicBezTo>
                    <a:pt x="19943" y="72011"/>
                    <a:pt x="31111" y="54993"/>
                    <a:pt x="45311" y="41284"/>
                  </a:cubicBezTo>
                  <a:cubicBezTo>
                    <a:pt x="59510" y="27575"/>
                    <a:pt x="76740" y="17333"/>
                    <a:pt x="96683" y="10400"/>
                  </a:cubicBezTo>
                  <a:cubicBezTo>
                    <a:pt x="116626" y="3467"/>
                    <a:pt x="138484" y="0"/>
                    <a:pt x="162415" y="0"/>
                  </a:cubicBezTo>
                  <a:cubicBezTo>
                    <a:pt x="186347" y="0"/>
                    <a:pt x="209002" y="3782"/>
                    <a:pt x="228147" y="11188"/>
                  </a:cubicBezTo>
                  <a:cubicBezTo>
                    <a:pt x="247133" y="18751"/>
                    <a:pt x="263087" y="29309"/>
                    <a:pt x="276010" y="43018"/>
                  </a:cubicBezTo>
                  <a:cubicBezTo>
                    <a:pt x="288933" y="56727"/>
                    <a:pt x="298666" y="73114"/>
                    <a:pt x="305207" y="92181"/>
                  </a:cubicBezTo>
                  <a:cubicBezTo>
                    <a:pt x="311748" y="111247"/>
                    <a:pt x="315099" y="132520"/>
                    <a:pt x="315099" y="155683"/>
                  </a:cubicBezTo>
                  <a:close/>
                  <a:moveTo>
                    <a:pt x="243304" y="158362"/>
                  </a:moveTo>
                  <a:cubicBezTo>
                    <a:pt x="243304" y="124956"/>
                    <a:pt x="235805" y="99429"/>
                    <a:pt x="220649" y="82096"/>
                  </a:cubicBezTo>
                  <a:cubicBezTo>
                    <a:pt x="205652" y="64763"/>
                    <a:pt x="184911" y="56096"/>
                    <a:pt x="158586" y="56096"/>
                  </a:cubicBezTo>
                  <a:cubicBezTo>
                    <a:pt x="146142" y="56096"/>
                    <a:pt x="134814" y="58145"/>
                    <a:pt x="124125" y="62242"/>
                  </a:cubicBezTo>
                  <a:cubicBezTo>
                    <a:pt x="113595" y="66339"/>
                    <a:pt x="104342" y="72799"/>
                    <a:pt x="96683" y="81308"/>
                  </a:cubicBezTo>
                  <a:cubicBezTo>
                    <a:pt x="89025" y="89817"/>
                    <a:pt x="82803" y="100690"/>
                    <a:pt x="78495" y="113768"/>
                  </a:cubicBezTo>
                  <a:cubicBezTo>
                    <a:pt x="74028" y="126847"/>
                    <a:pt x="71954" y="142289"/>
                    <a:pt x="71954" y="159938"/>
                  </a:cubicBezTo>
                  <a:cubicBezTo>
                    <a:pt x="71954" y="177586"/>
                    <a:pt x="74028" y="191925"/>
                    <a:pt x="78336" y="204689"/>
                  </a:cubicBezTo>
                  <a:cubicBezTo>
                    <a:pt x="82644" y="217452"/>
                    <a:pt x="88706" y="228009"/>
                    <a:pt x="96364" y="236518"/>
                  </a:cubicBezTo>
                  <a:cubicBezTo>
                    <a:pt x="104182" y="245027"/>
                    <a:pt x="113435" y="251330"/>
                    <a:pt x="123965" y="255427"/>
                  </a:cubicBezTo>
                  <a:cubicBezTo>
                    <a:pt x="134655" y="259524"/>
                    <a:pt x="146301" y="261573"/>
                    <a:pt x="159065" y="261573"/>
                  </a:cubicBezTo>
                  <a:cubicBezTo>
                    <a:pt x="186666" y="261573"/>
                    <a:pt x="207407" y="252749"/>
                    <a:pt x="221766" y="235100"/>
                  </a:cubicBezTo>
                  <a:cubicBezTo>
                    <a:pt x="235965" y="217452"/>
                    <a:pt x="243144" y="191767"/>
                    <a:pt x="243144" y="158204"/>
                  </a:cubicBezTo>
                  <a:close/>
                </a:path>
              </a:pathLst>
            </a:custGeom>
            <a:solidFill>
              <a:srgbClr val="FFFFFF"/>
            </a:soli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6" name="Freeform 15">
              <a:extLst>
                <a:ext uri="{FF2B5EF4-FFF2-40B4-BE49-F238E27FC236}">
                  <a16:creationId xmlns:a16="http://schemas.microsoft.com/office/drawing/2014/main" id="{C9CF649F-720E-E0B9-5FE0-D48C35EF923B}"/>
                </a:ext>
              </a:extLst>
            </p:cNvPr>
            <p:cNvSpPr/>
            <p:nvPr/>
          </p:nvSpPr>
          <p:spPr>
            <a:xfrm>
              <a:off x="6029358" y="4882065"/>
              <a:ext cx="202779" cy="317196"/>
            </a:xfrm>
            <a:custGeom>
              <a:avLst/>
              <a:gdLst>
                <a:gd name="connsiteX0" fmla="*/ 202301 w 202779"/>
                <a:gd name="connsiteY0" fmla="*/ 223440 h 317196"/>
                <a:gd name="connsiteX1" fmla="*/ 194484 w 202779"/>
                <a:gd name="connsiteY1" fmla="*/ 259997 h 317196"/>
                <a:gd name="connsiteX2" fmla="*/ 171509 w 202779"/>
                <a:gd name="connsiteY2" fmla="*/ 289778 h 317196"/>
                <a:gd name="connsiteX3" fmla="*/ 133378 w 202779"/>
                <a:gd name="connsiteY3" fmla="*/ 309790 h 317196"/>
                <a:gd name="connsiteX4" fmla="*/ 80250 w 202779"/>
                <a:gd name="connsiteY4" fmla="*/ 317196 h 317196"/>
                <a:gd name="connsiteX5" fmla="*/ 61105 w 202779"/>
                <a:gd name="connsiteY5" fmla="*/ 315936 h 317196"/>
                <a:gd name="connsiteX6" fmla="*/ 39248 w 202779"/>
                <a:gd name="connsiteY6" fmla="*/ 312311 h 317196"/>
                <a:gd name="connsiteX7" fmla="*/ 17869 w 202779"/>
                <a:gd name="connsiteY7" fmla="*/ 307112 h 317196"/>
                <a:gd name="connsiteX8" fmla="*/ 0 w 202779"/>
                <a:gd name="connsiteY8" fmla="*/ 300651 h 317196"/>
                <a:gd name="connsiteX9" fmla="*/ 0 w 202779"/>
                <a:gd name="connsiteY9" fmla="*/ 235415 h 317196"/>
                <a:gd name="connsiteX10" fmla="*/ 20422 w 202779"/>
                <a:gd name="connsiteY10" fmla="*/ 247549 h 317196"/>
                <a:gd name="connsiteX11" fmla="*/ 42279 w 202779"/>
                <a:gd name="connsiteY11" fmla="*/ 256373 h 317196"/>
                <a:gd name="connsiteX12" fmla="*/ 63817 w 202779"/>
                <a:gd name="connsiteY12" fmla="*/ 261888 h 317196"/>
                <a:gd name="connsiteX13" fmla="*/ 82963 w 202779"/>
                <a:gd name="connsiteY13" fmla="*/ 263779 h 317196"/>
                <a:gd name="connsiteX14" fmla="*/ 120775 w 202779"/>
                <a:gd name="connsiteY14" fmla="*/ 254955 h 317196"/>
                <a:gd name="connsiteX15" fmla="*/ 132581 w 202779"/>
                <a:gd name="connsiteY15" fmla="*/ 231318 h 317196"/>
                <a:gd name="connsiteX16" fmla="*/ 130347 w 202779"/>
                <a:gd name="connsiteY16" fmla="*/ 217925 h 317196"/>
                <a:gd name="connsiteX17" fmla="*/ 121732 w 202779"/>
                <a:gd name="connsiteY17" fmla="*/ 206737 h 317196"/>
                <a:gd name="connsiteX18" fmla="*/ 103703 w 202779"/>
                <a:gd name="connsiteY18" fmla="*/ 195392 h 317196"/>
                <a:gd name="connsiteX19" fmla="*/ 73231 w 202779"/>
                <a:gd name="connsiteY19" fmla="*/ 181840 h 317196"/>
                <a:gd name="connsiteX20" fmla="*/ 42917 w 202779"/>
                <a:gd name="connsiteY20" fmla="*/ 166871 h 317196"/>
                <a:gd name="connsiteX21" fmla="*/ 19943 w 202779"/>
                <a:gd name="connsiteY21" fmla="*/ 148750 h 317196"/>
                <a:gd name="connsiteX22" fmla="*/ 5425 w 202779"/>
                <a:gd name="connsiteY22" fmla="*/ 124799 h 317196"/>
                <a:gd name="connsiteX23" fmla="*/ 319 w 202779"/>
                <a:gd name="connsiteY23" fmla="*/ 92338 h 317196"/>
                <a:gd name="connsiteX24" fmla="*/ 8456 w 202779"/>
                <a:gd name="connsiteY24" fmla="*/ 55939 h 317196"/>
                <a:gd name="connsiteX25" fmla="*/ 31749 w 202779"/>
                <a:gd name="connsiteY25" fmla="*/ 26630 h 317196"/>
                <a:gd name="connsiteX26" fmla="*/ 68763 w 202779"/>
                <a:gd name="connsiteY26" fmla="*/ 7091 h 317196"/>
                <a:gd name="connsiteX27" fmla="*/ 117424 w 202779"/>
                <a:gd name="connsiteY27" fmla="*/ 0 h 317196"/>
                <a:gd name="connsiteX28" fmla="*/ 136729 w 202779"/>
                <a:gd name="connsiteY28" fmla="*/ 1261 h 317196"/>
                <a:gd name="connsiteX29" fmla="*/ 155555 w 202779"/>
                <a:gd name="connsiteY29" fmla="*/ 4255 h 317196"/>
                <a:gd name="connsiteX30" fmla="*/ 172626 w 202779"/>
                <a:gd name="connsiteY30" fmla="*/ 8194 h 317196"/>
                <a:gd name="connsiteX31" fmla="*/ 186187 w 202779"/>
                <a:gd name="connsiteY31" fmla="*/ 12763 h 317196"/>
                <a:gd name="connsiteX32" fmla="*/ 186187 w 202779"/>
                <a:gd name="connsiteY32" fmla="*/ 74532 h 317196"/>
                <a:gd name="connsiteX33" fmla="*/ 170552 w 202779"/>
                <a:gd name="connsiteY33" fmla="*/ 66023 h 317196"/>
                <a:gd name="connsiteX34" fmla="*/ 152683 w 202779"/>
                <a:gd name="connsiteY34" fmla="*/ 59405 h 317196"/>
                <a:gd name="connsiteX35" fmla="*/ 133857 w 202779"/>
                <a:gd name="connsiteY35" fmla="*/ 55151 h 317196"/>
                <a:gd name="connsiteX36" fmla="*/ 115031 w 202779"/>
                <a:gd name="connsiteY36" fmla="*/ 53733 h 317196"/>
                <a:gd name="connsiteX37" fmla="*/ 82484 w 202779"/>
                <a:gd name="connsiteY37" fmla="*/ 62872 h 317196"/>
                <a:gd name="connsiteX38" fmla="*/ 70518 w 202779"/>
                <a:gd name="connsiteY38" fmla="*/ 86193 h 317196"/>
                <a:gd name="connsiteX39" fmla="*/ 73071 w 202779"/>
                <a:gd name="connsiteY39" fmla="*/ 101478 h 317196"/>
                <a:gd name="connsiteX40" fmla="*/ 81846 w 202779"/>
                <a:gd name="connsiteY40" fmla="*/ 112980 h 317196"/>
                <a:gd name="connsiteX41" fmla="*/ 98438 w 202779"/>
                <a:gd name="connsiteY41" fmla="*/ 123065 h 317196"/>
                <a:gd name="connsiteX42" fmla="*/ 124285 w 202779"/>
                <a:gd name="connsiteY42" fmla="*/ 134095 h 317196"/>
                <a:gd name="connsiteX43" fmla="*/ 155715 w 202779"/>
                <a:gd name="connsiteY43" fmla="*/ 148907 h 317196"/>
                <a:gd name="connsiteX44" fmla="*/ 180603 w 202779"/>
                <a:gd name="connsiteY44" fmla="*/ 167343 h 317196"/>
                <a:gd name="connsiteX45" fmla="*/ 196877 w 202779"/>
                <a:gd name="connsiteY45" fmla="*/ 191610 h 317196"/>
                <a:gd name="connsiteX46" fmla="*/ 202780 w 202779"/>
                <a:gd name="connsiteY46" fmla="*/ 223597 h 317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02779" h="317196">
                  <a:moveTo>
                    <a:pt x="202301" y="223440"/>
                  </a:moveTo>
                  <a:cubicBezTo>
                    <a:pt x="202301" y="236361"/>
                    <a:pt x="199749" y="248652"/>
                    <a:pt x="194484" y="259997"/>
                  </a:cubicBezTo>
                  <a:cubicBezTo>
                    <a:pt x="189219" y="271500"/>
                    <a:pt x="181561" y="281427"/>
                    <a:pt x="171509" y="289778"/>
                  </a:cubicBezTo>
                  <a:cubicBezTo>
                    <a:pt x="161299" y="298287"/>
                    <a:pt x="148695" y="304905"/>
                    <a:pt x="133378" y="309790"/>
                  </a:cubicBezTo>
                  <a:cubicBezTo>
                    <a:pt x="118062" y="314675"/>
                    <a:pt x="100353" y="317196"/>
                    <a:pt x="80250" y="317196"/>
                  </a:cubicBezTo>
                  <a:cubicBezTo>
                    <a:pt x="74667" y="317196"/>
                    <a:pt x="68285" y="316724"/>
                    <a:pt x="61105" y="315936"/>
                  </a:cubicBezTo>
                  <a:cubicBezTo>
                    <a:pt x="53926" y="315148"/>
                    <a:pt x="46587" y="313887"/>
                    <a:pt x="39248" y="312311"/>
                  </a:cubicBezTo>
                  <a:cubicBezTo>
                    <a:pt x="31909" y="310893"/>
                    <a:pt x="24729" y="309160"/>
                    <a:pt x="17869" y="307112"/>
                  </a:cubicBezTo>
                  <a:cubicBezTo>
                    <a:pt x="11009" y="305221"/>
                    <a:pt x="5106" y="303015"/>
                    <a:pt x="0" y="300651"/>
                  </a:cubicBezTo>
                  <a:lnTo>
                    <a:pt x="0" y="235415"/>
                  </a:lnTo>
                  <a:cubicBezTo>
                    <a:pt x="6382" y="239985"/>
                    <a:pt x="13242" y="243924"/>
                    <a:pt x="20422" y="247549"/>
                  </a:cubicBezTo>
                  <a:cubicBezTo>
                    <a:pt x="27601" y="251173"/>
                    <a:pt x="34940" y="254009"/>
                    <a:pt x="42279" y="256373"/>
                  </a:cubicBezTo>
                  <a:cubicBezTo>
                    <a:pt x="49618" y="258736"/>
                    <a:pt x="56797" y="260627"/>
                    <a:pt x="63817" y="261888"/>
                  </a:cubicBezTo>
                  <a:cubicBezTo>
                    <a:pt x="70837" y="263148"/>
                    <a:pt x="77219" y="263779"/>
                    <a:pt x="82963" y="263779"/>
                  </a:cubicBezTo>
                  <a:cubicBezTo>
                    <a:pt x="100353" y="263779"/>
                    <a:pt x="112957" y="260785"/>
                    <a:pt x="120775" y="254955"/>
                  </a:cubicBezTo>
                  <a:cubicBezTo>
                    <a:pt x="128592" y="248967"/>
                    <a:pt x="132581" y="241246"/>
                    <a:pt x="132581" y="231318"/>
                  </a:cubicBezTo>
                  <a:cubicBezTo>
                    <a:pt x="132581" y="226276"/>
                    <a:pt x="131783" y="221706"/>
                    <a:pt x="130347" y="217925"/>
                  </a:cubicBezTo>
                  <a:cubicBezTo>
                    <a:pt x="128911" y="214143"/>
                    <a:pt x="125880" y="210361"/>
                    <a:pt x="121732" y="206737"/>
                  </a:cubicBezTo>
                  <a:cubicBezTo>
                    <a:pt x="117424" y="203113"/>
                    <a:pt x="111362" y="199331"/>
                    <a:pt x="103703" y="195392"/>
                  </a:cubicBezTo>
                  <a:cubicBezTo>
                    <a:pt x="95886" y="191452"/>
                    <a:pt x="85835" y="186883"/>
                    <a:pt x="73231" y="181840"/>
                  </a:cubicBezTo>
                  <a:cubicBezTo>
                    <a:pt x="62062" y="177113"/>
                    <a:pt x="52011" y="172071"/>
                    <a:pt x="42917" y="166871"/>
                  </a:cubicBezTo>
                  <a:cubicBezTo>
                    <a:pt x="33823" y="161671"/>
                    <a:pt x="26165" y="155683"/>
                    <a:pt x="19943" y="148750"/>
                  </a:cubicBezTo>
                  <a:cubicBezTo>
                    <a:pt x="13721" y="141817"/>
                    <a:pt x="8775" y="133938"/>
                    <a:pt x="5425" y="124799"/>
                  </a:cubicBezTo>
                  <a:cubicBezTo>
                    <a:pt x="2074" y="115817"/>
                    <a:pt x="319" y="104944"/>
                    <a:pt x="319" y="92338"/>
                  </a:cubicBezTo>
                  <a:cubicBezTo>
                    <a:pt x="319" y="79732"/>
                    <a:pt x="3031" y="67284"/>
                    <a:pt x="8456" y="55939"/>
                  </a:cubicBezTo>
                  <a:cubicBezTo>
                    <a:pt x="13880" y="44593"/>
                    <a:pt x="21698" y="34981"/>
                    <a:pt x="31749" y="26630"/>
                  </a:cubicBezTo>
                  <a:cubicBezTo>
                    <a:pt x="41801" y="18279"/>
                    <a:pt x="54245" y="11818"/>
                    <a:pt x="68763" y="7091"/>
                  </a:cubicBezTo>
                  <a:cubicBezTo>
                    <a:pt x="83282" y="2364"/>
                    <a:pt x="99396" y="0"/>
                    <a:pt x="117424" y="0"/>
                  </a:cubicBezTo>
                  <a:cubicBezTo>
                    <a:pt x="123806" y="0"/>
                    <a:pt x="130188" y="473"/>
                    <a:pt x="136729" y="1261"/>
                  </a:cubicBezTo>
                  <a:cubicBezTo>
                    <a:pt x="143270" y="2048"/>
                    <a:pt x="149492" y="2994"/>
                    <a:pt x="155555" y="4255"/>
                  </a:cubicBezTo>
                  <a:cubicBezTo>
                    <a:pt x="161618" y="5515"/>
                    <a:pt x="167361" y="6776"/>
                    <a:pt x="172626" y="8194"/>
                  </a:cubicBezTo>
                  <a:cubicBezTo>
                    <a:pt x="177891" y="9612"/>
                    <a:pt x="182518" y="11188"/>
                    <a:pt x="186187" y="12763"/>
                  </a:cubicBezTo>
                  <a:lnTo>
                    <a:pt x="186187" y="74532"/>
                  </a:lnTo>
                  <a:cubicBezTo>
                    <a:pt x="181401" y="71381"/>
                    <a:pt x="176136" y="68545"/>
                    <a:pt x="170552" y="66023"/>
                  </a:cubicBezTo>
                  <a:cubicBezTo>
                    <a:pt x="164809" y="63502"/>
                    <a:pt x="158905" y="61296"/>
                    <a:pt x="152683" y="59405"/>
                  </a:cubicBezTo>
                  <a:cubicBezTo>
                    <a:pt x="146461" y="57514"/>
                    <a:pt x="140239" y="56096"/>
                    <a:pt x="133857" y="55151"/>
                  </a:cubicBezTo>
                  <a:cubicBezTo>
                    <a:pt x="127475" y="54205"/>
                    <a:pt x="121253" y="53733"/>
                    <a:pt x="115031" y="53733"/>
                  </a:cubicBezTo>
                  <a:cubicBezTo>
                    <a:pt x="101310" y="53733"/>
                    <a:pt x="90461" y="56727"/>
                    <a:pt x="82484" y="62872"/>
                  </a:cubicBezTo>
                  <a:cubicBezTo>
                    <a:pt x="74507" y="69017"/>
                    <a:pt x="70518" y="76738"/>
                    <a:pt x="70518" y="86193"/>
                  </a:cubicBezTo>
                  <a:cubicBezTo>
                    <a:pt x="70518" y="92181"/>
                    <a:pt x="71316" y="97223"/>
                    <a:pt x="73071" y="101478"/>
                  </a:cubicBezTo>
                  <a:cubicBezTo>
                    <a:pt x="74826" y="105732"/>
                    <a:pt x="77698" y="109514"/>
                    <a:pt x="81846" y="112980"/>
                  </a:cubicBezTo>
                  <a:cubicBezTo>
                    <a:pt x="85994" y="116447"/>
                    <a:pt x="91578" y="119756"/>
                    <a:pt x="98438" y="123065"/>
                  </a:cubicBezTo>
                  <a:cubicBezTo>
                    <a:pt x="105299" y="126374"/>
                    <a:pt x="113914" y="129998"/>
                    <a:pt x="124285" y="134095"/>
                  </a:cubicBezTo>
                  <a:cubicBezTo>
                    <a:pt x="135612" y="138665"/>
                    <a:pt x="146142" y="143550"/>
                    <a:pt x="155715" y="148907"/>
                  </a:cubicBezTo>
                  <a:cubicBezTo>
                    <a:pt x="165287" y="154265"/>
                    <a:pt x="173583" y="160410"/>
                    <a:pt x="180603" y="167343"/>
                  </a:cubicBezTo>
                  <a:cubicBezTo>
                    <a:pt x="187623" y="174277"/>
                    <a:pt x="193048" y="182471"/>
                    <a:pt x="196877" y="191610"/>
                  </a:cubicBezTo>
                  <a:cubicBezTo>
                    <a:pt x="200706" y="200749"/>
                    <a:pt x="202780" y="211464"/>
                    <a:pt x="202780" y="223597"/>
                  </a:cubicBezTo>
                  <a:close/>
                </a:path>
              </a:pathLst>
            </a:custGeom>
            <a:solidFill>
              <a:srgbClr val="FFFFFF"/>
            </a:soli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7" name="Freeform 16">
              <a:extLst>
                <a:ext uri="{FF2B5EF4-FFF2-40B4-BE49-F238E27FC236}">
                  <a16:creationId xmlns:a16="http://schemas.microsoft.com/office/drawing/2014/main" id="{CDE4CC36-160C-82B8-7D3A-825DACA70295}"/>
                </a:ext>
              </a:extLst>
            </p:cNvPr>
            <p:cNvSpPr/>
            <p:nvPr/>
          </p:nvSpPr>
          <p:spPr>
            <a:xfrm>
              <a:off x="6282075" y="4881908"/>
              <a:ext cx="315098" cy="317353"/>
            </a:xfrm>
            <a:custGeom>
              <a:avLst/>
              <a:gdLst>
                <a:gd name="connsiteX0" fmla="*/ 314939 w 315098"/>
                <a:gd name="connsiteY0" fmla="*/ 155998 h 317353"/>
                <a:gd name="connsiteX1" fmla="*/ 303452 w 315098"/>
                <a:gd name="connsiteY1" fmla="*/ 223440 h 317353"/>
                <a:gd name="connsiteX2" fmla="*/ 271064 w 315098"/>
                <a:gd name="connsiteY2" fmla="*/ 274336 h 317353"/>
                <a:gd name="connsiteX3" fmla="*/ 220649 w 315098"/>
                <a:gd name="connsiteY3" fmla="*/ 306324 h 317353"/>
                <a:gd name="connsiteX4" fmla="*/ 154917 w 315098"/>
                <a:gd name="connsiteY4" fmla="*/ 317354 h 317353"/>
                <a:gd name="connsiteX5" fmla="*/ 90461 w 315098"/>
                <a:gd name="connsiteY5" fmla="*/ 306481 h 317353"/>
                <a:gd name="connsiteX6" fmla="*/ 41641 w 315098"/>
                <a:gd name="connsiteY6" fmla="*/ 275282 h 317353"/>
                <a:gd name="connsiteX7" fmla="*/ 10689 w 315098"/>
                <a:gd name="connsiteY7" fmla="*/ 226434 h 317353"/>
                <a:gd name="connsiteX8" fmla="*/ 0 w 315098"/>
                <a:gd name="connsiteY8" fmla="*/ 162301 h 317353"/>
                <a:gd name="connsiteX9" fmla="*/ 11966 w 315098"/>
                <a:gd name="connsiteY9" fmla="*/ 92181 h 317353"/>
                <a:gd name="connsiteX10" fmla="*/ 45310 w 315098"/>
                <a:gd name="connsiteY10" fmla="*/ 41284 h 317353"/>
                <a:gd name="connsiteX11" fmla="*/ 96683 w 315098"/>
                <a:gd name="connsiteY11" fmla="*/ 10400 h 317353"/>
                <a:gd name="connsiteX12" fmla="*/ 162415 w 315098"/>
                <a:gd name="connsiteY12" fmla="*/ 0 h 317353"/>
                <a:gd name="connsiteX13" fmla="*/ 228147 w 315098"/>
                <a:gd name="connsiteY13" fmla="*/ 11188 h 317353"/>
                <a:gd name="connsiteX14" fmla="*/ 276010 w 315098"/>
                <a:gd name="connsiteY14" fmla="*/ 43018 h 317353"/>
                <a:gd name="connsiteX15" fmla="*/ 305207 w 315098"/>
                <a:gd name="connsiteY15" fmla="*/ 92181 h 317353"/>
                <a:gd name="connsiteX16" fmla="*/ 315099 w 315098"/>
                <a:gd name="connsiteY16" fmla="*/ 155683 h 317353"/>
                <a:gd name="connsiteX17" fmla="*/ 243144 w 315098"/>
                <a:gd name="connsiteY17" fmla="*/ 158362 h 317353"/>
                <a:gd name="connsiteX18" fmla="*/ 220489 w 315098"/>
                <a:gd name="connsiteY18" fmla="*/ 82096 h 317353"/>
                <a:gd name="connsiteX19" fmla="*/ 158427 w 315098"/>
                <a:gd name="connsiteY19" fmla="*/ 56096 h 317353"/>
                <a:gd name="connsiteX20" fmla="*/ 123965 w 315098"/>
                <a:gd name="connsiteY20" fmla="*/ 62242 h 317353"/>
                <a:gd name="connsiteX21" fmla="*/ 96364 w 315098"/>
                <a:gd name="connsiteY21" fmla="*/ 81308 h 317353"/>
                <a:gd name="connsiteX22" fmla="*/ 78176 w 315098"/>
                <a:gd name="connsiteY22" fmla="*/ 113768 h 317353"/>
                <a:gd name="connsiteX23" fmla="*/ 71635 w 315098"/>
                <a:gd name="connsiteY23" fmla="*/ 159938 h 317353"/>
                <a:gd name="connsiteX24" fmla="*/ 78017 w 315098"/>
                <a:gd name="connsiteY24" fmla="*/ 204689 h 317353"/>
                <a:gd name="connsiteX25" fmla="*/ 96045 w 315098"/>
                <a:gd name="connsiteY25" fmla="*/ 236518 h 317353"/>
                <a:gd name="connsiteX26" fmla="*/ 123646 w 315098"/>
                <a:gd name="connsiteY26" fmla="*/ 255427 h 317353"/>
                <a:gd name="connsiteX27" fmla="*/ 158746 w 315098"/>
                <a:gd name="connsiteY27" fmla="*/ 261573 h 317353"/>
                <a:gd name="connsiteX28" fmla="*/ 221446 w 315098"/>
                <a:gd name="connsiteY28" fmla="*/ 235100 h 317353"/>
                <a:gd name="connsiteX29" fmla="*/ 242825 w 315098"/>
                <a:gd name="connsiteY29" fmla="*/ 158204 h 317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15098" h="317353">
                  <a:moveTo>
                    <a:pt x="314939" y="155998"/>
                  </a:moveTo>
                  <a:cubicBezTo>
                    <a:pt x="314939" y="181052"/>
                    <a:pt x="311110" y="203585"/>
                    <a:pt x="303452" y="223440"/>
                  </a:cubicBezTo>
                  <a:cubicBezTo>
                    <a:pt x="295794" y="243452"/>
                    <a:pt x="284945" y="260470"/>
                    <a:pt x="271064" y="274336"/>
                  </a:cubicBezTo>
                  <a:cubicBezTo>
                    <a:pt x="257025" y="288360"/>
                    <a:pt x="240273" y="299075"/>
                    <a:pt x="220649" y="306324"/>
                  </a:cubicBezTo>
                  <a:cubicBezTo>
                    <a:pt x="201025" y="313572"/>
                    <a:pt x="179167" y="317354"/>
                    <a:pt x="154917" y="317354"/>
                  </a:cubicBezTo>
                  <a:cubicBezTo>
                    <a:pt x="130666" y="317354"/>
                    <a:pt x="109447" y="313730"/>
                    <a:pt x="90461" y="306481"/>
                  </a:cubicBezTo>
                  <a:cubicBezTo>
                    <a:pt x="71475" y="299233"/>
                    <a:pt x="55202" y="288833"/>
                    <a:pt x="41641" y="275282"/>
                  </a:cubicBezTo>
                  <a:cubicBezTo>
                    <a:pt x="28239" y="261730"/>
                    <a:pt x="17869" y="245500"/>
                    <a:pt x="10689" y="226434"/>
                  </a:cubicBezTo>
                  <a:cubicBezTo>
                    <a:pt x="3510" y="207367"/>
                    <a:pt x="0" y="185937"/>
                    <a:pt x="0" y="162301"/>
                  </a:cubicBezTo>
                  <a:cubicBezTo>
                    <a:pt x="0" y="135671"/>
                    <a:pt x="3989" y="112350"/>
                    <a:pt x="11966" y="92181"/>
                  </a:cubicBezTo>
                  <a:cubicBezTo>
                    <a:pt x="19943" y="72011"/>
                    <a:pt x="31111" y="54993"/>
                    <a:pt x="45310" y="41284"/>
                  </a:cubicBezTo>
                  <a:cubicBezTo>
                    <a:pt x="59510" y="27575"/>
                    <a:pt x="76740" y="17333"/>
                    <a:pt x="96683" y="10400"/>
                  </a:cubicBezTo>
                  <a:cubicBezTo>
                    <a:pt x="116626" y="3467"/>
                    <a:pt x="138484" y="0"/>
                    <a:pt x="162415" y="0"/>
                  </a:cubicBezTo>
                  <a:cubicBezTo>
                    <a:pt x="186347" y="0"/>
                    <a:pt x="209002" y="3782"/>
                    <a:pt x="228147" y="11188"/>
                  </a:cubicBezTo>
                  <a:cubicBezTo>
                    <a:pt x="247133" y="18751"/>
                    <a:pt x="263087" y="29309"/>
                    <a:pt x="276010" y="43018"/>
                  </a:cubicBezTo>
                  <a:cubicBezTo>
                    <a:pt x="288933" y="56727"/>
                    <a:pt x="298665" y="73114"/>
                    <a:pt x="305207" y="92181"/>
                  </a:cubicBezTo>
                  <a:cubicBezTo>
                    <a:pt x="311748" y="111247"/>
                    <a:pt x="315099" y="132520"/>
                    <a:pt x="315099" y="155683"/>
                  </a:cubicBezTo>
                  <a:close/>
                  <a:moveTo>
                    <a:pt x="243144" y="158362"/>
                  </a:moveTo>
                  <a:cubicBezTo>
                    <a:pt x="243144" y="124956"/>
                    <a:pt x="235646" y="99429"/>
                    <a:pt x="220489" y="82096"/>
                  </a:cubicBezTo>
                  <a:cubicBezTo>
                    <a:pt x="205492" y="64763"/>
                    <a:pt x="184751" y="56096"/>
                    <a:pt x="158427" y="56096"/>
                  </a:cubicBezTo>
                  <a:cubicBezTo>
                    <a:pt x="146142" y="56096"/>
                    <a:pt x="134655" y="58145"/>
                    <a:pt x="123965" y="62242"/>
                  </a:cubicBezTo>
                  <a:cubicBezTo>
                    <a:pt x="113276" y="66339"/>
                    <a:pt x="104182" y="72799"/>
                    <a:pt x="96364" y="81308"/>
                  </a:cubicBezTo>
                  <a:cubicBezTo>
                    <a:pt x="88546" y="89817"/>
                    <a:pt x="82484" y="100690"/>
                    <a:pt x="78176" y="113768"/>
                  </a:cubicBezTo>
                  <a:cubicBezTo>
                    <a:pt x="73709" y="126847"/>
                    <a:pt x="71635" y="142289"/>
                    <a:pt x="71635" y="159938"/>
                  </a:cubicBezTo>
                  <a:cubicBezTo>
                    <a:pt x="71635" y="177586"/>
                    <a:pt x="73709" y="191925"/>
                    <a:pt x="78017" y="204689"/>
                  </a:cubicBezTo>
                  <a:cubicBezTo>
                    <a:pt x="82324" y="217452"/>
                    <a:pt x="88387" y="228009"/>
                    <a:pt x="96045" y="236518"/>
                  </a:cubicBezTo>
                  <a:cubicBezTo>
                    <a:pt x="103863" y="245027"/>
                    <a:pt x="113116" y="251330"/>
                    <a:pt x="123646" y="255427"/>
                  </a:cubicBezTo>
                  <a:cubicBezTo>
                    <a:pt x="134176" y="259524"/>
                    <a:pt x="145982" y="261573"/>
                    <a:pt x="158746" y="261573"/>
                  </a:cubicBezTo>
                  <a:cubicBezTo>
                    <a:pt x="186187" y="261573"/>
                    <a:pt x="207087" y="252749"/>
                    <a:pt x="221446" y="235100"/>
                  </a:cubicBezTo>
                  <a:cubicBezTo>
                    <a:pt x="235646" y="217452"/>
                    <a:pt x="242825" y="191767"/>
                    <a:pt x="242825" y="158204"/>
                  </a:cubicBezTo>
                  <a:close/>
                </a:path>
              </a:pathLst>
            </a:custGeom>
            <a:solidFill>
              <a:srgbClr val="FFFFFF"/>
            </a:soli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 name="Freeform 17">
              <a:extLst>
                <a:ext uri="{FF2B5EF4-FFF2-40B4-BE49-F238E27FC236}">
                  <a16:creationId xmlns:a16="http://schemas.microsoft.com/office/drawing/2014/main" id="{4CFE8D18-4BA2-A582-9AA2-B04493094DC9}"/>
                </a:ext>
              </a:extLst>
            </p:cNvPr>
            <p:cNvSpPr/>
            <p:nvPr/>
          </p:nvSpPr>
          <p:spPr>
            <a:xfrm>
              <a:off x="6629401" y="4736940"/>
              <a:ext cx="202301" cy="455073"/>
            </a:xfrm>
            <a:custGeom>
              <a:avLst/>
              <a:gdLst>
                <a:gd name="connsiteX0" fmla="*/ 187942 w 202301"/>
                <a:gd name="connsiteY0" fmla="*/ 57987 h 455073"/>
                <a:gd name="connsiteX1" fmla="*/ 169435 w 202301"/>
                <a:gd name="connsiteY1" fmla="*/ 55624 h 455073"/>
                <a:gd name="connsiteX2" fmla="*/ 134176 w 202301"/>
                <a:gd name="connsiteY2" fmla="*/ 69963 h 455073"/>
                <a:gd name="connsiteX3" fmla="*/ 121572 w 202301"/>
                <a:gd name="connsiteY3" fmla="*/ 112035 h 455073"/>
                <a:gd name="connsiteX4" fmla="*/ 121572 w 202301"/>
                <a:gd name="connsiteY4" fmla="*/ 152532 h 455073"/>
                <a:gd name="connsiteX5" fmla="*/ 190016 w 202301"/>
                <a:gd name="connsiteY5" fmla="*/ 152532 h 455073"/>
                <a:gd name="connsiteX6" fmla="*/ 190016 w 202301"/>
                <a:gd name="connsiteY6" fmla="*/ 207525 h 455073"/>
                <a:gd name="connsiteX7" fmla="*/ 121572 w 202301"/>
                <a:gd name="connsiteY7" fmla="*/ 207525 h 455073"/>
                <a:gd name="connsiteX8" fmla="*/ 121572 w 202301"/>
                <a:gd name="connsiteY8" fmla="*/ 455073 h 455073"/>
                <a:gd name="connsiteX9" fmla="*/ 51533 w 202301"/>
                <a:gd name="connsiteY9" fmla="*/ 455073 h 455073"/>
                <a:gd name="connsiteX10" fmla="*/ 51533 w 202301"/>
                <a:gd name="connsiteY10" fmla="*/ 207525 h 455073"/>
                <a:gd name="connsiteX11" fmla="*/ 0 w 202301"/>
                <a:gd name="connsiteY11" fmla="*/ 207525 h 455073"/>
                <a:gd name="connsiteX12" fmla="*/ 0 w 202301"/>
                <a:gd name="connsiteY12" fmla="*/ 152532 h 455073"/>
                <a:gd name="connsiteX13" fmla="*/ 51533 w 202301"/>
                <a:gd name="connsiteY13" fmla="*/ 152532 h 455073"/>
                <a:gd name="connsiteX14" fmla="*/ 51533 w 202301"/>
                <a:gd name="connsiteY14" fmla="*/ 108253 h 455073"/>
                <a:gd name="connsiteX15" fmla="*/ 59989 w 202301"/>
                <a:gd name="connsiteY15" fmla="*/ 63030 h 455073"/>
                <a:gd name="connsiteX16" fmla="*/ 83282 w 202301"/>
                <a:gd name="connsiteY16" fmla="*/ 28994 h 455073"/>
                <a:gd name="connsiteX17" fmla="*/ 118222 w 202301"/>
                <a:gd name="connsiteY17" fmla="*/ 7564 h 455073"/>
                <a:gd name="connsiteX18" fmla="*/ 161777 w 202301"/>
                <a:gd name="connsiteY18" fmla="*/ 0 h 455073"/>
                <a:gd name="connsiteX19" fmla="*/ 184432 w 202301"/>
                <a:gd name="connsiteY19" fmla="*/ 1418 h 455073"/>
                <a:gd name="connsiteX20" fmla="*/ 202301 w 202301"/>
                <a:gd name="connsiteY20" fmla="*/ 5200 h 455073"/>
                <a:gd name="connsiteX21" fmla="*/ 202301 w 202301"/>
                <a:gd name="connsiteY21" fmla="*/ 62872 h 455073"/>
                <a:gd name="connsiteX22" fmla="*/ 187942 w 202301"/>
                <a:gd name="connsiteY22" fmla="*/ 57830 h 45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2301" h="455073">
                  <a:moveTo>
                    <a:pt x="187942" y="57987"/>
                  </a:moveTo>
                  <a:cubicBezTo>
                    <a:pt x="182358" y="56411"/>
                    <a:pt x="176136" y="55624"/>
                    <a:pt x="169435" y="55624"/>
                  </a:cubicBezTo>
                  <a:cubicBezTo>
                    <a:pt x="154279" y="55624"/>
                    <a:pt x="142473" y="60351"/>
                    <a:pt x="134176" y="69963"/>
                  </a:cubicBezTo>
                  <a:cubicBezTo>
                    <a:pt x="125720" y="79575"/>
                    <a:pt x="121572" y="93599"/>
                    <a:pt x="121572" y="112035"/>
                  </a:cubicBezTo>
                  <a:lnTo>
                    <a:pt x="121572" y="152532"/>
                  </a:lnTo>
                  <a:lnTo>
                    <a:pt x="190016" y="152532"/>
                  </a:lnTo>
                  <a:lnTo>
                    <a:pt x="190016" y="207525"/>
                  </a:lnTo>
                  <a:lnTo>
                    <a:pt x="121572" y="207525"/>
                  </a:lnTo>
                  <a:lnTo>
                    <a:pt x="121572" y="455073"/>
                  </a:lnTo>
                  <a:lnTo>
                    <a:pt x="51533" y="455073"/>
                  </a:lnTo>
                  <a:lnTo>
                    <a:pt x="51533" y="207525"/>
                  </a:lnTo>
                  <a:lnTo>
                    <a:pt x="0" y="207525"/>
                  </a:lnTo>
                  <a:lnTo>
                    <a:pt x="0" y="152532"/>
                  </a:lnTo>
                  <a:lnTo>
                    <a:pt x="51533" y="152532"/>
                  </a:lnTo>
                  <a:lnTo>
                    <a:pt x="51533" y="108253"/>
                  </a:lnTo>
                  <a:cubicBezTo>
                    <a:pt x="51533" y="91550"/>
                    <a:pt x="54404" y="76423"/>
                    <a:pt x="59989" y="63030"/>
                  </a:cubicBezTo>
                  <a:cubicBezTo>
                    <a:pt x="65732" y="49636"/>
                    <a:pt x="73390" y="38290"/>
                    <a:pt x="83282" y="28994"/>
                  </a:cubicBezTo>
                  <a:cubicBezTo>
                    <a:pt x="93174" y="19697"/>
                    <a:pt x="104820" y="12606"/>
                    <a:pt x="118222" y="7564"/>
                  </a:cubicBezTo>
                  <a:cubicBezTo>
                    <a:pt x="131623" y="2521"/>
                    <a:pt x="146142" y="0"/>
                    <a:pt x="161777" y="0"/>
                  </a:cubicBezTo>
                  <a:cubicBezTo>
                    <a:pt x="169276" y="0"/>
                    <a:pt x="176934" y="473"/>
                    <a:pt x="184432" y="1418"/>
                  </a:cubicBezTo>
                  <a:cubicBezTo>
                    <a:pt x="191931" y="2364"/>
                    <a:pt x="197834" y="3624"/>
                    <a:pt x="202301" y="5200"/>
                  </a:cubicBezTo>
                  <a:lnTo>
                    <a:pt x="202301" y="62872"/>
                  </a:lnTo>
                  <a:cubicBezTo>
                    <a:pt x="198313" y="61139"/>
                    <a:pt x="193526" y="59405"/>
                    <a:pt x="187942" y="57830"/>
                  </a:cubicBezTo>
                  <a:close/>
                </a:path>
              </a:pathLst>
            </a:custGeom>
            <a:solidFill>
              <a:srgbClr val="FFFFFF"/>
            </a:soli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18">
              <a:extLst>
                <a:ext uri="{FF2B5EF4-FFF2-40B4-BE49-F238E27FC236}">
                  <a16:creationId xmlns:a16="http://schemas.microsoft.com/office/drawing/2014/main" id="{7C8E8AF8-2DF9-4C69-345E-A5F0A0CF828F}"/>
                </a:ext>
              </a:extLst>
            </p:cNvPr>
            <p:cNvSpPr/>
            <p:nvPr/>
          </p:nvSpPr>
          <p:spPr>
            <a:xfrm>
              <a:off x="6861058" y="4798866"/>
              <a:ext cx="194323" cy="400710"/>
            </a:xfrm>
            <a:custGeom>
              <a:avLst/>
              <a:gdLst>
                <a:gd name="connsiteX0" fmla="*/ 184592 w 194323"/>
                <a:gd name="connsiteY0" fmla="*/ 394092 h 400710"/>
                <a:gd name="connsiteX1" fmla="*/ 171350 w 194323"/>
                <a:gd name="connsiteY1" fmla="*/ 397401 h 400710"/>
                <a:gd name="connsiteX2" fmla="*/ 156193 w 194323"/>
                <a:gd name="connsiteY2" fmla="*/ 399765 h 400710"/>
                <a:gd name="connsiteX3" fmla="*/ 141036 w 194323"/>
                <a:gd name="connsiteY3" fmla="*/ 400710 h 400710"/>
                <a:gd name="connsiteX4" fmla="*/ 72912 w 194323"/>
                <a:gd name="connsiteY4" fmla="*/ 375971 h 400710"/>
                <a:gd name="connsiteX5" fmla="*/ 50894 w 194323"/>
                <a:gd name="connsiteY5" fmla="*/ 304905 h 400710"/>
                <a:gd name="connsiteX6" fmla="*/ 50894 w 194323"/>
                <a:gd name="connsiteY6" fmla="*/ 145598 h 400710"/>
                <a:gd name="connsiteX7" fmla="*/ 0 w 194323"/>
                <a:gd name="connsiteY7" fmla="*/ 145598 h 400710"/>
                <a:gd name="connsiteX8" fmla="*/ 0 w 194323"/>
                <a:gd name="connsiteY8" fmla="*/ 90605 h 400710"/>
                <a:gd name="connsiteX9" fmla="*/ 50894 w 194323"/>
                <a:gd name="connsiteY9" fmla="*/ 90605 h 400710"/>
                <a:gd name="connsiteX10" fmla="*/ 50894 w 194323"/>
                <a:gd name="connsiteY10" fmla="*/ 20957 h 400710"/>
                <a:gd name="connsiteX11" fmla="*/ 120296 w 194323"/>
                <a:gd name="connsiteY11" fmla="*/ 0 h 400710"/>
                <a:gd name="connsiteX12" fmla="*/ 120296 w 194323"/>
                <a:gd name="connsiteY12" fmla="*/ 90763 h 400710"/>
                <a:gd name="connsiteX13" fmla="*/ 194164 w 194323"/>
                <a:gd name="connsiteY13" fmla="*/ 90763 h 400710"/>
                <a:gd name="connsiteX14" fmla="*/ 194164 w 194323"/>
                <a:gd name="connsiteY14" fmla="*/ 145756 h 400710"/>
                <a:gd name="connsiteX15" fmla="*/ 120296 w 194323"/>
                <a:gd name="connsiteY15" fmla="*/ 145756 h 400710"/>
                <a:gd name="connsiteX16" fmla="*/ 120296 w 194323"/>
                <a:gd name="connsiteY16" fmla="*/ 292300 h 400710"/>
                <a:gd name="connsiteX17" fmla="*/ 130826 w 194323"/>
                <a:gd name="connsiteY17" fmla="*/ 332954 h 400710"/>
                <a:gd name="connsiteX18" fmla="*/ 163692 w 194323"/>
                <a:gd name="connsiteY18" fmla="*/ 344929 h 400710"/>
                <a:gd name="connsiteX19" fmla="*/ 178848 w 194323"/>
                <a:gd name="connsiteY19" fmla="*/ 342408 h 400710"/>
                <a:gd name="connsiteX20" fmla="*/ 194324 w 194323"/>
                <a:gd name="connsiteY20" fmla="*/ 335790 h 400710"/>
                <a:gd name="connsiteX21" fmla="*/ 194324 w 194323"/>
                <a:gd name="connsiteY21" fmla="*/ 390468 h 400710"/>
                <a:gd name="connsiteX22" fmla="*/ 184592 w 194323"/>
                <a:gd name="connsiteY22" fmla="*/ 394250 h 400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4323" h="400710">
                  <a:moveTo>
                    <a:pt x="184592" y="394092"/>
                  </a:moveTo>
                  <a:cubicBezTo>
                    <a:pt x="180444" y="395353"/>
                    <a:pt x="176136" y="396298"/>
                    <a:pt x="171350" y="397401"/>
                  </a:cubicBezTo>
                  <a:cubicBezTo>
                    <a:pt x="166564" y="398504"/>
                    <a:pt x="161458" y="399135"/>
                    <a:pt x="156193" y="399765"/>
                  </a:cubicBezTo>
                  <a:cubicBezTo>
                    <a:pt x="150928" y="400395"/>
                    <a:pt x="145823" y="400710"/>
                    <a:pt x="141036" y="400710"/>
                  </a:cubicBezTo>
                  <a:cubicBezTo>
                    <a:pt x="110245" y="400710"/>
                    <a:pt x="87590" y="392517"/>
                    <a:pt x="72912" y="375971"/>
                  </a:cubicBezTo>
                  <a:cubicBezTo>
                    <a:pt x="58233" y="359584"/>
                    <a:pt x="50894" y="335790"/>
                    <a:pt x="50894" y="304905"/>
                  </a:cubicBezTo>
                  <a:lnTo>
                    <a:pt x="50894" y="145598"/>
                  </a:lnTo>
                  <a:lnTo>
                    <a:pt x="0" y="145598"/>
                  </a:lnTo>
                  <a:lnTo>
                    <a:pt x="0" y="90605"/>
                  </a:lnTo>
                  <a:lnTo>
                    <a:pt x="50894" y="90605"/>
                  </a:lnTo>
                  <a:lnTo>
                    <a:pt x="50894" y="20957"/>
                  </a:lnTo>
                  <a:lnTo>
                    <a:pt x="120296" y="0"/>
                  </a:lnTo>
                  <a:lnTo>
                    <a:pt x="120296" y="90763"/>
                  </a:lnTo>
                  <a:lnTo>
                    <a:pt x="194164" y="90763"/>
                  </a:lnTo>
                  <a:lnTo>
                    <a:pt x="194164" y="145756"/>
                  </a:lnTo>
                  <a:lnTo>
                    <a:pt x="120296" y="145756"/>
                  </a:lnTo>
                  <a:lnTo>
                    <a:pt x="120296" y="292300"/>
                  </a:lnTo>
                  <a:cubicBezTo>
                    <a:pt x="120296" y="311366"/>
                    <a:pt x="123806" y="324917"/>
                    <a:pt x="130826" y="332954"/>
                  </a:cubicBezTo>
                  <a:cubicBezTo>
                    <a:pt x="137846" y="340990"/>
                    <a:pt x="148695" y="344929"/>
                    <a:pt x="163692" y="344929"/>
                  </a:cubicBezTo>
                  <a:cubicBezTo>
                    <a:pt x="167680" y="344929"/>
                    <a:pt x="172626" y="344141"/>
                    <a:pt x="178848" y="342408"/>
                  </a:cubicBezTo>
                  <a:cubicBezTo>
                    <a:pt x="184911" y="340675"/>
                    <a:pt x="190016" y="338469"/>
                    <a:pt x="194324" y="335790"/>
                  </a:cubicBezTo>
                  <a:lnTo>
                    <a:pt x="194324" y="390468"/>
                  </a:lnTo>
                  <a:cubicBezTo>
                    <a:pt x="191931" y="391886"/>
                    <a:pt x="188740" y="393147"/>
                    <a:pt x="184592" y="394250"/>
                  </a:cubicBezTo>
                  <a:close/>
                </a:path>
              </a:pathLst>
            </a:custGeom>
            <a:solidFill>
              <a:srgbClr val="FFFFFF"/>
            </a:soli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19">
              <a:extLst>
                <a:ext uri="{FF2B5EF4-FFF2-40B4-BE49-F238E27FC236}">
                  <a16:creationId xmlns:a16="http://schemas.microsoft.com/office/drawing/2014/main" id="{26FF36B4-A915-C6AE-4A79-CA4559AAE0FC}"/>
                </a:ext>
              </a:extLst>
            </p:cNvPr>
            <p:cNvSpPr/>
            <p:nvPr/>
          </p:nvSpPr>
          <p:spPr>
            <a:xfrm>
              <a:off x="7295177" y="4761049"/>
              <a:ext cx="261172" cy="438528"/>
            </a:xfrm>
            <a:custGeom>
              <a:avLst/>
              <a:gdLst>
                <a:gd name="connsiteX0" fmla="*/ 261013 w 261172"/>
                <a:gd name="connsiteY0" fmla="*/ 309948 h 438528"/>
                <a:gd name="connsiteX1" fmla="*/ 250005 w 261172"/>
                <a:gd name="connsiteY1" fmla="*/ 362262 h 438528"/>
                <a:gd name="connsiteX2" fmla="*/ 218415 w 261172"/>
                <a:gd name="connsiteY2" fmla="*/ 402916 h 438528"/>
                <a:gd name="connsiteX3" fmla="*/ 168478 w 261172"/>
                <a:gd name="connsiteY3" fmla="*/ 429231 h 438528"/>
                <a:gd name="connsiteX4" fmla="*/ 102267 w 261172"/>
                <a:gd name="connsiteY4" fmla="*/ 438528 h 438528"/>
                <a:gd name="connsiteX5" fmla="*/ 74188 w 261172"/>
                <a:gd name="connsiteY5" fmla="*/ 436952 h 438528"/>
                <a:gd name="connsiteX6" fmla="*/ 45789 w 261172"/>
                <a:gd name="connsiteY6" fmla="*/ 432225 h 438528"/>
                <a:gd name="connsiteX7" fmla="*/ 20102 w 261172"/>
                <a:gd name="connsiteY7" fmla="*/ 424977 h 438528"/>
                <a:gd name="connsiteX8" fmla="*/ 0 w 261172"/>
                <a:gd name="connsiteY8" fmla="*/ 415522 h 438528"/>
                <a:gd name="connsiteX9" fmla="*/ 0 w 261172"/>
                <a:gd name="connsiteY9" fmla="*/ 348238 h 438528"/>
                <a:gd name="connsiteX10" fmla="*/ 24250 w 261172"/>
                <a:gd name="connsiteY10" fmla="*/ 363523 h 438528"/>
                <a:gd name="connsiteX11" fmla="*/ 50894 w 261172"/>
                <a:gd name="connsiteY11" fmla="*/ 374238 h 438528"/>
                <a:gd name="connsiteX12" fmla="*/ 77538 w 261172"/>
                <a:gd name="connsiteY12" fmla="*/ 380541 h 438528"/>
                <a:gd name="connsiteX13" fmla="*/ 101789 w 261172"/>
                <a:gd name="connsiteY13" fmla="*/ 382589 h 438528"/>
                <a:gd name="connsiteX14" fmla="*/ 137846 w 261172"/>
                <a:gd name="connsiteY14" fmla="*/ 377705 h 438528"/>
                <a:gd name="connsiteX15" fmla="*/ 165606 w 261172"/>
                <a:gd name="connsiteY15" fmla="*/ 363838 h 438528"/>
                <a:gd name="connsiteX16" fmla="*/ 183475 w 261172"/>
                <a:gd name="connsiteY16" fmla="*/ 341620 h 438528"/>
                <a:gd name="connsiteX17" fmla="*/ 189857 w 261172"/>
                <a:gd name="connsiteY17" fmla="*/ 311996 h 438528"/>
                <a:gd name="connsiteX18" fmla="*/ 161777 w 261172"/>
                <a:gd name="connsiteY18" fmla="*/ 259367 h 438528"/>
                <a:gd name="connsiteX19" fmla="*/ 81686 w 261172"/>
                <a:gd name="connsiteY19" fmla="*/ 241088 h 438528"/>
                <a:gd name="connsiteX20" fmla="*/ 44353 w 261172"/>
                <a:gd name="connsiteY20" fmla="*/ 241088 h 438528"/>
                <a:gd name="connsiteX21" fmla="*/ 44353 w 261172"/>
                <a:gd name="connsiteY21" fmla="*/ 184677 h 438528"/>
                <a:gd name="connsiteX22" fmla="*/ 79931 w 261172"/>
                <a:gd name="connsiteY22" fmla="*/ 184677 h 438528"/>
                <a:gd name="connsiteX23" fmla="*/ 123167 w 261172"/>
                <a:gd name="connsiteY23" fmla="*/ 179634 h 438528"/>
                <a:gd name="connsiteX24" fmla="*/ 153002 w 261172"/>
                <a:gd name="connsiteY24" fmla="*/ 165768 h 438528"/>
                <a:gd name="connsiteX25" fmla="*/ 170073 w 261172"/>
                <a:gd name="connsiteY25" fmla="*/ 144653 h 438528"/>
                <a:gd name="connsiteX26" fmla="*/ 175498 w 261172"/>
                <a:gd name="connsiteY26" fmla="*/ 118180 h 438528"/>
                <a:gd name="connsiteX27" fmla="*/ 171350 w 261172"/>
                <a:gd name="connsiteY27" fmla="*/ 93756 h 438528"/>
                <a:gd name="connsiteX28" fmla="*/ 158107 w 261172"/>
                <a:gd name="connsiteY28" fmla="*/ 73902 h 438528"/>
                <a:gd name="connsiteX29" fmla="*/ 135133 w 261172"/>
                <a:gd name="connsiteY29" fmla="*/ 60666 h 438528"/>
                <a:gd name="connsiteX30" fmla="*/ 101310 w 261172"/>
                <a:gd name="connsiteY30" fmla="*/ 55781 h 438528"/>
                <a:gd name="connsiteX31" fmla="*/ 54564 w 261172"/>
                <a:gd name="connsiteY31" fmla="*/ 64763 h 438528"/>
                <a:gd name="connsiteX32" fmla="*/ 16433 w 261172"/>
                <a:gd name="connsiteY32" fmla="*/ 86193 h 438528"/>
                <a:gd name="connsiteX33" fmla="*/ 16433 w 261172"/>
                <a:gd name="connsiteY33" fmla="*/ 23794 h 438528"/>
                <a:gd name="connsiteX34" fmla="*/ 32706 w 261172"/>
                <a:gd name="connsiteY34" fmla="*/ 16073 h 438528"/>
                <a:gd name="connsiteX35" fmla="*/ 55681 w 261172"/>
                <a:gd name="connsiteY35" fmla="*/ 8351 h 438528"/>
                <a:gd name="connsiteX36" fmla="*/ 84718 w 261172"/>
                <a:gd name="connsiteY36" fmla="*/ 2364 h 438528"/>
                <a:gd name="connsiteX37" fmla="*/ 119339 w 261172"/>
                <a:gd name="connsiteY37" fmla="*/ 0 h 438528"/>
                <a:gd name="connsiteX38" fmla="*/ 175498 w 261172"/>
                <a:gd name="connsiteY38" fmla="*/ 8667 h 438528"/>
                <a:gd name="connsiteX39" fmla="*/ 215065 w 261172"/>
                <a:gd name="connsiteY39" fmla="*/ 31672 h 438528"/>
                <a:gd name="connsiteX40" fmla="*/ 238358 w 261172"/>
                <a:gd name="connsiteY40" fmla="*/ 64605 h 438528"/>
                <a:gd name="connsiteX41" fmla="*/ 246016 w 261172"/>
                <a:gd name="connsiteY41" fmla="*/ 103368 h 438528"/>
                <a:gd name="connsiteX42" fmla="*/ 241389 w 261172"/>
                <a:gd name="connsiteY42" fmla="*/ 137720 h 438528"/>
                <a:gd name="connsiteX43" fmla="*/ 226392 w 261172"/>
                <a:gd name="connsiteY43" fmla="*/ 167816 h 438528"/>
                <a:gd name="connsiteX44" fmla="*/ 199908 w 261172"/>
                <a:gd name="connsiteY44" fmla="*/ 191925 h 438528"/>
                <a:gd name="connsiteX45" fmla="*/ 160660 w 261172"/>
                <a:gd name="connsiteY45" fmla="*/ 208470 h 438528"/>
                <a:gd name="connsiteX46" fmla="*/ 160660 w 261172"/>
                <a:gd name="connsiteY46" fmla="*/ 209731 h 438528"/>
                <a:gd name="connsiteX47" fmla="*/ 202620 w 261172"/>
                <a:gd name="connsiteY47" fmla="*/ 220761 h 438528"/>
                <a:gd name="connsiteX48" fmla="*/ 234369 w 261172"/>
                <a:gd name="connsiteY48" fmla="*/ 242349 h 438528"/>
                <a:gd name="connsiteX49" fmla="*/ 254312 w 261172"/>
                <a:gd name="connsiteY49" fmla="*/ 272603 h 438528"/>
                <a:gd name="connsiteX50" fmla="*/ 261172 w 261172"/>
                <a:gd name="connsiteY50" fmla="*/ 309475 h 438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61172" h="438528">
                  <a:moveTo>
                    <a:pt x="261013" y="309948"/>
                  </a:moveTo>
                  <a:cubicBezTo>
                    <a:pt x="261013" y="329014"/>
                    <a:pt x="257344" y="346505"/>
                    <a:pt x="250005" y="362262"/>
                  </a:cubicBezTo>
                  <a:cubicBezTo>
                    <a:pt x="242666" y="378020"/>
                    <a:pt x="232136" y="391571"/>
                    <a:pt x="218415" y="402916"/>
                  </a:cubicBezTo>
                  <a:cubicBezTo>
                    <a:pt x="204694" y="414262"/>
                    <a:pt x="188102" y="422928"/>
                    <a:pt x="168478" y="429231"/>
                  </a:cubicBezTo>
                  <a:cubicBezTo>
                    <a:pt x="148854" y="435534"/>
                    <a:pt x="126677" y="438528"/>
                    <a:pt x="102267" y="438528"/>
                  </a:cubicBezTo>
                  <a:cubicBezTo>
                    <a:pt x="93333" y="438528"/>
                    <a:pt x="83920" y="438055"/>
                    <a:pt x="74188" y="436952"/>
                  </a:cubicBezTo>
                  <a:cubicBezTo>
                    <a:pt x="64455" y="435849"/>
                    <a:pt x="54883" y="434274"/>
                    <a:pt x="45789" y="432225"/>
                  </a:cubicBezTo>
                  <a:cubicBezTo>
                    <a:pt x="36695" y="430177"/>
                    <a:pt x="28080" y="427813"/>
                    <a:pt x="20102" y="424977"/>
                  </a:cubicBezTo>
                  <a:cubicBezTo>
                    <a:pt x="12125" y="422298"/>
                    <a:pt x="5424" y="418989"/>
                    <a:pt x="0" y="415522"/>
                  </a:cubicBezTo>
                  <a:lnTo>
                    <a:pt x="0" y="348238"/>
                  </a:lnTo>
                  <a:cubicBezTo>
                    <a:pt x="7339" y="354226"/>
                    <a:pt x="15476" y="359268"/>
                    <a:pt x="24250" y="363523"/>
                  </a:cubicBezTo>
                  <a:cubicBezTo>
                    <a:pt x="33025" y="367935"/>
                    <a:pt x="41960" y="371402"/>
                    <a:pt x="50894" y="374238"/>
                  </a:cubicBezTo>
                  <a:cubicBezTo>
                    <a:pt x="59829" y="377074"/>
                    <a:pt x="68763" y="379280"/>
                    <a:pt x="77538" y="380541"/>
                  </a:cubicBezTo>
                  <a:cubicBezTo>
                    <a:pt x="86313" y="381959"/>
                    <a:pt x="94450" y="382589"/>
                    <a:pt x="101789" y="382589"/>
                  </a:cubicBezTo>
                  <a:cubicBezTo>
                    <a:pt x="114871" y="382589"/>
                    <a:pt x="126997" y="381014"/>
                    <a:pt x="137846" y="377705"/>
                  </a:cubicBezTo>
                  <a:cubicBezTo>
                    <a:pt x="148694" y="374396"/>
                    <a:pt x="157948" y="369826"/>
                    <a:pt x="165606" y="363838"/>
                  </a:cubicBezTo>
                  <a:cubicBezTo>
                    <a:pt x="173264" y="357850"/>
                    <a:pt x="179327" y="350444"/>
                    <a:pt x="183475" y="341620"/>
                  </a:cubicBezTo>
                  <a:cubicBezTo>
                    <a:pt x="187783" y="332796"/>
                    <a:pt x="189857" y="323026"/>
                    <a:pt x="189857" y="311996"/>
                  </a:cubicBezTo>
                  <a:cubicBezTo>
                    <a:pt x="189857" y="289148"/>
                    <a:pt x="180444" y="271657"/>
                    <a:pt x="161777" y="259367"/>
                  </a:cubicBezTo>
                  <a:cubicBezTo>
                    <a:pt x="142951" y="247233"/>
                    <a:pt x="116307" y="241088"/>
                    <a:pt x="81686" y="241088"/>
                  </a:cubicBezTo>
                  <a:lnTo>
                    <a:pt x="44353" y="241088"/>
                  </a:lnTo>
                  <a:lnTo>
                    <a:pt x="44353" y="184677"/>
                  </a:lnTo>
                  <a:lnTo>
                    <a:pt x="79931" y="184677"/>
                  </a:lnTo>
                  <a:cubicBezTo>
                    <a:pt x="96683" y="184677"/>
                    <a:pt x="111042" y="182943"/>
                    <a:pt x="123167" y="179634"/>
                  </a:cubicBezTo>
                  <a:cubicBezTo>
                    <a:pt x="135293" y="176325"/>
                    <a:pt x="145184" y="171598"/>
                    <a:pt x="153002" y="165768"/>
                  </a:cubicBezTo>
                  <a:cubicBezTo>
                    <a:pt x="160820" y="159938"/>
                    <a:pt x="166404" y="152847"/>
                    <a:pt x="170073" y="144653"/>
                  </a:cubicBezTo>
                  <a:cubicBezTo>
                    <a:pt x="173743" y="136459"/>
                    <a:pt x="175498" y="127635"/>
                    <a:pt x="175498" y="118180"/>
                  </a:cubicBezTo>
                  <a:cubicBezTo>
                    <a:pt x="175498" y="109514"/>
                    <a:pt x="174062" y="101320"/>
                    <a:pt x="171350" y="93756"/>
                  </a:cubicBezTo>
                  <a:cubicBezTo>
                    <a:pt x="168637" y="86193"/>
                    <a:pt x="164170" y="79575"/>
                    <a:pt x="158107" y="73902"/>
                  </a:cubicBezTo>
                  <a:cubicBezTo>
                    <a:pt x="152045" y="68229"/>
                    <a:pt x="144387" y="63817"/>
                    <a:pt x="135133" y="60666"/>
                  </a:cubicBezTo>
                  <a:cubicBezTo>
                    <a:pt x="125880" y="57514"/>
                    <a:pt x="114552" y="55781"/>
                    <a:pt x="101310" y="55781"/>
                  </a:cubicBezTo>
                  <a:cubicBezTo>
                    <a:pt x="84718" y="55781"/>
                    <a:pt x="69082" y="58775"/>
                    <a:pt x="54564" y="64763"/>
                  </a:cubicBezTo>
                  <a:cubicBezTo>
                    <a:pt x="39886" y="70751"/>
                    <a:pt x="27122" y="77842"/>
                    <a:pt x="16433" y="86193"/>
                  </a:cubicBezTo>
                  <a:lnTo>
                    <a:pt x="16433" y="23794"/>
                  </a:lnTo>
                  <a:cubicBezTo>
                    <a:pt x="20581" y="21430"/>
                    <a:pt x="26005" y="18909"/>
                    <a:pt x="32706" y="16073"/>
                  </a:cubicBezTo>
                  <a:cubicBezTo>
                    <a:pt x="39407" y="13394"/>
                    <a:pt x="47065" y="10715"/>
                    <a:pt x="55681" y="8351"/>
                  </a:cubicBezTo>
                  <a:cubicBezTo>
                    <a:pt x="64296" y="5988"/>
                    <a:pt x="74028" y="4097"/>
                    <a:pt x="84718" y="2364"/>
                  </a:cubicBezTo>
                  <a:cubicBezTo>
                    <a:pt x="95407" y="788"/>
                    <a:pt x="106894" y="0"/>
                    <a:pt x="119339" y="0"/>
                  </a:cubicBezTo>
                  <a:cubicBezTo>
                    <a:pt x="140877" y="0"/>
                    <a:pt x="159703" y="2994"/>
                    <a:pt x="175498" y="8667"/>
                  </a:cubicBezTo>
                  <a:cubicBezTo>
                    <a:pt x="191452" y="14497"/>
                    <a:pt x="204694" y="22218"/>
                    <a:pt x="215065" y="31672"/>
                  </a:cubicBezTo>
                  <a:cubicBezTo>
                    <a:pt x="225595" y="41284"/>
                    <a:pt x="233252" y="52157"/>
                    <a:pt x="238358" y="64605"/>
                  </a:cubicBezTo>
                  <a:cubicBezTo>
                    <a:pt x="243463" y="77054"/>
                    <a:pt x="246016" y="89975"/>
                    <a:pt x="246016" y="103368"/>
                  </a:cubicBezTo>
                  <a:cubicBezTo>
                    <a:pt x="246016" y="115344"/>
                    <a:pt x="244421" y="126847"/>
                    <a:pt x="241389" y="137720"/>
                  </a:cubicBezTo>
                  <a:cubicBezTo>
                    <a:pt x="238358" y="148592"/>
                    <a:pt x="233252" y="158677"/>
                    <a:pt x="226392" y="167816"/>
                  </a:cubicBezTo>
                  <a:cubicBezTo>
                    <a:pt x="219532" y="176955"/>
                    <a:pt x="210757" y="184992"/>
                    <a:pt x="199908" y="191925"/>
                  </a:cubicBezTo>
                  <a:cubicBezTo>
                    <a:pt x="189219" y="198858"/>
                    <a:pt x="176136" y="204373"/>
                    <a:pt x="160660" y="208470"/>
                  </a:cubicBezTo>
                  <a:lnTo>
                    <a:pt x="160660" y="209731"/>
                  </a:lnTo>
                  <a:cubicBezTo>
                    <a:pt x="176136" y="211464"/>
                    <a:pt x="190176" y="215246"/>
                    <a:pt x="202620" y="220761"/>
                  </a:cubicBezTo>
                  <a:cubicBezTo>
                    <a:pt x="215065" y="226276"/>
                    <a:pt x="225595" y="233525"/>
                    <a:pt x="234369" y="242349"/>
                  </a:cubicBezTo>
                  <a:cubicBezTo>
                    <a:pt x="242985" y="251173"/>
                    <a:pt x="249685" y="261258"/>
                    <a:pt x="254312" y="272603"/>
                  </a:cubicBezTo>
                  <a:cubicBezTo>
                    <a:pt x="258939" y="284106"/>
                    <a:pt x="261172" y="296396"/>
                    <a:pt x="261172" y="309475"/>
                  </a:cubicBezTo>
                  <a:close/>
                </a:path>
              </a:pathLst>
            </a:custGeom>
            <a:solidFill>
              <a:srgbClr val="FFFFFF"/>
            </a:soli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20">
              <a:extLst>
                <a:ext uri="{FF2B5EF4-FFF2-40B4-BE49-F238E27FC236}">
                  <a16:creationId xmlns:a16="http://schemas.microsoft.com/office/drawing/2014/main" id="{E12EE98E-AE7D-FC2F-826A-5C1A0D58B2FC}"/>
                </a:ext>
              </a:extLst>
            </p:cNvPr>
            <p:cNvSpPr/>
            <p:nvPr/>
          </p:nvSpPr>
          <p:spPr>
            <a:xfrm>
              <a:off x="7631494" y="4761521"/>
              <a:ext cx="288294" cy="438055"/>
            </a:xfrm>
            <a:custGeom>
              <a:avLst/>
              <a:gdLst>
                <a:gd name="connsiteX0" fmla="*/ 287976 w 288294"/>
                <a:gd name="connsiteY0" fmla="*/ 294348 h 438055"/>
                <a:gd name="connsiteX1" fmla="*/ 277287 w 288294"/>
                <a:gd name="connsiteY1" fmla="*/ 352493 h 438055"/>
                <a:gd name="connsiteX2" fmla="*/ 247771 w 288294"/>
                <a:gd name="connsiteY2" fmla="*/ 397874 h 438055"/>
                <a:gd name="connsiteX3" fmla="*/ 203099 w 288294"/>
                <a:gd name="connsiteY3" fmla="*/ 427498 h 438055"/>
                <a:gd name="connsiteX4" fmla="*/ 146939 w 288294"/>
                <a:gd name="connsiteY4" fmla="*/ 438055 h 438055"/>
                <a:gd name="connsiteX5" fmla="*/ 87589 w 288294"/>
                <a:gd name="connsiteY5" fmla="*/ 425607 h 438055"/>
                <a:gd name="connsiteX6" fmla="*/ 41002 w 288294"/>
                <a:gd name="connsiteY6" fmla="*/ 388735 h 438055"/>
                <a:gd name="connsiteX7" fmla="*/ 10689 w 288294"/>
                <a:gd name="connsiteY7" fmla="*/ 327754 h 438055"/>
                <a:gd name="connsiteX8" fmla="*/ 0 w 288294"/>
                <a:gd name="connsiteY8" fmla="*/ 243137 h 438055"/>
                <a:gd name="connsiteX9" fmla="*/ 14199 w 288294"/>
                <a:gd name="connsiteY9" fmla="*/ 138665 h 438055"/>
                <a:gd name="connsiteX10" fmla="*/ 53287 w 288294"/>
                <a:gd name="connsiteY10" fmla="*/ 62557 h 438055"/>
                <a:gd name="connsiteX11" fmla="*/ 111680 w 288294"/>
                <a:gd name="connsiteY11" fmla="*/ 15915 h 438055"/>
                <a:gd name="connsiteX12" fmla="*/ 184113 w 288294"/>
                <a:gd name="connsiteY12" fmla="*/ 0 h 438055"/>
                <a:gd name="connsiteX13" fmla="*/ 228147 w 288294"/>
                <a:gd name="connsiteY13" fmla="*/ 3309 h 438055"/>
                <a:gd name="connsiteX14" fmla="*/ 260216 w 288294"/>
                <a:gd name="connsiteY14" fmla="*/ 12133 h 438055"/>
                <a:gd name="connsiteX15" fmla="*/ 260216 w 288294"/>
                <a:gd name="connsiteY15" fmla="*/ 73902 h 438055"/>
                <a:gd name="connsiteX16" fmla="*/ 227668 w 288294"/>
                <a:gd name="connsiteY16" fmla="*/ 60824 h 438055"/>
                <a:gd name="connsiteX17" fmla="*/ 187942 w 288294"/>
                <a:gd name="connsiteY17" fmla="*/ 55466 h 438055"/>
                <a:gd name="connsiteX18" fmla="*/ 141515 w 288294"/>
                <a:gd name="connsiteY18" fmla="*/ 66023 h 438055"/>
                <a:gd name="connsiteX19" fmla="*/ 104661 w 288294"/>
                <a:gd name="connsiteY19" fmla="*/ 97066 h 438055"/>
                <a:gd name="connsiteX20" fmla="*/ 80410 w 288294"/>
                <a:gd name="connsiteY20" fmla="*/ 147174 h 438055"/>
                <a:gd name="connsiteX21" fmla="*/ 71475 w 288294"/>
                <a:gd name="connsiteY21" fmla="*/ 214616 h 438055"/>
                <a:gd name="connsiteX22" fmla="*/ 73230 w 288294"/>
                <a:gd name="connsiteY22" fmla="*/ 214616 h 438055"/>
                <a:gd name="connsiteX23" fmla="*/ 88865 w 288294"/>
                <a:gd name="connsiteY23" fmla="*/ 194131 h 438055"/>
                <a:gd name="connsiteX24" fmla="*/ 109925 w 288294"/>
                <a:gd name="connsiteY24" fmla="*/ 177901 h 438055"/>
                <a:gd name="connsiteX25" fmla="*/ 135612 w 288294"/>
                <a:gd name="connsiteY25" fmla="*/ 167186 h 438055"/>
                <a:gd name="connsiteX26" fmla="*/ 165606 w 288294"/>
                <a:gd name="connsiteY26" fmla="*/ 163404 h 438055"/>
                <a:gd name="connsiteX27" fmla="*/ 216341 w 288294"/>
                <a:gd name="connsiteY27" fmla="*/ 172386 h 438055"/>
                <a:gd name="connsiteX28" fmla="*/ 254950 w 288294"/>
                <a:gd name="connsiteY28" fmla="*/ 198386 h 438055"/>
                <a:gd name="connsiteX29" fmla="*/ 279680 w 288294"/>
                <a:gd name="connsiteY29" fmla="*/ 239670 h 438055"/>
                <a:gd name="connsiteX30" fmla="*/ 288295 w 288294"/>
                <a:gd name="connsiteY30" fmla="*/ 294663 h 438055"/>
                <a:gd name="connsiteX31" fmla="*/ 217937 w 288294"/>
                <a:gd name="connsiteY31" fmla="*/ 300021 h 438055"/>
                <a:gd name="connsiteX32" fmla="*/ 213629 w 288294"/>
                <a:gd name="connsiteY32" fmla="*/ 266615 h 438055"/>
                <a:gd name="connsiteX33" fmla="*/ 200546 w 288294"/>
                <a:gd name="connsiteY33" fmla="*/ 240773 h 438055"/>
                <a:gd name="connsiteX34" fmla="*/ 178370 w 288294"/>
                <a:gd name="connsiteY34" fmla="*/ 224070 h 438055"/>
                <a:gd name="connsiteX35" fmla="*/ 147099 w 288294"/>
                <a:gd name="connsiteY35" fmla="*/ 218082 h 438055"/>
                <a:gd name="connsiteX36" fmla="*/ 115509 w 288294"/>
                <a:gd name="connsiteY36" fmla="*/ 224385 h 438055"/>
                <a:gd name="connsiteX37" fmla="*/ 92695 w 288294"/>
                <a:gd name="connsiteY37" fmla="*/ 241088 h 438055"/>
                <a:gd name="connsiteX38" fmla="*/ 78815 w 288294"/>
                <a:gd name="connsiteY38" fmla="*/ 264724 h 438055"/>
                <a:gd name="connsiteX39" fmla="*/ 74188 w 288294"/>
                <a:gd name="connsiteY39" fmla="*/ 291827 h 438055"/>
                <a:gd name="connsiteX40" fmla="*/ 78495 w 288294"/>
                <a:gd name="connsiteY40" fmla="*/ 322711 h 438055"/>
                <a:gd name="connsiteX41" fmla="*/ 91738 w 288294"/>
                <a:gd name="connsiteY41" fmla="*/ 351547 h 438055"/>
                <a:gd name="connsiteX42" fmla="*/ 114552 w 288294"/>
                <a:gd name="connsiteY42" fmla="*/ 372977 h 438055"/>
                <a:gd name="connsiteX43" fmla="*/ 147578 w 288294"/>
                <a:gd name="connsiteY43" fmla="*/ 381329 h 438055"/>
                <a:gd name="connsiteX44" fmla="*/ 177731 w 288294"/>
                <a:gd name="connsiteY44" fmla="*/ 375183 h 438055"/>
                <a:gd name="connsiteX45" fmla="*/ 199748 w 288294"/>
                <a:gd name="connsiteY45" fmla="*/ 358008 h 438055"/>
                <a:gd name="connsiteX46" fmla="*/ 213150 w 288294"/>
                <a:gd name="connsiteY46" fmla="*/ 332166 h 438055"/>
                <a:gd name="connsiteX47" fmla="*/ 217777 w 288294"/>
                <a:gd name="connsiteY47" fmla="*/ 299863 h 438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88294" h="438055">
                  <a:moveTo>
                    <a:pt x="287976" y="294348"/>
                  </a:moveTo>
                  <a:cubicBezTo>
                    <a:pt x="287976" y="315621"/>
                    <a:pt x="284466" y="335002"/>
                    <a:pt x="277287" y="352493"/>
                  </a:cubicBezTo>
                  <a:cubicBezTo>
                    <a:pt x="270267" y="369984"/>
                    <a:pt x="260375" y="385111"/>
                    <a:pt x="247771" y="397874"/>
                  </a:cubicBezTo>
                  <a:cubicBezTo>
                    <a:pt x="235167" y="410638"/>
                    <a:pt x="220330" y="420407"/>
                    <a:pt x="203099" y="427498"/>
                  </a:cubicBezTo>
                  <a:cubicBezTo>
                    <a:pt x="185868" y="434431"/>
                    <a:pt x="167201" y="438055"/>
                    <a:pt x="146939" y="438055"/>
                  </a:cubicBezTo>
                  <a:cubicBezTo>
                    <a:pt x="125401" y="438055"/>
                    <a:pt x="105618" y="433959"/>
                    <a:pt x="87589" y="425607"/>
                  </a:cubicBezTo>
                  <a:cubicBezTo>
                    <a:pt x="69561" y="417413"/>
                    <a:pt x="53926" y="404965"/>
                    <a:pt x="41002" y="388735"/>
                  </a:cubicBezTo>
                  <a:cubicBezTo>
                    <a:pt x="27920" y="372347"/>
                    <a:pt x="17869" y="352020"/>
                    <a:pt x="10689" y="327754"/>
                  </a:cubicBezTo>
                  <a:cubicBezTo>
                    <a:pt x="3510" y="303487"/>
                    <a:pt x="0" y="275282"/>
                    <a:pt x="0" y="243137"/>
                  </a:cubicBezTo>
                  <a:cubicBezTo>
                    <a:pt x="0" y="203743"/>
                    <a:pt x="4786" y="168919"/>
                    <a:pt x="14199" y="138665"/>
                  </a:cubicBezTo>
                  <a:cubicBezTo>
                    <a:pt x="23612" y="108411"/>
                    <a:pt x="36695" y="83041"/>
                    <a:pt x="53287" y="62557"/>
                  </a:cubicBezTo>
                  <a:cubicBezTo>
                    <a:pt x="69880" y="42072"/>
                    <a:pt x="89344" y="26472"/>
                    <a:pt x="111680" y="15915"/>
                  </a:cubicBezTo>
                  <a:cubicBezTo>
                    <a:pt x="134016" y="5358"/>
                    <a:pt x="158108" y="0"/>
                    <a:pt x="184113" y="0"/>
                  </a:cubicBezTo>
                  <a:cubicBezTo>
                    <a:pt x="200067" y="0"/>
                    <a:pt x="214745" y="1103"/>
                    <a:pt x="228147" y="3309"/>
                  </a:cubicBezTo>
                  <a:cubicBezTo>
                    <a:pt x="241549" y="5515"/>
                    <a:pt x="252238" y="8509"/>
                    <a:pt x="260216" y="12133"/>
                  </a:cubicBezTo>
                  <a:lnTo>
                    <a:pt x="260216" y="73902"/>
                  </a:lnTo>
                  <a:cubicBezTo>
                    <a:pt x="250164" y="68860"/>
                    <a:pt x="239315" y="64448"/>
                    <a:pt x="227668" y="60824"/>
                  </a:cubicBezTo>
                  <a:cubicBezTo>
                    <a:pt x="215862" y="57199"/>
                    <a:pt x="202620" y="55466"/>
                    <a:pt x="187942" y="55466"/>
                  </a:cubicBezTo>
                  <a:cubicBezTo>
                    <a:pt x="171190" y="55466"/>
                    <a:pt x="155714" y="59090"/>
                    <a:pt x="141515" y="66023"/>
                  </a:cubicBezTo>
                  <a:cubicBezTo>
                    <a:pt x="127315" y="73114"/>
                    <a:pt x="115031" y="83514"/>
                    <a:pt x="104661" y="97066"/>
                  </a:cubicBezTo>
                  <a:cubicBezTo>
                    <a:pt x="94290" y="110617"/>
                    <a:pt x="86153" y="127320"/>
                    <a:pt x="80410" y="147174"/>
                  </a:cubicBezTo>
                  <a:cubicBezTo>
                    <a:pt x="74666" y="167028"/>
                    <a:pt x="71635" y="189404"/>
                    <a:pt x="71475" y="214616"/>
                  </a:cubicBezTo>
                  <a:lnTo>
                    <a:pt x="73230" y="214616"/>
                  </a:lnTo>
                  <a:cubicBezTo>
                    <a:pt x="77379" y="207210"/>
                    <a:pt x="82643" y="200276"/>
                    <a:pt x="88865" y="194131"/>
                  </a:cubicBezTo>
                  <a:cubicBezTo>
                    <a:pt x="95088" y="187986"/>
                    <a:pt x="102108" y="182471"/>
                    <a:pt x="109925" y="177901"/>
                  </a:cubicBezTo>
                  <a:cubicBezTo>
                    <a:pt x="117743" y="173331"/>
                    <a:pt x="126199" y="169707"/>
                    <a:pt x="135612" y="167186"/>
                  </a:cubicBezTo>
                  <a:cubicBezTo>
                    <a:pt x="145025" y="164665"/>
                    <a:pt x="154917" y="163404"/>
                    <a:pt x="165606" y="163404"/>
                  </a:cubicBezTo>
                  <a:cubicBezTo>
                    <a:pt x="184273" y="163404"/>
                    <a:pt x="201184" y="166398"/>
                    <a:pt x="216341" y="172386"/>
                  </a:cubicBezTo>
                  <a:cubicBezTo>
                    <a:pt x="231338" y="178374"/>
                    <a:pt x="244261" y="187040"/>
                    <a:pt x="254950" y="198386"/>
                  </a:cubicBezTo>
                  <a:cubicBezTo>
                    <a:pt x="265640" y="209731"/>
                    <a:pt x="273777" y="223440"/>
                    <a:pt x="279680" y="239670"/>
                  </a:cubicBezTo>
                  <a:cubicBezTo>
                    <a:pt x="285423" y="255900"/>
                    <a:pt x="288295" y="274179"/>
                    <a:pt x="288295" y="294663"/>
                  </a:cubicBezTo>
                  <a:close/>
                  <a:moveTo>
                    <a:pt x="217937" y="300021"/>
                  </a:moveTo>
                  <a:cubicBezTo>
                    <a:pt x="217937" y="287888"/>
                    <a:pt x="216500" y="276700"/>
                    <a:pt x="213629" y="266615"/>
                  </a:cubicBezTo>
                  <a:cubicBezTo>
                    <a:pt x="210757" y="256530"/>
                    <a:pt x="206290" y="248021"/>
                    <a:pt x="200546" y="240773"/>
                  </a:cubicBezTo>
                  <a:cubicBezTo>
                    <a:pt x="194643" y="233525"/>
                    <a:pt x="187304" y="228009"/>
                    <a:pt x="178370" y="224070"/>
                  </a:cubicBezTo>
                  <a:cubicBezTo>
                    <a:pt x="169435" y="220131"/>
                    <a:pt x="159065" y="218082"/>
                    <a:pt x="147099" y="218082"/>
                  </a:cubicBezTo>
                  <a:cubicBezTo>
                    <a:pt x="135133" y="218082"/>
                    <a:pt x="124603" y="220131"/>
                    <a:pt x="115509" y="224385"/>
                  </a:cubicBezTo>
                  <a:cubicBezTo>
                    <a:pt x="106415" y="228640"/>
                    <a:pt x="98758" y="234155"/>
                    <a:pt x="92695" y="241088"/>
                  </a:cubicBezTo>
                  <a:cubicBezTo>
                    <a:pt x="86472" y="248021"/>
                    <a:pt x="81846" y="255900"/>
                    <a:pt x="78815" y="264724"/>
                  </a:cubicBezTo>
                  <a:cubicBezTo>
                    <a:pt x="75783" y="273548"/>
                    <a:pt x="74188" y="282688"/>
                    <a:pt x="74188" y="291827"/>
                  </a:cubicBezTo>
                  <a:cubicBezTo>
                    <a:pt x="74188" y="301912"/>
                    <a:pt x="75623" y="312154"/>
                    <a:pt x="78495" y="322711"/>
                  </a:cubicBezTo>
                  <a:cubicBezTo>
                    <a:pt x="81367" y="333269"/>
                    <a:pt x="85835" y="342881"/>
                    <a:pt x="91738" y="351547"/>
                  </a:cubicBezTo>
                  <a:cubicBezTo>
                    <a:pt x="97800" y="360214"/>
                    <a:pt x="105299" y="367305"/>
                    <a:pt x="114552" y="372977"/>
                  </a:cubicBezTo>
                  <a:cubicBezTo>
                    <a:pt x="123805" y="378650"/>
                    <a:pt x="134814" y="381329"/>
                    <a:pt x="147578" y="381329"/>
                  </a:cubicBezTo>
                  <a:cubicBezTo>
                    <a:pt x="158905" y="381329"/>
                    <a:pt x="168957" y="379280"/>
                    <a:pt x="177731" y="375183"/>
                  </a:cubicBezTo>
                  <a:cubicBezTo>
                    <a:pt x="186506" y="371087"/>
                    <a:pt x="193845" y="365414"/>
                    <a:pt x="199748" y="358008"/>
                  </a:cubicBezTo>
                  <a:cubicBezTo>
                    <a:pt x="205651" y="350759"/>
                    <a:pt x="210119" y="342093"/>
                    <a:pt x="213150" y="332166"/>
                  </a:cubicBezTo>
                  <a:cubicBezTo>
                    <a:pt x="216181" y="322239"/>
                    <a:pt x="217777" y="311524"/>
                    <a:pt x="217777" y="299863"/>
                  </a:cubicBezTo>
                  <a:close/>
                </a:path>
              </a:pathLst>
            </a:custGeom>
            <a:solidFill>
              <a:srgbClr val="FFFFFF"/>
            </a:soli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21">
              <a:extLst>
                <a:ext uri="{FF2B5EF4-FFF2-40B4-BE49-F238E27FC236}">
                  <a16:creationId xmlns:a16="http://schemas.microsoft.com/office/drawing/2014/main" id="{A0E85776-57B7-FC04-6517-DCC66B816D8E}"/>
                </a:ext>
              </a:extLst>
            </p:cNvPr>
            <p:cNvSpPr/>
            <p:nvPr/>
          </p:nvSpPr>
          <p:spPr>
            <a:xfrm>
              <a:off x="7998445" y="4768455"/>
              <a:ext cx="254950" cy="430964"/>
            </a:xfrm>
            <a:custGeom>
              <a:avLst/>
              <a:gdLst>
                <a:gd name="connsiteX0" fmla="*/ 254950 w 254950"/>
                <a:gd name="connsiteY0" fmla="*/ 290409 h 430964"/>
                <a:gd name="connsiteX1" fmla="*/ 244899 w 254950"/>
                <a:gd name="connsiteY1" fmla="*/ 344614 h 430964"/>
                <a:gd name="connsiteX2" fmla="*/ 214905 w 254950"/>
                <a:gd name="connsiteY2" fmla="*/ 389365 h 430964"/>
                <a:gd name="connsiteX3" fmla="*/ 165287 w 254950"/>
                <a:gd name="connsiteY3" fmla="*/ 419777 h 430964"/>
                <a:gd name="connsiteX4" fmla="*/ 96045 w 254950"/>
                <a:gd name="connsiteY4" fmla="*/ 430965 h 430964"/>
                <a:gd name="connsiteX5" fmla="*/ 65253 w 254950"/>
                <a:gd name="connsiteY5" fmla="*/ 429231 h 430964"/>
                <a:gd name="connsiteX6" fmla="*/ 37812 w 254950"/>
                <a:gd name="connsiteY6" fmla="*/ 424662 h 430964"/>
                <a:gd name="connsiteX7" fmla="*/ 15316 w 254950"/>
                <a:gd name="connsiteY7" fmla="*/ 418516 h 430964"/>
                <a:gd name="connsiteX8" fmla="*/ 0 w 254950"/>
                <a:gd name="connsiteY8" fmla="*/ 412213 h 430964"/>
                <a:gd name="connsiteX9" fmla="*/ 0 w 254950"/>
                <a:gd name="connsiteY9" fmla="*/ 346347 h 430964"/>
                <a:gd name="connsiteX10" fmla="*/ 41800 w 254950"/>
                <a:gd name="connsiteY10" fmla="*/ 366674 h 430964"/>
                <a:gd name="connsiteX11" fmla="*/ 93014 w 254950"/>
                <a:gd name="connsiteY11" fmla="*/ 375183 h 430964"/>
                <a:gd name="connsiteX12" fmla="*/ 131145 w 254950"/>
                <a:gd name="connsiteY12" fmla="*/ 369353 h 430964"/>
                <a:gd name="connsiteX13" fmla="*/ 159862 w 254950"/>
                <a:gd name="connsiteY13" fmla="*/ 352966 h 430964"/>
                <a:gd name="connsiteX14" fmla="*/ 177891 w 254950"/>
                <a:gd name="connsiteY14" fmla="*/ 327596 h 430964"/>
                <a:gd name="connsiteX15" fmla="*/ 184113 w 254950"/>
                <a:gd name="connsiteY15" fmla="*/ 294821 h 430964"/>
                <a:gd name="connsiteX16" fmla="*/ 178051 w 254950"/>
                <a:gd name="connsiteY16" fmla="*/ 265197 h 430964"/>
                <a:gd name="connsiteX17" fmla="*/ 159703 w 254950"/>
                <a:gd name="connsiteY17" fmla="*/ 241088 h 430964"/>
                <a:gd name="connsiteX18" fmla="*/ 128273 w 254950"/>
                <a:gd name="connsiteY18" fmla="*/ 225016 h 430964"/>
                <a:gd name="connsiteX19" fmla="*/ 82962 w 254950"/>
                <a:gd name="connsiteY19" fmla="*/ 219028 h 430964"/>
                <a:gd name="connsiteX20" fmla="*/ 62701 w 254950"/>
                <a:gd name="connsiteY20" fmla="*/ 219658 h 430964"/>
                <a:gd name="connsiteX21" fmla="*/ 43396 w 254950"/>
                <a:gd name="connsiteY21" fmla="*/ 220919 h 430964"/>
                <a:gd name="connsiteX22" fmla="*/ 26484 w 254950"/>
                <a:gd name="connsiteY22" fmla="*/ 222179 h 430964"/>
                <a:gd name="connsiteX23" fmla="*/ 13242 w 254950"/>
                <a:gd name="connsiteY23" fmla="*/ 223125 h 430964"/>
                <a:gd name="connsiteX24" fmla="*/ 13242 w 254950"/>
                <a:gd name="connsiteY24" fmla="*/ 0 h 430964"/>
                <a:gd name="connsiteX25" fmla="*/ 235486 w 254950"/>
                <a:gd name="connsiteY25" fmla="*/ 0 h 430964"/>
                <a:gd name="connsiteX26" fmla="*/ 235486 w 254950"/>
                <a:gd name="connsiteY26" fmla="*/ 59405 h 430964"/>
                <a:gd name="connsiteX27" fmla="*/ 76900 w 254950"/>
                <a:gd name="connsiteY27" fmla="*/ 59405 h 430964"/>
                <a:gd name="connsiteX28" fmla="*/ 76900 w 254950"/>
                <a:gd name="connsiteY28" fmla="*/ 163404 h 430964"/>
                <a:gd name="connsiteX29" fmla="*/ 93014 w 254950"/>
                <a:gd name="connsiteY29" fmla="*/ 162459 h 430964"/>
                <a:gd name="connsiteX30" fmla="*/ 110085 w 254950"/>
                <a:gd name="connsiteY30" fmla="*/ 162144 h 430964"/>
                <a:gd name="connsiteX31" fmla="*/ 174381 w 254950"/>
                <a:gd name="connsiteY31" fmla="*/ 172386 h 430964"/>
                <a:gd name="connsiteX32" fmla="*/ 219372 w 254950"/>
                <a:gd name="connsiteY32" fmla="*/ 199961 h 430964"/>
                <a:gd name="connsiteX33" fmla="*/ 245857 w 254950"/>
                <a:gd name="connsiteY33" fmla="*/ 240773 h 430964"/>
                <a:gd name="connsiteX34" fmla="*/ 254472 w 254950"/>
                <a:gd name="connsiteY34" fmla="*/ 290409 h 430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54950" h="430964">
                  <a:moveTo>
                    <a:pt x="254950" y="290409"/>
                  </a:moveTo>
                  <a:cubicBezTo>
                    <a:pt x="254950" y="309475"/>
                    <a:pt x="251600" y="327596"/>
                    <a:pt x="244899" y="344614"/>
                  </a:cubicBezTo>
                  <a:cubicBezTo>
                    <a:pt x="238198" y="361632"/>
                    <a:pt x="228307" y="376602"/>
                    <a:pt x="214905" y="389365"/>
                  </a:cubicBezTo>
                  <a:cubicBezTo>
                    <a:pt x="201663" y="402129"/>
                    <a:pt x="185071" y="412371"/>
                    <a:pt x="165287" y="419777"/>
                  </a:cubicBezTo>
                  <a:cubicBezTo>
                    <a:pt x="145504" y="427183"/>
                    <a:pt x="122370" y="430965"/>
                    <a:pt x="96045" y="430965"/>
                  </a:cubicBezTo>
                  <a:cubicBezTo>
                    <a:pt x="85515" y="430965"/>
                    <a:pt x="75145" y="430334"/>
                    <a:pt x="65253" y="429231"/>
                  </a:cubicBezTo>
                  <a:cubicBezTo>
                    <a:pt x="55362" y="428128"/>
                    <a:pt x="46108" y="426553"/>
                    <a:pt x="37812" y="424662"/>
                  </a:cubicBezTo>
                  <a:cubicBezTo>
                    <a:pt x="29516" y="422771"/>
                    <a:pt x="22017" y="420722"/>
                    <a:pt x="15316" y="418516"/>
                  </a:cubicBezTo>
                  <a:cubicBezTo>
                    <a:pt x="8775" y="416310"/>
                    <a:pt x="3669" y="414104"/>
                    <a:pt x="0" y="412213"/>
                  </a:cubicBezTo>
                  <a:lnTo>
                    <a:pt x="0" y="346347"/>
                  </a:lnTo>
                  <a:cubicBezTo>
                    <a:pt x="11806" y="354226"/>
                    <a:pt x="25686" y="361002"/>
                    <a:pt x="41800" y="366674"/>
                  </a:cubicBezTo>
                  <a:cubicBezTo>
                    <a:pt x="57914" y="372347"/>
                    <a:pt x="74985" y="375183"/>
                    <a:pt x="93014" y="375183"/>
                  </a:cubicBezTo>
                  <a:cubicBezTo>
                    <a:pt x="107213" y="375183"/>
                    <a:pt x="119817" y="373293"/>
                    <a:pt x="131145" y="369353"/>
                  </a:cubicBezTo>
                  <a:cubicBezTo>
                    <a:pt x="142472" y="365414"/>
                    <a:pt x="152045" y="360056"/>
                    <a:pt x="159862" y="352966"/>
                  </a:cubicBezTo>
                  <a:cubicBezTo>
                    <a:pt x="167680" y="345875"/>
                    <a:pt x="173743" y="337366"/>
                    <a:pt x="177891" y="327596"/>
                  </a:cubicBezTo>
                  <a:cubicBezTo>
                    <a:pt x="182039" y="317827"/>
                    <a:pt x="184113" y="306796"/>
                    <a:pt x="184113" y="294821"/>
                  </a:cubicBezTo>
                  <a:cubicBezTo>
                    <a:pt x="184113" y="284421"/>
                    <a:pt x="182039" y="274494"/>
                    <a:pt x="178051" y="265197"/>
                  </a:cubicBezTo>
                  <a:cubicBezTo>
                    <a:pt x="174062" y="255900"/>
                    <a:pt x="167999" y="247864"/>
                    <a:pt x="159703" y="241088"/>
                  </a:cubicBezTo>
                  <a:cubicBezTo>
                    <a:pt x="151407" y="234312"/>
                    <a:pt x="140877" y="228955"/>
                    <a:pt x="128273" y="225016"/>
                  </a:cubicBezTo>
                  <a:cubicBezTo>
                    <a:pt x="115669" y="221076"/>
                    <a:pt x="100512" y="219028"/>
                    <a:pt x="82962" y="219028"/>
                  </a:cubicBezTo>
                  <a:cubicBezTo>
                    <a:pt x="76102" y="219028"/>
                    <a:pt x="69402" y="219185"/>
                    <a:pt x="62701" y="219658"/>
                  </a:cubicBezTo>
                  <a:cubicBezTo>
                    <a:pt x="55840" y="220131"/>
                    <a:pt x="49459" y="220446"/>
                    <a:pt x="43396" y="220919"/>
                  </a:cubicBezTo>
                  <a:cubicBezTo>
                    <a:pt x="37333" y="221391"/>
                    <a:pt x="31749" y="221864"/>
                    <a:pt x="26484" y="222179"/>
                  </a:cubicBezTo>
                  <a:cubicBezTo>
                    <a:pt x="21379" y="222652"/>
                    <a:pt x="16912" y="222809"/>
                    <a:pt x="13242" y="223125"/>
                  </a:cubicBezTo>
                  <a:lnTo>
                    <a:pt x="13242" y="0"/>
                  </a:lnTo>
                  <a:lnTo>
                    <a:pt x="235486" y="0"/>
                  </a:lnTo>
                  <a:lnTo>
                    <a:pt x="235486" y="59405"/>
                  </a:lnTo>
                  <a:lnTo>
                    <a:pt x="76900" y="59405"/>
                  </a:lnTo>
                  <a:lnTo>
                    <a:pt x="76900" y="163404"/>
                  </a:lnTo>
                  <a:cubicBezTo>
                    <a:pt x="81527" y="163089"/>
                    <a:pt x="86792" y="162774"/>
                    <a:pt x="93014" y="162459"/>
                  </a:cubicBezTo>
                  <a:cubicBezTo>
                    <a:pt x="99236" y="162301"/>
                    <a:pt x="104820" y="162144"/>
                    <a:pt x="110085" y="162144"/>
                  </a:cubicBezTo>
                  <a:cubicBezTo>
                    <a:pt x="134814" y="162144"/>
                    <a:pt x="156193" y="165610"/>
                    <a:pt x="174381" y="172386"/>
                  </a:cubicBezTo>
                  <a:cubicBezTo>
                    <a:pt x="192569" y="179162"/>
                    <a:pt x="207566" y="188458"/>
                    <a:pt x="219372" y="199961"/>
                  </a:cubicBezTo>
                  <a:cubicBezTo>
                    <a:pt x="231178" y="211622"/>
                    <a:pt x="240113" y="225173"/>
                    <a:pt x="245857" y="240773"/>
                  </a:cubicBezTo>
                  <a:cubicBezTo>
                    <a:pt x="251600" y="256373"/>
                    <a:pt x="254472" y="272918"/>
                    <a:pt x="254472" y="290409"/>
                  </a:cubicBezTo>
                  <a:close/>
                </a:path>
              </a:pathLst>
            </a:custGeom>
            <a:solidFill>
              <a:srgbClr val="FFFFFF"/>
            </a:soli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nvGrpSpPr>
            <p:cNvPr id="23" name="Group 22">
              <a:extLst>
                <a:ext uri="{FF2B5EF4-FFF2-40B4-BE49-F238E27FC236}">
                  <a16:creationId xmlns:a16="http://schemas.microsoft.com/office/drawing/2014/main" id="{1B28085A-E2F9-2F35-941B-1F8E2FB675AA}"/>
                </a:ext>
              </a:extLst>
            </p:cNvPr>
            <p:cNvGrpSpPr/>
            <p:nvPr/>
          </p:nvGrpSpPr>
          <p:grpSpPr>
            <a:xfrm>
              <a:off x="4404407" y="5333357"/>
              <a:ext cx="3834310" cy="260312"/>
              <a:chOff x="4404407" y="5333357"/>
              <a:chExt cx="3834310" cy="260312"/>
            </a:xfrm>
          </p:grpSpPr>
          <p:sp>
            <p:nvSpPr>
              <p:cNvPr id="27" name="Freeform 26">
                <a:extLst>
                  <a:ext uri="{FF2B5EF4-FFF2-40B4-BE49-F238E27FC236}">
                    <a16:creationId xmlns:a16="http://schemas.microsoft.com/office/drawing/2014/main" id="{E757CEE5-0767-CF47-4300-5F00B3634FDA}"/>
                  </a:ext>
                </a:extLst>
              </p:cNvPr>
              <p:cNvSpPr/>
              <p:nvPr/>
            </p:nvSpPr>
            <p:spPr>
              <a:xfrm>
                <a:off x="4404407" y="5333357"/>
                <a:ext cx="147258" cy="260312"/>
              </a:xfrm>
              <a:custGeom>
                <a:avLst/>
                <a:gdLst>
                  <a:gd name="connsiteX0" fmla="*/ 147259 w 147258"/>
                  <a:gd name="connsiteY0" fmla="*/ 248336 h 260312"/>
                  <a:gd name="connsiteX1" fmla="*/ 98598 w 147258"/>
                  <a:gd name="connsiteY1" fmla="*/ 260312 h 260312"/>
                  <a:gd name="connsiteX2" fmla="*/ 26484 w 147258"/>
                  <a:gd name="connsiteY2" fmla="*/ 226906 h 260312"/>
                  <a:gd name="connsiteX3" fmla="*/ 0 w 147258"/>
                  <a:gd name="connsiteY3" fmla="*/ 135829 h 260312"/>
                  <a:gd name="connsiteX4" fmla="*/ 27282 w 147258"/>
                  <a:gd name="connsiteY4" fmla="*/ 35139 h 260312"/>
                  <a:gd name="connsiteX5" fmla="*/ 104341 w 147258"/>
                  <a:gd name="connsiteY5" fmla="*/ 0 h 260312"/>
                  <a:gd name="connsiteX6" fmla="*/ 147099 w 147258"/>
                  <a:gd name="connsiteY6" fmla="*/ 8667 h 260312"/>
                  <a:gd name="connsiteX7" fmla="*/ 147099 w 147258"/>
                  <a:gd name="connsiteY7" fmla="*/ 55624 h 260312"/>
                  <a:gd name="connsiteX8" fmla="*/ 107054 w 147258"/>
                  <a:gd name="connsiteY8" fmla="*/ 42230 h 260312"/>
                  <a:gd name="connsiteX9" fmla="*/ 65732 w 147258"/>
                  <a:gd name="connsiteY9" fmla="*/ 66181 h 260312"/>
                  <a:gd name="connsiteX10" fmla="*/ 50575 w 147258"/>
                  <a:gd name="connsiteY10" fmla="*/ 131417 h 260312"/>
                  <a:gd name="connsiteX11" fmla="*/ 64934 w 147258"/>
                  <a:gd name="connsiteY11" fmla="*/ 194919 h 260312"/>
                  <a:gd name="connsiteX12" fmla="*/ 104820 w 147258"/>
                  <a:gd name="connsiteY12" fmla="*/ 217767 h 260312"/>
                  <a:gd name="connsiteX13" fmla="*/ 146940 w 147258"/>
                  <a:gd name="connsiteY13" fmla="*/ 203428 h 260312"/>
                  <a:gd name="connsiteX14" fmla="*/ 146940 w 147258"/>
                  <a:gd name="connsiteY14" fmla="*/ 248336 h 260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7258" h="260312">
                    <a:moveTo>
                      <a:pt x="147259" y="248336"/>
                    </a:moveTo>
                    <a:cubicBezTo>
                      <a:pt x="133059" y="256215"/>
                      <a:pt x="116786" y="260312"/>
                      <a:pt x="98598" y="260312"/>
                    </a:cubicBezTo>
                    <a:cubicBezTo>
                      <a:pt x="68125" y="260312"/>
                      <a:pt x="44194" y="249124"/>
                      <a:pt x="26484" y="226906"/>
                    </a:cubicBezTo>
                    <a:cubicBezTo>
                      <a:pt x="8775" y="204689"/>
                      <a:pt x="0" y="174277"/>
                      <a:pt x="0" y="135829"/>
                    </a:cubicBezTo>
                    <a:cubicBezTo>
                      <a:pt x="0" y="92181"/>
                      <a:pt x="9094" y="58460"/>
                      <a:pt x="27282" y="35139"/>
                    </a:cubicBezTo>
                    <a:cubicBezTo>
                      <a:pt x="45470" y="11818"/>
                      <a:pt x="71156" y="0"/>
                      <a:pt x="104341" y="0"/>
                    </a:cubicBezTo>
                    <a:cubicBezTo>
                      <a:pt x="119817" y="0"/>
                      <a:pt x="134176" y="2836"/>
                      <a:pt x="147099" y="8667"/>
                    </a:cubicBezTo>
                    <a:lnTo>
                      <a:pt x="147099" y="55624"/>
                    </a:lnTo>
                    <a:cubicBezTo>
                      <a:pt x="134974" y="46799"/>
                      <a:pt x="121732" y="42230"/>
                      <a:pt x="107054" y="42230"/>
                    </a:cubicBezTo>
                    <a:cubicBezTo>
                      <a:pt x="89504" y="42230"/>
                      <a:pt x="75783" y="50266"/>
                      <a:pt x="65732" y="66181"/>
                    </a:cubicBezTo>
                    <a:cubicBezTo>
                      <a:pt x="55681" y="82096"/>
                      <a:pt x="50575" y="103841"/>
                      <a:pt x="50575" y="131417"/>
                    </a:cubicBezTo>
                    <a:cubicBezTo>
                      <a:pt x="50575" y="158992"/>
                      <a:pt x="55362" y="179792"/>
                      <a:pt x="64934" y="194919"/>
                    </a:cubicBezTo>
                    <a:cubicBezTo>
                      <a:pt x="74507" y="210046"/>
                      <a:pt x="87908" y="217767"/>
                      <a:pt x="104820" y="217767"/>
                    </a:cubicBezTo>
                    <a:cubicBezTo>
                      <a:pt x="119498" y="217767"/>
                      <a:pt x="133538" y="213040"/>
                      <a:pt x="146940" y="203428"/>
                    </a:cubicBezTo>
                    <a:lnTo>
                      <a:pt x="146940" y="248336"/>
                    </a:lnTo>
                    <a:close/>
                  </a:path>
                </a:pathLst>
              </a:custGeom>
              <a:solidFill>
                <a:srgbClr val="FFFFFF"/>
              </a:soli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8" name="Freeform 27">
                <a:extLst>
                  <a:ext uri="{FF2B5EF4-FFF2-40B4-BE49-F238E27FC236}">
                    <a16:creationId xmlns:a16="http://schemas.microsoft.com/office/drawing/2014/main" id="{C3A51D03-2184-9BDE-6B3B-86832A9ABA31}"/>
                  </a:ext>
                </a:extLst>
              </p:cNvPr>
              <p:cNvSpPr/>
              <p:nvPr/>
            </p:nvSpPr>
            <p:spPr>
              <a:xfrm>
                <a:off x="4584053" y="5333357"/>
                <a:ext cx="182198" cy="260154"/>
              </a:xfrm>
              <a:custGeom>
                <a:avLst/>
                <a:gdLst>
                  <a:gd name="connsiteX0" fmla="*/ 90302 w 182198"/>
                  <a:gd name="connsiteY0" fmla="*/ 260154 h 260154"/>
                  <a:gd name="connsiteX1" fmla="*/ 23613 w 182198"/>
                  <a:gd name="connsiteY1" fmla="*/ 226749 h 260154"/>
                  <a:gd name="connsiteX2" fmla="*/ 0 w 182198"/>
                  <a:gd name="connsiteY2" fmla="*/ 133308 h 260154"/>
                  <a:gd name="connsiteX3" fmla="*/ 24251 w 182198"/>
                  <a:gd name="connsiteY3" fmla="*/ 34981 h 260154"/>
                  <a:gd name="connsiteX4" fmla="*/ 92695 w 182198"/>
                  <a:gd name="connsiteY4" fmla="*/ 0 h 260154"/>
                  <a:gd name="connsiteX5" fmla="*/ 159544 w 182198"/>
                  <a:gd name="connsiteY5" fmla="*/ 32933 h 260154"/>
                  <a:gd name="connsiteX6" fmla="*/ 182199 w 182198"/>
                  <a:gd name="connsiteY6" fmla="*/ 129211 h 260154"/>
                  <a:gd name="connsiteX7" fmla="*/ 158427 w 182198"/>
                  <a:gd name="connsiteY7" fmla="*/ 225803 h 260154"/>
                  <a:gd name="connsiteX8" fmla="*/ 90302 w 182198"/>
                  <a:gd name="connsiteY8" fmla="*/ 259997 h 260154"/>
                  <a:gd name="connsiteX9" fmla="*/ 92376 w 182198"/>
                  <a:gd name="connsiteY9" fmla="*/ 42387 h 260154"/>
                  <a:gd name="connsiteX10" fmla="*/ 50735 w 182198"/>
                  <a:gd name="connsiteY10" fmla="*/ 130471 h 260154"/>
                  <a:gd name="connsiteX11" fmla="*/ 91259 w 182198"/>
                  <a:gd name="connsiteY11" fmla="*/ 217767 h 260154"/>
                  <a:gd name="connsiteX12" fmla="*/ 120934 w 182198"/>
                  <a:gd name="connsiteY12" fmla="*/ 195549 h 260154"/>
                  <a:gd name="connsiteX13" fmla="*/ 131145 w 182198"/>
                  <a:gd name="connsiteY13" fmla="*/ 131889 h 260154"/>
                  <a:gd name="connsiteX14" fmla="*/ 92216 w 182198"/>
                  <a:gd name="connsiteY14" fmla="*/ 42387 h 260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2198" h="260154">
                    <a:moveTo>
                      <a:pt x="90302" y="260154"/>
                    </a:moveTo>
                    <a:cubicBezTo>
                      <a:pt x="61584" y="260154"/>
                      <a:pt x="39248" y="248967"/>
                      <a:pt x="23613" y="226749"/>
                    </a:cubicBezTo>
                    <a:cubicBezTo>
                      <a:pt x="7977" y="204531"/>
                      <a:pt x="0" y="173331"/>
                      <a:pt x="0" y="133308"/>
                    </a:cubicBezTo>
                    <a:cubicBezTo>
                      <a:pt x="0" y="91078"/>
                      <a:pt x="8137" y="58302"/>
                      <a:pt x="24251" y="34981"/>
                    </a:cubicBezTo>
                    <a:cubicBezTo>
                      <a:pt x="40365" y="11660"/>
                      <a:pt x="63179" y="0"/>
                      <a:pt x="92695" y="0"/>
                    </a:cubicBezTo>
                    <a:cubicBezTo>
                      <a:pt x="122210" y="0"/>
                      <a:pt x="144387" y="11030"/>
                      <a:pt x="159544" y="32933"/>
                    </a:cubicBezTo>
                    <a:cubicBezTo>
                      <a:pt x="174700" y="54993"/>
                      <a:pt x="182199" y="86981"/>
                      <a:pt x="182199" y="129211"/>
                    </a:cubicBezTo>
                    <a:cubicBezTo>
                      <a:pt x="182199" y="171440"/>
                      <a:pt x="174222" y="203113"/>
                      <a:pt x="158427" y="225803"/>
                    </a:cubicBezTo>
                    <a:cubicBezTo>
                      <a:pt x="142632" y="248494"/>
                      <a:pt x="119817" y="259997"/>
                      <a:pt x="90302" y="259997"/>
                    </a:cubicBezTo>
                    <a:close/>
                    <a:moveTo>
                      <a:pt x="92376" y="42387"/>
                    </a:moveTo>
                    <a:cubicBezTo>
                      <a:pt x="64615" y="42387"/>
                      <a:pt x="50735" y="71696"/>
                      <a:pt x="50735" y="130471"/>
                    </a:cubicBezTo>
                    <a:cubicBezTo>
                      <a:pt x="50735" y="189246"/>
                      <a:pt x="64296" y="217767"/>
                      <a:pt x="91259" y="217767"/>
                    </a:cubicBezTo>
                    <a:cubicBezTo>
                      <a:pt x="104342" y="217767"/>
                      <a:pt x="114233" y="210361"/>
                      <a:pt x="120934" y="195549"/>
                    </a:cubicBezTo>
                    <a:cubicBezTo>
                      <a:pt x="127794" y="180737"/>
                      <a:pt x="131145" y="159465"/>
                      <a:pt x="131145" y="131889"/>
                    </a:cubicBezTo>
                    <a:cubicBezTo>
                      <a:pt x="131145" y="72169"/>
                      <a:pt x="118222" y="42387"/>
                      <a:pt x="92216" y="42387"/>
                    </a:cubicBezTo>
                    <a:close/>
                  </a:path>
                </a:pathLst>
              </a:custGeom>
              <a:solidFill>
                <a:srgbClr val="FFFFFF"/>
              </a:soli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9" name="Freeform 28">
                <a:extLst>
                  <a:ext uri="{FF2B5EF4-FFF2-40B4-BE49-F238E27FC236}">
                    <a16:creationId xmlns:a16="http://schemas.microsoft.com/office/drawing/2014/main" id="{DF1AFB47-B485-A1BB-8C51-88A4A0B50DA3}"/>
                  </a:ext>
                </a:extLst>
              </p:cNvPr>
              <p:cNvSpPr/>
              <p:nvPr/>
            </p:nvSpPr>
            <p:spPr>
              <a:xfrm>
                <a:off x="4816029" y="5337769"/>
                <a:ext cx="217138" cy="251487"/>
              </a:xfrm>
              <a:custGeom>
                <a:avLst/>
                <a:gdLst>
                  <a:gd name="connsiteX0" fmla="*/ 175179 w 217138"/>
                  <a:gd name="connsiteY0" fmla="*/ 251488 h 251487"/>
                  <a:gd name="connsiteX1" fmla="*/ 175179 w 217138"/>
                  <a:gd name="connsiteY1" fmla="*/ 105259 h 251487"/>
                  <a:gd name="connsiteX2" fmla="*/ 176934 w 217138"/>
                  <a:gd name="connsiteY2" fmla="*/ 48218 h 251487"/>
                  <a:gd name="connsiteX3" fmla="*/ 175817 w 217138"/>
                  <a:gd name="connsiteY3" fmla="*/ 48218 h 251487"/>
                  <a:gd name="connsiteX4" fmla="*/ 168159 w 217138"/>
                  <a:gd name="connsiteY4" fmla="*/ 90447 h 251487"/>
                  <a:gd name="connsiteX5" fmla="*/ 130985 w 217138"/>
                  <a:gd name="connsiteY5" fmla="*/ 251488 h 251487"/>
                  <a:gd name="connsiteX6" fmla="*/ 86154 w 217138"/>
                  <a:gd name="connsiteY6" fmla="*/ 251488 h 251487"/>
                  <a:gd name="connsiteX7" fmla="*/ 47225 w 217138"/>
                  <a:gd name="connsiteY7" fmla="*/ 92811 h 251487"/>
                  <a:gd name="connsiteX8" fmla="*/ 40365 w 217138"/>
                  <a:gd name="connsiteY8" fmla="*/ 48218 h 251487"/>
                  <a:gd name="connsiteX9" fmla="*/ 38929 w 217138"/>
                  <a:gd name="connsiteY9" fmla="*/ 48218 h 251487"/>
                  <a:gd name="connsiteX10" fmla="*/ 40684 w 217138"/>
                  <a:gd name="connsiteY10" fmla="*/ 118180 h 251487"/>
                  <a:gd name="connsiteX11" fmla="*/ 40684 w 217138"/>
                  <a:gd name="connsiteY11" fmla="*/ 251488 h 251487"/>
                  <a:gd name="connsiteX12" fmla="*/ 0 w 217138"/>
                  <a:gd name="connsiteY12" fmla="*/ 251488 h 251487"/>
                  <a:gd name="connsiteX13" fmla="*/ 0 w 217138"/>
                  <a:gd name="connsiteY13" fmla="*/ 0 h 251487"/>
                  <a:gd name="connsiteX14" fmla="*/ 68763 w 217138"/>
                  <a:gd name="connsiteY14" fmla="*/ 0 h 251487"/>
                  <a:gd name="connsiteX15" fmla="*/ 104501 w 217138"/>
                  <a:gd name="connsiteY15" fmla="*/ 153162 h 251487"/>
                  <a:gd name="connsiteX16" fmla="*/ 110883 w 217138"/>
                  <a:gd name="connsiteY16" fmla="*/ 191925 h 251487"/>
                  <a:gd name="connsiteX17" fmla="*/ 111840 w 217138"/>
                  <a:gd name="connsiteY17" fmla="*/ 191925 h 251487"/>
                  <a:gd name="connsiteX18" fmla="*/ 113116 w 217138"/>
                  <a:gd name="connsiteY18" fmla="*/ 182628 h 251487"/>
                  <a:gd name="connsiteX19" fmla="*/ 117584 w 217138"/>
                  <a:gd name="connsiteY19" fmla="*/ 151744 h 251487"/>
                  <a:gd name="connsiteX20" fmla="*/ 151088 w 217138"/>
                  <a:gd name="connsiteY20" fmla="*/ 0 h 251487"/>
                  <a:gd name="connsiteX21" fmla="*/ 217139 w 217138"/>
                  <a:gd name="connsiteY21" fmla="*/ 0 h 251487"/>
                  <a:gd name="connsiteX22" fmla="*/ 217139 w 217138"/>
                  <a:gd name="connsiteY22" fmla="*/ 251488 h 251487"/>
                  <a:gd name="connsiteX23" fmla="*/ 175019 w 217138"/>
                  <a:gd name="connsiteY23" fmla="*/ 251488 h 251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17138" h="251487">
                    <a:moveTo>
                      <a:pt x="175179" y="251488"/>
                    </a:moveTo>
                    <a:lnTo>
                      <a:pt x="175179" y="105259"/>
                    </a:lnTo>
                    <a:cubicBezTo>
                      <a:pt x="175179" y="92653"/>
                      <a:pt x="175817" y="73587"/>
                      <a:pt x="176934" y="48218"/>
                    </a:cubicBezTo>
                    <a:lnTo>
                      <a:pt x="175817" y="48218"/>
                    </a:lnTo>
                    <a:cubicBezTo>
                      <a:pt x="174222" y="58775"/>
                      <a:pt x="171669" y="72957"/>
                      <a:pt x="168159" y="90447"/>
                    </a:cubicBezTo>
                    <a:lnTo>
                      <a:pt x="130985" y="251488"/>
                    </a:lnTo>
                    <a:lnTo>
                      <a:pt x="86154" y="251488"/>
                    </a:lnTo>
                    <a:lnTo>
                      <a:pt x="47225" y="92811"/>
                    </a:lnTo>
                    <a:lnTo>
                      <a:pt x="40365" y="48218"/>
                    </a:lnTo>
                    <a:lnTo>
                      <a:pt x="38929" y="48218"/>
                    </a:lnTo>
                    <a:cubicBezTo>
                      <a:pt x="40045" y="71854"/>
                      <a:pt x="40684" y="95175"/>
                      <a:pt x="40684" y="118180"/>
                    </a:cubicBezTo>
                    <a:lnTo>
                      <a:pt x="40684" y="251488"/>
                    </a:lnTo>
                    <a:lnTo>
                      <a:pt x="0" y="251488"/>
                    </a:lnTo>
                    <a:lnTo>
                      <a:pt x="0" y="0"/>
                    </a:lnTo>
                    <a:lnTo>
                      <a:pt x="68763" y="0"/>
                    </a:lnTo>
                    <a:lnTo>
                      <a:pt x="104501" y="153162"/>
                    </a:lnTo>
                    <a:cubicBezTo>
                      <a:pt x="108011" y="168604"/>
                      <a:pt x="110245" y="181525"/>
                      <a:pt x="110883" y="191925"/>
                    </a:cubicBezTo>
                    <a:lnTo>
                      <a:pt x="111840" y="191925"/>
                    </a:lnTo>
                    <a:lnTo>
                      <a:pt x="113116" y="182628"/>
                    </a:lnTo>
                    <a:cubicBezTo>
                      <a:pt x="114712" y="168447"/>
                      <a:pt x="116148" y="158204"/>
                      <a:pt x="117584" y="151744"/>
                    </a:cubicBezTo>
                    <a:lnTo>
                      <a:pt x="151088" y="0"/>
                    </a:lnTo>
                    <a:lnTo>
                      <a:pt x="217139" y="0"/>
                    </a:lnTo>
                    <a:lnTo>
                      <a:pt x="217139" y="251488"/>
                    </a:lnTo>
                    <a:lnTo>
                      <a:pt x="175019" y="251488"/>
                    </a:lnTo>
                    <a:close/>
                  </a:path>
                </a:pathLst>
              </a:custGeom>
              <a:solidFill>
                <a:srgbClr val="FFFFFF"/>
              </a:soli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0" name="Freeform 29">
                <a:extLst>
                  <a:ext uri="{FF2B5EF4-FFF2-40B4-BE49-F238E27FC236}">
                    <a16:creationId xmlns:a16="http://schemas.microsoft.com/office/drawing/2014/main" id="{8DD1316D-2EFD-3609-BF50-EF3C6E945470}"/>
                  </a:ext>
                </a:extLst>
              </p:cNvPr>
              <p:cNvSpPr/>
              <p:nvPr/>
            </p:nvSpPr>
            <p:spPr>
              <a:xfrm>
                <a:off x="5091401" y="5337769"/>
                <a:ext cx="217138" cy="251487"/>
              </a:xfrm>
              <a:custGeom>
                <a:avLst/>
                <a:gdLst>
                  <a:gd name="connsiteX0" fmla="*/ 175179 w 217138"/>
                  <a:gd name="connsiteY0" fmla="*/ 251488 h 251487"/>
                  <a:gd name="connsiteX1" fmla="*/ 175179 w 217138"/>
                  <a:gd name="connsiteY1" fmla="*/ 105259 h 251487"/>
                  <a:gd name="connsiteX2" fmla="*/ 176934 w 217138"/>
                  <a:gd name="connsiteY2" fmla="*/ 48218 h 251487"/>
                  <a:gd name="connsiteX3" fmla="*/ 175817 w 217138"/>
                  <a:gd name="connsiteY3" fmla="*/ 48218 h 251487"/>
                  <a:gd name="connsiteX4" fmla="*/ 168159 w 217138"/>
                  <a:gd name="connsiteY4" fmla="*/ 90447 h 251487"/>
                  <a:gd name="connsiteX5" fmla="*/ 130985 w 217138"/>
                  <a:gd name="connsiteY5" fmla="*/ 251488 h 251487"/>
                  <a:gd name="connsiteX6" fmla="*/ 86154 w 217138"/>
                  <a:gd name="connsiteY6" fmla="*/ 251488 h 251487"/>
                  <a:gd name="connsiteX7" fmla="*/ 47225 w 217138"/>
                  <a:gd name="connsiteY7" fmla="*/ 92811 h 251487"/>
                  <a:gd name="connsiteX8" fmla="*/ 40365 w 217138"/>
                  <a:gd name="connsiteY8" fmla="*/ 48218 h 251487"/>
                  <a:gd name="connsiteX9" fmla="*/ 38929 w 217138"/>
                  <a:gd name="connsiteY9" fmla="*/ 48218 h 251487"/>
                  <a:gd name="connsiteX10" fmla="*/ 40684 w 217138"/>
                  <a:gd name="connsiteY10" fmla="*/ 118180 h 251487"/>
                  <a:gd name="connsiteX11" fmla="*/ 40684 w 217138"/>
                  <a:gd name="connsiteY11" fmla="*/ 251488 h 251487"/>
                  <a:gd name="connsiteX12" fmla="*/ 0 w 217138"/>
                  <a:gd name="connsiteY12" fmla="*/ 251488 h 251487"/>
                  <a:gd name="connsiteX13" fmla="*/ 0 w 217138"/>
                  <a:gd name="connsiteY13" fmla="*/ 0 h 251487"/>
                  <a:gd name="connsiteX14" fmla="*/ 68763 w 217138"/>
                  <a:gd name="connsiteY14" fmla="*/ 0 h 251487"/>
                  <a:gd name="connsiteX15" fmla="*/ 104501 w 217138"/>
                  <a:gd name="connsiteY15" fmla="*/ 153162 h 251487"/>
                  <a:gd name="connsiteX16" fmla="*/ 110883 w 217138"/>
                  <a:gd name="connsiteY16" fmla="*/ 191925 h 251487"/>
                  <a:gd name="connsiteX17" fmla="*/ 111840 w 217138"/>
                  <a:gd name="connsiteY17" fmla="*/ 191925 h 251487"/>
                  <a:gd name="connsiteX18" fmla="*/ 113116 w 217138"/>
                  <a:gd name="connsiteY18" fmla="*/ 182628 h 251487"/>
                  <a:gd name="connsiteX19" fmla="*/ 117584 w 217138"/>
                  <a:gd name="connsiteY19" fmla="*/ 151744 h 251487"/>
                  <a:gd name="connsiteX20" fmla="*/ 151088 w 217138"/>
                  <a:gd name="connsiteY20" fmla="*/ 0 h 251487"/>
                  <a:gd name="connsiteX21" fmla="*/ 217139 w 217138"/>
                  <a:gd name="connsiteY21" fmla="*/ 0 h 251487"/>
                  <a:gd name="connsiteX22" fmla="*/ 217139 w 217138"/>
                  <a:gd name="connsiteY22" fmla="*/ 251488 h 251487"/>
                  <a:gd name="connsiteX23" fmla="*/ 175019 w 217138"/>
                  <a:gd name="connsiteY23" fmla="*/ 251488 h 251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17138" h="251487">
                    <a:moveTo>
                      <a:pt x="175179" y="251488"/>
                    </a:moveTo>
                    <a:lnTo>
                      <a:pt x="175179" y="105259"/>
                    </a:lnTo>
                    <a:cubicBezTo>
                      <a:pt x="175179" y="92653"/>
                      <a:pt x="175817" y="73587"/>
                      <a:pt x="176934" y="48218"/>
                    </a:cubicBezTo>
                    <a:lnTo>
                      <a:pt x="175817" y="48218"/>
                    </a:lnTo>
                    <a:cubicBezTo>
                      <a:pt x="174222" y="58775"/>
                      <a:pt x="171669" y="72957"/>
                      <a:pt x="168159" y="90447"/>
                    </a:cubicBezTo>
                    <a:lnTo>
                      <a:pt x="130985" y="251488"/>
                    </a:lnTo>
                    <a:lnTo>
                      <a:pt x="86154" y="251488"/>
                    </a:lnTo>
                    <a:lnTo>
                      <a:pt x="47225" y="92811"/>
                    </a:lnTo>
                    <a:lnTo>
                      <a:pt x="40365" y="48218"/>
                    </a:lnTo>
                    <a:lnTo>
                      <a:pt x="38929" y="48218"/>
                    </a:lnTo>
                    <a:cubicBezTo>
                      <a:pt x="40045" y="71854"/>
                      <a:pt x="40684" y="95175"/>
                      <a:pt x="40684" y="118180"/>
                    </a:cubicBezTo>
                    <a:lnTo>
                      <a:pt x="40684" y="251488"/>
                    </a:lnTo>
                    <a:lnTo>
                      <a:pt x="0" y="251488"/>
                    </a:lnTo>
                    <a:lnTo>
                      <a:pt x="0" y="0"/>
                    </a:lnTo>
                    <a:lnTo>
                      <a:pt x="68763" y="0"/>
                    </a:lnTo>
                    <a:lnTo>
                      <a:pt x="104501" y="153162"/>
                    </a:lnTo>
                    <a:cubicBezTo>
                      <a:pt x="108011" y="168604"/>
                      <a:pt x="110245" y="181525"/>
                      <a:pt x="110883" y="191925"/>
                    </a:cubicBezTo>
                    <a:lnTo>
                      <a:pt x="111840" y="191925"/>
                    </a:lnTo>
                    <a:lnTo>
                      <a:pt x="113116" y="182628"/>
                    </a:lnTo>
                    <a:cubicBezTo>
                      <a:pt x="114712" y="168447"/>
                      <a:pt x="116148" y="158204"/>
                      <a:pt x="117584" y="151744"/>
                    </a:cubicBezTo>
                    <a:lnTo>
                      <a:pt x="151088" y="0"/>
                    </a:lnTo>
                    <a:lnTo>
                      <a:pt x="217139" y="0"/>
                    </a:lnTo>
                    <a:lnTo>
                      <a:pt x="217139" y="251488"/>
                    </a:lnTo>
                    <a:lnTo>
                      <a:pt x="175019" y="251488"/>
                    </a:lnTo>
                    <a:close/>
                  </a:path>
                </a:pathLst>
              </a:custGeom>
              <a:solidFill>
                <a:srgbClr val="FFFFFF"/>
              </a:soli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1" name="Freeform 30">
                <a:extLst>
                  <a:ext uri="{FF2B5EF4-FFF2-40B4-BE49-F238E27FC236}">
                    <a16:creationId xmlns:a16="http://schemas.microsoft.com/office/drawing/2014/main" id="{EC020512-8DF1-4890-983C-4DD2AE37D072}"/>
                  </a:ext>
                </a:extLst>
              </p:cNvPr>
              <p:cNvSpPr/>
              <p:nvPr/>
            </p:nvSpPr>
            <p:spPr>
              <a:xfrm>
                <a:off x="5365338" y="5337769"/>
                <a:ext cx="159064" cy="255900"/>
              </a:xfrm>
              <a:custGeom>
                <a:avLst/>
                <a:gdLst>
                  <a:gd name="connsiteX0" fmla="*/ 159065 w 159064"/>
                  <a:gd name="connsiteY0" fmla="*/ 145126 h 255900"/>
                  <a:gd name="connsiteX1" fmla="*/ 79612 w 159064"/>
                  <a:gd name="connsiteY1" fmla="*/ 255900 h 255900"/>
                  <a:gd name="connsiteX2" fmla="*/ 0 w 159064"/>
                  <a:gd name="connsiteY2" fmla="*/ 147647 h 255900"/>
                  <a:gd name="connsiteX3" fmla="*/ 0 w 159064"/>
                  <a:gd name="connsiteY3" fmla="*/ 0 h 255900"/>
                  <a:gd name="connsiteX4" fmla="*/ 48980 w 159064"/>
                  <a:gd name="connsiteY4" fmla="*/ 0 h 255900"/>
                  <a:gd name="connsiteX5" fmla="*/ 48980 w 159064"/>
                  <a:gd name="connsiteY5" fmla="*/ 153162 h 255900"/>
                  <a:gd name="connsiteX6" fmla="*/ 79931 w 159064"/>
                  <a:gd name="connsiteY6" fmla="*/ 213513 h 255900"/>
                  <a:gd name="connsiteX7" fmla="*/ 102906 w 159064"/>
                  <a:gd name="connsiteY7" fmla="*/ 199016 h 255900"/>
                  <a:gd name="connsiteX8" fmla="*/ 109766 w 159064"/>
                  <a:gd name="connsiteY8" fmla="*/ 154580 h 255900"/>
                  <a:gd name="connsiteX9" fmla="*/ 109766 w 159064"/>
                  <a:gd name="connsiteY9" fmla="*/ 0 h 255900"/>
                  <a:gd name="connsiteX10" fmla="*/ 158905 w 159064"/>
                  <a:gd name="connsiteY10" fmla="*/ 0 h 255900"/>
                  <a:gd name="connsiteX11" fmla="*/ 158905 w 159064"/>
                  <a:gd name="connsiteY11" fmla="*/ 145283 h 25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4" h="255900">
                    <a:moveTo>
                      <a:pt x="159065" y="145126"/>
                    </a:moveTo>
                    <a:cubicBezTo>
                      <a:pt x="159065" y="218870"/>
                      <a:pt x="132581" y="255900"/>
                      <a:pt x="79612" y="255900"/>
                    </a:cubicBezTo>
                    <a:cubicBezTo>
                      <a:pt x="26644" y="255900"/>
                      <a:pt x="0" y="219816"/>
                      <a:pt x="0" y="147647"/>
                    </a:cubicBezTo>
                    <a:lnTo>
                      <a:pt x="0" y="0"/>
                    </a:lnTo>
                    <a:lnTo>
                      <a:pt x="48980" y="0"/>
                    </a:lnTo>
                    <a:lnTo>
                      <a:pt x="48980" y="153162"/>
                    </a:lnTo>
                    <a:cubicBezTo>
                      <a:pt x="48980" y="193343"/>
                      <a:pt x="59350" y="213513"/>
                      <a:pt x="79931" y="213513"/>
                    </a:cubicBezTo>
                    <a:cubicBezTo>
                      <a:pt x="90621" y="213513"/>
                      <a:pt x="98438" y="208628"/>
                      <a:pt x="102906" y="199016"/>
                    </a:cubicBezTo>
                    <a:cubicBezTo>
                      <a:pt x="107373" y="189404"/>
                      <a:pt x="109766" y="174592"/>
                      <a:pt x="109766" y="154580"/>
                    </a:cubicBezTo>
                    <a:lnTo>
                      <a:pt x="109766" y="0"/>
                    </a:lnTo>
                    <a:lnTo>
                      <a:pt x="158905" y="0"/>
                    </a:lnTo>
                    <a:lnTo>
                      <a:pt x="158905" y="145283"/>
                    </a:lnTo>
                    <a:close/>
                  </a:path>
                </a:pathLst>
              </a:custGeom>
              <a:solidFill>
                <a:srgbClr val="FFFFFF"/>
              </a:soli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2" name="Freeform 31">
                <a:extLst>
                  <a:ext uri="{FF2B5EF4-FFF2-40B4-BE49-F238E27FC236}">
                    <a16:creationId xmlns:a16="http://schemas.microsoft.com/office/drawing/2014/main" id="{36A8719B-416B-6E94-7714-9F072107FBE5}"/>
                  </a:ext>
                </a:extLst>
              </p:cNvPr>
              <p:cNvSpPr/>
              <p:nvPr/>
            </p:nvSpPr>
            <p:spPr>
              <a:xfrm>
                <a:off x="5580881" y="5337612"/>
                <a:ext cx="163532" cy="251645"/>
              </a:xfrm>
              <a:custGeom>
                <a:avLst/>
                <a:gdLst>
                  <a:gd name="connsiteX0" fmla="*/ 108968 w 163532"/>
                  <a:gd name="connsiteY0" fmla="*/ 251646 h 251645"/>
                  <a:gd name="connsiteX1" fmla="*/ 52330 w 163532"/>
                  <a:gd name="connsiteY1" fmla="*/ 107938 h 251645"/>
                  <a:gd name="connsiteX2" fmla="*/ 43077 w 163532"/>
                  <a:gd name="connsiteY2" fmla="*/ 79260 h 251645"/>
                  <a:gd name="connsiteX3" fmla="*/ 40524 w 163532"/>
                  <a:gd name="connsiteY3" fmla="*/ 71223 h 251645"/>
                  <a:gd name="connsiteX4" fmla="*/ 39886 w 163532"/>
                  <a:gd name="connsiteY4" fmla="*/ 71223 h 251645"/>
                  <a:gd name="connsiteX5" fmla="*/ 41003 w 163532"/>
                  <a:gd name="connsiteY5" fmla="*/ 122592 h 251645"/>
                  <a:gd name="connsiteX6" fmla="*/ 41003 w 163532"/>
                  <a:gd name="connsiteY6" fmla="*/ 251488 h 251645"/>
                  <a:gd name="connsiteX7" fmla="*/ 0 w 163532"/>
                  <a:gd name="connsiteY7" fmla="*/ 251488 h 251645"/>
                  <a:gd name="connsiteX8" fmla="*/ 0 w 163532"/>
                  <a:gd name="connsiteY8" fmla="*/ 0 h 251645"/>
                  <a:gd name="connsiteX9" fmla="*/ 55521 w 163532"/>
                  <a:gd name="connsiteY9" fmla="*/ 0 h 251645"/>
                  <a:gd name="connsiteX10" fmla="*/ 112000 w 163532"/>
                  <a:gd name="connsiteY10" fmla="*/ 147016 h 251645"/>
                  <a:gd name="connsiteX11" fmla="*/ 122849 w 163532"/>
                  <a:gd name="connsiteY11" fmla="*/ 182943 h 251645"/>
                  <a:gd name="connsiteX12" fmla="*/ 123168 w 163532"/>
                  <a:gd name="connsiteY12" fmla="*/ 182943 h 251645"/>
                  <a:gd name="connsiteX13" fmla="*/ 122530 w 163532"/>
                  <a:gd name="connsiteY13" fmla="*/ 141501 h 251645"/>
                  <a:gd name="connsiteX14" fmla="*/ 122530 w 163532"/>
                  <a:gd name="connsiteY14" fmla="*/ 0 h 251645"/>
                  <a:gd name="connsiteX15" fmla="*/ 163532 w 163532"/>
                  <a:gd name="connsiteY15" fmla="*/ 0 h 251645"/>
                  <a:gd name="connsiteX16" fmla="*/ 163532 w 163532"/>
                  <a:gd name="connsiteY16" fmla="*/ 251488 h 251645"/>
                  <a:gd name="connsiteX17" fmla="*/ 108968 w 163532"/>
                  <a:gd name="connsiteY17" fmla="*/ 251488 h 25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3532" h="251645">
                    <a:moveTo>
                      <a:pt x="108968" y="251646"/>
                    </a:moveTo>
                    <a:lnTo>
                      <a:pt x="52330" y="107938"/>
                    </a:lnTo>
                    <a:cubicBezTo>
                      <a:pt x="49937" y="101793"/>
                      <a:pt x="46906" y="92338"/>
                      <a:pt x="43077" y="79260"/>
                    </a:cubicBezTo>
                    <a:cubicBezTo>
                      <a:pt x="42119" y="75951"/>
                      <a:pt x="41322" y="73272"/>
                      <a:pt x="40524" y="71223"/>
                    </a:cubicBezTo>
                    <a:lnTo>
                      <a:pt x="39886" y="71223"/>
                    </a:lnTo>
                    <a:cubicBezTo>
                      <a:pt x="40524" y="90763"/>
                      <a:pt x="41003" y="107938"/>
                      <a:pt x="41003" y="122592"/>
                    </a:cubicBezTo>
                    <a:lnTo>
                      <a:pt x="41003" y="251488"/>
                    </a:lnTo>
                    <a:lnTo>
                      <a:pt x="0" y="251488"/>
                    </a:lnTo>
                    <a:lnTo>
                      <a:pt x="0" y="0"/>
                    </a:lnTo>
                    <a:lnTo>
                      <a:pt x="55521" y="0"/>
                    </a:lnTo>
                    <a:lnTo>
                      <a:pt x="112000" y="147016"/>
                    </a:lnTo>
                    <a:cubicBezTo>
                      <a:pt x="113755" y="151744"/>
                      <a:pt x="117424" y="163719"/>
                      <a:pt x="122849" y="182943"/>
                    </a:cubicBezTo>
                    <a:lnTo>
                      <a:pt x="123168" y="182943"/>
                    </a:lnTo>
                    <a:lnTo>
                      <a:pt x="122530" y="141501"/>
                    </a:lnTo>
                    <a:lnTo>
                      <a:pt x="122530" y="0"/>
                    </a:lnTo>
                    <a:lnTo>
                      <a:pt x="163532" y="0"/>
                    </a:lnTo>
                    <a:lnTo>
                      <a:pt x="163532" y="251488"/>
                    </a:lnTo>
                    <a:lnTo>
                      <a:pt x="108968" y="251488"/>
                    </a:lnTo>
                    <a:close/>
                  </a:path>
                </a:pathLst>
              </a:custGeom>
              <a:solidFill>
                <a:srgbClr val="FFFFFF"/>
              </a:soli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3" name="Freeform 32">
                <a:extLst>
                  <a:ext uri="{FF2B5EF4-FFF2-40B4-BE49-F238E27FC236}">
                    <a16:creationId xmlns:a16="http://schemas.microsoft.com/office/drawing/2014/main" id="{8F4423CA-CB21-ACF8-7B6C-36EBF4C6588D}"/>
                  </a:ext>
                </a:extLst>
              </p:cNvPr>
              <p:cNvSpPr/>
              <p:nvPr/>
            </p:nvSpPr>
            <p:spPr>
              <a:xfrm>
                <a:off x="5802647" y="5337769"/>
                <a:ext cx="48979" cy="251487"/>
              </a:xfrm>
              <a:custGeom>
                <a:avLst/>
                <a:gdLst>
                  <a:gd name="connsiteX0" fmla="*/ 0 w 48979"/>
                  <a:gd name="connsiteY0" fmla="*/ 251488 h 251487"/>
                  <a:gd name="connsiteX1" fmla="*/ 0 w 48979"/>
                  <a:gd name="connsiteY1" fmla="*/ 0 h 251487"/>
                  <a:gd name="connsiteX2" fmla="*/ 48980 w 48979"/>
                  <a:gd name="connsiteY2" fmla="*/ 0 h 251487"/>
                  <a:gd name="connsiteX3" fmla="*/ 48980 w 48979"/>
                  <a:gd name="connsiteY3" fmla="*/ 251488 h 251487"/>
                  <a:gd name="connsiteX4" fmla="*/ 0 w 48979"/>
                  <a:gd name="connsiteY4" fmla="*/ 251488 h 251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979" h="251487">
                    <a:moveTo>
                      <a:pt x="0" y="251488"/>
                    </a:moveTo>
                    <a:lnTo>
                      <a:pt x="0" y="0"/>
                    </a:lnTo>
                    <a:lnTo>
                      <a:pt x="48980" y="0"/>
                    </a:lnTo>
                    <a:lnTo>
                      <a:pt x="48980" y="251488"/>
                    </a:lnTo>
                    <a:lnTo>
                      <a:pt x="0" y="251488"/>
                    </a:lnTo>
                    <a:close/>
                  </a:path>
                </a:pathLst>
              </a:custGeom>
              <a:solidFill>
                <a:srgbClr val="FFFFFF"/>
              </a:soli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4" name="Freeform 33">
                <a:extLst>
                  <a:ext uri="{FF2B5EF4-FFF2-40B4-BE49-F238E27FC236}">
                    <a16:creationId xmlns:a16="http://schemas.microsoft.com/office/drawing/2014/main" id="{53C785E6-235E-EAE8-3EAB-5797C8FE6F42}"/>
                  </a:ext>
                </a:extLst>
              </p:cNvPr>
              <p:cNvSpPr/>
              <p:nvPr/>
            </p:nvSpPr>
            <p:spPr>
              <a:xfrm>
                <a:off x="5894224" y="5337612"/>
                <a:ext cx="152364" cy="251487"/>
              </a:xfrm>
              <a:custGeom>
                <a:avLst/>
                <a:gdLst>
                  <a:gd name="connsiteX0" fmla="*/ 100353 w 152364"/>
                  <a:gd name="connsiteY0" fmla="*/ 41757 h 251487"/>
                  <a:gd name="connsiteX1" fmla="*/ 100353 w 152364"/>
                  <a:gd name="connsiteY1" fmla="*/ 251488 h 251487"/>
                  <a:gd name="connsiteX2" fmla="*/ 51373 w 152364"/>
                  <a:gd name="connsiteY2" fmla="*/ 251488 h 251487"/>
                  <a:gd name="connsiteX3" fmla="*/ 51373 w 152364"/>
                  <a:gd name="connsiteY3" fmla="*/ 41757 h 251487"/>
                  <a:gd name="connsiteX4" fmla="*/ 0 w 152364"/>
                  <a:gd name="connsiteY4" fmla="*/ 41757 h 251487"/>
                  <a:gd name="connsiteX5" fmla="*/ 0 w 152364"/>
                  <a:gd name="connsiteY5" fmla="*/ 0 h 251487"/>
                  <a:gd name="connsiteX6" fmla="*/ 152364 w 152364"/>
                  <a:gd name="connsiteY6" fmla="*/ 0 h 251487"/>
                  <a:gd name="connsiteX7" fmla="*/ 152364 w 152364"/>
                  <a:gd name="connsiteY7" fmla="*/ 41757 h 251487"/>
                  <a:gd name="connsiteX8" fmla="*/ 100353 w 152364"/>
                  <a:gd name="connsiteY8" fmla="*/ 41757 h 251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364" h="251487">
                    <a:moveTo>
                      <a:pt x="100353" y="41757"/>
                    </a:moveTo>
                    <a:lnTo>
                      <a:pt x="100353" y="251488"/>
                    </a:lnTo>
                    <a:lnTo>
                      <a:pt x="51373" y="251488"/>
                    </a:lnTo>
                    <a:lnTo>
                      <a:pt x="51373" y="41757"/>
                    </a:lnTo>
                    <a:lnTo>
                      <a:pt x="0" y="41757"/>
                    </a:lnTo>
                    <a:lnTo>
                      <a:pt x="0" y="0"/>
                    </a:lnTo>
                    <a:lnTo>
                      <a:pt x="152364" y="0"/>
                    </a:lnTo>
                    <a:lnTo>
                      <a:pt x="152364" y="41757"/>
                    </a:lnTo>
                    <a:lnTo>
                      <a:pt x="100353" y="41757"/>
                    </a:lnTo>
                    <a:close/>
                  </a:path>
                </a:pathLst>
              </a:custGeom>
              <a:solidFill>
                <a:srgbClr val="FFFFFF"/>
              </a:soli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5" name="Freeform 34">
                <a:extLst>
                  <a:ext uri="{FF2B5EF4-FFF2-40B4-BE49-F238E27FC236}">
                    <a16:creationId xmlns:a16="http://schemas.microsoft.com/office/drawing/2014/main" id="{397DFA36-2858-0BC9-8A7C-F7B626AEEFFA}"/>
                  </a:ext>
                </a:extLst>
              </p:cNvPr>
              <p:cNvSpPr/>
              <p:nvPr/>
            </p:nvSpPr>
            <p:spPr>
              <a:xfrm>
                <a:off x="6072435" y="5337769"/>
                <a:ext cx="171987" cy="251487"/>
              </a:xfrm>
              <a:custGeom>
                <a:avLst/>
                <a:gdLst>
                  <a:gd name="connsiteX0" fmla="*/ 110564 w 171987"/>
                  <a:gd name="connsiteY0" fmla="*/ 161986 h 251487"/>
                  <a:gd name="connsiteX1" fmla="*/ 110564 w 171987"/>
                  <a:gd name="connsiteY1" fmla="*/ 251488 h 251487"/>
                  <a:gd name="connsiteX2" fmla="*/ 61424 w 171987"/>
                  <a:gd name="connsiteY2" fmla="*/ 251488 h 251487"/>
                  <a:gd name="connsiteX3" fmla="*/ 61424 w 171987"/>
                  <a:gd name="connsiteY3" fmla="*/ 163089 h 251487"/>
                  <a:gd name="connsiteX4" fmla="*/ 0 w 171987"/>
                  <a:gd name="connsiteY4" fmla="*/ 0 h 251487"/>
                  <a:gd name="connsiteX5" fmla="*/ 56159 w 171987"/>
                  <a:gd name="connsiteY5" fmla="*/ 0 h 251487"/>
                  <a:gd name="connsiteX6" fmla="*/ 82963 w 171987"/>
                  <a:gd name="connsiteY6" fmla="*/ 90132 h 251487"/>
                  <a:gd name="connsiteX7" fmla="*/ 85994 w 171987"/>
                  <a:gd name="connsiteY7" fmla="*/ 104156 h 251487"/>
                  <a:gd name="connsiteX8" fmla="*/ 88068 w 171987"/>
                  <a:gd name="connsiteY8" fmla="*/ 116447 h 251487"/>
                  <a:gd name="connsiteX9" fmla="*/ 88706 w 171987"/>
                  <a:gd name="connsiteY9" fmla="*/ 116447 h 251487"/>
                  <a:gd name="connsiteX10" fmla="*/ 93014 w 171987"/>
                  <a:gd name="connsiteY10" fmla="*/ 91393 h 251487"/>
                  <a:gd name="connsiteX11" fmla="*/ 120296 w 171987"/>
                  <a:gd name="connsiteY11" fmla="*/ 0 h 251487"/>
                  <a:gd name="connsiteX12" fmla="*/ 171988 w 171987"/>
                  <a:gd name="connsiteY12" fmla="*/ 0 h 251487"/>
                  <a:gd name="connsiteX13" fmla="*/ 110564 w 171987"/>
                  <a:gd name="connsiteY13" fmla="*/ 162144 h 251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1987" h="251487">
                    <a:moveTo>
                      <a:pt x="110564" y="161986"/>
                    </a:moveTo>
                    <a:lnTo>
                      <a:pt x="110564" y="251488"/>
                    </a:lnTo>
                    <a:lnTo>
                      <a:pt x="61424" y="251488"/>
                    </a:lnTo>
                    <a:lnTo>
                      <a:pt x="61424" y="163089"/>
                    </a:lnTo>
                    <a:lnTo>
                      <a:pt x="0" y="0"/>
                    </a:lnTo>
                    <a:lnTo>
                      <a:pt x="56159" y="0"/>
                    </a:lnTo>
                    <a:lnTo>
                      <a:pt x="82963" y="90132"/>
                    </a:lnTo>
                    <a:cubicBezTo>
                      <a:pt x="84079" y="94072"/>
                      <a:pt x="85196" y="98799"/>
                      <a:pt x="85994" y="104156"/>
                    </a:cubicBezTo>
                    <a:cubicBezTo>
                      <a:pt x="86632" y="108726"/>
                      <a:pt x="87430" y="112823"/>
                      <a:pt x="88068" y="116447"/>
                    </a:cubicBezTo>
                    <a:lnTo>
                      <a:pt x="88706" y="116447"/>
                    </a:lnTo>
                    <a:cubicBezTo>
                      <a:pt x="90621" y="102896"/>
                      <a:pt x="92056" y="94544"/>
                      <a:pt x="93014" y="91393"/>
                    </a:cubicBezTo>
                    <a:lnTo>
                      <a:pt x="120296" y="0"/>
                    </a:lnTo>
                    <a:lnTo>
                      <a:pt x="171988" y="0"/>
                    </a:lnTo>
                    <a:lnTo>
                      <a:pt x="110564" y="162144"/>
                    </a:lnTo>
                    <a:close/>
                  </a:path>
                </a:pathLst>
              </a:custGeom>
              <a:solidFill>
                <a:srgbClr val="FFFFFF"/>
              </a:soli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6" name="Freeform 35">
                <a:extLst>
                  <a:ext uri="{FF2B5EF4-FFF2-40B4-BE49-F238E27FC236}">
                    <a16:creationId xmlns:a16="http://schemas.microsoft.com/office/drawing/2014/main" id="{B9D7B8D9-4D3C-26B8-775E-85147F8E05DA}"/>
                  </a:ext>
                </a:extLst>
              </p:cNvPr>
              <p:cNvSpPr/>
              <p:nvPr/>
            </p:nvSpPr>
            <p:spPr>
              <a:xfrm>
                <a:off x="6372536" y="5333357"/>
                <a:ext cx="147258" cy="260312"/>
              </a:xfrm>
              <a:custGeom>
                <a:avLst/>
                <a:gdLst>
                  <a:gd name="connsiteX0" fmla="*/ 147259 w 147258"/>
                  <a:gd name="connsiteY0" fmla="*/ 248336 h 260312"/>
                  <a:gd name="connsiteX1" fmla="*/ 98598 w 147258"/>
                  <a:gd name="connsiteY1" fmla="*/ 260312 h 260312"/>
                  <a:gd name="connsiteX2" fmla="*/ 26484 w 147258"/>
                  <a:gd name="connsiteY2" fmla="*/ 226906 h 260312"/>
                  <a:gd name="connsiteX3" fmla="*/ 0 w 147258"/>
                  <a:gd name="connsiteY3" fmla="*/ 135829 h 260312"/>
                  <a:gd name="connsiteX4" fmla="*/ 27282 w 147258"/>
                  <a:gd name="connsiteY4" fmla="*/ 35139 h 260312"/>
                  <a:gd name="connsiteX5" fmla="*/ 104341 w 147258"/>
                  <a:gd name="connsiteY5" fmla="*/ 0 h 260312"/>
                  <a:gd name="connsiteX6" fmla="*/ 147099 w 147258"/>
                  <a:gd name="connsiteY6" fmla="*/ 8667 h 260312"/>
                  <a:gd name="connsiteX7" fmla="*/ 147099 w 147258"/>
                  <a:gd name="connsiteY7" fmla="*/ 55624 h 260312"/>
                  <a:gd name="connsiteX8" fmla="*/ 107054 w 147258"/>
                  <a:gd name="connsiteY8" fmla="*/ 42230 h 260312"/>
                  <a:gd name="connsiteX9" fmla="*/ 65732 w 147258"/>
                  <a:gd name="connsiteY9" fmla="*/ 66181 h 260312"/>
                  <a:gd name="connsiteX10" fmla="*/ 50575 w 147258"/>
                  <a:gd name="connsiteY10" fmla="*/ 131417 h 260312"/>
                  <a:gd name="connsiteX11" fmla="*/ 64934 w 147258"/>
                  <a:gd name="connsiteY11" fmla="*/ 194919 h 260312"/>
                  <a:gd name="connsiteX12" fmla="*/ 104820 w 147258"/>
                  <a:gd name="connsiteY12" fmla="*/ 217767 h 260312"/>
                  <a:gd name="connsiteX13" fmla="*/ 146939 w 147258"/>
                  <a:gd name="connsiteY13" fmla="*/ 203428 h 260312"/>
                  <a:gd name="connsiteX14" fmla="*/ 146939 w 147258"/>
                  <a:gd name="connsiteY14" fmla="*/ 248336 h 260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7258" h="260312">
                    <a:moveTo>
                      <a:pt x="147259" y="248336"/>
                    </a:moveTo>
                    <a:cubicBezTo>
                      <a:pt x="133059" y="256215"/>
                      <a:pt x="116786" y="260312"/>
                      <a:pt x="98598" y="260312"/>
                    </a:cubicBezTo>
                    <a:cubicBezTo>
                      <a:pt x="68125" y="260312"/>
                      <a:pt x="44193" y="249124"/>
                      <a:pt x="26484" y="226906"/>
                    </a:cubicBezTo>
                    <a:cubicBezTo>
                      <a:pt x="8775" y="204689"/>
                      <a:pt x="0" y="174277"/>
                      <a:pt x="0" y="135829"/>
                    </a:cubicBezTo>
                    <a:cubicBezTo>
                      <a:pt x="0" y="92181"/>
                      <a:pt x="9094" y="58460"/>
                      <a:pt x="27282" y="35139"/>
                    </a:cubicBezTo>
                    <a:cubicBezTo>
                      <a:pt x="45470" y="11818"/>
                      <a:pt x="71156" y="0"/>
                      <a:pt x="104341" y="0"/>
                    </a:cubicBezTo>
                    <a:cubicBezTo>
                      <a:pt x="119817" y="0"/>
                      <a:pt x="134176" y="2836"/>
                      <a:pt x="147099" y="8667"/>
                    </a:cubicBezTo>
                    <a:lnTo>
                      <a:pt x="147099" y="55624"/>
                    </a:lnTo>
                    <a:cubicBezTo>
                      <a:pt x="134974" y="46799"/>
                      <a:pt x="121732" y="42230"/>
                      <a:pt x="107054" y="42230"/>
                    </a:cubicBezTo>
                    <a:cubicBezTo>
                      <a:pt x="89504" y="42230"/>
                      <a:pt x="75783" y="50266"/>
                      <a:pt x="65732" y="66181"/>
                    </a:cubicBezTo>
                    <a:cubicBezTo>
                      <a:pt x="55681" y="82096"/>
                      <a:pt x="50575" y="103841"/>
                      <a:pt x="50575" y="131417"/>
                    </a:cubicBezTo>
                    <a:cubicBezTo>
                      <a:pt x="50575" y="158992"/>
                      <a:pt x="55362" y="179792"/>
                      <a:pt x="64934" y="194919"/>
                    </a:cubicBezTo>
                    <a:cubicBezTo>
                      <a:pt x="74507" y="210046"/>
                      <a:pt x="87908" y="217767"/>
                      <a:pt x="104820" y="217767"/>
                    </a:cubicBezTo>
                    <a:cubicBezTo>
                      <a:pt x="119498" y="217767"/>
                      <a:pt x="133538" y="213040"/>
                      <a:pt x="146939" y="203428"/>
                    </a:cubicBezTo>
                    <a:lnTo>
                      <a:pt x="146939" y="248336"/>
                    </a:lnTo>
                    <a:close/>
                  </a:path>
                </a:pathLst>
              </a:custGeom>
              <a:solidFill>
                <a:srgbClr val="FFFFFF"/>
              </a:soli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7" name="Freeform 36">
                <a:extLst>
                  <a:ext uri="{FF2B5EF4-FFF2-40B4-BE49-F238E27FC236}">
                    <a16:creationId xmlns:a16="http://schemas.microsoft.com/office/drawing/2014/main" id="{07C0D17D-9D5C-90B8-7594-DB4D99681094}"/>
                  </a:ext>
                </a:extLst>
              </p:cNvPr>
              <p:cNvSpPr/>
              <p:nvPr/>
            </p:nvSpPr>
            <p:spPr>
              <a:xfrm>
                <a:off x="6552182" y="5333357"/>
                <a:ext cx="182358" cy="260154"/>
              </a:xfrm>
              <a:custGeom>
                <a:avLst/>
                <a:gdLst>
                  <a:gd name="connsiteX0" fmla="*/ 90302 w 182358"/>
                  <a:gd name="connsiteY0" fmla="*/ 260154 h 260154"/>
                  <a:gd name="connsiteX1" fmla="*/ 23612 w 182358"/>
                  <a:gd name="connsiteY1" fmla="*/ 226749 h 260154"/>
                  <a:gd name="connsiteX2" fmla="*/ 0 w 182358"/>
                  <a:gd name="connsiteY2" fmla="*/ 133308 h 260154"/>
                  <a:gd name="connsiteX3" fmla="*/ 24251 w 182358"/>
                  <a:gd name="connsiteY3" fmla="*/ 34981 h 260154"/>
                  <a:gd name="connsiteX4" fmla="*/ 92695 w 182358"/>
                  <a:gd name="connsiteY4" fmla="*/ 0 h 260154"/>
                  <a:gd name="connsiteX5" fmla="*/ 159544 w 182358"/>
                  <a:gd name="connsiteY5" fmla="*/ 32933 h 260154"/>
                  <a:gd name="connsiteX6" fmla="*/ 182358 w 182358"/>
                  <a:gd name="connsiteY6" fmla="*/ 129211 h 260154"/>
                  <a:gd name="connsiteX7" fmla="*/ 158586 w 182358"/>
                  <a:gd name="connsiteY7" fmla="*/ 225803 h 260154"/>
                  <a:gd name="connsiteX8" fmla="*/ 90302 w 182358"/>
                  <a:gd name="connsiteY8" fmla="*/ 259997 h 260154"/>
                  <a:gd name="connsiteX9" fmla="*/ 92535 w 182358"/>
                  <a:gd name="connsiteY9" fmla="*/ 42387 h 260154"/>
                  <a:gd name="connsiteX10" fmla="*/ 50894 w 182358"/>
                  <a:gd name="connsiteY10" fmla="*/ 130471 h 260154"/>
                  <a:gd name="connsiteX11" fmla="*/ 91418 w 182358"/>
                  <a:gd name="connsiteY11" fmla="*/ 217767 h 260154"/>
                  <a:gd name="connsiteX12" fmla="*/ 121094 w 182358"/>
                  <a:gd name="connsiteY12" fmla="*/ 195549 h 260154"/>
                  <a:gd name="connsiteX13" fmla="*/ 131304 w 182358"/>
                  <a:gd name="connsiteY13" fmla="*/ 131889 h 260154"/>
                  <a:gd name="connsiteX14" fmla="*/ 92376 w 182358"/>
                  <a:gd name="connsiteY14" fmla="*/ 42387 h 260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2358" h="260154">
                    <a:moveTo>
                      <a:pt x="90302" y="260154"/>
                    </a:moveTo>
                    <a:cubicBezTo>
                      <a:pt x="61584" y="260154"/>
                      <a:pt x="39248" y="248967"/>
                      <a:pt x="23612" y="226749"/>
                    </a:cubicBezTo>
                    <a:cubicBezTo>
                      <a:pt x="7977" y="204531"/>
                      <a:pt x="0" y="173331"/>
                      <a:pt x="0" y="133308"/>
                    </a:cubicBezTo>
                    <a:cubicBezTo>
                      <a:pt x="0" y="91078"/>
                      <a:pt x="8137" y="58302"/>
                      <a:pt x="24251" y="34981"/>
                    </a:cubicBezTo>
                    <a:cubicBezTo>
                      <a:pt x="40365" y="11660"/>
                      <a:pt x="63179" y="0"/>
                      <a:pt x="92695" y="0"/>
                    </a:cubicBezTo>
                    <a:cubicBezTo>
                      <a:pt x="122210" y="0"/>
                      <a:pt x="144387" y="11030"/>
                      <a:pt x="159544" y="32933"/>
                    </a:cubicBezTo>
                    <a:cubicBezTo>
                      <a:pt x="174700" y="54993"/>
                      <a:pt x="182358" y="86981"/>
                      <a:pt x="182358" y="129211"/>
                    </a:cubicBezTo>
                    <a:cubicBezTo>
                      <a:pt x="182358" y="171440"/>
                      <a:pt x="174381" y="203113"/>
                      <a:pt x="158586" y="225803"/>
                    </a:cubicBezTo>
                    <a:cubicBezTo>
                      <a:pt x="142791" y="248494"/>
                      <a:pt x="119977" y="259997"/>
                      <a:pt x="90302" y="259997"/>
                    </a:cubicBezTo>
                    <a:close/>
                    <a:moveTo>
                      <a:pt x="92535" y="42387"/>
                    </a:moveTo>
                    <a:cubicBezTo>
                      <a:pt x="64775" y="42387"/>
                      <a:pt x="50894" y="71696"/>
                      <a:pt x="50894" y="130471"/>
                    </a:cubicBezTo>
                    <a:cubicBezTo>
                      <a:pt x="50894" y="189246"/>
                      <a:pt x="64455" y="217767"/>
                      <a:pt x="91418" y="217767"/>
                    </a:cubicBezTo>
                    <a:cubicBezTo>
                      <a:pt x="104501" y="217767"/>
                      <a:pt x="114393" y="210361"/>
                      <a:pt x="121094" y="195549"/>
                    </a:cubicBezTo>
                    <a:cubicBezTo>
                      <a:pt x="127954" y="180737"/>
                      <a:pt x="131304" y="159465"/>
                      <a:pt x="131304" y="131889"/>
                    </a:cubicBezTo>
                    <a:cubicBezTo>
                      <a:pt x="131304" y="72169"/>
                      <a:pt x="118381" y="42387"/>
                      <a:pt x="92376" y="42387"/>
                    </a:cubicBezTo>
                    <a:close/>
                  </a:path>
                </a:pathLst>
              </a:custGeom>
              <a:solidFill>
                <a:srgbClr val="FFFFFF"/>
              </a:soli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8" name="Freeform 37">
                <a:extLst>
                  <a:ext uri="{FF2B5EF4-FFF2-40B4-BE49-F238E27FC236}">
                    <a16:creationId xmlns:a16="http://schemas.microsoft.com/office/drawing/2014/main" id="{BF645C98-49D5-8C88-372C-B23D0ED939DE}"/>
                  </a:ext>
                </a:extLst>
              </p:cNvPr>
              <p:cNvSpPr/>
              <p:nvPr/>
            </p:nvSpPr>
            <p:spPr>
              <a:xfrm>
                <a:off x="6784477" y="5337612"/>
                <a:ext cx="163691" cy="251645"/>
              </a:xfrm>
              <a:custGeom>
                <a:avLst/>
                <a:gdLst>
                  <a:gd name="connsiteX0" fmla="*/ 108968 w 163691"/>
                  <a:gd name="connsiteY0" fmla="*/ 251646 h 251645"/>
                  <a:gd name="connsiteX1" fmla="*/ 52330 w 163691"/>
                  <a:gd name="connsiteY1" fmla="*/ 107938 h 251645"/>
                  <a:gd name="connsiteX2" fmla="*/ 43077 w 163691"/>
                  <a:gd name="connsiteY2" fmla="*/ 79260 h 251645"/>
                  <a:gd name="connsiteX3" fmla="*/ 40524 w 163691"/>
                  <a:gd name="connsiteY3" fmla="*/ 71223 h 251645"/>
                  <a:gd name="connsiteX4" fmla="*/ 39886 w 163691"/>
                  <a:gd name="connsiteY4" fmla="*/ 71223 h 251645"/>
                  <a:gd name="connsiteX5" fmla="*/ 41003 w 163691"/>
                  <a:gd name="connsiteY5" fmla="*/ 122592 h 251645"/>
                  <a:gd name="connsiteX6" fmla="*/ 41003 w 163691"/>
                  <a:gd name="connsiteY6" fmla="*/ 251488 h 251645"/>
                  <a:gd name="connsiteX7" fmla="*/ 0 w 163691"/>
                  <a:gd name="connsiteY7" fmla="*/ 251488 h 251645"/>
                  <a:gd name="connsiteX8" fmla="*/ 0 w 163691"/>
                  <a:gd name="connsiteY8" fmla="*/ 0 h 251645"/>
                  <a:gd name="connsiteX9" fmla="*/ 55681 w 163691"/>
                  <a:gd name="connsiteY9" fmla="*/ 0 h 251645"/>
                  <a:gd name="connsiteX10" fmla="*/ 112159 w 163691"/>
                  <a:gd name="connsiteY10" fmla="*/ 147016 h 251645"/>
                  <a:gd name="connsiteX11" fmla="*/ 123008 w 163691"/>
                  <a:gd name="connsiteY11" fmla="*/ 182943 h 251645"/>
                  <a:gd name="connsiteX12" fmla="*/ 123327 w 163691"/>
                  <a:gd name="connsiteY12" fmla="*/ 182943 h 251645"/>
                  <a:gd name="connsiteX13" fmla="*/ 122689 w 163691"/>
                  <a:gd name="connsiteY13" fmla="*/ 141501 h 251645"/>
                  <a:gd name="connsiteX14" fmla="*/ 122689 w 163691"/>
                  <a:gd name="connsiteY14" fmla="*/ 0 h 251645"/>
                  <a:gd name="connsiteX15" fmla="*/ 163692 w 163691"/>
                  <a:gd name="connsiteY15" fmla="*/ 0 h 251645"/>
                  <a:gd name="connsiteX16" fmla="*/ 163692 w 163691"/>
                  <a:gd name="connsiteY16" fmla="*/ 251488 h 251645"/>
                  <a:gd name="connsiteX17" fmla="*/ 109128 w 163691"/>
                  <a:gd name="connsiteY17" fmla="*/ 251488 h 25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3691" h="251645">
                    <a:moveTo>
                      <a:pt x="108968" y="251646"/>
                    </a:moveTo>
                    <a:lnTo>
                      <a:pt x="52330" y="107938"/>
                    </a:lnTo>
                    <a:cubicBezTo>
                      <a:pt x="49937" y="101793"/>
                      <a:pt x="46906" y="92338"/>
                      <a:pt x="43077" y="79260"/>
                    </a:cubicBezTo>
                    <a:cubicBezTo>
                      <a:pt x="42119" y="75951"/>
                      <a:pt x="41322" y="73272"/>
                      <a:pt x="40524" y="71223"/>
                    </a:cubicBezTo>
                    <a:lnTo>
                      <a:pt x="39886" y="71223"/>
                    </a:lnTo>
                    <a:cubicBezTo>
                      <a:pt x="40524" y="90763"/>
                      <a:pt x="41003" y="107938"/>
                      <a:pt x="41003" y="122592"/>
                    </a:cubicBezTo>
                    <a:lnTo>
                      <a:pt x="41003" y="251488"/>
                    </a:lnTo>
                    <a:lnTo>
                      <a:pt x="0" y="251488"/>
                    </a:lnTo>
                    <a:lnTo>
                      <a:pt x="0" y="0"/>
                    </a:lnTo>
                    <a:lnTo>
                      <a:pt x="55681" y="0"/>
                    </a:lnTo>
                    <a:lnTo>
                      <a:pt x="112159" y="147016"/>
                    </a:lnTo>
                    <a:cubicBezTo>
                      <a:pt x="113914" y="151744"/>
                      <a:pt x="117584" y="163719"/>
                      <a:pt x="123008" y="182943"/>
                    </a:cubicBezTo>
                    <a:lnTo>
                      <a:pt x="123327" y="182943"/>
                    </a:lnTo>
                    <a:lnTo>
                      <a:pt x="122689" y="141501"/>
                    </a:lnTo>
                    <a:lnTo>
                      <a:pt x="122689" y="0"/>
                    </a:lnTo>
                    <a:lnTo>
                      <a:pt x="163692" y="0"/>
                    </a:lnTo>
                    <a:lnTo>
                      <a:pt x="163692" y="251488"/>
                    </a:lnTo>
                    <a:lnTo>
                      <a:pt x="109128" y="251488"/>
                    </a:lnTo>
                    <a:close/>
                  </a:path>
                </a:pathLst>
              </a:custGeom>
              <a:solidFill>
                <a:srgbClr val="FFFFFF"/>
              </a:soli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9" name="Freeform 38">
                <a:extLst>
                  <a:ext uri="{FF2B5EF4-FFF2-40B4-BE49-F238E27FC236}">
                    <a16:creationId xmlns:a16="http://schemas.microsoft.com/office/drawing/2014/main" id="{0F2BA619-C522-5A30-1C6C-FD2229478E05}"/>
                  </a:ext>
                </a:extLst>
              </p:cNvPr>
              <p:cNvSpPr/>
              <p:nvPr/>
            </p:nvSpPr>
            <p:spPr>
              <a:xfrm>
                <a:off x="7006403" y="5337769"/>
                <a:ext cx="117424" cy="251487"/>
              </a:xfrm>
              <a:custGeom>
                <a:avLst/>
                <a:gdLst>
                  <a:gd name="connsiteX0" fmla="*/ 48980 w 117424"/>
                  <a:gd name="connsiteY0" fmla="*/ 41599 h 251487"/>
                  <a:gd name="connsiteX1" fmla="*/ 48980 w 117424"/>
                  <a:gd name="connsiteY1" fmla="*/ 111247 h 251487"/>
                  <a:gd name="connsiteX2" fmla="*/ 112000 w 117424"/>
                  <a:gd name="connsiteY2" fmla="*/ 111247 h 251487"/>
                  <a:gd name="connsiteX3" fmla="*/ 112000 w 117424"/>
                  <a:gd name="connsiteY3" fmla="*/ 152689 h 251487"/>
                  <a:gd name="connsiteX4" fmla="*/ 48980 w 117424"/>
                  <a:gd name="connsiteY4" fmla="*/ 152689 h 251487"/>
                  <a:gd name="connsiteX5" fmla="*/ 48980 w 117424"/>
                  <a:gd name="connsiteY5" fmla="*/ 251488 h 251487"/>
                  <a:gd name="connsiteX6" fmla="*/ 0 w 117424"/>
                  <a:gd name="connsiteY6" fmla="*/ 251488 h 251487"/>
                  <a:gd name="connsiteX7" fmla="*/ 0 w 117424"/>
                  <a:gd name="connsiteY7" fmla="*/ 0 h 251487"/>
                  <a:gd name="connsiteX8" fmla="*/ 117424 w 117424"/>
                  <a:gd name="connsiteY8" fmla="*/ 0 h 251487"/>
                  <a:gd name="connsiteX9" fmla="*/ 117424 w 117424"/>
                  <a:gd name="connsiteY9" fmla="*/ 41757 h 251487"/>
                  <a:gd name="connsiteX10" fmla="*/ 48980 w 117424"/>
                  <a:gd name="connsiteY10" fmla="*/ 41757 h 251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424" h="251487">
                    <a:moveTo>
                      <a:pt x="48980" y="41599"/>
                    </a:moveTo>
                    <a:lnTo>
                      <a:pt x="48980" y="111247"/>
                    </a:lnTo>
                    <a:lnTo>
                      <a:pt x="112000" y="111247"/>
                    </a:lnTo>
                    <a:lnTo>
                      <a:pt x="112000" y="152689"/>
                    </a:lnTo>
                    <a:lnTo>
                      <a:pt x="48980" y="152689"/>
                    </a:lnTo>
                    <a:lnTo>
                      <a:pt x="48980" y="251488"/>
                    </a:lnTo>
                    <a:lnTo>
                      <a:pt x="0" y="251488"/>
                    </a:lnTo>
                    <a:lnTo>
                      <a:pt x="0" y="0"/>
                    </a:lnTo>
                    <a:lnTo>
                      <a:pt x="117424" y="0"/>
                    </a:lnTo>
                    <a:lnTo>
                      <a:pt x="117424" y="41757"/>
                    </a:lnTo>
                    <a:lnTo>
                      <a:pt x="48980" y="41757"/>
                    </a:lnTo>
                    <a:close/>
                  </a:path>
                </a:pathLst>
              </a:custGeom>
              <a:solidFill>
                <a:srgbClr val="FFFFFF"/>
              </a:soli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0" name="Freeform 39">
                <a:extLst>
                  <a:ext uri="{FF2B5EF4-FFF2-40B4-BE49-F238E27FC236}">
                    <a16:creationId xmlns:a16="http://schemas.microsoft.com/office/drawing/2014/main" id="{A2A12E01-E0D1-B942-6658-18234FDFDF34}"/>
                  </a:ext>
                </a:extLst>
              </p:cNvPr>
              <p:cNvSpPr/>
              <p:nvPr/>
            </p:nvSpPr>
            <p:spPr>
              <a:xfrm>
                <a:off x="7170733" y="5337769"/>
                <a:ext cx="121572" cy="251645"/>
              </a:xfrm>
              <a:custGeom>
                <a:avLst/>
                <a:gdLst>
                  <a:gd name="connsiteX0" fmla="*/ 0 w 121572"/>
                  <a:gd name="connsiteY0" fmla="*/ 251488 h 251645"/>
                  <a:gd name="connsiteX1" fmla="*/ 0 w 121572"/>
                  <a:gd name="connsiteY1" fmla="*/ 0 h 251645"/>
                  <a:gd name="connsiteX2" fmla="*/ 117105 w 121572"/>
                  <a:gd name="connsiteY2" fmla="*/ 0 h 251645"/>
                  <a:gd name="connsiteX3" fmla="*/ 117105 w 121572"/>
                  <a:gd name="connsiteY3" fmla="*/ 41757 h 251645"/>
                  <a:gd name="connsiteX4" fmla="*/ 49139 w 121572"/>
                  <a:gd name="connsiteY4" fmla="*/ 41757 h 251645"/>
                  <a:gd name="connsiteX5" fmla="*/ 49139 w 121572"/>
                  <a:gd name="connsiteY5" fmla="*/ 104629 h 251645"/>
                  <a:gd name="connsiteX6" fmla="*/ 112957 w 121572"/>
                  <a:gd name="connsiteY6" fmla="*/ 104629 h 251645"/>
                  <a:gd name="connsiteX7" fmla="*/ 112957 w 121572"/>
                  <a:gd name="connsiteY7" fmla="*/ 146386 h 251645"/>
                  <a:gd name="connsiteX8" fmla="*/ 49139 w 121572"/>
                  <a:gd name="connsiteY8" fmla="*/ 146386 h 251645"/>
                  <a:gd name="connsiteX9" fmla="*/ 49139 w 121572"/>
                  <a:gd name="connsiteY9" fmla="*/ 209888 h 251645"/>
                  <a:gd name="connsiteX10" fmla="*/ 121572 w 121572"/>
                  <a:gd name="connsiteY10" fmla="*/ 209888 h 251645"/>
                  <a:gd name="connsiteX11" fmla="*/ 121572 w 121572"/>
                  <a:gd name="connsiteY11" fmla="*/ 251646 h 251645"/>
                  <a:gd name="connsiteX12" fmla="*/ 159 w 121572"/>
                  <a:gd name="connsiteY12" fmla="*/ 251646 h 25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572" h="251645">
                    <a:moveTo>
                      <a:pt x="0" y="251488"/>
                    </a:moveTo>
                    <a:lnTo>
                      <a:pt x="0" y="0"/>
                    </a:lnTo>
                    <a:lnTo>
                      <a:pt x="117105" y="0"/>
                    </a:lnTo>
                    <a:lnTo>
                      <a:pt x="117105" y="41757"/>
                    </a:lnTo>
                    <a:lnTo>
                      <a:pt x="49139" y="41757"/>
                    </a:lnTo>
                    <a:lnTo>
                      <a:pt x="49139" y="104629"/>
                    </a:lnTo>
                    <a:lnTo>
                      <a:pt x="112957" y="104629"/>
                    </a:lnTo>
                    <a:lnTo>
                      <a:pt x="112957" y="146386"/>
                    </a:lnTo>
                    <a:lnTo>
                      <a:pt x="49139" y="146386"/>
                    </a:lnTo>
                    <a:lnTo>
                      <a:pt x="49139" y="209888"/>
                    </a:lnTo>
                    <a:lnTo>
                      <a:pt x="121572" y="209888"/>
                    </a:lnTo>
                    <a:lnTo>
                      <a:pt x="121572" y="251646"/>
                    </a:lnTo>
                    <a:lnTo>
                      <a:pt x="159" y="251646"/>
                    </a:lnTo>
                    <a:close/>
                  </a:path>
                </a:pathLst>
              </a:custGeom>
              <a:solidFill>
                <a:srgbClr val="FFFFFF"/>
              </a:soli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1" name="Freeform 40">
                <a:extLst>
                  <a:ext uri="{FF2B5EF4-FFF2-40B4-BE49-F238E27FC236}">
                    <a16:creationId xmlns:a16="http://schemas.microsoft.com/office/drawing/2014/main" id="{4FAF59EF-5482-C92D-95E4-07CAE1F59E9E}"/>
                  </a:ext>
                </a:extLst>
              </p:cNvPr>
              <p:cNvSpPr/>
              <p:nvPr/>
            </p:nvSpPr>
            <p:spPr>
              <a:xfrm>
                <a:off x="7338413" y="5337612"/>
                <a:ext cx="157948" cy="251803"/>
              </a:xfrm>
              <a:custGeom>
                <a:avLst/>
                <a:gdLst>
                  <a:gd name="connsiteX0" fmla="*/ 103225 w 157948"/>
                  <a:gd name="connsiteY0" fmla="*/ 251646 h 251803"/>
                  <a:gd name="connsiteX1" fmla="*/ 85037 w 157948"/>
                  <a:gd name="connsiteY1" fmla="*/ 190192 h 251803"/>
                  <a:gd name="connsiteX2" fmla="*/ 56319 w 157948"/>
                  <a:gd name="connsiteY2" fmla="*/ 154895 h 251803"/>
                  <a:gd name="connsiteX3" fmla="*/ 48980 w 157948"/>
                  <a:gd name="connsiteY3" fmla="*/ 154895 h 251803"/>
                  <a:gd name="connsiteX4" fmla="*/ 48980 w 157948"/>
                  <a:gd name="connsiteY4" fmla="*/ 251488 h 251803"/>
                  <a:gd name="connsiteX5" fmla="*/ 0 w 157948"/>
                  <a:gd name="connsiteY5" fmla="*/ 251488 h 251803"/>
                  <a:gd name="connsiteX6" fmla="*/ 0 w 157948"/>
                  <a:gd name="connsiteY6" fmla="*/ 0 h 251803"/>
                  <a:gd name="connsiteX7" fmla="*/ 70837 w 157948"/>
                  <a:gd name="connsiteY7" fmla="*/ 0 h 251803"/>
                  <a:gd name="connsiteX8" fmla="*/ 147578 w 157948"/>
                  <a:gd name="connsiteY8" fmla="*/ 67914 h 251803"/>
                  <a:gd name="connsiteX9" fmla="*/ 102427 w 157948"/>
                  <a:gd name="connsiteY9" fmla="*/ 135514 h 251803"/>
                  <a:gd name="connsiteX10" fmla="*/ 102427 w 157948"/>
                  <a:gd name="connsiteY10" fmla="*/ 136459 h 251803"/>
                  <a:gd name="connsiteX11" fmla="*/ 134974 w 157948"/>
                  <a:gd name="connsiteY11" fmla="*/ 181052 h 251803"/>
                  <a:gd name="connsiteX12" fmla="*/ 157948 w 157948"/>
                  <a:gd name="connsiteY12" fmla="*/ 251803 h 251803"/>
                  <a:gd name="connsiteX13" fmla="*/ 103225 w 157948"/>
                  <a:gd name="connsiteY13" fmla="*/ 251803 h 251803"/>
                  <a:gd name="connsiteX14" fmla="*/ 49139 w 157948"/>
                  <a:gd name="connsiteY14" fmla="*/ 40654 h 251803"/>
                  <a:gd name="connsiteX15" fmla="*/ 49139 w 157948"/>
                  <a:gd name="connsiteY15" fmla="*/ 113611 h 251803"/>
                  <a:gd name="connsiteX16" fmla="*/ 64456 w 157948"/>
                  <a:gd name="connsiteY16" fmla="*/ 113611 h 251803"/>
                  <a:gd name="connsiteX17" fmla="*/ 88068 w 157948"/>
                  <a:gd name="connsiteY17" fmla="*/ 102581 h 251803"/>
                  <a:gd name="connsiteX18" fmla="*/ 97003 w 157948"/>
                  <a:gd name="connsiteY18" fmla="*/ 75320 h 251803"/>
                  <a:gd name="connsiteX19" fmla="*/ 88706 w 157948"/>
                  <a:gd name="connsiteY19" fmla="*/ 49951 h 251803"/>
                  <a:gd name="connsiteX20" fmla="*/ 64456 w 157948"/>
                  <a:gd name="connsiteY20" fmla="*/ 40496 h 251803"/>
                  <a:gd name="connsiteX21" fmla="*/ 49139 w 157948"/>
                  <a:gd name="connsiteY21" fmla="*/ 40496 h 251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7948" h="251803">
                    <a:moveTo>
                      <a:pt x="103225" y="251646"/>
                    </a:moveTo>
                    <a:lnTo>
                      <a:pt x="85037" y="190192"/>
                    </a:lnTo>
                    <a:cubicBezTo>
                      <a:pt x="78017" y="166713"/>
                      <a:pt x="68444" y="154895"/>
                      <a:pt x="56319" y="154895"/>
                    </a:cubicBezTo>
                    <a:lnTo>
                      <a:pt x="48980" y="154895"/>
                    </a:lnTo>
                    <a:lnTo>
                      <a:pt x="48980" y="251488"/>
                    </a:lnTo>
                    <a:lnTo>
                      <a:pt x="0" y="251488"/>
                    </a:lnTo>
                    <a:lnTo>
                      <a:pt x="0" y="0"/>
                    </a:lnTo>
                    <a:lnTo>
                      <a:pt x="70837" y="0"/>
                    </a:lnTo>
                    <a:cubicBezTo>
                      <a:pt x="122051" y="0"/>
                      <a:pt x="147578" y="22691"/>
                      <a:pt x="147578" y="67914"/>
                    </a:cubicBezTo>
                    <a:cubicBezTo>
                      <a:pt x="147578" y="102108"/>
                      <a:pt x="132581" y="124641"/>
                      <a:pt x="102427" y="135514"/>
                    </a:cubicBezTo>
                    <a:lnTo>
                      <a:pt x="102427" y="136459"/>
                    </a:lnTo>
                    <a:cubicBezTo>
                      <a:pt x="115988" y="141029"/>
                      <a:pt x="126678" y="155841"/>
                      <a:pt x="134974" y="181052"/>
                    </a:cubicBezTo>
                    <a:lnTo>
                      <a:pt x="157948" y="251803"/>
                    </a:lnTo>
                    <a:lnTo>
                      <a:pt x="103225" y="251803"/>
                    </a:lnTo>
                    <a:close/>
                    <a:moveTo>
                      <a:pt x="49139" y="40654"/>
                    </a:moveTo>
                    <a:lnTo>
                      <a:pt x="49139" y="113611"/>
                    </a:lnTo>
                    <a:lnTo>
                      <a:pt x="64456" y="113611"/>
                    </a:lnTo>
                    <a:cubicBezTo>
                      <a:pt x="74188" y="113611"/>
                      <a:pt x="82005" y="109987"/>
                      <a:pt x="88068" y="102581"/>
                    </a:cubicBezTo>
                    <a:cubicBezTo>
                      <a:pt x="94131" y="95175"/>
                      <a:pt x="97003" y="86193"/>
                      <a:pt x="97003" y="75320"/>
                    </a:cubicBezTo>
                    <a:cubicBezTo>
                      <a:pt x="97003" y="64448"/>
                      <a:pt x="94290" y="56254"/>
                      <a:pt x="88706" y="49951"/>
                    </a:cubicBezTo>
                    <a:cubicBezTo>
                      <a:pt x="83282" y="43648"/>
                      <a:pt x="75145" y="40496"/>
                      <a:pt x="64456" y="40496"/>
                    </a:cubicBezTo>
                    <a:lnTo>
                      <a:pt x="49139" y="40496"/>
                    </a:lnTo>
                    <a:close/>
                  </a:path>
                </a:pathLst>
              </a:custGeom>
              <a:solidFill>
                <a:srgbClr val="FFFFFF"/>
              </a:soli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2" name="Freeform 41">
                <a:extLst>
                  <a:ext uri="{FF2B5EF4-FFF2-40B4-BE49-F238E27FC236}">
                    <a16:creationId xmlns:a16="http://schemas.microsoft.com/office/drawing/2014/main" id="{40D1ED96-AD13-F1EE-EB9A-B9744B3B0569}"/>
                  </a:ext>
                </a:extLst>
              </p:cNvPr>
              <p:cNvSpPr/>
              <p:nvPr/>
            </p:nvSpPr>
            <p:spPr>
              <a:xfrm>
                <a:off x="7539119" y="5337769"/>
                <a:ext cx="121572" cy="251645"/>
              </a:xfrm>
              <a:custGeom>
                <a:avLst/>
                <a:gdLst>
                  <a:gd name="connsiteX0" fmla="*/ 0 w 121572"/>
                  <a:gd name="connsiteY0" fmla="*/ 251488 h 251645"/>
                  <a:gd name="connsiteX1" fmla="*/ 0 w 121572"/>
                  <a:gd name="connsiteY1" fmla="*/ 0 h 251645"/>
                  <a:gd name="connsiteX2" fmla="*/ 117105 w 121572"/>
                  <a:gd name="connsiteY2" fmla="*/ 0 h 251645"/>
                  <a:gd name="connsiteX3" fmla="*/ 117105 w 121572"/>
                  <a:gd name="connsiteY3" fmla="*/ 41757 h 251645"/>
                  <a:gd name="connsiteX4" fmla="*/ 49139 w 121572"/>
                  <a:gd name="connsiteY4" fmla="*/ 41757 h 251645"/>
                  <a:gd name="connsiteX5" fmla="*/ 49139 w 121572"/>
                  <a:gd name="connsiteY5" fmla="*/ 104629 h 251645"/>
                  <a:gd name="connsiteX6" fmla="*/ 112957 w 121572"/>
                  <a:gd name="connsiteY6" fmla="*/ 104629 h 251645"/>
                  <a:gd name="connsiteX7" fmla="*/ 112957 w 121572"/>
                  <a:gd name="connsiteY7" fmla="*/ 146386 h 251645"/>
                  <a:gd name="connsiteX8" fmla="*/ 49139 w 121572"/>
                  <a:gd name="connsiteY8" fmla="*/ 146386 h 251645"/>
                  <a:gd name="connsiteX9" fmla="*/ 49139 w 121572"/>
                  <a:gd name="connsiteY9" fmla="*/ 209888 h 251645"/>
                  <a:gd name="connsiteX10" fmla="*/ 121572 w 121572"/>
                  <a:gd name="connsiteY10" fmla="*/ 209888 h 251645"/>
                  <a:gd name="connsiteX11" fmla="*/ 121572 w 121572"/>
                  <a:gd name="connsiteY11" fmla="*/ 251646 h 251645"/>
                  <a:gd name="connsiteX12" fmla="*/ 160 w 121572"/>
                  <a:gd name="connsiteY12" fmla="*/ 251646 h 25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572" h="251645">
                    <a:moveTo>
                      <a:pt x="0" y="251488"/>
                    </a:moveTo>
                    <a:lnTo>
                      <a:pt x="0" y="0"/>
                    </a:lnTo>
                    <a:lnTo>
                      <a:pt x="117105" y="0"/>
                    </a:lnTo>
                    <a:lnTo>
                      <a:pt x="117105" y="41757"/>
                    </a:lnTo>
                    <a:lnTo>
                      <a:pt x="49139" y="41757"/>
                    </a:lnTo>
                    <a:lnTo>
                      <a:pt x="49139" y="104629"/>
                    </a:lnTo>
                    <a:lnTo>
                      <a:pt x="112957" y="104629"/>
                    </a:lnTo>
                    <a:lnTo>
                      <a:pt x="112957" y="146386"/>
                    </a:lnTo>
                    <a:lnTo>
                      <a:pt x="49139" y="146386"/>
                    </a:lnTo>
                    <a:lnTo>
                      <a:pt x="49139" y="209888"/>
                    </a:lnTo>
                    <a:lnTo>
                      <a:pt x="121572" y="209888"/>
                    </a:lnTo>
                    <a:lnTo>
                      <a:pt x="121572" y="251646"/>
                    </a:lnTo>
                    <a:lnTo>
                      <a:pt x="160" y="251646"/>
                    </a:lnTo>
                    <a:close/>
                  </a:path>
                </a:pathLst>
              </a:custGeom>
              <a:solidFill>
                <a:srgbClr val="FFFFFF"/>
              </a:soli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3" name="Freeform 42">
                <a:extLst>
                  <a:ext uri="{FF2B5EF4-FFF2-40B4-BE49-F238E27FC236}">
                    <a16:creationId xmlns:a16="http://schemas.microsoft.com/office/drawing/2014/main" id="{4D7FD7BE-9E47-1017-B6FF-25C86B923854}"/>
                  </a:ext>
                </a:extLst>
              </p:cNvPr>
              <p:cNvSpPr/>
              <p:nvPr/>
            </p:nvSpPr>
            <p:spPr>
              <a:xfrm>
                <a:off x="7706958" y="5337612"/>
                <a:ext cx="163691" cy="251645"/>
              </a:xfrm>
              <a:custGeom>
                <a:avLst/>
                <a:gdLst>
                  <a:gd name="connsiteX0" fmla="*/ 108969 w 163691"/>
                  <a:gd name="connsiteY0" fmla="*/ 251646 h 251645"/>
                  <a:gd name="connsiteX1" fmla="*/ 52330 w 163691"/>
                  <a:gd name="connsiteY1" fmla="*/ 107938 h 251645"/>
                  <a:gd name="connsiteX2" fmla="*/ 43077 w 163691"/>
                  <a:gd name="connsiteY2" fmla="*/ 79260 h 251645"/>
                  <a:gd name="connsiteX3" fmla="*/ 40524 w 163691"/>
                  <a:gd name="connsiteY3" fmla="*/ 71223 h 251645"/>
                  <a:gd name="connsiteX4" fmla="*/ 39886 w 163691"/>
                  <a:gd name="connsiteY4" fmla="*/ 71223 h 251645"/>
                  <a:gd name="connsiteX5" fmla="*/ 41003 w 163691"/>
                  <a:gd name="connsiteY5" fmla="*/ 122592 h 251645"/>
                  <a:gd name="connsiteX6" fmla="*/ 41003 w 163691"/>
                  <a:gd name="connsiteY6" fmla="*/ 251488 h 251645"/>
                  <a:gd name="connsiteX7" fmla="*/ 0 w 163691"/>
                  <a:gd name="connsiteY7" fmla="*/ 251488 h 251645"/>
                  <a:gd name="connsiteX8" fmla="*/ 0 w 163691"/>
                  <a:gd name="connsiteY8" fmla="*/ 0 h 251645"/>
                  <a:gd name="connsiteX9" fmla="*/ 55681 w 163691"/>
                  <a:gd name="connsiteY9" fmla="*/ 0 h 251645"/>
                  <a:gd name="connsiteX10" fmla="*/ 112159 w 163691"/>
                  <a:gd name="connsiteY10" fmla="*/ 147016 h 251645"/>
                  <a:gd name="connsiteX11" fmla="*/ 123008 w 163691"/>
                  <a:gd name="connsiteY11" fmla="*/ 182943 h 251645"/>
                  <a:gd name="connsiteX12" fmla="*/ 123327 w 163691"/>
                  <a:gd name="connsiteY12" fmla="*/ 182943 h 251645"/>
                  <a:gd name="connsiteX13" fmla="*/ 122689 w 163691"/>
                  <a:gd name="connsiteY13" fmla="*/ 141501 h 251645"/>
                  <a:gd name="connsiteX14" fmla="*/ 122689 w 163691"/>
                  <a:gd name="connsiteY14" fmla="*/ 0 h 251645"/>
                  <a:gd name="connsiteX15" fmla="*/ 163692 w 163691"/>
                  <a:gd name="connsiteY15" fmla="*/ 0 h 251645"/>
                  <a:gd name="connsiteX16" fmla="*/ 163692 w 163691"/>
                  <a:gd name="connsiteY16" fmla="*/ 251488 h 251645"/>
                  <a:gd name="connsiteX17" fmla="*/ 109128 w 163691"/>
                  <a:gd name="connsiteY17" fmla="*/ 251488 h 25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3691" h="251645">
                    <a:moveTo>
                      <a:pt x="108969" y="251646"/>
                    </a:moveTo>
                    <a:lnTo>
                      <a:pt x="52330" y="107938"/>
                    </a:lnTo>
                    <a:cubicBezTo>
                      <a:pt x="49937" y="101793"/>
                      <a:pt x="46906" y="92338"/>
                      <a:pt x="43077" y="79260"/>
                    </a:cubicBezTo>
                    <a:cubicBezTo>
                      <a:pt x="42120" y="75951"/>
                      <a:pt x="41322" y="73272"/>
                      <a:pt x="40524" y="71223"/>
                    </a:cubicBezTo>
                    <a:lnTo>
                      <a:pt x="39886" y="71223"/>
                    </a:lnTo>
                    <a:cubicBezTo>
                      <a:pt x="40524" y="90763"/>
                      <a:pt x="41003" y="107938"/>
                      <a:pt x="41003" y="122592"/>
                    </a:cubicBezTo>
                    <a:lnTo>
                      <a:pt x="41003" y="251488"/>
                    </a:lnTo>
                    <a:lnTo>
                      <a:pt x="0" y="251488"/>
                    </a:lnTo>
                    <a:lnTo>
                      <a:pt x="0" y="0"/>
                    </a:lnTo>
                    <a:lnTo>
                      <a:pt x="55681" y="0"/>
                    </a:lnTo>
                    <a:lnTo>
                      <a:pt x="112159" y="147016"/>
                    </a:lnTo>
                    <a:cubicBezTo>
                      <a:pt x="113914" y="151744"/>
                      <a:pt x="117584" y="163719"/>
                      <a:pt x="123008" y="182943"/>
                    </a:cubicBezTo>
                    <a:lnTo>
                      <a:pt x="123327" y="182943"/>
                    </a:lnTo>
                    <a:lnTo>
                      <a:pt x="122689" y="141501"/>
                    </a:lnTo>
                    <a:lnTo>
                      <a:pt x="122689" y="0"/>
                    </a:lnTo>
                    <a:lnTo>
                      <a:pt x="163692" y="0"/>
                    </a:lnTo>
                    <a:lnTo>
                      <a:pt x="163692" y="251488"/>
                    </a:lnTo>
                    <a:lnTo>
                      <a:pt x="109128" y="251488"/>
                    </a:lnTo>
                    <a:close/>
                  </a:path>
                </a:pathLst>
              </a:custGeom>
              <a:solidFill>
                <a:srgbClr val="FFFFFF"/>
              </a:soli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4" name="Freeform 43">
                <a:extLst>
                  <a:ext uri="{FF2B5EF4-FFF2-40B4-BE49-F238E27FC236}">
                    <a16:creationId xmlns:a16="http://schemas.microsoft.com/office/drawing/2014/main" id="{03924320-65FA-DD81-7D2D-B6CCAA8877B3}"/>
                  </a:ext>
                </a:extLst>
              </p:cNvPr>
              <p:cNvSpPr/>
              <p:nvPr/>
            </p:nvSpPr>
            <p:spPr>
              <a:xfrm>
                <a:off x="7920268" y="5333357"/>
                <a:ext cx="147258" cy="260312"/>
              </a:xfrm>
              <a:custGeom>
                <a:avLst/>
                <a:gdLst>
                  <a:gd name="connsiteX0" fmla="*/ 147258 w 147258"/>
                  <a:gd name="connsiteY0" fmla="*/ 248336 h 260312"/>
                  <a:gd name="connsiteX1" fmla="*/ 98598 w 147258"/>
                  <a:gd name="connsiteY1" fmla="*/ 260312 h 260312"/>
                  <a:gd name="connsiteX2" fmla="*/ 26484 w 147258"/>
                  <a:gd name="connsiteY2" fmla="*/ 226906 h 260312"/>
                  <a:gd name="connsiteX3" fmla="*/ 0 w 147258"/>
                  <a:gd name="connsiteY3" fmla="*/ 135829 h 260312"/>
                  <a:gd name="connsiteX4" fmla="*/ 27282 w 147258"/>
                  <a:gd name="connsiteY4" fmla="*/ 35139 h 260312"/>
                  <a:gd name="connsiteX5" fmla="*/ 104341 w 147258"/>
                  <a:gd name="connsiteY5" fmla="*/ 0 h 260312"/>
                  <a:gd name="connsiteX6" fmla="*/ 147099 w 147258"/>
                  <a:gd name="connsiteY6" fmla="*/ 8667 h 260312"/>
                  <a:gd name="connsiteX7" fmla="*/ 147099 w 147258"/>
                  <a:gd name="connsiteY7" fmla="*/ 55624 h 260312"/>
                  <a:gd name="connsiteX8" fmla="*/ 107054 w 147258"/>
                  <a:gd name="connsiteY8" fmla="*/ 42230 h 260312"/>
                  <a:gd name="connsiteX9" fmla="*/ 65732 w 147258"/>
                  <a:gd name="connsiteY9" fmla="*/ 66181 h 260312"/>
                  <a:gd name="connsiteX10" fmla="*/ 50575 w 147258"/>
                  <a:gd name="connsiteY10" fmla="*/ 131417 h 260312"/>
                  <a:gd name="connsiteX11" fmla="*/ 64934 w 147258"/>
                  <a:gd name="connsiteY11" fmla="*/ 194919 h 260312"/>
                  <a:gd name="connsiteX12" fmla="*/ 104820 w 147258"/>
                  <a:gd name="connsiteY12" fmla="*/ 217767 h 260312"/>
                  <a:gd name="connsiteX13" fmla="*/ 146939 w 147258"/>
                  <a:gd name="connsiteY13" fmla="*/ 203428 h 260312"/>
                  <a:gd name="connsiteX14" fmla="*/ 146939 w 147258"/>
                  <a:gd name="connsiteY14" fmla="*/ 248336 h 260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7258" h="260312">
                    <a:moveTo>
                      <a:pt x="147258" y="248336"/>
                    </a:moveTo>
                    <a:cubicBezTo>
                      <a:pt x="133059" y="256215"/>
                      <a:pt x="116786" y="260312"/>
                      <a:pt x="98598" y="260312"/>
                    </a:cubicBezTo>
                    <a:cubicBezTo>
                      <a:pt x="68125" y="260312"/>
                      <a:pt x="44193" y="249124"/>
                      <a:pt x="26484" y="226906"/>
                    </a:cubicBezTo>
                    <a:cubicBezTo>
                      <a:pt x="8775" y="204689"/>
                      <a:pt x="0" y="174277"/>
                      <a:pt x="0" y="135829"/>
                    </a:cubicBezTo>
                    <a:cubicBezTo>
                      <a:pt x="0" y="92181"/>
                      <a:pt x="9094" y="58460"/>
                      <a:pt x="27282" y="35139"/>
                    </a:cubicBezTo>
                    <a:cubicBezTo>
                      <a:pt x="45470" y="11818"/>
                      <a:pt x="71156" y="0"/>
                      <a:pt x="104341" y="0"/>
                    </a:cubicBezTo>
                    <a:cubicBezTo>
                      <a:pt x="119817" y="0"/>
                      <a:pt x="134176" y="2836"/>
                      <a:pt x="147099" y="8667"/>
                    </a:cubicBezTo>
                    <a:lnTo>
                      <a:pt x="147099" y="55624"/>
                    </a:lnTo>
                    <a:cubicBezTo>
                      <a:pt x="134974" y="46799"/>
                      <a:pt x="121731" y="42230"/>
                      <a:pt x="107054" y="42230"/>
                    </a:cubicBezTo>
                    <a:cubicBezTo>
                      <a:pt x="89504" y="42230"/>
                      <a:pt x="75783" y="50266"/>
                      <a:pt x="65732" y="66181"/>
                    </a:cubicBezTo>
                    <a:cubicBezTo>
                      <a:pt x="55681" y="82096"/>
                      <a:pt x="50575" y="103841"/>
                      <a:pt x="50575" y="131417"/>
                    </a:cubicBezTo>
                    <a:cubicBezTo>
                      <a:pt x="50575" y="158992"/>
                      <a:pt x="55361" y="179792"/>
                      <a:pt x="64934" y="194919"/>
                    </a:cubicBezTo>
                    <a:cubicBezTo>
                      <a:pt x="74507" y="210046"/>
                      <a:pt x="87908" y="217767"/>
                      <a:pt x="104820" y="217767"/>
                    </a:cubicBezTo>
                    <a:cubicBezTo>
                      <a:pt x="119498" y="217767"/>
                      <a:pt x="133538" y="213040"/>
                      <a:pt x="146939" y="203428"/>
                    </a:cubicBezTo>
                    <a:lnTo>
                      <a:pt x="146939" y="248336"/>
                    </a:lnTo>
                    <a:close/>
                  </a:path>
                </a:pathLst>
              </a:custGeom>
              <a:solidFill>
                <a:srgbClr val="FFFFFF"/>
              </a:soli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5" name="Freeform 44">
                <a:extLst>
                  <a:ext uri="{FF2B5EF4-FFF2-40B4-BE49-F238E27FC236}">
                    <a16:creationId xmlns:a16="http://schemas.microsoft.com/office/drawing/2014/main" id="{0E5081AD-DEDE-E810-9B5F-9BD3863880BC}"/>
                  </a:ext>
                </a:extLst>
              </p:cNvPr>
              <p:cNvSpPr/>
              <p:nvPr/>
            </p:nvSpPr>
            <p:spPr>
              <a:xfrm>
                <a:off x="8117145" y="5337769"/>
                <a:ext cx="121572" cy="251645"/>
              </a:xfrm>
              <a:custGeom>
                <a:avLst/>
                <a:gdLst>
                  <a:gd name="connsiteX0" fmla="*/ 0 w 121572"/>
                  <a:gd name="connsiteY0" fmla="*/ 251488 h 251645"/>
                  <a:gd name="connsiteX1" fmla="*/ 0 w 121572"/>
                  <a:gd name="connsiteY1" fmla="*/ 0 h 251645"/>
                  <a:gd name="connsiteX2" fmla="*/ 117105 w 121572"/>
                  <a:gd name="connsiteY2" fmla="*/ 0 h 251645"/>
                  <a:gd name="connsiteX3" fmla="*/ 117105 w 121572"/>
                  <a:gd name="connsiteY3" fmla="*/ 41757 h 251645"/>
                  <a:gd name="connsiteX4" fmla="*/ 49139 w 121572"/>
                  <a:gd name="connsiteY4" fmla="*/ 41757 h 251645"/>
                  <a:gd name="connsiteX5" fmla="*/ 49139 w 121572"/>
                  <a:gd name="connsiteY5" fmla="*/ 104629 h 251645"/>
                  <a:gd name="connsiteX6" fmla="*/ 112957 w 121572"/>
                  <a:gd name="connsiteY6" fmla="*/ 104629 h 251645"/>
                  <a:gd name="connsiteX7" fmla="*/ 112957 w 121572"/>
                  <a:gd name="connsiteY7" fmla="*/ 146386 h 251645"/>
                  <a:gd name="connsiteX8" fmla="*/ 49139 w 121572"/>
                  <a:gd name="connsiteY8" fmla="*/ 146386 h 251645"/>
                  <a:gd name="connsiteX9" fmla="*/ 49139 w 121572"/>
                  <a:gd name="connsiteY9" fmla="*/ 209888 h 251645"/>
                  <a:gd name="connsiteX10" fmla="*/ 121572 w 121572"/>
                  <a:gd name="connsiteY10" fmla="*/ 209888 h 251645"/>
                  <a:gd name="connsiteX11" fmla="*/ 121572 w 121572"/>
                  <a:gd name="connsiteY11" fmla="*/ 251646 h 251645"/>
                  <a:gd name="connsiteX12" fmla="*/ 159 w 121572"/>
                  <a:gd name="connsiteY12" fmla="*/ 251646 h 25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572" h="251645">
                    <a:moveTo>
                      <a:pt x="0" y="251488"/>
                    </a:moveTo>
                    <a:lnTo>
                      <a:pt x="0" y="0"/>
                    </a:lnTo>
                    <a:lnTo>
                      <a:pt x="117105" y="0"/>
                    </a:lnTo>
                    <a:lnTo>
                      <a:pt x="117105" y="41757"/>
                    </a:lnTo>
                    <a:lnTo>
                      <a:pt x="49139" y="41757"/>
                    </a:lnTo>
                    <a:lnTo>
                      <a:pt x="49139" y="104629"/>
                    </a:lnTo>
                    <a:lnTo>
                      <a:pt x="112957" y="104629"/>
                    </a:lnTo>
                    <a:lnTo>
                      <a:pt x="112957" y="146386"/>
                    </a:lnTo>
                    <a:lnTo>
                      <a:pt x="49139" y="146386"/>
                    </a:lnTo>
                    <a:lnTo>
                      <a:pt x="49139" y="209888"/>
                    </a:lnTo>
                    <a:lnTo>
                      <a:pt x="121572" y="209888"/>
                    </a:lnTo>
                    <a:lnTo>
                      <a:pt x="121572" y="251646"/>
                    </a:lnTo>
                    <a:lnTo>
                      <a:pt x="159" y="251646"/>
                    </a:lnTo>
                    <a:close/>
                  </a:path>
                </a:pathLst>
              </a:custGeom>
              <a:solidFill>
                <a:srgbClr val="FFFFFF"/>
              </a:soli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24" name="Freeform 23">
              <a:extLst>
                <a:ext uri="{FF2B5EF4-FFF2-40B4-BE49-F238E27FC236}">
                  <a16:creationId xmlns:a16="http://schemas.microsoft.com/office/drawing/2014/main" id="{3982AD17-F098-206B-C1FC-43A65BF88DA2}"/>
                </a:ext>
              </a:extLst>
            </p:cNvPr>
            <p:cNvSpPr/>
            <p:nvPr/>
          </p:nvSpPr>
          <p:spPr>
            <a:xfrm>
              <a:off x="3410610" y="4760418"/>
              <a:ext cx="593182" cy="658501"/>
            </a:xfrm>
            <a:custGeom>
              <a:avLst/>
              <a:gdLst>
                <a:gd name="connsiteX0" fmla="*/ 551861 w 593182"/>
                <a:gd name="connsiteY0" fmla="*/ 364153 h 658501"/>
                <a:gd name="connsiteX1" fmla="*/ 361526 w 593182"/>
                <a:gd name="connsiteY1" fmla="*/ 546151 h 658501"/>
                <a:gd name="connsiteX2" fmla="*/ 333287 w 593182"/>
                <a:gd name="connsiteY2" fmla="*/ 548042 h 658501"/>
                <a:gd name="connsiteX3" fmla="*/ 187623 w 593182"/>
                <a:gd name="connsiteY3" fmla="*/ 493837 h 658501"/>
                <a:gd name="connsiteX4" fmla="*/ 153002 w 593182"/>
                <a:gd name="connsiteY4" fmla="*/ 456019 h 658501"/>
                <a:gd name="connsiteX5" fmla="*/ 111840 w 593182"/>
                <a:gd name="connsiteY5" fmla="*/ 329329 h 658501"/>
                <a:gd name="connsiteX6" fmla="*/ 118381 w 593182"/>
                <a:gd name="connsiteY6" fmla="*/ 276857 h 658501"/>
                <a:gd name="connsiteX7" fmla="*/ 294358 w 593182"/>
                <a:gd name="connsiteY7" fmla="*/ 114241 h 658501"/>
                <a:gd name="connsiteX8" fmla="*/ 498414 w 593182"/>
                <a:gd name="connsiteY8" fmla="*/ 45224 h 658501"/>
                <a:gd name="connsiteX9" fmla="*/ 501924 w 593182"/>
                <a:gd name="connsiteY9" fmla="*/ 45224 h 658501"/>
                <a:gd name="connsiteX10" fmla="*/ 333287 w 593182"/>
                <a:gd name="connsiteY10" fmla="*/ 0 h 658501"/>
                <a:gd name="connsiteX11" fmla="*/ 0 w 593182"/>
                <a:gd name="connsiteY11" fmla="*/ 329329 h 658501"/>
                <a:gd name="connsiteX12" fmla="*/ 38610 w 593182"/>
                <a:gd name="connsiteY12" fmla="*/ 482964 h 658501"/>
                <a:gd name="connsiteX13" fmla="*/ 203258 w 593182"/>
                <a:gd name="connsiteY13" fmla="*/ 632344 h 658501"/>
                <a:gd name="connsiteX14" fmla="*/ 330096 w 593182"/>
                <a:gd name="connsiteY14" fmla="*/ 658501 h 658501"/>
                <a:gd name="connsiteX15" fmla="*/ 333606 w 593182"/>
                <a:gd name="connsiteY15" fmla="*/ 658501 h 658501"/>
                <a:gd name="connsiteX16" fmla="*/ 537662 w 593182"/>
                <a:gd name="connsiteY16" fmla="*/ 589484 h 658501"/>
                <a:gd name="connsiteX17" fmla="*/ 586801 w 593182"/>
                <a:gd name="connsiteY17" fmla="*/ 543000 h 658501"/>
                <a:gd name="connsiteX18" fmla="*/ 593183 w 593182"/>
                <a:gd name="connsiteY18" fmla="*/ 490685 h 658501"/>
                <a:gd name="connsiteX19" fmla="*/ 552021 w 593182"/>
                <a:gd name="connsiteY19" fmla="*/ 363838 h 658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93182" h="658501">
                  <a:moveTo>
                    <a:pt x="551861" y="364153"/>
                  </a:moveTo>
                  <a:cubicBezTo>
                    <a:pt x="536385" y="459170"/>
                    <a:pt x="458688" y="533860"/>
                    <a:pt x="361526" y="546151"/>
                  </a:cubicBezTo>
                  <a:cubicBezTo>
                    <a:pt x="352272" y="547254"/>
                    <a:pt x="342859" y="548042"/>
                    <a:pt x="333287" y="548042"/>
                  </a:cubicBezTo>
                  <a:cubicBezTo>
                    <a:pt x="277606" y="548042"/>
                    <a:pt x="226552" y="527557"/>
                    <a:pt x="187623" y="493837"/>
                  </a:cubicBezTo>
                  <a:cubicBezTo>
                    <a:pt x="174700" y="482649"/>
                    <a:pt x="163054" y="469885"/>
                    <a:pt x="153002" y="456019"/>
                  </a:cubicBezTo>
                  <a:cubicBezTo>
                    <a:pt x="127156" y="420250"/>
                    <a:pt x="111840" y="376602"/>
                    <a:pt x="111840" y="329329"/>
                  </a:cubicBezTo>
                  <a:cubicBezTo>
                    <a:pt x="111840" y="311208"/>
                    <a:pt x="114074" y="293718"/>
                    <a:pt x="118381" y="276857"/>
                  </a:cubicBezTo>
                  <a:cubicBezTo>
                    <a:pt x="139282" y="193816"/>
                    <a:pt x="208204" y="129368"/>
                    <a:pt x="294358" y="114241"/>
                  </a:cubicBezTo>
                  <a:cubicBezTo>
                    <a:pt x="350836" y="71066"/>
                    <a:pt x="421514" y="45224"/>
                    <a:pt x="498414" y="45224"/>
                  </a:cubicBezTo>
                  <a:cubicBezTo>
                    <a:pt x="499531" y="45224"/>
                    <a:pt x="500648" y="45224"/>
                    <a:pt x="501924" y="45224"/>
                  </a:cubicBezTo>
                  <a:cubicBezTo>
                    <a:pt x="452466" y="16545"/>
                    <a:pt x="394870" y="0"/>
                    <a:pt x="333287" y="0"/>
                  </a:cubicBezTo>
                  <a:cubicBezTo>
                    <a:pt x="149333" y="0"/>
                    <a:pt x="0" y="147332"/>
                    <a:pt x="0" y="329329"/>
                  </a:cubicBezTo>
                  <a:cubicBezTo>
                    <a:pt x="0" y="384795"/>
                    <a:pt x="14040" y="437110"/>
                    <a:pt x="38610" y="482964"/>
                  </a:cubicBezTo>
                  <a:cubicBezTo>
                    <a:pt x="74347" y="549618"/>
                    <a:pt x="132581" y="602720"/>
                    <a:pt x="203258" y="632344"/>
                  </a:cubicBezTo>
                  <a:cubicBezTo>
                    <a:pt x="242347" y="648732"/>
                    <a:pt x="285104" y="658029"/>
                    <a:pt x="330096" y="658501"/>
                  </a:cubicBezTo>
                  <a:cubicBezTo>
                    <a:pt x="331212" y="658501"/>
                    <a:pt x="332329" y="658501"/>
                    <a:pt x="333606" y="658501"/>
                  </a:cubicBezTo>
                  <a:cubicBezTo>
                    <a:pt x="410506" y="658501"/>
                    <a:pt x="481343" y="632659"/>
                    <a:pt x="537662" y="589484"/>
                  </a:cubicBezTo>
                  <a:cubicBezTo>
                    <a:pt x="555690" y="575775"/>
                    <a:pt x="572123" y="560018"/>
                    <a:pt x="586801" y="543000"/>
                  </a:cubicBezTo>
                  <a:cubicBezTo>
                    <a:pt x="590949" y="526297"/>
                    <a:pt x="593183" y="508806"/>
                    <a:pt x="593183" y="490685"/>
                  </a:cubicBezTo>
                  <a:cubicBezTo>
                    <a:pt x="593183" y="443413"/>
                    <a:pt x="577867" y="399607"/>
                    <a:pt x="552021" y="363838"/>
                  </a:cubicBezTo>
                  <a:close/>
                </a:path>
              </a:pathLst>
            </a:custGeom>
            <a:solidFill>
              <a:srgbClr val="5364AE"/>
            </a:solidFill>
            <a:ln w="7336" cap="flat">
              <a:solidFill>
                <a:srgbClr val="FFFFFF"/>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Freeform 24">
              <a:extLst>
                <a:ext uri="{FF2B5EF4-FFF2-40B4-BE49-F238E27FC236}">
                  <a16:creationId xmlns:a16="http://schemas.microsoft.com/office/drawing/2014/main" id="{42E0C1DA-6717-35A0-5AAD-344239C27E7D}"/>
                </a:ext>
              </a:extLst>
            </p:cNvPr>
            <p:cNvSpPr/>
            <p:nvPr/>
          </p:nvSpPr>
          <p:spPr>
            <a:xfrm>
              <a:off x="3448741" y="4927132"/>
              <a:ext cx="666732" cy="653774"/>
            </a:xfrm>
            <a:custGeom>
              <a:avLst/>
              <a:gdLst>
                <a:gd name="connsiteX0" fmla="*/ 665137 w 666732"/>
                <a:gd name="connsiteY0" fmla="*/ 290724 h 653774"/>
                <a:gd name="connsiteX1" fmla="*/ 628442 w 666732"/>
                <a:gd name="connsiteY1" fmla="*/ 170495 h 653774"/>
                <a:gd name="connsiteX2" fmla="*/ 463474 w 666732"/>
                <a:gd name="connsiteY2" fmla="*/ 20800 h 653774"/>
                <a:gd name="connsiteX3" fmla="*/ 391520 w 666732"/>
                <a:gd name="connsiteY3" fmla="*/ 0 h 653774"/>
                <a:gd name="connsiteX4" fmla="*/ 258141 w 666732"/>
                <a:gd name="connsiteY4" fmla="*/ 118653 h 653774"/>
                <a:gd name="connsiteX5" fmla="*/ 333446 w 666732"/>
                <a:gd name="connsiteY5" fmla="*/ 105575 h 653774"/>
                <a:gd name="connsiteX6" fmla="*/ 513571 w 666732"/>
                <a:gd name="connsiteY6" fmla="*/ 197440 h 653774"/>
                <a:gd name="connsiteX7" fmla="*/ 554733 w 666732"/>
                <a:gd name="connsiteY7" fmla="*/ 324287 h 653774"/>
                <a:gd name="connsiteX8" fmla="*/ 548351 w 666732"/>
                <a:gd name="connsiteY8" fmla="*/ 376602 h 653774"/>
                <a:gd name="connsiteX9" fmla="*/ 535428 w 666732"/>
                <a:gd name="connsiteY9" fmla="*/ 413316 h 653774"/>
                <a:gd name="connsiteX10" fmla="*/ 402050 w 666732"/>
                <a:gd name="connsiteY10" fmla="*/ 532127 h 653774"/>
                <a:gd name="connsiteX11" fmla="*/ 333287 w 666732"/>
                <a:gd name="connsiteY11" fmla="*/ 543000 h 653774"/>
                <a:gd name="connsiteX12" fmla="*/ 164808 w 666732"/>
                <a:gd name="connsiteY12" fmla="*/ 465946 h 653774"/>
                <a:gd name="connsiteX13" fmla="*/ 160 w 666732"/>
                <a:gd name="connsiteY13" fmla="*/ 316566 h 653774"/>
                <a:gd name="connsiteX14" fmla="*/ 0 w 666732"/>
                <a:gd name="connsiteY14" fmla="*/ 324445 h 653774"/>
                <a:gd name="connsiteX15" fmla="*/ 333446 w 666732"/>
                <a:gd name="connsiteY15" fmla="*/ 653774 h 653774"/>
                <a:gd name="connsiteX16" fmla="*/ 615998 w 666732"/>
                <a:gd name="connsiteY16" fmla="*/ 499037 h 653774"/>
                <a:gd name="connsiteX17" fmla="*/ 666733 w 666732"/>
                <a:gd name="connsiteY17" fmla="*/ 324445 h 653774"/>
                <a:gd name="connsiteX18" fmla="*/ 664818 w 666732"/>
                <a:gd name="connsiteY18" fmla="*/ 290881 h 653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6732" h="653774">
                  <a:moveTo>
                    <a:pt x="665137" y="290724"/>
                  </a:moveTo>
                  <a:cubicBezTo>
                    <a:pt x="660670" y="247706"/>
                    <a:pt x="648066" y="207052"/>
                    <a:pt x="628442" y="170495"/>
                  </a:cubicBezTo>
                  <a:cubicBezTo>
                    <a:pt x="592704" y="103684"/>
                    <a:pt x="534311" y="50581"/>
                    <a:pt x="463474" y="20800"/>
                  </a:cubicBezTo>
                  <a:cubicBezTo>
                    <a:pt x="440659" y="11345"/>
                    <a:pt x="416568" y="4254"/>
                    <a:pt x="391520" y="0"/>
                  </a:cubicBezTo>
                  <a:cubicBezTo>
                    <a:pt x="332010" y="19224"/>
                    <a:pt x="283509" y="62714"/>
                    <a:pt x="258141" y="118653"/>
                  </a:cubicBezTo>
                  <a:cubicBezTo>
                    <a:pt x="281754" y="110144"/>
                    <a:pt x="306962" y="105575"/>
                    <a:pt x="333446" y="105575"/>
                  </a:cubicBezTo>
                  <a:cubicBezTo>
                    <a:pt x="407634" y="105575"/>
                    <a:pt x="473366" y="141816"/>
                    <a:pt x="513571" y="197440"/>
                  </a:cubicBezTo>
                  <a:cubicBezTo>
                    <a:pt x="539417" y="233209"/>
                    <a:pt x="554733" y="277015"/>
                    <a:pt x="554733" y="324287"/>
                  </a:cubicBezTo>
                  <a:cubicBezTo>
                    <a:pt x="554733" y="342250"/>
                    <a:pt x="552499" y="359741"/>
                    <a:pt x="548351" y="376602"/>
                  </a:cubicBezTo>
                  <a:cubicBezTo>
                    <a:pt x="545160" y="389365"/>
                    <a:pt x="540853" y="401656"/>
                    <a:pt x="535428" y="413316"/>
                  </a:cubicBezTo>
                  <a:cubicBezTo>
                    <a:pt x="510061" y="469255"/>
                    <a:pt x="461560" y="512745"/>
                    <a:pt x="402050" y="532127"/>
                  </a:cubicBezTo>
                  <a:cubicBezTo>
                    <a:pt x="380352" y="539060"/>
                    <a:pt x="357378" y="543000"/>
                    <a:pt x="333287" y="543000"/>
                  </a:cubicBezTo>
                  <a:cubicBezTo>
                    <a:pt x="265800" y="543000"/>
                    <a:pt x="205333" y="513061"/>
                    <a:pt x="164808" y="465946"/>
                  </a:cubicBezTo>
                  <a:cubicBezTo>
                    <a:pt x="94131" y="436322"/>
                    <a:pt x="35897" y="383220"/>
                    <a:pt x="160" y="316566"/>
                  </a:cubicBezTo>
                  <a:cubicBezTo>
                    <a:pt x="160" y="319245"/>
                    <a:pt x="0" y="321766"/>
                    <a:pt x="0" y="324445"/>
                  </a:cubicBezTo>
                  <a:cubicBezTo>
                    <a:pt x="0" y="506285"/>
                    <a:pt x="149333" y="653774"/>
                    <a:pt x="333446" y="653774"/>
                  </a:cubicBezTo>
                  <a:cubicBezTo>
                    <a:pt x="452625" y="653774"/>
                    <a:pt x="557126" y="592005"/>
                    <a:pt x="615998" y="499037"/>
                  </a:cubicBezTo>
                  <a:cubicBezTo>
                    <a:pt x="648066" y="448455"/>
                    <a:pt x="666733" y="388577"/>
                    <a:pt x="666733" y="324445"/>
                  </a:cubicBezTo>
                  <a:cubicBezTo>
                    <a:pt x="666733" y="313099"/>
                    <a:pt x="665935" y="301912"/>
                    <a:pt x="664818" y="290881"/>
                  </a:cubicBezTo>
                  <a:close/>
                </a:path>
              </a:pathLst>
            </a:custGeom>
            <a:solidFill>
              <a:srgbClr val="762775"/>
            </a:solidFill>
            <a:ln w="7336" cap="flat">
              <a:solidFill>
                <a:srgbClr val="FFFFFF"/>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 name="Freeform 25">
              <a:extLst>
                <a:ext uri="{FF2B5EF4-FFF2-40B4-BE49-F238E27FC236}">
                  <a16:creationId xmlns:a16="http://schemas.microsoft.com/office/drawing/2014/main" id="{32D022E5-F4DB-FC89-3338-45D68D5D4948}"/>
                </a:ext>
              </a:extLst>
            </p:cNvPr>
            <p:cNvSpPr/>
            <p:nvPr/>
          </p:nvSpPr>
          <p:spPr>
            <a:xfrm>
              <a:off x="3575578" y="4805642"/>
              <a:ext cx="667051" cy="620525"/>
            </a:xfrm>
            <a:custGeom>
              <a:avLst/>
              <a:gdLst>
                <a:gd name="connsiteX0" fmla="*/ 336956 w 667051"/>
                <a:gd name="connsiteY0" fmla="*/ 0 h 620525"/>
                <a:gd name="connsiteX1" fmla="*/ 333446 w 667051"/>
                <a:gd name="connsiteY1" fmla="*/ 0 h 620525"/>
                <a:gd name="connsiteX2" fmla="*/ 129390 w 667051"/>
                <a:gd name="connsiteY2" fmla="*/ 69017 h 620525"/>
                <a:gd name="connsiteX3" fmla="*/ 50894 w 667051"/>
                <a:gd name="connsiteY3" fmla="*/ 154738 h 620525"/>
                <a:gd name="connsiteX4" fmla="*/ 0 w 667051"/>
                <a:gd name="connsiteY4" fmla="*/ 329329 h 620525"/>
                <a:gd name="connsiteX5" fmla="*/ 1755 w 667051"/>
                <a:gd name="connsiteY5" fmla="*/ 363050 h 620525"/>
                <a:gd name="connsiteX6" fmla="*/ 22655 w 667051"/>
                <a:gd name="connsiteY6" fmla="*/ 448613 h 620525"/>
                <a:gd name="connsiteX7" fmla="*/ 168318 w 667051"/>
                <a:gd name="connsiteY7" fmla="*/ 502818 h 620525"/>
                <a:gd name="connsiteX8" fmla="*/ 196558 w 667051"/>
                <a:gd name="connsiteY8" fmla="*/ 500927 h 620525"/>
                <a:gd name="connsiteX9" fmla="*/ 112000 w 667051"/>
                <a:gd name="connsiteY9" fmla="*/ 329329 h 620525"/>
                <a:gd name="connsiteX10" fmla="*/ 131304 w 667051"/>
                <a:gd name="connsiteY10" fmla="*/ 240300 h 620525"/>
                <a:gd name="connsiteX11" fmla="*/ 264683 w 667051"/>
                <a:gd name="connsiteY11" fmla="*/ 121647 h 620525"/>
                <a:gd name="connsiteX12" fmla="*/ 305207 w 667051"/>
                <a:gd name="connsiteY12" fmla="*/ 112665 h 620525"/>
                <a:gd name="connsiteX13" fmla="*/ 333446 w 667051"/>
                <a:gd name="connsiteY13" fmla="*/ 110774 h 620525"/>
                <a:gd name="connsiteX14" fmla="*/ 479109 w 667051"/>
                <a:gd name="connsiteY14" fmla="*/ 164980 h 620525"/>
                <a:gd name="connsiteX15" fmla="*/ 554892 w 667051"/>
                <a:gd name="connsiteY15" fmla="*/ 329487 h 620525"/>
                <a:gd name="connsiteX16" fmla="*/ 538300 w 667051"/>
                <a:gd name="connsiteY16" fmla="*/ 412371 h 620525"/>
                <a:gd name="connsiteX17" fmla="*/ 540215 w 667051"/>
                <a:gd name="connsiteY17" fmla="*/ 445934 h 620525"/>
                <a:gd name="connsiteX18" fmla="*/ 489480 w 667051"/>
                <a:gd name="connsiteY18" fmla="*/ 620526 h 620525"/>
                <a:gd name="connsiteX19" fmla="*/ 667052 w 667051"/>
                <a:gd name="connsiteY19" fmla="*/ 329487 h 620525"/>
                <a:gd name="connsiteX20" fmla="*/ 337116 w 667051"/>
                <a:gd name="connsiteY20" fmla="*/ 315 h 62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67051" h="620525">
                  <a:moveTo>
                    <a:pt x="336956" y="0"/>
                  </a:moveTo>
                  <a:cubicBezTo>
                    <a:pt x="335839" y="0"/>
                    <a:pt x="334722" y="0"/>
                    <a:pt x="333446" y="0"/>
                  </a:cubicBezTo>
                  <a:cubicBezTo>
                    <a:pt x="256546" y="0"/>
                    <a:pt x="185709" y="25842"/>
                    <a:pt x="129390" y="69017"/>
                  </a:cubicBezTo>
                  <a:cubicBezTo>
                    <a:pt x="98438" y="92811"/>
                    <a:pt x="71795" y="121805"/>
                    <a:pt x="50894" y="154738"/>
                  </a:cubicBezTo>
                  <a:cubicBezTo>
                    <a:pt x="18667" y="205319"/>
                    <a:pt x="0" y="265197"/>
                    <a:pt x="0" y="329329"/>
                  </a:cubicBezTo>
                  <a:cubicBezTo>
                    <a:pt x="0" y="340675"/>
                    <a:pt x="638" y="352020"/>
                    <a:pt x="1755" y="363050"/>
                  </a:cubicBezTo>
                  <a:cubicBezTo>
                    <a:pt x="4786" y="392989"/>
                    <a:pt x="11966" y="421668"/>
                    <a:pt x="22655" y="448613"/>
                  </a:cubicBezTo>
                  <a:cubicBezTo>
                    <a:pt x="61584" y="482334"/>
                    <a:pt x="112638" y="502818"/>
                    <a:pt x="168318" y="502818"/>
                  </a:cubicBezTo>
                  <a:cubicBezTo>
                    <a:pt x="177891" y="502818"/>
                    <a:pt x="187304" y="502188"/>
                    <a:pt x="196558" y="500927"/>
                  </a:cubicBezTo>
                  <a:cubicBezTo>
                    <a:pt x="145185" y="460904"/>
                    <a:pt x="112000" y="398820"/>
                    <a:pt x="112000" y="329329"/>
                  </a:cubicBezTo>
                  <a:cubicBezTo>
                    <a:pt x="112000" y="297657"/>
                    <a:pt x="118860" y="267403"/>
                    <a:pt x="131304" y="240300"/>
                  </a:cubicBezTo>
                  <a:cubicBezTo>
                    <a:pt x="156672" y="184361"/>
                    <a:pt x="205173" y="140871"/>
                    <a:pt x="264683" y="121647"/>
                  </a:cubicBezTo>
                  <a:cubicBezTo>
                    <a:pt x="277765" y="117393"/>
                    <a:pt x="291167" y="114399"/>
                    <a:pt x="305207" y="112665"/>
                  </a:cubicBezTo>
                  <a:cubicBezTo>
                    <a:pt x="314460" y="111562"/>
                    <a:pt x="323873" y="110774"/>
                    <a:pt x="333446" y="110774"/>
                  </a:cubicBezTo>
                  <a:cubicBezTo>
                    <a:pt x="389127" y="110774"/>
                    <a:pt x="440181" y="131259"/>
                    <a:pt x="479109" y="164980"/>
                  </a:cubicBezTo>
                  <a:cubicBezTo>
                    <a:pt x="525536" y="205161"/>
                    <a:pt x="554892" y="263936"/>
                    <a:pt x="554892" y="329487"/>
                  </a:cubicBezTo>
                  <a:cubicBezTo>
                    <a:pt x="554892" y="358796"/>
                    <a:pt x="548989" y="386844"/>
                    <a:pt x="538300" y="412371"/>
                  </a:cubicBezTo>
                  <a:cubicBezTo>
                    <a:pt x="539417" y="423401"/>
                    <a:pt x="540215" y="434589"/>
                    <a:pt x="540215" y="445934"/>
                  </a:cubicBezTo>
                  <a:cubicBezTo>
                    <a:pt x="540215" y="510067"/>
                    <a:pt x="521548" y="569945"/>
                    <a:pt x="489480" y="620526"/>
                  </a:cubicBezTo>
                  <a:cubicBezTo>
                    <a:pt x="595097" y="565218"/>
                    <a:pt x="667052" y="455704"/>
                    <a:pt x="667052" y="329487"/>
                  </a:cubicBezTo>
                  <a:cubicBezTo>
                    <a:pt x="667052" y="148750"/>
                    <a:pt x="519633" y="2048"/>
                    <a:pt x="337116" y="315"/>
                  </a:cubicBezTo>
                  <a:close/>
                </a:path>
              </a:pathLst>
            </a:custGeom>
            <a:solidFill>
              <a:srgbClr val="1E959D"/>
            </a:solidFill>
            <a:ln w="7336" cap="flat">
              <a:solidFill>
                <a:srgbClr val="FFFFFF"/>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Tree>
    <p:extLst>
      <p:ext uri="{BB962C8B-B14F-4D97-AF65-F5344CB8AC3E}">
        <p14:creationId xmlns:p14="http://schemas.microsoft.com/office/powerpoint/2010/main" val="21047020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1_Title Presentation">
    <p:bg>
      <p:bgPr>
        <a:gradFill>
          <a:gsLst>
            <a:gs pos="2000">
              <a:srgbClr val="0179D4"/>
            </a:gs>
            <a:gs pos="32000">
              <a:srgbClr val="2CB6FF"/>
            </a:gs>
            <a:gs pos="44000">
              <a:srgbClr val="2DB6FF"/>
            </a:gs>
            <a:gs pos="81000">
              <a:srgbClr val="D962FA"/>
            </a:gs>
            <a:gs pos="96000">
              <a:srgbClr val="F69991"/>
            </a:gs>
          </a:gsLst>
          <a:lin ang="3600000" scaled="0"/>
        </a:gradFill>
        <a:effectLst/>
      </p:bgPr>
    </p:bg>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E9233ADA-E271-6E93-F32E-718454D76C3D}"/>
              </a:ext>
            </a:extLst>
          </p:cNvPr>
          <p:cNvSpPr/>
          <p:nvPr userDrawn="1"/>
        </p:nvSpPr>
        <p:spPr>
          <a:xfrm>
            <a:off x="322521" y="283028"/>
            <a:ext cx="11546958" cy="6291943"/>
          </a:xfrm>
          <a:prstGeom prst="roundRect">
            <a:avLst>
              <a:gd name="adj" fmla="val 3511"/>
            </a:avLst>
          </a:prstGeom>
          <a:solidFill>
            <a:srgbClr val="091F2C">
              <a:alpha val="8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MS logo gray - EMF">
            <a:extLst>
              <a:ext uri="{FF2B5EF4-FFF2-40B4-BE49-F238E27FC236}">
                <a16:creationId xmlns:a16="http://schemas.microsoft.com/office/drawing/2014/main" id="{F64DBD9B-57E9-BAEC-DDB8-E957620339A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82944" y="13063873"/>
            <a:ext cx="1366440" cy="292608"/>
          </a:xfrm>
          <a:prstGeom prst="rect">
            <a:avLst/>
          </a:prstGeom>
        </p:spPr>
      </p:pic>
      <p:pic>
        <p:nvPicPr>
          <p:cNvPr id="10" name="Picture 9" descr="A blue text on a dark background&#10;&#10;AI-generated content may be incorrect.">
            <a:extLst>
              <a:ext uri="{FF2B5EF4-FFF2-40B4-BE49-F238E27FC236}">
                <a16:creationId xmlns:a16="http://schemas.microsoft.com/office/drawing/2014/main" id="{F91EBE01-28A7-9587-582B-5D328ACBDEA8}"/>
              </a:ext>
            </a:extLst>
          </p:cNvPr>
          <p:cNvPicPr>
            <a:picLocks noChangeAspect="1"/>
          </p:cNvPicPr>
          <p:nvPr userDrawn="1"/>
        </p:nvPicPr>
        <p:blipFill>
          <a:blip r:embed="rId3">
            <a:extLst>
              <a:ext uri="{28A0092B-C50C-407E-A947-70E740481C1C}">
                <a14:useLocalDpi xmlns:a14="http://schemas.microsoft.com/office/drawing/2010/main" val="0"/>
              </a:ext>
            </a:extLst>
          </a:blip>
          <a:srcRect l="6973" t="18834" r="57059" b="22553"/>
          <a:stretch/>
        </p:blipFill>
        <p:spPr>
          <a:xfrm>
            <a:off x="588552" y="569042"/>
            <a:ext cx="3765004" cy="894000"/>
          </a:xfrm>
          <a:prstGeom prst="rect">
            <a:avLst/>
          </a:prstGeom>
        </p:spPr>
      </p:pic>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758597" y="2922191"/>
            <a:ext cx="8193024" cy="1495794"/>
          </a:xfrm>
          <a:noFill/>
        </p:spPr>
        <p:txBody>
          <a:bodyPr wrap="square" lIns="0" tIns="0" rIns="0" bIns="0" anchor="b" anchorCtr="0">
            <a:spAutoFit/>
          </a:bodyPr>
          <a:lstStyle>
            <a:lvl1pPr algn="l">
              <a:defRPr sz="5400" b="1" i="0" spc="-50" baseline="0">
                <a:gradFill>
                  <a:gsLst>
                    <a:gs pos="2000">
                      <a:srgbClr val="0179D4"/>
                    </a:gs>
                    <a:gs pos="32000">
                      <a:srgbClr val="2CB6FF"/>
                    </a:gs>
                    <a:gs pos="44000">
                      <a:srgbClr val="2DB6FF"/>
                    </a:gs>
                    <a:gs pos="81000">
                      <a:srgbClr val="D962FA"/>
                    </a:gs>
                    <a:gs pos="96000">
                      <a:srgbClr val="F69991"/>
                    </a:gs>
                  </a:gsLst>
                  <a:lin ang="3600000" scaled="0"/>
                </a:gradFill>
                <a:latin typeface="Segoe UI" panose="020B0502040204020203" pitchFamily="34" charset="0"/>
                <a:cs typeface="Segoe UI" panose="020B0502040204020203" pitchFamily="34" charset="0"/>
              </a:defRPr>
            </a:lvl1pPr>
          </a:lstStyle>
          <a:p>
            <a:r>
              <a:rPr lang="en-US" dirty="0"/>
              <a:t>Event name or </a:t>
            </a:r>
            <a:br>
              <a:rPr lang="en-US" dirty="0"/>
            </a:br>
            <a:r>
              <a:rPr lang="en-US" dirty="0"/>
              <a:t>presentation title </a:t>
            </a:r>
          </a:p>
        </p:txBody>
      </p:sp>
      <p:sp>
        <p:nvSpPr>
          <p:cNvPr id="3" name="Subtitle">
            <a:extLst>
              <a:ext uri="{FF2B5EF4-FFF2-40B4-BE49-F238E27FC236}">
                <a16:creationId xmlns:a16="http://schemas.microsoft.com/office/drawing/2014/main" id="{AA1ADBE6-5E29-7A6B-E210-597F443C7BFA}"/>
              </a:ext>
            </a:extLst>
          </p:cNvPr>
          <p:cNvSpPr>
            <a:spLocks noGrp="1"/>
          </p:cNvSpPr>
          <p:nvPr>
            <p:ph type="body" sz="quarter" idx="12" hasCustomPrompt="1"/>
          </p:nvPr>
        </p:nvSpPr>
        <p:spPr>
          <a:xfrm>
            <a:off x="758597" y="4573783"/>
            <a:ext cx="8193024" cy="276999"/>
          </a:xfrm>
          <a:prstGeom prst="rect">
            <a:avLst/>
          </a:prstGeom>
          <a:noFill/>
        </p:spPr>
        <p:txBody>
          <a:bodyPr wrap="square" lIns="0" tIns="0" rIns="0" bIns="0">
            <a:spAutoFit/>
          </a:bodyPr>
          <a:lstStyle>
            <a:lvl1pPr marL="0" indent="0">
              <a:spcBef>
                <a:spcPts val="0"/>
              </a:spcBef>
              <a:buNone/>
              <a:defRPr sz="2000" spc="0" baseline="0">
                <a:solidFill>
                  <a:schemeClr val="bg1"/>
                </a:solidFill>
                <a:latin typeface="Segoe UI" panose="020B0502040204020203" pitchFamily="34" charset="0"/>
                <a:cs typeface="Segoe UI" panose="020B0502040204020203" pitchFamily="34" charset="0"/>
              </a:defRPr>
            </a:lvl1pPr>
          </a:lstStyle>
          <a:p>
            <a:pPr lvl="0"/>
            <a:r>
              <a:rPr lang="en-US" dirty="0"/>
              <a:t>Speaker name or subtitle</a:t>
            </a:r>
          </a:p>
        </p:txBody>
      </p:sp>
      <p:sp>
        <p:nvSpPr>
          <p:cNvPr id="9" name="Text Placeholder 4">
            <a:extLst>
              <a:ext uri="{FF2B5EF4-FFF2-40B4-BE49-F238E27FC236}">
                <a16:creationId xmlns:a16="http://schemas.microsoft.com/office/drawing/2014/main" id="{9D791B19-58A7-CCC1-7E59-596D25308565}"/>
              </a:ext>
            </a:extLst>
          </p:cNvPr>
          <p:cNvSpPr>
            <a:spLocks noGrp="1"/>
          </p:cNvSpPr>
          <p:nvPr>
            <p:ph type="body" sz="quarter" idx="13" hasCustomPrompt="1"/>
          </p:nvPr>
        </p:nvSpPr>
        <p:spPr>
          <a:xfrm>
            <a:off x="758597" y="6135070"/>
            <a:ext cx="1645920" cy="139397"/>
          </a:xfrm>
          <a:prstGeom prst="rect">
            <a:avLst/>
          </a:prstGeom>
          <a:noFill/>
        </p:spPr>
        <p:txBody>
          <a:bodyPr wrap="square" lIns="0" tIns="0" rIns="0" bIns="0">
            <a:spAutoFit/>
          </a:bodyPr>
          <a:lstStyle>
            <a:lvl1pPr marL="0" indent="0">
              <a:spcBef>
                <a:spcPts val="0"/>
              </a:spcBef>
              <a:buNone/>
              <a:defRPr sz="1000" spc="0" baseline="0">
                <a:solidFill>
                  <a:schemeClr val="bg1"/>
                </a:solidFill>
                <a:latin typeface="Segoe UI" panose="020B0502040204020203" pitchFamily="34" charset="0"/>
                <a:cs typeface="Segoe UI" panose="020B0502040204020203" pitchFamily="34" charset="0"/>
              </a:defRPr>
            </a:lvl1pPr>
          </a:lstStyle>
          <a:p>
            <a:pPr lvl="0"/>
            <a:r>
              <a:rPr lang="en-US"/>
              <a:t>Date</a:t>
            </a:r>
          </a:p>
        </p:txBody>
      </p:sp>
      <p:sp>
        <p:nvSpPr>
          <p:cNvPr id="11" name="TextBox 10">
            <a:extLst>
              <a:ext uri="{FF2B5EF4-FFF2-40B4-BE49-F238E27FC236}">
                <a16:creationId xmlns:a16="http://schemas.microsoft.com/office/drawing/2014/main" id="{79D24C9A-89BC-97E2-72D1-CB264F76EC90}"/>
              </a:ext>
            </a:extLst>
          </p:cNvPr>
          <p:cNvSpPr txBox="1"/>
          <p:nvPr userDrawn="1"/>
        </p:nvSpPr>
        <p:spPr>
          <a:xfrm>
            <a:off x="2647609" y="6135070"/>
            <a:ext cx="3143489" cy="153888"/>
          </a:xfrm>
          <a:prstGeom prst="rect">
            <a:avLst/>
          </a:prstGeom>
          <a:noFill/>
        </p:spPr>
        <p:txBody>
          <a:bodyPr wrap="none" lIns="0" tIns="0" rIns="0" bIns="0" rtlCol="0">
            <a:spAutoFit/>
          </a:bodyPr>
          <a:lstStyle/>
          <a:p>
            <a:pPr marL="0" marR="0" lvl="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lang="en-US" sz="1000" kern="1200" spc="0" baseline="0" dirty="0">
                <a:solidFill>
                  <a:schemeClr val="bg1"/>
                </a:solidFill>
                <a:latin typeface="Segoe UI" panose="020B0502040204020203" pitchFamily="34" charset="0"/>
                <a:ea typeface="+mn-ea"/>
                <a:cs typeface="Segoe UI" panose="020B0502040204020203" pitchFamily="34" charset="0"/>
              </a:rPr>
              <a:t>© Copyright Microsoft Corporation. All rights reserved. </a:t>
            </a:r>
          </a:p>
        </p:txBody>
      </p:sp>
      <p:pic>
        <p:nvPicPr>
          <p:cNvPr id="12" name="MS logo gray - EMF">
            <a:extLst>
              <a:ext uri="{FF2B5EF4-FFF2-40B4-BE49-F238E27FC236}">
                <a16:creationId xmlns:a16="http://schemas.microsoft.com/office/drawing/2014/main" id="{AAF3FFA6-DD3A-C046-9BAB-42C1143979D3}"/>
              </a:ext>
            </a:extLst>
          </p:cNvPr>
          <p:cNvPicPr>
            <a:picLocks noChangeAspect="1"/>
          </p:cNvPicPr>
          <p:nvPr userDrawn="1"/>
        </p:nvPicPr>
        <p:blipFill>
          <a:blip r:embed="rId4">
            <a:extLst>
              <a:ext uri="{28A0092B-C50C-407E-A947-70E740481C1C}">
                <a14:useLocalDpi xmlns:a14="http://schemas.microsoft.com/office/drawing/2010/main" val="0"/>
              </a:ext>
            </a:extLst>
          </a:blip>
          <a:srcRect l="12679" t="30223" r="10306" b="29367"/>
          <a:stretch/>
        </p:blipFill>
        <p:spPr bwMode="black">
          <a:xfrm>
            <a:off x="10104777" y="6035405"/>
            <a:ext cx="1501911" cy="353217"/>
          </a:xfrm>
          <a:prstGeom prst="rect">
            <a:avLst/>
          </a:prstGeom>
        </p:spPr>
      </p:pic>
    </p:spTree>
    <p:extLst>
      <p:ext uri="{BB962C8B-B14F-4D97-AF65-F5344CB8AC3E}">
        <p14:creationId xmlns:p14="http://schemas.microsoft.com/office/powerpoint/2010/main" val="33978453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Section title page">
    <p:bg>
      <p:bgPr>
        <a:gradFill>
          <a:gsLst>
            <a:gs pos="2000">
              <a:srgbClr val="0179D4"/>
            </a:gs>
            <a:gs pos="32000">
              <a:srgbClr val="2CB6FF"/>
            </a:gs>
            <a:gs pos="44000">
              <a:srgbClr val="2DB6FF"/>
            </a:gs>
            <a:gs pos="81000">
              <a:srgbClr val="D962FA"/>
            </a:gs>
            <a:gs pos="96000">
              <a:srgbClr val="F69991"/>
            </a:gs>
          </a:gsLst>
          <a:lin ang="3600000" scaled="0"/>
        </a:gradFill>
        <a:effectLst/>
      </p:bgPr>
    </p:bg>
    <p:spTree>
      <p:nvGrpSpPr>
        <p:cNvPr id="1" name=""/>
        <p:cNvGrpSpPr/>
        <p:nvPr/>
      </p:nvGrpSpPr>
      <p:grpSpPr>
        <a:xfrm>
          <a:off x="0" y="0"/>
          <a:ext cx="0" cy="0"/>
          <a:chOff x="0" y="0"/>
          <a:chExt cx="0" cy="0"/>
        </a:xfrm>
      </p:grpSpPr>
      <p:sp>
        <p:nvSpPr>
          <p:cNvPr id="19" name="Rectangle: Rounded Corners 18">
            <a:extLst>
              <a:ext uri="{FF2B5EF4-FFF2-40B4-BE49-F238E27FC236}">
                <a16:creationId xmlns:a16="http://schemas.microsoft.com/office/drawing/2014/main" id="{307E9F14-6022-5697-DFF4-86FA3A50C41A}"/>
              </a:ext>
            </a:extLst>
          </p:cNvPr>
          <p:cNvSpPr/>
          <p:nvPr userDrawn="1"/>
        </p:nvSpPr>
        <p:spPr>
          <a:xfrm>
            <a:off x="322521" y="283028"/>
            <a:ext cx="11546958" cy="6291943"/>
          </a:xfrm>
          <a:prstGeom prst="roundRect">
            <a:avLst>
              <a:gd name="adj" fmla="val 3511"/>
            </a:avLst>
          </a:prstGeom>
          <a:solidFill>
            <a:srgbClr val="091F2C">
              <a:alpha val="8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a:extLst>
              <a:ext uri="{FF2B5EF4-FFF2-40B4-BE49-F238E27FC236}">
                <a16:creationId xmlns:a16="http://schemas.microsoft.com/office/drawing/2014/main" id="{47B7B485-6FB1-1F40-9F6C-8E7C22564D7B}"/>
              </a:ext>
            </a:extLst>
          </p:cNvPr>
          <p:cNvSpPr>
            <a:spLocks noGrp="1"/>
          </p:cNvSpPr>
          <p:nvPr>
            <p:ph type="title" hasCustomPrompt="1"/>
          </p:nvPr>
        </p:nvSpPr>
        <p:spPr>
          <a:xfrm>
            <a:off x="758597" y="2922191"/>
            <a:ext cx="8193024" cy="1495794"/>
          </a:xfrm>
          <a:noFill/>
        </p:spPr>
        <p:txBody>
          <a:bodyPr wrap="square" lIns="0" tIns="0" rIns="0" bIns="0" anchor="b" anchorCtr="0">
            <a:spAutoFit/>
          </a:bodyPr>
          <a:lstStyle>
            <a:lvl1pPr algn="l">
              <a:defRPr sz="5400" b="1" i="0" spc="-50" baseline="0">
                <a:gradFill>
                  <a:gsLst>
                    <a:gs pos="2000">
                      <a:srgbClr val="0179D4"/>
                    </a:gs>
                    <a:gs pos="32000">
                      <a:srgbClr val="2CB6FF"/>
                    </a:gs>
                    <a:gs pos="44000">
                      <a:srgbClr val="2DB6FF"/>
                    </a:gs>
                    <a:gs pos="81000">
                      <a:srgbClr val="D962FA"/>
                    </a:gs>
                    <a:gs pos="96000">
                      <a:srgbClr val="F69991"/>
                    </a:gs>
                  </a:gsLst>
                  <a:lin ang="3600000" scaled="0"/>
                </a:gradFill>
                <a:latin typeface="Segoe UI" panose="020B0502040204020203" pitchFamily="34" charset="0"/>
                <a:cs typeface="Segoe UI" panose="020B0502040204020203" pitchFamily="34" charset="0"/>
              </a:defRPr>
            </a:lvl1pPr>
          </a:lstStyle>
          <a:p>
            <a:r>
              <a:rPr lang="en-US" dirty="0"/>
              <a:t>Event name or </a:t>
            </a:r>
            <a:br>
              <a:rPr lang="en-US" dirty="0"/>
            </a:br>
            <a:r>
              <a:rPr lang="en-US" dirty="0"/>
              <a:t>presentation title </a:t>
            </a:r>
          </a:p>
        </p:txBody>
      </p:sp>
      <p:pic>
        <p:nvPicPr>
          <p:cNvPr id="21" name="MS logo gray - EMF">
            <a:extLst>
              <a:ext uri="{FF2B5EF4-FFF2-40B4-BE49-F238E27FC236}">
                <a16:creationId xmlns:a16="http://schemas.microsoft.com/office/drawing/2014/main" id="{64A4DF9F-2B1C-CAA8-9FB0-804BF4B06E89}"/>
              </a:ext>
            </a:extLst>
          </p:cNvPr>
          <p:cNvPicPr>
            <a:picLocks noChangeAspect="1"/>
          </p:cNvPicPr>
          <p:nvPr userDrawn="1"/>
        </p:nvPicPr>
        <p:blipFill>
          <a:blip r:embed="rId2">
            <a:extLst>
              <a:ext uri="{28A0092B-C50C-407E-A947-70E740481C1C}">
                <a14:useLocalDpi xmlns:a14="http://schemas.microsoft.com/office/drawing/2010/main" val="0"/>
              </a:ext>
            </a:extLst>
          </a:blip>
          <a:srcRect l="12679" t="30223" r="10306" b="29367"/>
          <a:stretch/>
        </p:blipFill>
        <p:spPr bwMode="black">
          <a:xfrm>
            <a:off x="10104777" y="6035405"/>
            <a:ext cx="1501911" cy="353217"/>
          </a:xfrm>
          <a:prstGeom prst="rect">
            <a:avLst/>
          </a:prstGeom>
        </p:spPr>
      </p:pic>
    </p:spTree>
    <p:extLst>
      <p:ext uri="{BB962C8B-B14F-4D97-AF65-F5344CB8AC3E}">
        <p14:creationId xmlns:p14="http://schemas.microsoft.com/office/powerpoint/2010/main" val="22902582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6416CC-F10D-8591-BB64-0F308D5F855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D1B207D-4F51-0831-AE0C-E30A11AE00C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378819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type="obj" preserve="1">
  <p:cSld name="Title and Content - 2">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4C44EF48-B61D-A704-EA3C-00045FFB991D}"/>
              </a:ext>
            </a:extLst>
          </p:cNvPr>
          <p:cNvSpPr/>
          <p:nvPr userDrawn="1"/>
        </p:nvSpPr>
        <p:spPr>
          <a:xfrm>
            <a:off x="322521" y="283028"/>
            <a:ext cx="11546958" cy="6291943"/>
          </a:xfrm>
          <a:prstGeom prst="roundRect">
            <a:avLst>
              <a:gd name="adj" fmla="val 3511"/>
            </a:avLst>
          </a:prstGeom>
          <a:solidFill>
            <a:schemeClr val="bg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96416CC-F10D-8591-BB64-0F308D5F855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D1B207D-4F51-0831-AE0C-E30A11AE00C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58120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Presentation">
    <p:bg>
      <p:bgPr>
        <a:gradFill>
          <a:gsLst>
            <a:gs pos="2000">
              <a:srgbClr val="0179D4"/>
            </a:gs>
            <a:gs pos="32000">
              <a:srgbClr val="2CB6FF"/>
            </a:gs>
            <a:gs pos="44000">
              <a:srgbClr val="2DB6FF"/>
            </a:gs>
            <a:gs pos="81000">
              <a:srgbClr val="D962FA"/>
            </a:gs>
            <a:gs pos="96000">
              <a:srgbClr val="F69991"/>
            </a:gs>
          </a:gsLst>
          <a:lin ang="3600000" scaled="0"/>
        </a:gradFill>
        <a:effectLst/>
      </p:bgPr>
    </p:bg>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E9233ADA-E271-6E93-F32E-718454D76C3D}"/>
              </a:ext>
            </a:extLst>
          </p:cNvPr>
          <p:cNvSpPr/>
          <p:nvPr userDrawn="1"/>
        </p:nvSpPr>
        <p:spPr>
          <a:xfrm>
            <a:off x="322521" y="283028"/>
            <a:ext cx="11546958" cy="6291943"/>
          </a:xfrm>
          <a:prstGeom prst="roundRect">
            <a:avLst>
              <a:gd name="adj" fmla="val 3511"/>
            </a:avLst>
          </a:prstGeom>
          <a:solidFill>
            <a:srgbClr val="091F2C">
              <a:alpha val="8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6" name="MS logo gray - EMF">
            <a:extLst>
              <a:ext uri="{FF2B5EF4-FFF2-40B4-BE49-F238E27FC236}">
                <a16:creationId xmlns:a16="http://schemas.microsoft.com/office/drawing/2014/main" id="{F64DBD9B-57E9-BAEC-DDB8-E957620339A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82944" y="13063873"/>
            <a:ext cx="1366440" cy="292608"/>
          </a:xfrm>
          <a:prstGeom prst="rect">
            <a:avLst/>
          </a:prstGeom>
        </p:spPr>
      </p:pic>
      <p:pic>
        <p:nvPicPr>
          <p:cNvPr id="10" name="Picture 9" descr="A blue text on a dark background&#10;&#10;AI-generated content may be incorrect.">
            <a:extLst>
              <a:ext uri="{FF2B5EF4-FFF2-40B4-BE49-F238E27FC236}">
                <a16:creationId xmlns:a16="http://schemas.microsoft.com/office/drawing/2014/main" id="{F91EBE01-28A7-9587-582B-5D328ACBDEA8}"/>
              </a:ext>
            </a:extLst>
          </p:cNvPr>
          <p:cNvPicPr>
            <a:picLocks noChangeAspect="1"/>
          </p:cNvPicPr>
          <p:nvPr userDrawn="1"/>
        </p:nvPicPr>
        <p:blipFill>
          <a:blip r:embed="rId3">
            <a:extLst>
              <a:ext uri="{28A0092B-C50C-407E-A947-70E740481C1C}">
                <a14:useLocalDpi xmlns:a14="http://schemas.microsoft.com/office/drawing/2010/main" val="0"/>
              </a:ext>
            </a:extLst>
          </a:blip>
          <a:srcRect l="6973" t="18834" r="57059" b="22553"/>
          <a:stretch/>
        </p:blipFill>
        <p:spPr>
          <a:xfrm>
            <a:off x="588552" y="569042"/>
            <a:ext cx="3765004" cy="894000"/>
          </a:xfrm>
          <a:prstGeom prst="rect">
            <a:avLst/>
          </a:prstGeom>
        </p:spPr>
      </p:pic>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758597" y="2922191"/>
            <a:ext cx="8193024" cy="1495794"/>
          </a:xfrm>
          <a:noFill/>
        </p:spPr>
        <p:txBody>
          <a:bodyPr wrap="square" lIns="0" tIns="0" rIns="0" bIns="0" anchor="b" anchorCtr="0">
            <a:spAutoFit/>
          </a:bodyPr>
          <a:lstStyle>
            <a:lvl1pPr algn="l">
              <a:defRPr sz="5400" b="1" i="0" spc="-50" baseline="0">
                <a:gradFill>
                  <a:gsLst>
                    <a:gs pos="2000">
                      <a:srgbClr val="0179D4"/>
                    </a:gs>
                    <a:gs pos="32000">
                      <a:srgbClr val="2CB6FF"/>
                    </a:gs>
                    <a:gs pos="44000">
                      <a:srgbClr val="2DB6FF"/>
                    </a:gs>
                    <a:gs pos="81000">
                      <a:srgbClr val="D962FA"/>
                    </a:gs>
                    <a:gs pos="96000">
                      <a:srgbClr val="F69991"/>
                    </a:gs>
                  </a:gsLst>
                  <a:lin ang="3600000" scaled="0"/>
                </a:gradFill>
                <a:latin typeface="Segoe UI" panose="020B0502040204020203" pitchFamily="34" charset="0"/>
                <a:cs typeface="Segoe UI" panose="020B0502040204020203" pitchFamily="34" charset="0"/>
              </a:defRPr>
            </a:lvl1pPr>
          </a:lstStyle>
          <a:p>
            <a:r>
              <a:rPr lang="en-US" dirty="0"/>
              <a:t>Event name or </a:t>
            </a:r>
            <a:br>
              <a:rPr lang="en-US" dirty="0"/>
            </a:br>
            <a:r>
              <a:rPr lang="en-US" dirty="0"/>
              <a:t>presentation title </a:t>
            </a:r>
          </a:p>
        </p:txBody>
      </p:sp>
      <p:sp>
        <p:nvSpPr>
          <p:cNvPr id="3" name="Subtitle">
            <a:extLst>
              <a:ext uri="{FF2B5EF4-FFF2-40B4-BE49-F238E27FC236}">
                <a16:creationId xmlns:a16="http://schemas.microsoft.com/office/drawing/2014/main" id="{AA1ADBE6-5E29-7A6B-E210-597F443C7BFA}"/>
              </a:ext>
            </a:extLst>
          </p:cNvPr>
          <p:cNvSpPr>
            <a:spLocks noGrp="1"/>
          </p:cNvSpPr>
          <p:nvPr>
            <p:ph type="body" sz="quarter" idx="12" hasCustomPrompt="1"/>
          </p:nvPr>
        </p:nvSpPr>
        <p:spPr>
          <a:xfrm>
            <a:off x="758597" y="4573783"/>
            <a:ext cx="8193024" cy="276999"/>
          </a:xfrm>
          <a:prstGeom prst="rect">
            <a:avLst/>
          </a:prstGeom>
          <a:noFill/>
        </p:spPr>
        <p:txBody>
          <a:bodyPr wrap="square" lIns="0" tIns="0" rIns="0" bIns="0">
            <a:spAutoFit/>
          </a:bodyPr>
          <a:lstStyle>
            <a:lvl1pPr marL="0" indent="0">
              <a:spcBef>
                <a:spcPts val="0"/>
              </a:spcBef>
              <a:buNone/>
              <a:defRPr sz="2000" spc="0" baseline="0">
                <a:solidFill>
                  <a:schemeClr val="bg1"/>
                </a:solidFill>
                <a:latin typeface="Segoe UI" panose="020B0502040204020203" pitchFamily="34" charset="0"/>
                <a:cs typeface="Segoe UI" panose="020B0502040204020203" pitchFamily="34" charset="0"/>
              </a:defRPr>
            </a:lvl1pPr>
          </a:lstStyle>
          <a:p>
            <a:pPr lvl="0"/>
            <a:r>
              <a:rPr lang="en-US" dirty="0"/>
              <a:t>Speaker name or subtitle</a:t>
            </a:r>
          </a:p>
        </p:txBody>
      </p:sp>
      <p:sp>
        <p:nvSpPr>
          <p:cNvPr id="9" name="Text Placeholder 4">
            <a:extLst>
              <a:ext uri="{FF2B5EF4-FFF2-40B4-BE49-F238E27FC236}">
                <a16:creationId xmlns:a16="http://schemas.microsoft.com/office/drawing/2014/main" id="{9D791B19-58A7-CCC1-7E59-596D25308565}"/>
              </a:ext>
            </a:extLst>
          </p:cNvPr>
          <p:cNvSpPr>
            <a:spLocks noGrp="1"/>
          </p:cNvSpPr>
          <p:nvPr>
            <p:ph type="body" sz="quarter" idx="13" hasCustomPrompt="1"/>
          </p:nvPr>
        </p:nvSpPr>
        <p:spPr>
          <a:xfrm>
            <a:off x="758597" y="6135070"/>
            <a:ext cx="1645920" cy="139397"/>
          </a:xfrm>
          <a:prstGeom prst="rect">
            <a:avLst/>
          </a:prstGeom>
          <a:noFill/>
        </p:spPr>
        <p:txBody>
          <a:bodyPr wrap="square" lIns="0" tIns="0" rIns="0" bIns="0">
            <a:spAutoFit/>
          </a:bodyPr>
          <a:lstStyle>
            <a:lvl1pPr marL="0" indent="0">
              <a:spcBef>
                <a:spcPts val="0"/>
              </a:spcBef>
              <a:buNone/>
              <a:defRPr sz="1000" spc="0" baseline="0">
                <a:solidFill>
                  <a:schemeClr val="bg1"/>
                </a:solidFill>
                <a:latin typeface="Segoe UI" panose="020B0502040204020203" pitchFamily="34" charset="0"/>
                <a:cs typeface="Segoe UI" panose="020B0502040204020203" pitchFamily="34" charset="0"/>
              </a:defRPr>
            </a:lvl1pPr>
          </a:lstStyle>
          <a:p>
            <a:pPr lvl="0"/>
            <a:r>
              <a:rPr lang="en-US"/>
              <a:t>Date</a:t>
            </a:r>
          </a:p>
        </p:txBody>
      </p:sp>
      <p:sp>
        <p:nvSpPr>
          <p:cNvPr id="11" name="TextBox 10">
            <a:extLst>
              <a:ext uri="{FF2B5EF4-FFF2-40B4-BE49-F238E27FC236}">
                <a16:creationId xmlns:a16="http://schemas.microsoft.com/office/drawing/2014/main" id="{79D24C9A-89BC-97E2-72D1-CB264F76EC90}"/>
              </a:ext>
            </a:extLst>
          </p:cNvPr>
          <p:cNvSpPr txBox="1"/>
          <p:nvPr userDrawn="1"/>
        </p:nvSpPr>
        <p:spPr>
          <a:xfrm>
            <a:off x="2647609" y="6135070"/>
            <a:ext cx="3143489" cy="153888"/>
          </a:xfrm>
          <a:prstGeom prst="rect">
            <a:avLst/>
          </a:prstGeom>
          <a:noFill/>
        </p:spPr>
        <p:txBody>
          <a:bodyPr wrap="none" lIns="0" tIns="0" rIns="0" bIns="0" rtlCol="0">
            <a:spAutoFit/>
          </a:bodyPr>
          <a:lstStyle/>
          <a:p>
            <a:pPr marL="0" marR="0" lvl="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kumimoji="0" lang="en-US" sz="10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 Copyright Microsoft Corporation. All rights reserved. </a:t>
            </a:r>
          </a:p>
        </p:txBody>
      </p:sp>
      <p:pic>
        <p:nvPicPr>
          <p:cNvPr id="12" name="MS logo gray - EMF">
            <a:extLst>
              <a:ext uri="{FF2B5EF4-FFF2-40B4-BE49-F238E27FC236}">
                <a16:creationId xmlns:a16="http://schemas.microsoft.com/office/drawing/2014/main" id="{AAF3FFA6-DD3A-C046-9BAB-42C1143979D3}"/>
              </a:ext>
            </a:extLst>
          </p:cNvPr>
          <p:cNvPicPr>
            <a:picLocks noChangeAspect="1"/>
          </p:cNvPicPr>
          <p:nvPr userDrawn="1"/>
        </p:nvPicPr>
        <p:blipFill>
          <a:blip r:embed="rId4">
            <a:extLst>
              <a:ext uri="{28A0092B-C50C-407E-A947-70E740481C1C}">
                <a14:useLocalDpi xmlns:a14="http://schemas.microsoft.com/office/drawing/2010/main" val="0"/>
              </a:ext>
            </a:extLst>
          </a:blip>
          <a:srcRect l="12679" t="30223" r="10306" b="29367"/>
          <a:stretch/>
        </p:blipFill>
        <p:spPr bwMode="black">
          <a:xfrm>
            <a:off x="10104777" y="6035405"/>
            <a:ext cx="1501911" cy="353217"/>
          </a:xfrm>
          <a:prstGeom prst="rect">
            <a:avLst/>
          </a:prstGeom>
        </p:spPr>
      </p:pic>
    </p:spTree>
    <p:extLst>
      <p:ext uri="{BB962C8B-B14F-4D97-AF65-F5344CB8AC3E}">
        <p14:creationId xmlns:p14="http://schemas.microsoft.com/office/powerpoint/2010/main" val="36466132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A5CEE-45B3-E213-2371-B7B62F21BC5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9FC0477-B021-6B66-E644-97C2F7F359F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F69F92-1FD7-055F-8FA0-32B56F5B0FB5}"/>
              </a:ext>
            </a:extLst>
          </p:cNvPr>
          <p:cNvSpPr>
            <a:spLocks noGrp="1"/>
          </p:cNvSpPr>
          <p:nvPr>
            <p:ph type="dt" sz="half" idx="10"/>
          </p:nvPr>
        </p:nvSpPr>
        <p:spPr>
          <a:xfrm>
            <a:off x="838200" y="6356350"/>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7A2B8B8-F160-4E5B-9193-363885835B7A}" type="datetimeFigureOut">
              <a:rPr kumimoji="0" lang="en-US" sz="1200" b="0" i="0" u="none" strike="noStrike" kern="1200" cap="none" spc="0" normalizeH="0" baseline="0" noProof="0" smtClean="0">
                <a:ln>
                  <a:noFill/>
                </a:ln>
                <a:solidFill>
                  <a:prstClr val="black">
                    <a:tint val="82000"/>
                  </a:prstClr>
                </a:solidFill>
                <a:effectLst/>
                <a:uLnTx/>
                <a:uFillTx/>
                <a:latin typeface="Segoe Sans Display"/>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5/2025</a:t>
            </a:fld>
            <a:endParaRPr kumimoji="0" lang="en-US" sz="1200" b="0" i="0" u="none" strike="noStrike" kern="1200" cap="none" spc="0" normalizeH="0" baseline="0" noProof="0">
              <a:ln>
                <a:noFill/>
              </a:ln>
              <a:solidFill>
                <a:prstClr val="black">
                  <a:tint val="82000"/>
                </a:prstClr>
              </a:solidFill>
              <a:effectLst/>
              <a:uLnTx/>
              <a:uFillTx/>
              <a:latin typeface="Segoe Sans Display"/>
              <a:ea typeface="+mn-ea"/>
              <a:cs typeface="+mn-cs"/>
            </a:endParaRPr>
          </a:p>
        </p:txBody>
      </p:sp>
      <p:sp>
        <p:nvSpPr>
          <p:cNvPr id="5" name="Footer Placeholder 4">
            <a:extLst>
              <a:ext uri="{FF2B5EF4-FFF2-40B4-BE49-F238E27FC236}">
                <a16:creationId xmlns:a16="http://schemas.microsoft.com/office/drawing/2014/main" id="{127FD6C3-9104-EEF6-B9D1-E751B797C1BD}"/>
              </a:ext>
            </a:extLst>
          </p:cNvPr>
          <p:cNvSpPr>
            <a:spLocks noGrp="1"/>
          </p:cNvSpPr>
          <p:nvPr>
            <p:ph type="ftr" sz="quarter" idx="11"/>
          </p:nvPr>
        </p:nvSpPr>
        <p:spPr>
          <a:xfrm>
            <a:off x="4038600" y="6356350"/>
            <a:ext cx="4114800" cy="365125"/>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82000"/>
                </a:prstClr>
              </a:solidFill>
              <a:effectLst/>
              <a:uLnTx/>
              <a:uFillTx/>
              <a:latin typeface="Segoe Sans Display"/>
              <a:ea typeface="+mn-ea"/>
              <a:cs typeface="+mn-cs"/>
            </a:endParaRPr>
          </a:p>
        </p:txBody>
      </p:sp>
      <p:sp>
        <p:nvSpPr>
          <p:cNvPr id="6" name="Slide Number Placeholder 5">
            <a:extLst>
              <a:ext uri="{FF2B5EF4-FFF2-40B4-BE49-F238E27FC236}">
                <a16:creationId xmlns:a16="http://schemas.microsoft.com/office/drawing/2014/main" id="{A90B29CA-B002-AE97-D975-8B7FE2D3CAA7}"/>
              </a:ext>
            </a:extLst>
          </p:cNvPr>
          <p:cNvSpPr>
            <a:spLocks noGrp="1"/>
          </p:cNvSpPr>
          <p:nvPr>
            <p:ph type="sldNum" sz="quarter" idx="12"/>
          </p:nvPr>
        </p:nvSpPr>
        <p:spPr>
          <a:xfrm>
            <a:off x="8610600" y="6356350"/>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41F779-C9CC-4175-935B-E4EF2DB6611D}" type="slidenum">
              <a:rPr kumimoji="0" lang="en-US" sz="1200" b="0" i="0" u="none" strike="noStrike" kern="1200" cap="none" spc="0" normalizeH="0" baseline="0" noProof="0" smtClean="0">
                <a:ln>
                  <a:noFill/>
                </a:ln>
                <a:solidFill>
                  <a:prstClr val="black">
                    <a:tint val="82000"/>
                  </a:prstClr>
                </a:solidFill>
                <a:effectLst/>
                <a:uLnTx/>
                <a:uFillTx/>
                <a:latin typeface="Segoe Sans Display"/>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82000"/>
                </a:prstClr>
              </a:solidFill>
              <a:effectLst/>
              <a:uLnTx/>
              <a:uFillTx/>
              <a:latin typeface="Segoe Sans Display"/>
              <a:ea typeface="+mn-ea"/>
              <a:cs typeface="+mn-cs"/>
            </a:endParaRPr>
          </a:p>
        </p:txBody>
      </p:sp>
    </p:spTree>
    <p:extLst>
      <p:ext uri="{BB962C8B-B14F-4D97-AF65-F5344CB8AC3E}">
        <p14:creationId xmlns:p14="http://schemas.microsoft.com/office/powerpoint/2010/main" val="4065509608"/>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5F2B9C-6C80-CAF7-46F7-38B5ED8B971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9261384-4982-A003-A22D-CEFD29C505F2}"/>
              </a:ext>
            </a:extLst>
          </p:cNvPr>
          <p:cNvSpPr>
            <a:spLocks noGrp="1"/>
          </p:cNvSpPr>
          <p:nvPr>
            <p:ph sz="half" idx="1"/>
          </p:nvPr>
        </p:nvSpPr>
        <p:spPr>
          <a:xfrm>
            <a:off x="890225" y="1620061"/>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F44612B7-003F-F88F-DD2D-0EAB38253683}"/>
              </a:ext>
            </a:extLst>
          </p:cNvPr>
          <p:cNvSpPr>
            <a:spLocks noGrp="1"/>
          </p:cNvSpPr>
          <p:nvPr>
            <p:ph sz="half" idx="2"/>
          </p:nvPr>
        </p:nvSpPr>
        <p:spPr>
          <a:xfrm>
            <a:off x="6224225" y="1620061"/>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9178656"/>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9045EC9-3A5C-BF10-4EC3-BBD790D1CC90}"/>
              </a:ext>
            </a:extLst>
          </p:cNvPr>
          <p:cNvSpPr>
            <a:spLocks noGrp="1"/>
          </p:cNvSpPr>
          <p:nvPr>
            <p:ph type="body" idx="1"/>
          </p:nvPr>
        </p:nvSpPr>
        <p:spPr>
          <a:xfrm>
            <a:off x="809542" y="1536784"/>
            <a:ext cx="5157787" cy="823912"/>
          </a:xfrm>
          <a:noFill/>
        </p:spPr>
        <p:txBody>
          <a:bodyPr anchor="b"/>
          <a:lstStyle>
            <a:lvl1pPr marL="0" indent="0" algn="ctr">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425520A-2E0C-1AB0-12FE-75471C476D10}"/>
              </a:ext>
            </a:extLst>
          </p:cNvPr>
          <p:cNvSpPr>
            <a:spLocks noGrp="1"/>
          </p:cNvSpPr>
          <p:nvPr>
            <p:ph sz="half" idx="2"/>
          </p:nvPr>
        </p:nvSpPr>
        <p:spPr>
          <a:xfrm>
            <a:off x="809542" y="2360696"/>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F9775E93-F1B0-A09F-367D-0B0EDC940B63}"/>
              </a:ext>
            </a:extLst>
          </p:cNvPr>
          <p:cNvSpPr>
            <a:spLocks noGrp="1"/>
          </p:cNvSpPr>
          <p:nvPr>
            <p:ph type="body" sz="quarter" idx="3"/>
          </p:nvPr>
        </p:nvSpPr>
        <p:spPr>
          <a:xfrm>
            <a:off x="6141954" y="1536784"/>
            <a:ext cx="5183188" cy="823912"/>
          </a:xfrm>
        </p:spPr>
        <p:txBody>
          <a:bodyPr anchor="b"/>
          <a:lstStyle>
            <a:lvl1pPr marL="0" indent="0" algn="ctr">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ED18764-07D2-DCA5-1817-8C19B4DD0EE8}"/>
              </a:ext>
            </a:extLst>
          </p:cNvPr>
          <p:cNvSpPr>
            <a:spLocks noGrp="1"/>
          </p:cNvSpPr>
          <p:nvPr>
            <p:ph sz="quarter" idx="4"/>
          </p:nvPr>
        </p:nvSpPr>
        <p:spPr>
          <a:xfrm>
            <a:off x="6141954" y="2360696"/>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EA0F0C80-7FE6-276E-5F75-11D316628EA6}"/>
              </a:ext>
            </a:extLst>
          </p:cNvPr>
          <p:cNvSpPr>
            <a:spLocks noGrp="1"/>
          </p:cNvSpPr>
          <p:nvPr>
            <p:ph type="title"/>
          </p:nvPr>
        </p:nvSpPr>
        <p:spPr>
          <a:xfrm>
            <a:off x="629114" y="365126"/>
            <a:ext cx="11025680" cy="1072072"/>
          </a:xfrm>
        </p:spPr>
        <p:txBody>
          <a:bodyPr/>
          <a:lstStyle/>
          <a:p>
            <a:r>
              <a:rPr lang="en-US"/>
              <a:t>Click to edit Master title style</a:t>
            </a:r>
          </a:p>
        </p:txBody>
      </p:sp>
    </p:spTree>
    <p:extLst>
      <p:ext uri="{BB962C8B-B14F-4D97-AF65-F5344CB8AC3E}">
        <p14:creationId xmlns:p14="http://schemas.microsoft.com/office/powerpoint/2010/main" val="3371220059"/>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143208B3-217E-A316-BD41-000CF45068A3}"/>
              </a:ext>
            </a:extLst>
          </p:cNvPr>
          <p:cNvSpPr/>
          <p:nvPr userDrawn="1"/>
        </p:nvSpPr>
        <p:spPr>
          <a:xfrm>
            <a:off x="322521" y="283028"/>
            <a:ext cx="11546958" cy="6291943"/>
          </a:xfrm>
          <a:prstGeom prst="roundRect">
            <a:avLst>
              <a:gd name="adj" fmla="val 3511"/>
            </a:avLst>
          </a:prstGeom>
          <a:solidFill>
            <a:schemeClr val="bg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E10FF20-C27F-3AD6-A7BF-EF405F6887DE}"/>
              </a:ext>
            </a:extLst>
          </p:cNvPr>
          <p:cNvSpPr>
            <a:spLocks noGrp="1"/>
          </p:cNvSpPr>
          <p:nvPr>
            <p:ph type="title"/>
          </p:nvPr>
        </p:nvSpPr>
        <p:spPr/>
        <p:txBody>
          <a:bodyPr/>
          <a:lstStyle>
            <a:lvl1pPr algn="ctr">
              <a:defRPr/>
            </a:lvl1pPr>
          </a:lstStyle>
          <a:p>
            <a:r>
              <a:rPr lang="en-US"/>
              <a:t>Click to edit Master title style</a:t>
            </a:r>
            <a:endParaRPr lang="en-US" dirty="0"/>
          </a:p>
        </p:txBody>
      </p:sp>
    </p:spTree>
    <p:extLst>
      <p:ext uri="{BB962C8B-B14F-4D97-AF65-F5344CB8AC3E}">
        <p14:creationId xmlns:p14="http://schemas.microsoft.com/office/powerpoint/2010/main" val="363433019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241EFE-264E-BC9E-6531-FF41C36C297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2E0B4E1-2641-C609-B66B-50A49234AA0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588902B-320A-1253-F247-CA83542F88F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983062969"/>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172953-9124-276A-BB50-BD2F4C24D9BA}"/>
              </a:ext>
            </a:extLst>
          </p:cNvPr>
          <p:cNvSpPr>
            <a:spLocks noGrp="1"/>
          </p:cNvSpPr>
          <p:nvPr>
            <p:ph type="title"/>
          </p:nvPr>
        </p:nvSpPr>
        <p:spPr>
          <a:xfrm>
            <a:off x="644893" y="529389"/>
            <a:ext cx="4408369" cy="152801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6159689-30F3-F218-A97C-F85C6D2A04ED}"/>
              </a:ext>
            </a:extLst>
          </p:cNvPr>
          <p:cNvSpPr>
            <a:spLocks noGrp="1"/>
          </p:cNvSpPr>
          <p:nvPr>
            <p:ph type="pic" idx="1"/>
          </p:nvPr>
        </p:nvSpPr>
        <p:spPr>
          <a:xfrm>
            <a:off x="5274644" y="529389"/>
            <a:ext cx="6448926" cy="581365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B797312A-79E3-C52B-11B9-50A3F6DEE4D1}"/>
              </a:ext>
            </a:extLst>
          </p:cNvPr>
          <p:cNvSpPr>
            <a:spLocks noGrp="1"/>
          </p:cNvSpPr>
          <p:nvPr>
            <p:ph type="body" sz="half" idx="2"/>
          </p:nvPr>
        </p:nvSpPr>
        <p:spPr>
          <a:xfrm>
            <a:off x="644894" y="2057399"/>
            <a:ext cx="4408368" cy="4271211"/>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3415906823"/>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Full page picture">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DB1E7546-6F08-2CA1-9CC5-8B527B1021C5}"/>
              </a:ext>
            </a:extLst>
          </p:cNvPr>
          <p:cNvSpPr/>
          <p:nvPr userDrawn="1"/>
        </p:nvSpPr>
        <p:spPr>
          <a:xfrm>
            <a:off x="322521" y="283028"/>
            <a:ext cx="11546958" cy="6291943"/>
          </a:xfrm>
          <a:prstGeom prst="roundRect">
            <a:avLst>
              <a:gd name="adj" fmla="val 3511"/>
            </a:avLst>
          </a:prstGeom>
          <a:solidFill>
            <a:schemeClr val="bg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Picture Placeholder 2">
            <a:extLst>
              <a:ext uri="{FF2B5EF4-FFF2-40B4-BE49-F238E27FC236}">
                <a16:creationId xmlns:a16="http://schemas.microsoft.com/office/drawing/2014/main" id="{96159689-30F3-F218-A97C-F85C6D2A04ED}"/>
              </a:ext>
            </a:extLst>
          </p:cNvPr>
          <p:cNvSpPr>
            <a:spLocks noGrp="1"/>
          </p:cNvSpPr>
          <p:nvPr>
            <p:ph type="pic" idx="1"/>
          </p:nvPr>
        </p:nvSpPr>
        <p:spPr>
          <a:xfrm>
            <a:off x="375385" y="298383"/>
            <a:ext cx="11511815" cy="6285297"/>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149212059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type="blank" preserve="1">
  <p:cSld name="Rainbow Blank">
    <p:bg>
      <p:bgPr>
        <a:gradFill>
          <a:gsLst>
            <a:gs pos="2000">
              <a:srgbClr val="0179D4"/>
            </a:gs>
            <a:gs pos="32000">
              <a:srgbClr val="2CB6FF"/>
            </a:gs>
            <a:gs pos="44000">
              <a:srgbClr val="2DB6FF"/>
            </a:gs>
            <a:gs pos="81000">
              <a:srgbClr val="D962FA"/>
            </a:gs>
            <a:gs pos="96000">
              <a:srgbClr val="F69991"/>
            </a:gs>
          </a:gsLst>
          <a:lin ang="3600000" scaled="0"/>
        </a:gra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0239FA0-8DC7-5F1D-3921-B8597DF32CB1}"/>
              </a:ext>
            </a:extLst>
          </p:cNvPr>
          <p:cNvSpPr/>
          <p:nvPr userDrawn="1"/>
        </p:nvSpPr>
        <p:spPr>
          <a:xfrm>
            <a:off x="1" y="0"/>
            <a:ext cx="12192000" cy="6858000"/>
          </a:xfrm>
          <a:prstGeom prst="rect">
            <a:avLst/>
          </a:prstGeom>
          <a:solidFill>
            <a:schemeClr val="bg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4239760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type="blank" preserve="1">
  <p:cSld name="White 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1373978"/>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userDrawn="1">
  <p:cSld name="Full rainbow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0160052"/>
      </p:ext>
    </p:extLst>
  </p:cSld>
  <p:clrMapOvr>
    <a:masterClrMapping/>
  </p:clrMapOvr>
  <p:transition>
    <p:fade/>
  </p:transition>
  <p:hf sldNum="0" hdr="0" ftr="0" dt="0"/>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userDrawn="1">
  <p:cSld name="Big Number">
    <p:bg>
      <p:bgPr>
        <a:gradFill>
          <a:gsLst>
            <a:gs pos="2000">
              <a:srgbClr val="0179D4"/>
            </a:gs>
            <a:gs pos="32000">
              <a:srgbClr val="2CB6FF"/>
            </a:gs>
            <a:gs pos="44000">
              <a:srgbClr val="2DB6FF"/>
            </a:gs>
            <a:gs pos="81000">
              <a:srgbClr val="D962FA"/>
            </a:gs>
            <a:gs pos="96000">
              <a:srgbClr val="F69991"/>
            </a:gs>
          </a:gsLst>
          <a:lin ang="3600000" scaled="0"/>
        </a:gradFill>
        <a:effectLst/>
      </p:bgPr>
    </p:bg>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205DF549-0A30-C713-1ACA-9C2994C8D47A}"/>
              </a:ext>
            </a:extLst>
          </p:cNvPr>
          <p:cNvSpPr/>
          <p:nvPr userDrawn="1"/>
        </p:nvSpPr>
        <p:spPr>
          <a:xfrm>
            <a:off x="2144777" y="741145"/>
            <a:ext cx="7899400" cy="5428649"/>
          </a:xfrm>
          <a:prstGeom prst="roundRect">
            <a:avLst>
              <a:gd name="adj" fmla="val 3511"/>
            </a:avLst>
          </a:prstGeom>
          <a:solidFill>
            <a:schemeClr val="bg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DE53C62E-72E5-F065-0EA5-5455A61A105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6" name="Text Placeholder 5">
            <a:extLst>
              <a:ext uri="{FF2B5EF4-FFF2-40B4-BE49-F238E27FC236}">
                <a16:creationId xmlns:a16="http://schemas.microsoft.com/office/drawing/2014/main" id="{E61FDE9D-CE47-EE58-DDEB-A4E2C9956FDB}"/>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7" name="Text Placeholder 5">
            <a:extLst>
              <a:ext uri="{FF2B5EF4-FFF2-40B4-BE49-F238E27FC236}">
                <a16:creationId xmlns:a16="http://schemas.microsoft.com/office/drawing/2014/main" id="{483921F1-D334-EC88-D639-C6492418B9D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37971022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2">
          <p15:clr>
            <a:srgbClr val="A4A3A4"/>
          </p15:clr>
        </p15:guide>
        <p15:guide id="24" pos="6120">
          <p15:clr>
            <a:srgbClr val="A4A3A4"/>
          </p15:clr>
        </p15:guide>
        <p15:guide id="25" pos="6308">
          <p15:clr>
            <a:srgbClr val="A4A3A4"/>
          </p15:clr>
        </p15:guide>
        <p15:guide id="26" pos="6717">
          <p15:clr>
            <a:srgbClr val="A4A3A4"/>
          </p15:clr>
        </p15:guide>
        <p15:guide id="27" pos="6900">
          <p15:clr>
            <a:srgbClr val="A4A3A4"/>
          </p15:clr>
        </p15:guide>
        <p15:guide id="28" orient="horz" pos="888">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right photo tech scan 5">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898137" cy="1231106"/>
          </a:xfrm>
        </p:spPr>
        <p:txBody>
          <a:bodyPr wrap="square"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894254"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3" name="Graphic 2" descr="Microsoft Security">
            <a:extLst>
              <a:ext uri="{FF2B5EF4-FFF2-40B4-BE49-F238E27FC236}">
                <a16:creationId xmlns:a16="http://schemas.microsoft.com/office/drawing/2014/main" id="{CD178E6C-344F-91D9-35BD-CD8D9458FDF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2164" y="583123"/>
            <a:ext cx="2291715" cy="290498"/>
          </a:xfrm>
          <a:prstGeom prst="rect">
            <a:avLst/>
          </a:prstGeom>
        </p:spPr>
      </p:pic>
      <p:pic>
        <p:nvPicPr>
          <p:cNvPr id="8" name="Picture 7">
            <a:extLst>
              <a:ext uri="{FF2B5EF4-FFF2-40B4-BE49-F238E27FC236}">
                <a16:creationId xmlns:a16="http://schemas.microsoft.com/office/drawing/2014/main" id="{7D8FD23E-BB72-2CF1-C9C6-EF44EA7CDE87}"/>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rcRect l="31304" t="3463" r="7343" b="3463"/>
          <a:stretch/>
        </p:blipFill>
        <p:spPr>
          <a:xfrm>
            <a:off x="6106651" y="0"/>
            <a:ext cx="6085349" cy="6858000"/>
          </a:xfrm>
          <a:custGeom>
            <a:avLst/>
            <a:gdLst>
              <a:gd name="connsiteX0" fmla="*/ 0 w 6085349"/>
              <a:gd name="connsiteY0" fmla="*/ 0 h 6858000"/>
              <a:gd name="connsiteX1" fmla="*/ 6085349 w 6085349"/>
              <a:gd name="connsiteY1" fmla="*/ 0 h 6858000"/>
              <a:gd name="connsiteX2" fmla="*/ 6085349 w 6085349"/>
              <a:gd name="connsiteY2" fmla="*/ 6858000 h 6858000"/>
              <a:gd name="connsiteX3" fmla="*/ 0 w 608534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85349" h="6858000">
                <a:moveTo>
                  <a:pt x="0" y="0"/>
                </a:moveTo>
                <a:lnTo>
                  <a:pt x="6085349" y="0"/>
                </a:lnTo>
                <a:lnTo>
                  <a:pt x="6085349" y="6858000"/>
                </a:lnTo>
                <a:lnTo>
                  <a:pt x="0" y="6858000"/>
                </a:lnTo>
                <a:close/>
              </a:path>
            </a:pathLst>
          </a:custGeom>
        </p:spPr>
      </p:pic>
    </p:spTree>
    <p:extLst>
      <p:ext uri="{BB962C8B-B14F-4D97-AF65-F5344CB8AC3E}">
        <p14:creationId xmlns:p14="http://schemas.microsoft.com/office/powerpoint/2010/main" val="1364763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456">
          <p15:clr>
            <a:srgbClr val="5ACBF0"/>
          </p15:clr>
        </p15:guide>
        <p15:guide id="5" orient="horz" pos="2160">
          <p15:clr>
            <a:srgbClr val="FBAE40"/>
          </p15:clr>
        </p15:guide>
        <p15:guide id="6" orient="horz" pos="2229">
          <p15:clr>
            <a:srgbClr val="5ACBF0"/>
          </p15:clr>
        </p15:guide>
        <p15:guide id="7" pos="3840">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Full page">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143208B3-217E-A316-BD41-000CF45068A3}"/>
              </a:ext>
            </a:extLst>
          </p:cNvPr>
          <p:cNvSpPr/>
          <p:nvPr userDrawn="1"/>
        </p:nvSpPr>
        <p:spPr>
          <a:xfrm>
            <a:off x="322521" y="283028"/>
            <a:ext cx="11546958" cy="6291943"/>
          </a:xfrm>
          <a:prstGeom prst="roundRect">
            <a:avLst>
              <a:gd name="adj" fmla="val 3511"/>
            </a:avLst>
          </a:prstGeom>
          <a:solidFill>
            <a:schemeClr val="bg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85266765"/>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userDrawn="1">
  <p:cSld name="3_Title Only">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41357126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cSld name="Closing logo slide">
    <p:bg>
      <p:bgPr>
        <a:solidFill>
          <a:srgbClr val="091F2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07726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p:cSld name="Title Slide_Walkin_CENTER SCREEN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B81240-6A38-443B-6A44-7E945DB8BA18}"/>
              </a:ext>
            </a:extLst>
          </p:cNvPr>
          <p:cNvPicPr>
            <a:picLocks noChangeAspect="1"/>
          </p:cNvPicPr>
          <p:nvPr userDrawn="1"/>
        </p:nvPicPr>
        <p:blipFill rotWithShape="1">
          <a:blip r:embed="rId2"/>
          <a:srcRect l="298" t="9388" r="173" b="9514"/>
          <a:stretch/>
        </p:blipFill>
        <p:spPr>
          <a:xfrm>
            <a:off x="0" y="0"/>
            <a:ext cx="12192000" cy="6858000"/>
          </a:xfrm>
          <a:prstGeom prst="rect">
            <a:avLst/>
          </a:prstGeom>
        </p:spPr>
      </p:pic>
      <p:sp>
        <p:nvSpPr>
          <p:cNvPr id="9" name="Title 1"/>
          <p:cNvSpPr>
            <a:spLocks noGrp="1"/>
          </p:cNvSpPr>
          <p:nvPr>
            <p:ph type="title" hasCustomPrompt="1"/>
          </p:nvPr>
        </p:nvSpPr>
        <p:spPr bwMode="white">
          <a:xfrm>
            <a:off x="593607" y="2302715"/>
            <a:ext cx="5577840" cy="1231063"/>
          </a:xfrm>
          <a:noFill/>
        </p:spPr>
        <p:txBody>
          <a:bodyPr vert="horz" wrap="square" lIns="0" tIns="0" rIns="0" bIns="0" rtlCol="0" anchor="b" anchorCtr="0">
            <a:spAutoFit/>
          </a:bodyPr>
          <a:lstStyle>
            <a:lvl1pPr>
              <a:defRPr lang="en-US" sz="4000" dirty="0">
                <a:solidFill>
                  <a:srgbClr val="F8E3BB"/>
                </a:solidFill>
              </a:defRPr>
            </a:lvl1pPr>
          </a:lstStyle>
          <a:p>
            <a:pPr lvl="0"/>
            <a:r>
              <a:rPr lang="en-US"/>
              <a:t>Event name or </a:t>
            </a:r>
            <a:br>
              <a:rPr lang="en-US"/>
            </a:br>
            <a:r>
              <a:rPr lang="en-US"/>
              <a:t>presentation title </a:t>
            </a:r>
          </a:p>
        </p:txBody>
      </p:sp>
      <p:sp>
        <p:nvSpPr>
          <p:cNvPr id="5" name="Text Placeholder 4"/>
          <p:cNvSpPr>
            <a:spLocks noGrp="1"/>
          </p:cNvSpPr>
          <p:nvPr>
            <p:ph type="body" sz="quarter" idx="12" hasCustomPrompt="1"/>
          </p:nvPr>
        </p:nvSpPr>
        <p:spPr bwMode="white">
          <a:xfrm>
            <a:off x="593607" y="3962401"/>
            <a:ext cx="5577840" cy="276999"/>
          </a:xfr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0CD5FF5-1115-3AF7-6411-80851536A88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93606" y="585788"/>
            <a:ext cx="1331746" cy="292608"/>
          </a:xfrm>
          <a:prstGeom prst="rect">
            <a:avLst/>
          </a:prstGeom>
        </p:spPr>
      </p:pic>
    </p:spTree>
    <p:extLst>
      <p:ext uri="{BB962C8B-B14F-4D97-AF65-F5344CB8AC3E}">
        <p14:creationId xmlns:p14="http://schemas.microsoft.com/office/powerpoint/2010/main" val="2898888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535">
          <p15:clr>
            <a:srgbClr val="5ACBF0"/>
          </p15:clr>
        </p15:guide>
        <p15:guide id="2" orient="horz" pos="7322">
          <p15:clr>
            <a:srgbClr val="5ACBF0"/>
          </p15:clr>
        </p15:guide>
        <p15:guide id="3" pos="18023">
          <p15:clr>
            <a:srgbClr val="5ACBF0"/>
          </p15:clr>
        </p15:guide>
        <p15:guide id="4" orient="horz" pos="6336">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p:cSld name="Title Slide">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D9668AE-5CD6-D782-C7B5-872E7248B94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9" name="Title 1"/>
          <p:cNvSpPr>
            <a:spLocks noGrp="1"/>
          </p:cNvSpPr>
          <p:nvPr>
            <p:ph type="title" hasCustomPrompt="1"/>
          </p:nvPr>
        </p:nvSpPr>
        <p:spPr bwMode="white">
          <a:xfrm>
            <a:off x="584200" y="2425780"/>
            <a:ext cx="5577840" cy="1107996"/>
          </a:xfrm>
          <a:noFill/>
        </p:spPr>
        <p:txBody>
          <a:bodyPr lIns="0" tIns="0" rIns="0" bIns="0" anchor="b" anchorCtr="0">
            <a:spAutoFit/>
          </a:bodyPr>
          <a:lstStyle>
            <a:lvl1pPr algn="l" defTabSz="932742" rtl="0" eaLnBrk="1" latinLnBrk="0" hangingPunct="1">
              <a:lnSpc>
                <a:spcPct val="100000"/>
              </a:lnSpc>
              <a:spcBef>
                <a:spcPct val="0"/>
              </a:spcBef>
              <a:buNone/>
              <a:defRPr lang="en-US" sz="4000" b="0" kern="1200" cap="none" spc="-50" baseline="0" dirty="0">
                <a:ln w="3175">
                  <a:noFill/>
                </a:ln>
                <a:solidFill>
                  <a:srgbClr val="4D3677"/>
                </a:solidFill>
                <a:effectLst/>
                <a:latin typeface="Segoe Sans Display Semibold" pitchFamily="2" charset="0"/>
                <a:ea typeface="+mn-ea"/>
                <a:cs typeface="Segoe Sans Display Semibold" pitchFamily="2" charset="0"/>
              </a:defRPr>
            </a:lvl1pPr>
          </a:lstStyle>
          <a:p>
            <a:pPr marL="0" marR="0" lvl="0" indent="0" algn="l" defTabSz="932742" rtl="0" eaLnBrk="1" fontAlgn="auto" latinLnBrk="0" hangingPunct="1">
              <a:lnSpc>
                <a:spcPct val="90000"/>
              </a:lnSpc>
              <a:spcBef>
                <a:spcPct val="0"/>
              </a:spcBef>
              <a:spcAft>
                <a:spcPts val="0"/>
              </a:spcAft>
              <a:buClrTx/>
              <a:buSzPct val="90000"/>
              <a:buFont typeface="Wingdings" panose="05000000000000000000" pitchFamily="2" charset="2"/>
              <a:buNone/>
              <a:tabLst/>
            </a:pPr>
            <a:r>
              <a:rPr lang="en-US"/>
              <a:t>Event name or presentation title </a:t>
            </a:r>
          </a:p>
        </p:txBody>
      </p:sp>
      <p:sp>
        <p:nvSpPr>
          <p:cNvPr id="5" name="Text Placeholder 4"/>
          <p:cNvSpPr>
            <a:spLocks noGrp="1"/>
          </p:cNvSpPr>
          <p:nvPr>
            <p:ph type="body" sz="quarter" idx="12" hasCustomPrompt="1"/>
          </p:nvPr>
        </p:nvSpPr>
        <p:spPr bwMode="white">
          <a:xfrm>
            <a:off x="584200" y="3962400"/>
            <a:ext cx="5577840" cy="276999"/>
          </a:xfrm>
          <a:noFill/>
        </p:spPr>
        <p:txBody>
          <a:bodyPr wrap="square" lIns="0" tIns="0" rIns="0" bIns="0">
            <a:spAutoFit/>
          </a:bodyPr>
          <a:lstStyle>
            <a:lvl1pPr marL="0" indent="0">
              <a:spcBef>
                <a:spcPts val="0"/>
              </a:spcBef>
              <a:buNone/>
              <a:defRPr sz="1800" spc="0" baseline="0">
                <a:solidFill>
                  <a:srgbClr val="091F2C"/>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4B2684EB-34E2-E67F-1ABA-8374FB1B885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1632815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userDrawn="1">
  <p:cSld name="1_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427BA-E9BA-7256-9B3F-95A47E6A7890}"/>
              </a:ext>
            </a:extLst>
          </p:cNvPr>
          <p:cNvSpPr>
            <a:spLocks noGrp="1"/>
          </p:cNvSpPr>
          <p:nvPr>
            <p:ph type="title" hasCustomPrompt="1"/>
          </p:nvPr>
        </p:nvSpPr>
        <p:spPr bwMode="black">
          <a:xfrm>
            <a:off x="585216" y="1459914"/>
            <a:ext cx="3898901" cy="2954655"/>
          </a:xfrm>
          <a:noFill/>
        </p:spPr>
        <p:txBody>
          <a:bodyPr vert="horz" wrap="square" lIns="0" tIns="0" rIns="0" bIns="0" rtlCol="0" anchor="b" anchorCtr="0">
            <a:normAutofit/>
          </a:bodyPr>
          <a:lstStyle>
            <a:lvl1pPr>
              <a:defRPr lang="en-US" sz="4000" dirty="0">
                <a:solidFill>
                  <a:schemeClr val="accent3"/>
                </a:solidFill>
              </a:defRPr>
            </a:lvl1pPr>
          </a:lstStyle>
          <a:p>
            <a:pPr lvl="0"/>
            <a:r>
              <a:rPr lang="en-US"/>
              <a:t>Event name or presentation title </a:t>
            </a:r>
          </a:p>
        </p:txBody>
      </p:sp>
      <p:sp>
        <p:nvSpPr>
          <p:cNvPr id="3" name="Text Placeholder 4">
            <a:extLst>
              <a:ext uri="{FF2B5EF4-FFF2-40B4-BE49-F238E27FC236}">
                <a16:creationId xmlns:a16="http://schemas.microsoft.com/office/drawing/2014/main" id="{897FAD9B-A5D2-21B8-8608-91E00CEB9870}"/>
              </a:ext>
            </a:extLst>
          </p:cNvPr>
          <p:cNvSpPr>
            <a:spLocks noGrp="1"/>
          </p:cNvSpPr>
          <p:nvPr>
            <p:ph type="body" sz="quarter" idx="12" hasCustomPrompt="1"/>
          </p:nvPr>
        </p:nvSpPr>
        <p:spPr bwMode="black">
          <a:xfrm>
            <a:off x="584200" y="4846320"/>
            <a:ext cx="3895344" cy="246221"/>
          </a:xfrm>
          <a:noFill/>
        </p:spPr>
        <p:txBody>
          <a:bodyPr wrap="square" lIns="0" tIns="0" rIns="0" bIns="0">
            <a:spAutoFit/>
          </a:bodyPr>
          <a:lstStyle>
            <a:lvl1pPr marL="0" indent="0">
              <a:spcBef>
                <a:spcPts val="0"/>
              </a:spcBef>
              <a:buNone/>
              <a:defRPr sz="1600" spc="0" baseline="0">
                <a:solidFill>
                  <a:schemeClr val="tx2"/>
                </a:solidFill>
                <a:latin typeface="+mj-lt"/>
                <a:cs typeface="Segoe UI" panose="020B0502040204020203" pitchFamily="34" charset="0"/>
              </a:defRPr>
            </a:lvl1pPr>
          </a:lstStyle>
          <a:p>
            <a:pPr lvl="0"/>
            <a:r>
              <a:rPr lang="en-US"/>
              <a:t>Speaker name or subtitle text</a:t>
            </a:r>
          </a:p>
        </p:txBody>
      </p:sp>
      <p:pic>
        <p:nvPicPr>
          <p:cNvPr id="4" name="Picture 3" descr="A logo of a company&#10;&#10;Description automatically generated">
            <a:extLst>
              <a:ext uri="{FF2B5EF4-FFF2-40B4-BE49-F238E27FC236}">
                <a16:creationId xmlns:a16="http://schemas.microsoft.com/office/drawing/2014/main" id="{88ED4D0F-6F82-3B01-3ED2-6BDBFA45E2B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06582" y="129394"/>
            <a:ext cx="3122228" cy="1373526"/>
          </a:xfrm>
          <a:prstGeom prst="rect">
            <a:avLst/>
          </a:prstGeom>
        </p:spPr>
      </p:pic>
    </p:spTree>
    <p:extLst>
      <p:ext uri="{BB962C8B-B14F-4D97-AF65-F5344CB8AC3E}">
        <p14:creationId xmlns:p14="http://schemas.microsoft.com/office/powerpoint/2010/main" val="4603028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Title_Gradient_Orange">
    <p:bg>
      <p:bgPr>
        <a:solidFill>
          <a:schemeClr val="bg1"/>
        </a:solidFill>
        <a:effectLst/>
      </p:bgPr>
    </p:bg>
    <p:spTree>
      <p:nvGrpSpPr>
        <p:cNvPr id="1" name=""/>
        <p:cNvGrpSpPr/>
        <p:nvPr/>
      </p:nvGrpSpPr>
      <p:grpSpPr>
        <a:xfrm>
          <a:off x="0" y="0"/>
          <a:ext cx="0" cy="0"/>
          <a:chOff x="0" y="0"/>
          <a:chExt cx="0" cy="0"/>
        </a:xfrm>
      </p:grpSpPr>
      <p:pic>
        <p:nvPicPr>
          <p:cNvPr id="4" name="Picture 3" descr="A close-up of a computer screen&#10;&#10;Description automatically generated">
            <a:extLst>
              <a:ext uri="{FF2B5EF4-FFF2-40B4-BE49-F238E27FC236}">
                <a16:creationId xmlns:a16="http://schemas.microsoft.com/office/drawing/2014/main" id="{7020DBFF-DB44-B99E-54B6-E7345800056C}"/>
              </a:ext>
            </a:extLst>
          </p:cNvPr>
          <p:cNvPicPr>
            <a:picLocks noChangeAspect="1"/>
          </p:cNvPicPr>
          <p:nvPr userDrawn="1"/>
        </p:nvPicPr>
        <p:blipFill rotWithShape="1">
          <a:blip r:embed="rId2"/>
          <a:srcRect l="8617" r="18611" b="27229"/>
          <a:stretch/>
        </p:blipFill>
        <p:spPr>
          <a:xfrm>
            <a:off x="0" y="0"/>
            <a:ext cx="12192000" cy="6858000"/>
          </a:xfrm>
          <a:prstGeom prst="rect">
            <a:avLst/>
          </a:prstGeom>
        </p:spPr>
      </p:pic>
      <p:sp>
        <p:nvSpPr>
          <p:cNvPr id="5" name="Rectangle 4">
            <a:extLst>
              <a:ext uri="{FF2B5EF4-FFF2-40B4-BE49-F238E27FC236}">
                <a16:creationId xmlns:a16="http://schemas.microsoft.com/office/drawing/2014/main" id="{CBB0EE32-922D-69B4-844B-F2855033F81A}"/>
              </a:ext>
            </a:extLst>
          </p:cNvPr>
          <p:cNvSpPr/>
          <p:nvPr userDrawn="1"/>
        </p:nvSpPr>
        <p:spPr bwMode="auto">
          <a:xfrm>
            <a:off x="-1" y="0"/>
            <a:ext cx="9491241" cy="6858000"/>
          </a:xfrm>
          <a:prstGeom prst="rect">
            <a:avLst/>
          </a:prstGeom>
          <a:gradFill>
            <a:gsLst>
              <a:gs pos="53000">
                <a:srgbClr val="FFF8F3">
                  <a:alpha val="52009"/>
                </a:srgbClr>
              </a:gs>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a:extLst>
              <a:ext uri="{FF2B5EF4-FFF2-40B4-BE49-F238E27FC236}">
                <a16:creationId xmlns:a16="http://schemas.microsoft.com/office/drawing/2014/main" id="{1A134BE8-0BA3-4A4E-8C07-9127207B8A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569912" y="2769057"/>
            <a:ext cx="8193024" cy="1231106"/>
          </a:xfrm>
          <a:noFill/>
        </p:spPr>
        <p:txBody>
          <a:bodyPr wrap="square" lIns="0" tIns="0" rIns="0" bIns="0" anchor="b" anchorCtr="0">
            <a:spAutoFit/>
          </a:bodyPr>
          <a:lstStyle>
            <a:lvl1pPr>
              <a:defRPr sz="4000" b="0" i="0" spc="-50" baseline="0">
                <a:solidFill>
                  <a:schemeClr val="tx1"/>
                </a:solidFill>
                <a:latin typeface="+mj-lt"/>
                <a:cs typeface="Segoe UI" panose="020B0502040204020203" pitchFamily="34" charset="0"/>
              </a:defRPr>
            </a:lvl1pPr>
          </a:lstStyle>
          <a:p>
            <a:r>
              <a:rPr lang="en-US"/>
              <a:t>Event name or </a:t>
            </a:r>
            <a:br>
              <a:rPr lang="en-US"/>
            </a:br>
            <a:r>
              <a:rPr lang="en-US"/>
              <a:t>presentation title </a:t>
            </a:r>
          </a:p>
        </p:txBody>
      </p:sp>
      <p:sp>
        <p:nvSpPr>
          <p:cNvPr id="3" name="Subtitle">
            <a:extLst>
              <a:ext uri="{FF2B5EF4-FFF2-40B4-BE49-F238E27FC236}">
                <a16:creationId xmlns:a16="http://schemas.microsoft.com/office/drawing/2014/main" id="{AA1ADBE6-5E29-7A6B-E210-597F443C7BFA}"/>
              </a:ext>
            </a:extLst>
          </p:cNvPr>
          <p:cNvSpPr>
            <a:spLocks noGrp="1"/>
          </p:cNvSpPr>
          <p:nvPr>
            <p:ph type="body" sz="quarter" idx="12" hasCustomPrompt="1"/>
          </p:nvPr>
        </p:nvSpPr>
        <p:spPr>
          <a:xfrm>
            <a:off x="582042" y="4215827"/>
            <a:ext cx="8193024" cy="246888"/>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sp>
        <p:nvSpPr>
          <p:cNvPr id="9" name="Text Placeholder 4">
            <a:extLst>
              <a:ext uri="{FF2B5EF4-FFF2-40B4-BE49-F238E27FC236}">
                <a16:creationId xmlns:a16="http://schemas.microsoft.com/office/drawing/2014/main" id="{9D791B19-58A7-CCC1-7E59-596D25308565}"/>
              </a:ext>
            </a:extLst>
          </p:cNvPr>
          <p:cNvSpPr>
            <a:spLocks noGrp="1"/>
          </p:cNvSpPr>
          <p:nvPr>
            <p:ph type="body" sz="quarter" idx="13" hasCustomPrompt="1"/>
          </p:nvPr>
        </p:nvSpPr>
        <p:spPr>
          <a:xfrm>
            <a:off x="582042" y="6446520"/>
            <a:ext cx="1645920"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Date</a:t>
            </a:r>
          </a:p>
        </p:txBody>
      </p:sp>
      <p:sp>
        <p:nvSpPr>
          <p:cNvPr id="11" name="TextBox 10">
            <a:extLst>
              <a:ext uri="{FF2B5EF4-FFF2-40B4-BE49-F238E27FC236}">
                <a16:creationId xmlns:a16="http://schemas.microsoft.com/office/drawing/2014/main" id="{79D24C9A-89BC-97E2-72D1-CB264F76EC90}"/>
              </a:ext>
            </a:extLst>
          </p:cNvPr>
          <p:cNvSpPr txBox="1"/>
          <p:nvPr userDrawn="1"/>
        </p:nvSpPr>
        <p:spPr>
          <a:xfrm>
            <a:off x="2471054" y="6446520"/>
            <a:ext cx="3143489" cy="153888"/>
          </a:xfrm>
          <a:prstGeom prst="rect">
            <a:avLst/>
          </a:prstGeom>
          <a:noFill/>
        </p:spPr>
        <p:txBody>
          <a:bodyPr wrap="none" lIns="0" tIns="0" rIns="0" bIns="0" rtlCol="0">
            <a:spAutoFit/>
          </a:bodyPr>
          <a:lstStyle/>
          <a:p>
            <a:pPr marL="0" marR="0" lvl="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lang="en-US" sz="1000" kern="1200" spc="0" baseline="0">
                <a:solidFill>
                  <a:schemeClr val="tx1"/>
                </a:solidFill>
                <a:latin typeface="+mn-lt"/>
                <a:ea typeface="+mn-ea"/>
                <a:cs typeface="Segoe UI" panose="020B0502040204020203" pitchFamily="34" charset="0"/>
              </a:rPr>
              <a:t>© Copyright Microsoft Corporation. All rights reserved. </a:t>
            </a:r>
          </a:p>
        </p:txBody>
      </p:sp>
    </p:spTree>
    <p:extLst>
      <p:ext uri="{BB962C8B-B14F-4D97-AF65-F5344CB8AC3E}">
        <p14:creationId xmlns:p14="http://schemas.microsoft.com/office/powerpoint/2010/main" val="19458811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p:cSld name="Title Slide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501294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1_Blank_with Head">
    <p:spTree>
      <p:nvGrpSpPr>
        <p:cNvPr id="1" name=""/>
        <p:cNvGrpSpPr/>
        <p:nvPr/>
      </p:nvGrpSpPr>
      <p:grpSpPr>
        <a:xfrm>
          <a:off x="0" y="0"/>
          <a:ext cx="0" cy="0"/>
          <a:chOff x="0" y="0"/>
          <a:chExt cx="0" cy="0"/>
        </a:xfrm>
      </p:grpSpPr>
      <p:pic>
        <p:nvPicPr>
          <p:cNvPr id="3" name="Picture 2" descr="A blue and white background&#10;&#10;Description automatically generated">
            <a:extLst>
              <a:ext uri="{FF2B5EF4-FFF2-40B4-BE49-F238E27FC236}">
                <a16:creationId xmlns:a16="http://schemas.microsoft.com/office/drawing/2014/main" id="{594F2FE5-E83C-FD34-6F42-2F895F0DD4B6}"/>
              </a:ext>
            </a:extLst>
          </p:cNvPr>
          <p:cNvPicPr>
            <a:picLocks noChangeAspect="1"/>
          </p:cNvPicPr>
          <p:nvPr userDrawn="1"/>
        </p:nvPicPr>
        <p:blipFill>
          <a:blip r:embed="rId2"/>
          <a:stretch>
            <a:fillRect/>
          </a:stretch>
        </p:blipFill>
        <p:spPr>
          <a:xfrm rot="10800000" flipH="1">
            <a:off x="0" y="0"/>
            <a:ext cx="12192000" cy="6858000"/>
          </a:xfrm>
          <a:prstGeom prst="rect">
            <a:avLst/>
          </a:prstGeom>
        </p:spPr>
      </p:pic>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39449620"/>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2_1-column_Text">
    <p:bg>
      <p:bgRef idx="1001">
        <a:schemeClr val="bg1"/>
      </p:bgRef>
    </p:bg>
    <p:spTree>
      <p:nvGrpSpPr>
        <p:cNvPr id="1" name=""/>
        <p:cNvGrpSpPr/>
        <p:nvPr/>
      </p:nvGrpSpPr>
      <p:grpSpPr>
        <a:xfrm>
          <a:off x="0" y="0"/>
          <a:ext cx="0" cy="0"/>
          <a:chOff x="0" y="0"/>
          <a:chExt cx="0" cy="0"/>
        </a:xfrm>
      </p:grpSpPr>
      <p:pic>
        <p:nvPicPr>
          <p:cNvPr id="5" name="Picture 4" descr="A blue and white background&#10;&#10;Description automatically generated">
            <a:extLst>
              <a:ext uri="{FF2B5EF4-FFF2-40B4-BE49-F238E27FC236}">
                <a16:creationId xmlns:a16="http://schemas.microsoft.com/office/drawing/2014/main" id="{84C13370-21B5-337A-CC11-29873A7313F3}"/>
              </a:ext>
            </a:extLst>
          </p:cNvPr>
          <p:cNvPicPr>
            <a:picLocks noChangeAspect="1"/>
          </p:cNvPicPr>
          <p:nvPr userDrawn="1"/>
        </p:nvPicPr>
        <p:blipFill>
          <a:blip r:embed="rId2"/>
          <a:stretch>
            <a:fillRect/>
          </a:stretch>
        </p:blipFill>
        <p:spPr>
          <a:xfrm rot="10800000" flipH="1">
            <a:off x="0" y="0"/>
            <a:ext cx="12192000" cy="6858000"/>
          </a:xfrm>
          <a:prstGeom prst="rect">
            <a:avLst/>
          </a:prstGeom>
        </p:spPr>
      </p:pic>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05B49E74-D3F8-9BC9-0A3F-F524E6C5A414}"/>
              </a:ext>
            </a:extLst>
          </p:cNvPr>
          <p:cNvSpPr>
            <a:spLocks noGrp="1"/>
          </p:cNvSpPr>
          <p:nvPr>
            <p:ph type="body" sz="quarter" idx="15"/>
          </p:nvPr>
        </p:nvSpPr>
        <p:spPr>
          <a:xfrm>
            <a:off x="586389" y="1591056"/>
            <a:ext cx="1101347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2761276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divider 10">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6F05E8C-BB0C-EA05-053D-C2A15157C471}"/>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21263705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2_Blank_with Head">
    <p:spTree>
      <p:nvGrpSpPr>
        <p:cNvPr id="1" name=""/>
        <p:cNvGrpSpPr/>
        <p:nvPr/>
      </p:nvGrpSpPr>
      <p:grpSpPr>
        <a:xfrm>
          <a:off x="0" y="0"/>
          <a:ext cx="0" cy="0"/>
          <a:chOff x="0" y="0"/>
          <a:chExt cx="0" cy="0"/>
        </a:xfrm>
      </p:grpSpPr>
      <p:pic>
        <p:nvPicPr>
          <p:cNvPr id="5" name="Picture 4" descr="A blurry image of a blue and white sky&#10;&#10;Description automatically generated">
            <a:extLst>
              <a:ext uri="{FF2B5EF4-FFF2-40B4-BE49-F238E27FC236}">
                <a16:creationId xmlns:a16="http://schemas.microsoft.com/office/drawing/2014/main" id="{B1518538-021B-0EE2-1F16-D8E5F85D09C2}"/>
              </a:ext>
            </a:extLst>
          </p:cNvPr>
          <p:cNvPicPr>
            <a:picLocks noChangeAspect="1"/>
          </p:cNvPicPr>
          <p:nvPr userDrawn="1"/>
        </p:nvPicPr>
        <p:blipFill>
          <a:blip r:embed="rId2"/>
          <a:srcRect b="16667"/>
          <a:stretch/>
        </p:blipFill>
        <p:spPr>
          <a:xfrm>
            <a:off x="0" y="0"/>
            <a:ext cx="12192000" cy="6858000"/>
          </a:xfrm>
          <a:prstGeom prst="rect">
            <a:avLst/>
          </a:prstGeom>
        </p:spPr>
      </p:pic>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631863228"/>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3_1-column_Text">
    <p:bg>
      <p:bgRef idx="1001">
        <a:schemeClr val="bg1"/>
      </p:bgRef>
    </p:bg>
    <p:spTree>
      <p:nvGrpSpPr>
        <p:cNvPr id="1" name=""/>
        <p:cNvGrpSpPr/>
        <p:nvPr/>
      </p:nvGrpSpPr>
      <p:grpSpPr>
        <a:xfrm>
          <a:off x="0" y="0"/>
          <a:ext cx="0" cy="0"/>
          <a:chOff x="0" y="0"/>
          <a:chExt cx="0" cy="0"/>
        </a:xfrm>
      </p:grpSpPr>
      <p:pic>
        <p:nvPicPr>
          <p:cNvPr id="4" name="Picture 3" descr="A blurry image of a blue and white sky&#10;&#10;Description automatically generated">
            <a:extLst>
              <a:ext uri="{FF2B5EF4-FFF2-40B4-BE49-F238E27FC236}">
                <a16:creationId xmlns:a16="http://schemas.microsoft.com/office/drawing/2014/main" id="{C32E3519-3202-8477-B7E6-CC33516A1082}"/>
              </a:ext>
            </a:extLst>
          </p:cNvPr>
          <p:cNvPicPr>
            <a:picLocks noChangeAspect="1"/>
          </p:cNvPicPr>
          <p:nvPr userDrawn="1"/>
        </p:nvPicPr>
        <p:blipFill>
          <a:blip r:embed="rId2"/>
          <a:srcRect b="16667"/>
          <a:stretch/>
        </p:blipFill>
        <p:spPr>
          <a:xfrm>
            <a:off x="0" y="0"/>
            <a:ext cx="12192000" cy="6858000"/>
          </a:xfrm>
          <a:prstGeom prst="rect">
            <a:avLst/>
          </a:prstGeom>
        </p:spPr>
      </p:pic>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05B49E74-D3F8-9BC9-0A3F-F524E6C5A414}"/>
              </a:ext>
            </a:extLst>
          </p:cNvPr>
          <p:cNvSpPr>
            <a:spLocks noGrp="1"/>
          </p:cNvSpPr>
          <p:nvPr>
            <p:ph type="body" sz="quarter" idx="15"/>
          </p:nvPr>
        </p:nvSpPr>
        <p:spPr>
          <a:xfrm>
            <a:off x="586389" y="1591056"/>
            <a:ext cx="1101347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5168004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3530040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7A8FAD-25B6-4A21-C15F-F4D4AED4861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9215409"/>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77836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9441568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98791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78016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871561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29034571"/>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Section divider 10">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5D26C3B-62D8-1AE2-F714-8A96C1541F2F}"/>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ltGray">
          <a:xfrm>
            <a:off x="0" y="0"/>
            <a:ext cx="12186409" cy="6858000"/>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34406729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671292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499569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439223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0098237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962764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1270913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1225751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7570895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7246632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43347955"/>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6">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EF2A93D-EA52-E933-A063-C89BF9DFEBE0}"/>
              </a:ext>
            </a:extLst>
          </p:cNvPr>
          <p:cNvPicPr>
            <a:picLocks noChangeAspect="1"/>
          </p:cNvPicPr>
          <p:nvPr userDrawn="1"/>
        </p:nvPicPr>
        <p:blipFill>
          <a:blip r:embed="rId2">
            <a:extLst>
              <a:ext uri="{28A0092B-C50C-407E-A947-70E740481C1C}">
                <a14:useLocalDpi xmlns:a14="http://schemas.microsoft.com/office/drawing/2010/main" val="0"/>
              </a:ext>
            </a:extLst>
          </a:blip>
          <a:srcRect l="29466" r="29466"/>
          <a:stretch/>
        </p:blipFill>
        <p:spPr>
          <a:xfrm>
            <a:off x="7185023" y="0"/>
            <a:ext cx="5006977"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1236662" y="1871327"/>
            <a:ext cx="4059237" cy="1107996"/>
          </a:xfrm>
        </p:spPr>
        <p:txBody>
          <a:bodyPr wrap="square" anchor="t">
            <a:sp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n-lt"/>
                <a:ea typeface="+mn-ea"/>
                <a:cs typeface="Segoe Sans Display" pitchFamily="2" charset="0"/>
              </a:defRPr>
            </a:lvl1pPr>
          </a:lstStyle>
          <a:p>
            <a:r>
              <a:rPr lang="en-US"/>
              <a:t>Click to edit Master title style</a:t>
            </a:r>
          </a:p>
        </p:txBody>
      </p:sp>
      <p:grpSp>
        <p:nvGrpSpPr>
          <p:cNvPr id="3" name="Group 2">
            <a:extLst>
              <a:ext uri="{FF2B5EF4-FFF2-40B4-BE49-F238E27FC236}">
                <a16:creationId xmlns:a16="http://schemas.microsoft.com/office/drawing/2014/main" id="{A374D167-A877-DD4F-71B6-1B226D482EC6}"/>
              </a:ext>
              <a:ext uri="{C183D7F6-B498-43B3-948B-1728B52AA6E4}">
                <adec:decorative xmlns:adec="http://schemas.microsoft.com/office/drawing/2017/decorative" val="1"/>
              </a:ext>
            </a:extLst>
          </p:cNvPr>
          <p:cNvGrpSpPr>
            <a:grpSpLocks noChangeAspect="1"/>
          </p:cNvGrpSpPr>
          <p:nvPr userDrawn="1"/>
        </p:nvGrpSpPr>
        <p:grpSpPr>
          <a:xfrm>
            <a:off x="1236663" y="1053765"/>
            <a:ext cx="524538" cy="457200"/>
            <a:chOff x="4169763" y="585788"/>
            <a:chExt cx="713371" cy="622746"/>
          </a:xfrm>
          <a:solidFill>
            <a:schemeClr val="tx1"/>
          </a:solidFill>
        </p:grpSpPr>
        <p:sp>
          <p:nvSpPr>
            <p:cNvPr id="4" name="Graphic 9">
              <a:extLst>
                <a:ext uri="{FF2B5EF4-FFF2-40B4-BE49-F238E27FC236}">
                  <a16:creationId xmlns:a16="http://schemas.microsoft.com/office/drawing/2014/main" id="{7E30BC2E-C9E5-9640-484B-8757872AA340}"/>
                </a:ext>
              </a:extLst>
            </p:cNvPr>
            <p:cNvSpPr/>
            <p:nvPr/>
          </p:nvSpPr>
          <p:spPr>
            <a:xfrm>
              <a:off x="4565666" y="585788"/>
              <a:ext cx="317468" cy="622746"/>
            </a:xfrm>
            <a:custGeom>
              <a:avLst/>
              <a:gdLst>
                <a:gd name="connsiteX0" fmla="*/ 19526 w 317468"/>
                <a:gd name="connsiteY0" fmla="*/ 622746 h 622746"/>
                <a:gd name="connsiteX1" fmla="*/ 0 w 317468"/>
                <a:gd name="connsiteY1" fmla="*/ 603315 h 622746"/>
                <a:gd name="connsiteX2" fmla="*/ 0 w 317468"/>
                <a:gd name="connsiteY2" fmla="*/ 387955 h 622746"/>
                <a:gd name="connsiteX3" fmla="*/ 81915 w 317468"/>
                <a:gd name="connsiteY3" fmla="*/ 123160 h 622746"/>
                <a:gd name="connsiteX4" fmla="*/ 298037 w 317468"/>
                <a:gd name="connsiteY4" fmla="*/ 287 h 622746"/>
                <a:gd name="connsiteX5" fmla="*/ 311944 w 317468"/>
                <a:gd name="connsiteY5" fmla="*/ 11336 h 622746"/>
                <a:gd name="connsiteX6" fmla="*/ 311944 w 317468"/>
                <a:gd name="connsiteY6" fmla="*/ 104681 h 622746"/>
                <a:gd name="connsiteX7" fmla="*/ 304229 w 317468"/>
                <a:gd name="connsiteY7" fmla="*/ 115445 h 622746"/>
                <a:gd name="connsiteX8" fmla="*/ 160401 w 317468"/>
                <a:gd name="connsiteY8" fmla="*/ 237555 h 622746"/>
                <a:gd name="connsiteX9" fmla="*/ 142018 w 317468"/>
                <a:gd name="connsiteY9" fmla="*/ 322709 h 622746"/>
                <a:gd name="connsiteX10" fmla="*/ 149543 w 317468"/>
                <a:gd name="connsiteY10" fmla="*/ 329948 h 622746"/>
                <a:gd name="connsiteX11" fmla="*/ 297942 w 317468"/>
                <a:gd name="connsiteY11" fmla="*/ 329948 h 622746"/>
                <a:gd name="connsiteX12" fmla="*/ 317468 w 317468"/>
                <a:gd name="connsiteY12" fmla="*/ 349379 h 622746"/>
                <a:gd name="connsiteX13" fmla="*/ 317468 w 317468"/>
                <a:gd name="connsiteY13" fmla="*/ 560643 h 622746"/>
                <a:gd name="connsiteX14" fmla="*/ 255461 w 317468"/>
                <a:gd name="connsiteY14" fmla="*/ 622556 h 622746"/>
                <a:gd name="connsiteX15" fmla="*/ 19526 w 317468"/>
                <a:gd name="connsiteY15" fmla="*/ 622556 h 62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7468" h="622746">
                  <a:moveTo>
                    <a:pt x="19526" y="622746"/>
                  </a:moveTo>
                  <a:cubicBezTo>
                    <a:pt x="8763" y="622746"/>
                    <a:pt x="0" y="613983"/>
                    <a:pt x="0" y="603315"/>
                  </a:cubicBezTo>
                  <a:lnTo>
                    <a:pt x="0" y="387955"/>
                  </a:lnTo>
                  <a:cubicBezTo>
                    <a:pt x="0" y="275274"/>
                    <a:pt x="27337" y="186977"/>
                    <a:pt x="81915" y="123160"/>
                  </a:cubicBezTo>
                  <a:cubicBezTo>
                    <a:pt x="133922" y="62295"/>
                    <a:pt x="205931" y="21338"/>
                    <a:pt x="298037" y="287"/>
                  </a:cubicBezTo>
                  <a:cubicBezTo>
                    <a:pt x="305181" y="-1332"/>
                    <a:pt x="311944" y="4097"/>
                    <a:pt x="311944" y="11336"/>
                  </a:cubicBezTo>
                  <a:lnTo>
                    <a:pt x="311944" y="104681"/>
                  </a:lnTo>
                  <a:cubicBezTo>
                    <a:pt x="311944" y="109539"/>
                    <a:pt x="308896" y="113921"/>
                    <a:pt x="304229" y="115445"/>
                  </a:cubicBezTo>
                  <a:cubicBezTo>
                    <a:pt x="233458" y="138876"/>
                    <a:pt x="185452" y="179643"/>
                    <a:pt x="160401" y="237555"/>
                  </a:cubicBezTo>
                  <a:cubicBezTo>
                    <a:pt x="146780" y="266892"/>
                    <a:pt x="140589" y="295277"/>
                    <a:pt x="142018" y="322709"/>
                  </a:cubicBezTo>
                  <a:cubicBezTo>
                    <a:pt x="142208" y="326805"/>
                    <a:pt x="145542" y="329948"/>
                    <a:pt x="149543" y="329948"/>
                  </a:cubicBezTo>
                  <a:lnTo>
                    <a:pt x="297942" y="329948"/>
                  </a:lnTo>
                  <a:cubicBezTo>
                    <a:pt x="308705" y="329948"/>
                    <a:pt x="317468" y="338711"/>
                    <a:pt x="317468" y="349379"/>
                  </a:cubicBezTo>
                  <a:lnTo>
                    <a:pt x="317468" y="560643"/>
                  </a:lnTo>
                  <a:cubicBezTo>
                    <a:pt x="317468" y="594838"/>
                    <a:pt x="289751" y="622556"/>
                    <a:pt x="255461" y="622556"/>
                  </a:cubicBezTo>
                  <a:lnTo>
                    <a:pt x="19526" y="622556"/>
                  </a:lnTo>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Sans Display"/>
                <a:ea typeface="+mn-ea"/>
                <a:cs typeface="+mn-cs"/>
              </a:endParaRPr>
            </a:p>
          </p:txBody>
        </p:sp>
        <p:sp>
          <p:nvSpPr>
            <p:cNvPr id="5" name="Graphic 9">
              <a:extLst>
                <a:ext uri="{FF2B5EF4-FFF2-40B4-BE49-F238E27FC236}">
                  <a16:creationId xmlns:a16="http://schemas.microsoft.com/office/drawing/2014/main" id="{E3CA75AC-6E69-6F07-C66F-627EE593FCC1}"/>
                </a:ext>
              </a:extLst>
            </p:cNvPr>
            <p:cNvSpPr/>
            <p:nvPr userDrawn="1"/>
          </p:nvSpPr>
          <p:spPr>
            <a:xfrm>
              <a:off x="4169763" y="585788"/>
              <a:ext cx="317468" cy="622746"/>
            </a:xfrm>
            <a:custGeom>
              <a:avLst/>
              <a:gdLst>
                <a:gd name="connsiteX0" fmla="*/ 19526 w 317468"/>
                <a:gd name="connsiteY0" fmla="*/ 622746 h 622746"/>
                <a:gd name="connsiteX1" fmla="*/ 0 w 317468"/>
                <a:gd name="connsiteY1" fmla="*/ 603315 h 622746"/>
                <a:gd name="connsiteX2" fmla="*/ 0 w 317468"/>
                <a:gd name="connsiteY2" fmla="*/ 387955 h 622746"/>
                <a:gd name="connsiteX3" fmla="*/ 81915 w 317468"/>
                <a:gd name="connsiteY3" fmla="*/ 123160 h 622746"/>
                <a:gd name="connsiteX4" fmla="*/ 298037 w 317468"/>
                <a:gd name="connsiteY4" fmla="*/ 287 h 622746"/>
                <a:gd name="connsiteX5" fmla="*/ 311944 w 317468"/>
                <a:gd name="connsiteY5" fmla="*/ 11336 h 622746"/>
                <a:gd name="connsiteX6" fmla="*/ 311944 w 317468"/>
                <a:gd name="connsiteY6" fmla="*/ 104681 h 622746"/>
                <a:gd name="connsiteX7" fmla="*/ 304229 w 317468"/>
                <a:gd name="connsiteY7" fmla="*/ 115445 h 622746"/>
                <a:gd name="connsiteX8" fmla="*/ 160401 w 317468"/>
                <a:gd name="connsiteY8" fmla="*/ 237555 h 622746"/>
                <a:gd name="connsiteX9" fmla="*/ 142018 w 317468"/>
                <a:gd name="connsiteY9" fmla="*/ 322709 h 622746"/>
                <a:gd name="connsiteX10" fmla="*/ 149543 w 317468"/>
                <a:gd name="connsiteY10" fmla="*/ 329948 h 622746"/>
                <a:gd name="connsiteX11" fmla="*/ 297942 w 317468"/>
                <a:gd name="connsiteY11" fmla="*/ 329948 h 622746"/>
                <a:gd name="connsiteX12" fmla="*/ 317468 w 317468"/>
                <a:gd name="connsiteY12" fmla="*/ 349379 h 622746"/>
                <a:gd name="connsiteX13" fmla="*/ 317468 w 317468"/>
                <a:gd name="connsiteY13" fmla="*/ 560643 h 622746"/>
                <a:gd name="connsiteX14" fmla="*/ 255461 w 317468"/>
                <a:gd name="connsiteY14" fmla="*/ 622556 h 622746"/>
                <a:gd name="connsiteX15" fmla="*/ 19526 w 317468"/>
                <a:gd name="connsiteY15" fmla="*/ 622556 h 62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7468" h="622746">
                  <a:moveTo>
                    <a:pt x="19526" y="622746"/>
                  </a:moveTo>
                  <a:cubicBezTo>
                    <a:pt x="8763" y="622746"/>
                    <a:pt x="0" y="613983"/>
                    <a:pt x="0" y="603315"/>
                  </a:cubicBezTo>
                  <a:lnTo>
                    <a:pt x="0" y="387955"/>
                  </a:lnTo>
                  <a:cubicBezTo>
                    <a:pt x="0" y="275274"/>
                    <a:pt x="27337" y="186977"/>
                    <a:pt x="81915" y="123160"/>
                  </a:cubicBezTo>
                  <a:cubicBezTo>
                    <a:pt x="133922" y="62295"/>
                    <a:pt x="205931" y="21338"/>
                    <a:pt x="298037" y="287"/>
                  </a:cubicBezTo>
                  <a:cubicBezTo>
                    <a:pt x="305181" y="-1332"/>
                    <a:pt x="311944" y="4097"/>
                    <a:pt x="311944" y="11336"/>
                  </a:cubicBezTo>
                  <a:lnTo>
                    <a:pt x="311944" y="104681"/>
                  </a:lnTo>
                  <a:cubicBezTo>
                    <a:pt x="311944" y="109539"/>
                    <a:pt x="308896" y="113921"/>
                    <a:pt x="304229" y="115445"/>
                  </a:cubicBezTo>
                  <a:cubicBezTo>
                    <a:pt x="233458" y="138876"/>
                    <a:pt x="185452" y="179643"/>
                    <a:pt x="160401" y="237555"/>
                  </a:cubicBezTo>
                  <a:cubicBezTo>
                    <a:pt x="146780" y="266892"/>
                    <a:pt x="140589" y="295277"/>
                    <a:pt x="142018" y="322709"/>
                  </a:cubicBezTo>
                  <a:cubicBezTo>
                    <a:pt x="142208" y="326805"/>
                    <a:pt x="145542" y="329948"/>
                    <a:pt x="149543" y="329948"/>
                  </a:cubicBezTo>
                  <a:lnTo>
                    <a:pt x="297942" y="329948"/>
                  </a:lnTo>
                  <a:cubicBezTo>
                    <a:pt x="308705" y="329948"/>
                    <a:pt x="317468" y="338711"/>
                    <a:pt x="317468" y="349379"/>
                  </a:cubicBezTo>
                  <a:lnTo>
                    <a:pt x="317468" y="560643"/>
                  </a:lnTo>
                  <a:cubicBezTo>
                    <a:pt x="317468" y="594838"/>
                    <a:pt x="289751" y="622556"/>
                    <a:pt x="255461" y="622556"/>
                  </a:cubicBezTo>
                  <a:lnTo>
                    <a:pt x="19526" y="622556"/>
                  </a:lnTo>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Sans Display"/>
                <a:ea typeface="+mn-ea"/>
                <a:cs typeface="+mn-cs"/>
              </a:endParaRPr>
            </a:p>
          </p:txBody>
        </p:sp>
      </p:gr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FC028E71-17BB-C9A7-F5A0-5931B1E9EBB9}"/>
              </a:ext>
              <a:ext uri="{C183D7F6-B498-43B3-948B-1728B52AA6E4}">
                <adec:decorative xmlns:adec="http://schemas.microsoft.com/office/drawing/2017/decorative" val="0"/>
              </a:ext>
            </a:extLst>
          </p:cNvPr>
          <p:cNvSpPr>
            <a:spLocks noGrp="1"/>
          </p:cNvSpPr>
          <p:nvPr>
            <p:ph type="pic" sz="quarter" idx="13" hasCustomPrompt="1"/>
          </p:nvPr>
        </p:nvSpPr>
        <p:spPr bwMode="ltGray">
          <a:xfrm>
            <a:off x="6242050" y="1072356"/>
            <a:ext cx="4713287" cy="4713287"/>
          </a:xfrm>
          <a:prstGeom prst="roundRect">
            <a:avLst>
              <a:gd name="adj" fmla="val 1073"/>
            </a:avLst>
          </a:prstGeom>
          <a:blipFill>
            <a:blip r:embed="rId3"/>
            <a:stretch>
              <a:fillRect/>
            </a:stretch>
          </a:blipFill>
          <a:effectLst>
            <a:outerShdw blurRad="190500" dist="50800" dir="8100000" algn="ctr" rotWithShape="0">
              <a:srgbClr val="000000">
                <a:alpha val="25000"/>
              </a:srgbClr>
            </a:outerShdw>
          </a:effectLst>
        </p:spPr>
        <p:txBody>
          <a:bodyPr lIns="0" tIns="0" rIns="0" bIns="1005840" anchor="ctr" anchorCtr="0">
            <a:noAutofit/>
          </a:bodyPr>
          <a:lstStyle>
            <a:lvl1pPr marL="0" indent="0" algn="ctr">
              <a:lnSpc>
                <a:spcPct val="100000"/>
              </a:lnSpc>
              <a:buNone/>
              <a:defRPr sz="10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79767511"/>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4">
          <p15:clr>
            <a:srgbClr val="A4A3A4"/>
          </p15:clr>
        </p15:guide>
        <p15:guide id="19" pos="4526">
          <p15:clr>
            <a:srgbClr val="A4A3A4"/>
          </p15:clr>
        </p15:guide>
        <p15:guide id="20" pos="4937">
          <p15:clr>
            <a:srgbClr val="A4A3A4"/>
          </p15:clr>
        </p15:guide>
        <p15:guide id="21" pos="5120">
          <p15:clr>
            <a:srgbClr val="A4A3A4"/>
          </p15:clr>
        </p15:guide>
        <p15:guide id="22" pos="5520">
          <p15:clr>
            <a:srgbClr val="A4A3A4"/>
          </p15:clr>
        </p15:guide>
        <p15:guide id="23" pos="5714">
          <p15:clr>
            <a:srgbClr val="A4A3A4"/>
          </p15:clr>
        </p15:guide>
        <p15:guide id="24" pos="6123">
          <p15:clr>
            <a:srgbClr val="A4A3A4"/>
          </p15:clr>
        </p15:guide>
        <p15:guide id="25" pos="6312">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59395636"/>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6903004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5967717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7834375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5626213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6120426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3415443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0263685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6760210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2258271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Quote 4">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B1A66B69-4B28-393A-984F-8CF9B3347C29}"/>
              </a:ext>
              <a:ext uri="{C183D7F6-B498-43B3-948B-1728B52AA6E4}">
                <adec:decorative xmlns:adec="http://schemas.microsoft.com/office/drawing/2017/decorative" val="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DAA83F9C-7592-411B-E1FE-6872AE779BD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574675" y="585788"/>
            <a:ext cx="7262813" cy="5683250"/>
          </a:xfrm>
          <a:prstGeom prst="roundRect">
            <a:avLst>
              <a:gd name="adj" fmla="val 1407"/>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1236663" y="1871327"/>
            <a:ext cx="5948362" cy="553998"/>
          </a:xfrm>
        </p:spPr>
        <p:txBody>
          <a:bodyPr wrap="square" anchor="t">
            <a:sp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n-lt"/>
                <a:ea typeface="+mn-ea"/>
                <a:cs typeface="Segoe Sans Display" pitchFamily="2" charset="0"/>
              </a:defRPr>
            </a:lvl1pPr>
          </a:lstStyle>
          <a:p>
            <a:r>
              <a:rPr lang="en-US"/>
              <a:t>Click to edit Master title style</a:t>
            </a:r>
          </a:p>
        </p:txBody>
      </p:sp>
      <p:grpSp>
        <p:nvGrpSpPr>
          <p:cNvPr id="3" name="Group 2">
            <a:extLst>
              <a:ext uri="{FF2B5EF4-FFF2-40B4-BE49-F238E27FC236}">
                <a16:creationId xmlns:a16="http://schemas.microsoft.com/office/drawing/2014/main" id="{A374D167-A877-DD4F-71B6-1B226D482EC6}"/>
              </a:ext>
              <a:ext uri="{C183D7F6-B498-43B3-948B-1728B52AA6E4}">
                <adec:decorative xmlns:adec="http://schemas.microsoft.com/office/drawing/2017/decorative" val="1"/>
              </a:ext>
            </a:extLst>
          </p:cNvPr>
          <p:cNvGrpSpPr>
            <a:grpSpLocks noChangeAspect="1"/>
          </p:cNvGrpSpPr>
          <p:nvPr userDrawn="1"/>
        </p:nvGrpSpPr>
        <p:grpSpPr>
          <a:xfrm>
            <a:off x="1236663" y="1053765"/>
            <a:ext cx="524538" cy="457200"/>
            <a:chOff x="4169763" y="585788"/>
            <a:chExt cx="713371" cy="622746"/>
          </a:xfrm>
          <a:solidFill>
            <a:schemeClr val="tx1"/>
          </a:solidFill>
        </p:grpSpPr>
        <p:sp>
          <p:nvSpPr>
            <p:cNvPr id="4" name="Graphic 9">
              <a:extLst>
                <a:ext uri="{FF2B5EF4-FFF2-40B4-BE49-F238E27FC236}">
                  <a16:creationId xmlns:a16="http://schemas.microsoft.com/office/drawing/2014/main" id="{7E30BC2E-C9E5-9640-484B-8757872AA340}"/>
                </a:ext>
              </a:extLst>
            </p:cNvPr>
            <p:cNvSpPr/>
            <p:nvPr/>
          </p:nvSpPr>
          <p:spPr>
            <a:xfrm>
              <a:off x="4565666" y="585788"/>
              <a:ext cx="317468" cy="622746"/>
            </a:xfrm>
            <a:custGeom>
              <a:avLst/>
              <a:gdLst>
                <a:gd name="connsiteX0" fmla="*/ 19526 w 317468"/>
                <a:gd name="connsiteY0" fmla="*/ 622746 h 622746"/>
                <a:gd name="connsiteX1" fmla="*/ 0 w 317468"/>
                <a:gd name="connsiteY1" fmla="*/ 603315 h 622746"/>
                <a:gd name="connsiteX2" fmla="*/ 0 w 317468"/>
                <a:gd name="connsiteY2" fmla="*/ 387955 h 622746"/>
                <a:gd name="connsiteX3" fmla="*/ 81915 w 317468"/>
                <a:gd name="connsiteY3" fmla="*/ 123160 h 622746"/>
                <a:gd name="connsiteX4" fmla="*/ 298037 w 317468"/>
                <a:gd name="connsiteY4" fmla="*/ 287 h 622746"/>
                <a:gd name="connsiteX5" fmla="*/ 311944 w 317468"/>
                <a:gd name="connsiteY5" fmla="*/ 11336 h 622746"/>
                <a:gd name="connsiteX6" fmla="*/ 311944 w 317468"/>
                <a:gd name="connsiteY6" fmla="*/ 104681 h 622746"/>
                <a:gd name="connsiteX7" fmla="*/ 304229 w 317468"/>
                <a:gd name="connsiteY7" fmla="*/ 115445 h 622746"/>
                <a:gd name="connsiteX8" fmla="*/ 160401 w 317468"/>
                <a:gd name="connsiteY8" fmla="*/ 237555 h 622746"/>
                <a:gd name="connsiteX9" fmla="*/ 142018 w 317468"/>
                <a:gd name="connsiteY9" fmla="*/ 322709 h 622746"/>
                <a:gd name="connsiteX10" fmla="*/ 149543 w 317468"/>
                <a:gd name="connsiteY10" fmla="*/ 329948 h 622746"/>
                <a:gd name="connsiteX11" fmla="*/ 297942 w 317468"/>
                <a:gd name="connsiteY11" fmla="*/ 329948 h 622746"/>
                <a:gd name="connsiteX12" fmla="*/ 317468 w 317468"/>
                <a:gd name="connsiteY12" fmla="*/ 349379 h 622746"/>
                <a:gd name="connsiteX13" fmla="*/ 317468 w 317468"/>
                <a:gd name="connsiteY13" fmla="*/ 560643 h 622746"/>
                <a:gd name="connsiteX14" fmla="*/ 255461 w 317468"/>
                <a:gd name="connsiteY14" fmla="*/ 622556 h 622746"/>
                <a:gd name="connsiteX15" fmla="*/ 19526 w 317468"/>
                <a:gd name="connsiteY15" fmla="*/ 622556 h 62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7468" h="622746">
                  <a:moveTo>
                    <a:pt x="19526" y="622746"/>
                  </a:moveTo>
                  <a:cubicBezTo>
                    <a:pt x="8763" y="622746"/>
                    <a:pt x="0" y="613983"/>
                    <a:pt x="0" y="603315"/>
                  </a:cubicBezTo>
                  <a:lnTo>
                    <a:pt x="0" y="387955"/>
                  </a:lnTo>
                  <a:cubicBezTo>
                    <a:pt x="0" y="275274"/>
                    <a:pt x="27337" y="186977"/>
                    <a:pt x="81915" y="123160"/>
                  </a:cubicBezTo>
                  <a:cubicBezTo>
                    <a:pt x="133922" y="62295"/>
                    <a:pt x="205931" y="21338"/>
                    <a:pt x="298037" y="287"/>
                  </a:cubicBezTo>
                  <a:cubicBezTo>
                    <a:pt x="305181" y="-1332"/>
                    <a:pt x="311944" y="4097"/>
                    <a:pt x="311944" y="11336"/>
                  </a:cubicBezTo>
                  <a:lnTo>
                    <a:pt x="311944" y="104681"/>
                  </a:lnTo>
                  <a:cubicBezTo>
                    <a:pt x="311944" y="109539"/>
                    <a:pt x="308896" y="113921"/>
                    <a:pt x="304229" y="115445"/>
                  </a:cubicBezTo>
                  <a:cubicBezTo>
                    <a:pt x="233458" y="138876"/>
                    <a:pt x="185452" y="179643"/>
                    <a:pt x="160401" y="237555"/>
                  </a:cubicBezTo>
                  <a:cubicBezTo>
                    <a:pt x="146780" y="266892"/>
                    <a:pt x="140589" y="295277"/>
                    <a:pt x="142018" y="322709"/>
                  </a:cubicBezTo>
                  <a:cubicBezTo>
                    <a:pt x="142208" y="326805"/>
                    <a:pt x="145542" y="329948"/>
                    <a:pt x="149543" y="329948"/>
                  </a:cubicBezTo>
                  <a:lnTo>
                    <a:pt x="297942" y="329948"/>
                  </a:lnTo>
                  <a:cubicBezTo>
                    <a:pt x="308705" y="329948"/>
                    <a:pt x="317468" y="338711"/>
                    <a:pt x="317468" y="349379"/>
                  </a:cubicBezTo>
                  <a:lnTo>
                    <a:pt x="317468" y="560643"/>
                  </a:lnTo>
                  <a:cubicBezTo>
                    <a:pt x="317468" y="594838"/>
                    <a:pt x="289751" y="622556"/>
                    <a:pt x="255461" y="622556"/>
                  </a:cubicBezTo>
                  <a:lnTo>
                    <a:pt x="19526" y="622556"/>
                  </a:lnTo>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Sans Display"/>
                <a:ea typeface="+mn-ea"/>
                <a:cs typeface="+mn-cs"/>
              </a:endParaRPr>
            </a:p>
          </p:txBody>
        </p:sp>
        <p:sp>
          <p:nvSpPr>
            <p:cNvPr id="5" name="Graphic 9">
              <a:extLst>
                <a:ext uri="{FF2B5EF4-FFF2-40B4-BE49-F238E27FC236}">
                  <a16:creationId xmlns:a16="http://schemas.microsoft.com/office/drawing/2014/main" id="{E3CA75AC-6E69-6F07-C66F-627EE593FCC1}"/>
                </a:ext>
              </a:extLst>
            </p:cNvPr>
            <p:cNvSpPr/>
            <p:nvPr userDrawn="1"/>
          </p:nvSpPr>
          <p:spPr>
            <a:xfrm>
              <a:off x="4169763" y="585788"/>
              <a:ext cx="317468" cy="622746"/>
            </a:xfrm>
            <a:custGeom>
              <a:avLst/>
              <a:gdLst>
                <a:gd name="connsiteX0" fmla="*/ 19526 w 317468"/>
                <a:gd name="connsiteY0" fmla="*/ 622746 h 622746"/>
                <a:gd name="connsiteX1" fmla="*/ 0 w 317468"/>
                <a:gd name="connsiteY1" fmla="*/ 603315 h 622746"/>
                <a:gd name="connsiteX2" fmla="*/ 0 w 317468"/>
                <a:gd name="connsiteY2" fmla="*/ 387955 h 622746"/>
                <a:gd name="connsiteX3" fmla="*/ 81915 w 317468"/>
                <a:gd name="connsiteY3" fmla="*/ 123160 h 622746"/>
                <a:gd name="connsiteX4" fmla="*/ 298037 w 317468"/>
                <a:gd name="connsiteY4" fmla="*/ 287 h 622746"/>
                <a:gd name="connsiteX5" fmla="*/ 311944 w 317468"/>
                <a:gd name="connsiteY5" fmla="*/ 11336 h 622746"/>
                <a:gd name="connsiteX6" fmla="*/ 311944 w 317468"/>
                <a:gd name="connsiteY6" fmla="*/ 104681 h 622746"/>
                <a:gd name="connsiteX7" fmla="*/ 304229 w 317468"/>
                <a:gd name="connsiteY7" fmla="*/ 115445 h 622746"/>
                <a:gd name="connsiteX8" fmla="*/ 160401 w 317468"/>
                <a:gd name="connsiteY8" fmla="*/ 237555 h 622746"/>
                <a:gd name="connsiteX9" fmla="*/ 142018 w 317468"/>
                <a:gd name="connsiteY9" fmla="*/ 322709 h 622746"/>
                <a:gd name="connsiteX10" fmla="*/ 149543 w 317468"/>
                <a:gd name="connsiteY10" fmla="*/ 329948 h 622746"/>
                <a:gd name="connsiteX11" fmla="*/ 297942 w 317468"/>
                <a:gd name="connsiteY11" fmla="*/ 329948 h 622746"/>
                <a:gd name="connsiteX12" fmla="*/ 317468 w 317468"/>
                <a:gd name="connsiteY12" fmla="*/ 349379 h 622746"/>
                <a:gd name="connsiteX13" fmla="*/ 317468 w 317468"/>
                <a:gd name="connsiteY13" fmla="*/ 560643 h 622746"/>
                <a:gd name="connsiteX14" fmla="*/ 255461 w 317468"/>
                <a:gd name="connsiteY14" fmla="*/ 622556 h 622746"/>
                <a:gd name="connsiteX15" fmla="*/ 19526 w 317468"/>
                <a:gd name="connsiteY15" fmla="*/ 622556 h 62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7468" h="622746">
                  <a:moveTo>
                    <a:pt x="19526" y="622746"/>
                  </a:moveTo>
                  <a:cubicBezTo>
                    <a:pt x="8763" y="622746"/>
                    <a:pt x="0" y="613983"/>
                    <a:pt x="0" y="603315"/>
                  </a:cubicBezTo>
                  <a:lnTo>
                    <a:pt x="0" y="387955"/>
                  </a:lnTo>
                  <a:cubicBezTo>
                    <a:pt x="0" y="275274"/>
                    <a:pt x="27337" y="186977"/>
                    <a:pt x="81915" y="123160"/>
                  </a:cubicBezTo>
                  <a:cubicBezTo>
                    <a:pt x="133922" y="62295"/>
                    <a:pt x="205931" y="21338"/>
                    <a:pt x="298037" y="287"/>
                  </a:cubicBezTo>
                  <a:cubicBezTo>
                    <a:pt x="305181" y="-1332"/>
                    <a:pt x="311944" y="4097"/>
                    <a:pt x="311944" y="11336"/>
                  </a:cubicBezTo>
                  <a:lnTo>
                    <a:pt x="311944" y="104681"/>
                  </a:lnTo>
                  <a:cubicBezTo>
                    <a:pt x="311944" y="109539"/>
                    <a:pt x="308896" y="113921"/>
                    <a:pt x="304229" y="115445"/>
                  </a:cubicBezTo>
                  <a:cubicBezTo>
                    <a:pt x="233458" y="138876"/>
                    <a:pt x="185452" y="179643"/>
                    <a:pt x="160401" y="237555"/>
                  </a:cubicBezTo>
                  <a:cubicBezTo>
                    <a:pt x="146780" y="266892"/>
                    <a:pt x="140589" y="295277"/>
                    <a:pt x="142018" y="322709"/>
                  </a:cubicBezTo>
                  <a:cubicBezTo>
                    <a:pt x="142208" y="326805"/>
                    <a:pt x="145542" y="329948"/>
                    <a:pt x="149543" y="329948"/>
                  </a:cubicBezTo>
                  <a:lnTo>
                    <a:pt x="297942" y="329948"/>
                  </a:lnTo>
                  <a:cubicBezTo>
                    <a:pt x="308705" y="329948"/>
                    <a:pt x="317468" y="338711"/>
                    <a:pt x="317468" y="349379"/>
                  </a:cubicBezTo>
                  <a:lnTo>
                    <a:pt x="317468" y="560643"/>
                  </a:lnTo>
                  <a:cubicBezTo>
                    <a:pt x="317468" y="594838"/>
                    <a:pt x="289751" y="622556"/>
                    <a:pt x="255461" y="622556"/>
                  </a:cubicBezTo>
                  <a:lnTo>
                    <a:pt x="19526" y="622556"/>
                  </a:lnTo>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Sans Display"/>
                <a:ea typeface="+mn-ea"/>
                <a:cs typeface="+mn-cs"/>
              </a:endParaRPr>
            </a:p>
          </p:txBody>
        </p:sp>
      </p:grpSp>
    </p:spTree>
    <p:extLst>
      <p:ext uri="{BB962C8B-B14F-4D97-AF65-F5344CB8AC3E}">
        <p14:creationId xmlns:p14="http://schemas.microsoft.com/office/powerpoint/2010/main" val="4164677037"/>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4">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12">
          <p15:clr>
            <a:srgbClr val="A4A3A4"/>
          </p15:clr>
        </p15:guide>
        <p15:guide id="26" pos="6717">
          <p15:clr>
            <a:srgbClr val="A4A3A4"/>
          </p15:clr>
        </p15:guide>
        <p15:guide id="27" pos="6900">
          <p15:clr>
            <a:srgbClr val="A4A3A4"/>
          </p15:clr>
        </p15:guide>
        <p15:guide id="30" orient="horz" pos="288">
          <p15:clr>
            <a:srgbClr val="5ACBF0"/>
          </p15:clr>
        </p15:guide>
        <p15:guide id="32" orient="horz" pos="2184">
          <p15:clr>
            <a:srgbClr val="5ACBF0"/>
          </p15:clr>
        </p15:guide>
        <p15:guide id="33" pos="2976">
          <p15:clr>
            <a:srgbClr val="5ACBF0"/>
          </p15:clr>
        </p15:guide>
        <p15:guide id="34" pos="3336">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3253634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7661277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8683822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138188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2302858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p:cSld name="Demo slide">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31A31B0-DA79-E282-BD21-42CF3B67D8EA}"/>
              </a:ext>
            </a:extLst>
          </p:cNvPr>
          <p:cNvPicPr>
            <a:picLocks noChangeAspect="1"/>
          </p:cNvPicPr>
          <p:nvPr userDrawn="1"/>
        </p:nvPicPr>
        <p:blipFill>
          <a:blip r:embed="rId2"/>
          <a:srcRect/>
          <a:stretch/>
        </p:blipFill>
        <p:spPr>
          <a:xfrm>
            <a:off x="0" y="762"/>
            <a:ext cx="12189291" cy="6856476"/>
          </a:xfrm>
          <a:prstGeom prst="rect">
            <a:avLst/>
          </a:prstGeom>
        </p:spPr>
      </p:pic>
      <p:sp>
        <p:nvSpPr>
          <p:cNvPr id="2" name="Title 1"/>
          <p:cNvSpPr>
            <a:spLocks noGrp="1"/>
          </p:cNvSpPr>
          <p:nvPr>
            <p:ph type="title" hasCustomPrompt="1"/>
          </p:nvPr>
        </p:nvSpPr>
        <p:spPr>
          <a:xfrm>
            <a:off x="585216" y="2977823"/>
            <a:ext cx="62179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21792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rgbClr val="FFFFFF"/>
                </a:solidFill>
                <a:latin typeface="+mn-lt"/>
              </a:defRPr>
            </a:lvl1pPr>
          </a:lstStyle>
          <a:p>
            <a:pPr lvl="0"/>
            <a:r>
              <a:rPr lang="en-US"/>
              <a:t>Speaker name</a:t>
            </a:r>
          </a:p>
        </p:txBody>
      </p:sp>
    </p:spTree>
    <p:extLst>
      <p:ext uri="{BB962C8B-B14F-4D97-AF65-F5344CB8AC3E}">
        <p14:creationId xmlns:p14="http://schemas.microsoft.com/office/powerpoint/2010/main" val="28348727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p:cSld name="Section Title">
    <p:bg>
      <p:bgPr>
        <a:solidFill>
          <a:srgbClr val="091F2C"/>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55AB3C7-DD87-C9B0-751D-F81E1404C834}"/>
              </a:ext>
            </a:extLst>
          </p:cNvPr>
          <p:cNvPicPr>
            <a:picLocks noChangeAspect="1"/>
          </p:cNvPicPr>
          <p:nvPr userDrawn="1"/>
        </p:nvPicPr>
        <p:blipFill>
          <a:blip r:embed="rId2"/>
          <a:srcRect/>
          <a:stretch/>
        </p:blipFill>
        <p:spPr>
          <a:xfrm>
            <a:off x="1354" y="762"/>
            <a:ext cx="12189291" cy="6856476"/>
          </a:xfrm>
          <a:prstGeom prst="rect">
            <a:avLst/>
          </a:prstGeom>
        </p:spPr>
      </p:pic>
      <p:sp>
        <p:nvSpPr>
          <p:cNvPr id="2" name="Title 1"/>
          <p:cNvSpPr>
            <a:spLocks noGrp="1"/>
          </p:cNvSpPr>
          <p:nvPr>
            <p:ph type="title" hasCustomPrompt="1"/>
          </p:nvPr>
        </p:nvSpPr>
        <p:spPr>
          <a:xfrm>
            <a:off x="585216" y="2980408"/>
            <a:ext cx="66751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8106186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Section_Gradient_Warm Gray">
    <p:bg>
      <p:bgPr>
        <a:solidFill>
          <a:schemeClr val="bg1"/>
        </a:solidFill>
        <a:effectLst/>
      </p:bgPr>
    </p:bg>
    <p:spTree>
      <p:nvGrpSpPr>
        <p:cNvPr id="1" name=""/>
        <p:cNvGrpSpPr/>
        <p:nvPr/>
      </p:nvGrpSpPr>
      <p:grpSpPr>
        <a:xfrm>
          <a:off x="0" y="0"/>
          <a:ext cx="0" cy="0"/>
          <a:chOff x="0" y="0"/>
          <a:chExt cx="0" cy="0"/>
        </a:xfrm>
      </p:grpSpPr>
      <p:pic>
        <p:nvPicPr>
          <p:cNvPr id="8" name="Picture 7" descr="A close-up of a computer screen&#10;&#10;Description automatically generated">
            <a:extLst>
              <a:ext uri="{FF2B5EF4-FFF2-40B4-BE49-F238E27FC236}">
                <a16:creationId xmlns:a16="http://schemas.microsoft.com/office/drawing/2014/main" id="{A83DAD36-086B-87B0-091E-EC03E2CFCA2C}"/>
              </a:ext>
            </a:extLst>
          </p:cNvPr>
          <p:cNvPicPr>
            <a:picLocks noChangeAspect="1"/>
          </p:cNvPicPr>
          <p:nvPr userDrawn="1"/>
        </p:nvPicPr>
        <p:blipFill>
          <a:blip r:embed="rId2"/>
          <a:srcRect t="9590" r="19181" b="9590"/>
          <a:stretch/>
        </p:blipFill>
        <p:spPr>
          <a:xfrm>
            <a:off x="0" y="0"/>
            <a:ext cx="12191998" cy="6857999"/>
          </a:xfrm>
          <a:prstGeom prst="rect">
            <a:avLst/>
          </a:prstGeom>
        </p:spPr>
      </p:pic>
      <p:sp>
        <p:nvSpPr>
          <p:cNvPr id="9" name="Rectangle 8">
            <a:extLst>
              <a:ext uri="{FF2B5EF4-FFF2-40B4-BE49-F238E27FC236}">
                <a16:creationId xmlns:a16="http://schemas.microsoft.com/office/drawing/2014/main" id="{E4F28DDB-A2B6-F21A-AFAE-6D86A1D0D50C}"/>
              </a:ext>
            </a:extLst>
          </p:cNvPr>
          <p:cNvSpPr/>
          <p:nvPr userDrawn="1"/>
        </p:nvSpPr>
        <p:spPr bwMode="auto">
          <a:xfrm>
            <a:off x="0" y="0"/>
            <a:ext cx="7452360" cy="6858000"/>
          </a:xfrm>
          <a:prstGeom prst="rect">
            <a:avLst/>
          </a:prstGeom>
          <a:gradFill>
            <a:gsLst>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12D19AFB-6939-2FBA-48C9-66A2961406A7}"/>
              </a:ext>
            </a:extLst>
          </p:cNvPr>
          <p:cNvSpPr>
            <a:spLocks noGrp="1"/>
          </p:cNvSpPr>
          <p:nvPr>
            <p:ph type="title" hasCustomPrompt="1"/>
          </p:nvPr>
        </p:nvSpPr>
        <p:spPr>
          <a:xfrm>
            <a:off x="569911" y="3384610"/>
            <a:ext cx="4989641" cy="615553"/>
          </a:xfrm>
          <a:noFill/>
        </p:spPr>
        <p:txBody>
          <a:bodyPr wrap="square" lIns="0" tIns="0" rIns="0" bIns="0" anchor="b" anchorCtr="0">
            <a:spAutoFit/>
          </a:bodyPr>
          <a:lstStyle>
            <a:lvl1pPr>
              <a:defRPr sz="4000" b="0" i="0" spc="-50" baseline="0">
                <a:solidFill>
                  <a:schemeClr val="tx1"/>
                </a:solidFill>
                <a:latin typeface="+mj-lt"/>
                <a:cs typeface="Segoe UI" panose="020B0502040204020203" pitchFamily="34" charset="0"/>
              </a:defRPr>
            </a:lvl1pPr>
          </a:lstStyle>
          <a:p>
            <a:r>
              <a:rPr lang="en-US"/>
              <a:t>Section divider title</a:t>
            </a:r>
          </a:p>
        </p:txBody>
      </p:sp>
      <p:sp>
        <p:nvSpPr>
          <p:cNvPr id="2" name="Text Placeholder 4">
            <a:extLst>
              <a:ext uri="{FF2B5EF4-FFF2-40B4-BE49-F238E27FC236}">
                <a16:creationId xmlns:a16="http://schemas.microsoft.com/office/drawing/2014/main" id="{F9CC4CD7-01CD-2983-6312-47D1240CC951}"/>
              </a:ext>
            </a:extLst>
          </p:cNvPr>
          <p:cNvSpPr>
            <a:spLocks noGrp="1"/>
          </p:cNvSpPr>
          <p:nvPr>
            <p:ph type="body" sz="quarter" idx="12" hasCustomPrompt="1"/>
          </p:nvPr>
        </p:nvSpPr>
        <p:spPr>
          <a:xfrm>
            <a:off x="582042" y="4215828"/>
            <a:ext cx="4989641"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24362906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1_Section_Gradient_Warm Gray">
    <p:bg>
      <p:bgPr>
        <a:solidFill>
          <a:schemeClr val="bg1"/>
        </a:solidFill>
        <a:effectLst/>
      </p:bgPr>
    </p:bg>
    <p:spTree>
      <p:nvGrpSpPr>
        <p:cNvPr id="1" name=""/>
        <p:cNvGrpSpPr/>
        <p:nvPr/>
      </p:nvGrpSpPr>
      <p:grpSpPr>
        <a:xfrm>
          <a:off x="0" y="0"/>
          <a:ext cx="0" cy="0"/>
          <a:chOff x="0" y="0"/>
          <a:chExt cx="0" cy="0"/>
        </a:xfrm>
      </p:grpSpPr>
      <p:pic>
        <p:nvPicPr>
          <p:cNvPr id="5" name="Picture 4" descr="A close-up of a colorful spiral&#10;&#10;Description automatically generated">
            <a:extLst>
              <a:ext uri="{FF2B5EF4-FFF2-40B4-BE49-F238E27FC236}">
                <a16:creationId xmlns:a16="http://schemas.microsoft.com/office/drawing/2014/main" id="{FE78A0B7-C38C-EF30-63E1-9BCE12AC5F85}"/>
              </a:ext>
            </a:extLst>
          </p:cNvPr>
          <p:cNvPicPr>
            <a:picLocks noChangeAspect="1"/>
          </p:cNvPicPr>
          <p:nvPr userDrawn="1"/>
        </p:nvPicPr>
        <p:blipFill>
          <a:blip r:embed="rId2"/>
          <a:srcRect r="10287" b="10287"/>
          <a:stretch/>
        </p:blipFill>
        <p:spPr>
          <a:xfrm>
            <a:off x="0" y="0"/>
            <a:ext cx="12192000" cy="6858000"/>
          </a:xfrm>
          <a:prstGeom prst="rect">
            <a:avLst/>
          </a:prstGeom>
        </p:spPr>
      </p:pic>
      <p:sp>
        <p:nvSpPr>
          <p:cNvPr id="9" name="Rectangle 8">
            <a:extLst>
              <a:ext uri="{FF2B5EF4-FFF2-40B4-BE49-F238E27FC236}">
                <a16:creationId xmlns:a16="http://schemas.microsoft.com/office/drawing/2014/main" id="{E4F28DDB-A2B6-F21A-AFAE-6D86A1D0D50C}"/>
              </a:ext>
            </a:extLst>
          </p:cNvPr>
          <p:cNvSpPr/>
          <p:nvPr userDrawn="1"/>
        </p:nvSpPr>
        <p:spPr bwMode="auto">
          <a:xfrm>
            <a:off x="0" y="0"/>
            <a:ext cx="9299448" cy="6858000"/>
          </a:xfrm>
          <a:prstGeom prst="rect">
            <a:avLst/>
          </a:prstGeom>
          <a:gradFill>
            <a:gsLst>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12D19AFB-6939-2FBA-48C9-66A2961406A7}"/>
              </a:ext>
            </a:extLst>
          </p:cNvPr>
          <p:cNvSpPr>
            <a:spLocks noGrp="1"/>
          </p:cNvSpPr>
          <p:nvPr>
            <p:ph type="title" hasCustomPrompt="1"/>
          </p:nvPr>
        </p:nvSpPr>
        <p:spPr>
          <a:xfrm>
            <a:off x="569911" y="3384610"/>
            <a:ext cx="4989641" cy="615553"/>
          </a:xfrm>
          <a:noFill/>
        </p:spPr>
        <p:txBody>
          <a:bodyPr wrap="square" lIns="0" tIns="0" rIns="0" bIns="0" anchor="b" anchorCtr="0">
            <a:spAutoFit/>
          </a:bodyPr>
          <a:lstStyle>
            <a:lvl1pPr>
              <a:defRPr sz="4000" b="1" i="0" spc="-50" baseline="0">
                <a:solidFill>
                  <a:schemeClr val="tx1"/>
                </a:solidFill>
                <a:latin typeface="+mj-lt"/>
                <a:ea typeface="Amazon Ember Display" panose="020F0603020204020204" pitchFamily="34" charset="0"/>
                <a:cs typeface="Segoe UI Semibold" panose="020B0502040204020203" pitchFamily="34" charset="0"/>
              </a:defRPr>
            </a:lvl1pPr>
          </a:lstStyle>
          <a:p>
            <a:r>
              <a:rPr lang="en-US"/>
              <a:t>Section divider title</a:t>
            </a:r>
          </a:p>
        </p:txBody>
      </p:sp>
      <p:sp>
        <p:nvSpPr>
          <p:cNvPr id="2" name="Text Placeholder 4">
            <a:extLst>
              <a:ext uri="{FF2B5EF4-FFF2-40B4-BE49-F238E27FC236}">
                <a16:creationId xmlns:a16="http://schemas.microsoft.com/office/drawing/2014/main" id="{F9CC4CD7-01CD-2983-6312-47D1240CC951}"/>
              </a:ext>
            </a:extLst>
          </p:cNvPr>
          <p:cNvSpPr>
            <a:spLocks noGrp="1"/>
          </p:cNvSpPr>
          <p:nvPr>
            <p:ph type="body" sz="quarter" idx="12" hasCustomPrompt="1"/>
          </p:nvPr>
        </p:nvSpPr>
        <p:spPr>
          <a:xfrm>
            <a:off x="582042" y="4215828"/>
            <a:ext cx="4989641"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11405879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2_Section_Gradient_Warm Gray">
    <p:bg>
      <p:bgPr>
        <a:solidFill>
          <a:schemeClr val="bg1"/>
        </a:solidFill>
        <a:effectLst/>
      </p:bgPr>
    </p:bg>
    <p:spTree>
      <p:nvGrpSpPr>
        <p:cNvPr id="1" name=""/>
        <p:cNvGrpSpPr/>
        <p:nvPr/>
      </p:nvGrpSpPr>
      <p:grpSpPr>
        <a:xfrm>
          <a:off x="0" y="0"/>
          <a:ext cx="0" cy="0"/>
          <a:chOff x="0" y="0"/>
          <a:chExt cx="0" cy="0"/>
        </a:xfrm>
      </p:grpSpPr>
      <p:pic>
        <p:nvPicPr>
          <p:cNvPr id="6" name="Picture 5" descr="A close-up of a curved object&#10;&#10;Description automatically generated">
            <a:extLst>
              <a:ext uri="{FF2B5EF4-FFF2-40B4-BE49-F238E27FC236}">
                <a16:creationId xmlns:a16="http://schemas.microsoft.com/office/drawing/2014/main" id="{BC06A425-7693-6E8F-EB7B-6C9814E9168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9" name="Rectangle 8">
            <a:extLst>
              <a:ext uri="{FF2B5EF4-FFF2-40B4-BE49-F238E27FC236}">
                <a16:creationId xmlns:a16="http://schemas.microsoft.com/office/drawing/2014/main" id="{E4F28DDB-A2B6-F21A-AFAE-6D86A1D0D50C}"/>
              </a:ext>
            </a:extLst>
          </p:cNvPr>
          <p:cNvSpPr/>
          <p:nvPr userDrawn="1"/>
        </p:nvSpPr>
        <p:spPr bwMode="auto">
          <a:xfrm>
            <a:off x="0" y="0"/>
            <a:ext cx="8586216" cy="6858000"/>
          </a:xfrm>
          <a:prstGeom prst="rect">
            <a:avLst/>
          </a:prstGeom>
          <a:gradFill>
            <a:gsLst>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12D19AFB-6939-2FBA-48C9-66A2961406A7}"/>
              </a:ext>
            </a:extLst>
          </p:cNvPr>
          <p:cNvSpPr>
            <a:spLocks noGrp="1"/>
          </p:cNvSpPr>
          <p:nvPr>
            <p:ph type="title" hasCustomPrompt="1"/>
          </p:nvPr>
        </p:nvSpPr>
        <p:spPr>
          <a:xfrm>
            <a:off x="569911" y="3384610"/>
            <a:ext cx="4989641" cy="615553"/>
          </a:xfrm>
          <a:noFill/>
        </p:spPr>
        <p:txBody>
          <a:bodyPr wrap="square" lIns="0" tIns="0" rIns="0" bIns="0" anchor="b" anchorCtr="0">
            <a:spAutoFit/>
          </a:bodyPr>
          <a:lstStyle>
            <a:lvl1pPr>
              <a:defRPr sz="4000" b="1" i="0" spc="-50" baseline="0">
                <a:solidFill>
                  <a:schemeClr val="tx1"/>
                </a:solidFill>
                <a:latin typeface="+mj-lt"/>
                <a:ea typeface="Amazon Ember Display" panose="020F0603020204020204" pitchFamily="34" charset="0"/>
                <a:cs typeface="Segoe UI Semibold" panose="020B0502040204020203" pitchFamily="34" charset="0"/>
              </a:defRPr>
            </a:lvl1pPr>
          </a:lstStyle>
          <a:p>
            <a:r>
              <a:rPr lang="en-US"/>
              <a:t>Section divider title</a:t>
            </a:r>
          </a:p>
        </p:txBody>
      </p:sp>
      <p:sp>
        <p:nvSpPr>
          <p:cNvPr id="2" name="Text Placeholder 4">
            <a:extLst>
              <a:ext uri="{FF2B5EF4-FFF2-40B4-BE49-F238E27FC236}">
                <a16:creationId xmlns:a16="http://schemas.microsoft.com/office/drawing/2014/main" id="{F9CC4CD7-01CD-2983-6312-47D1240CC951}"/>
              </a:ext>
            </a:extLst>
          </p:cNvPr>
          <p:cNvSpPr>
            <a:spLocks noGrp="1"/>
          </p:cNvSpPr>
          <p:nvPr>
            <p:ph type="body" sz="quarter" idx="12" hasCustomPrompt="1"/>
          </p:nvPr>
        </p:nvSpPr>
        <p:spPr>
          <a:xfrm>
            <a:off x="582042" y="4215828"/>
            <a:ext cx="4989641"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6485179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Graphic Header">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D56BC81-79FE-6633-4A0F-A6EB76D6B5A3}"/>
              </a:ext>
            </a:extLst>
          </p:cNvPr>
          <p:cNvPicPr>
            <a:picLocks noChangeAspect="1"/>
          </p:cNvPicPr>
          <p:nvPr userDrawn="1"/>
        </p:nvPicPr>
        <p:blipFill>
          <a:blip r:embed="rId2"/>
          <a:srcRect t="6318" b="75600"/>
          <a:stretch/>
        </p:blipFill>
        <p:spPr>
          <a:xfrm>
            <a:off x="1838" y="0"/>
            <a:ext cx="12188949" cy="1239768"/>
          </a:xfrm>
          <a:prstGeom prst="rect">
            <a:avLst/>
          </a:prstGeom>
        </p:spPr>
      </p:pic>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5" name="Content Placeholder 3">
            <a:extLst>
              <a:ext uri="{FF2B5EF4-FFF2-40B4-BE49-F238E27FC236}">
                <a16:creationId xmlns:a16="http://schemas.microsoft.com/office/drawing/2014/main" id="{A1EBC19B-DFE0-3BAB-4973-BFAD8A738382}"/>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346704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p:cSld name="Dem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4778890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p:cSld name="Section Titl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962953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p:cSld name="Theme 1">
    <p:bg>
      <p:bgPr>
        <a:gradFill>
          <a:gsLst>
            <a:gs pos="0">
              <a:srgbClr val="D8C3B2"/>
            </a:gs>
            <a:gs pos="50000">
              <a:srgbClr val="D9D9D6"/>
            </a:gs>
          </a:gsLst>
          <a:lin ang="13500000" scaled="1"/>
        </a:gra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80A2749-4F90-7323-9A4E-826285B0864C}"/>
              </a:ext>
            </a:extLst>
          </p:cNvPr>
          <p:cNvPicPr>
            <a:picLocks noChangeAspect="1"/>
          </p:cNvPicPr>
          <p:nvPr userDrawn="1"/>
        </p:nvPicPr>
        <p:blipFill>
          <a:blip r:embed="rId2"/>
          <a:stretch>
            <a:fillRect/>
          </a:stretch>
        </p:blipFill>
        <p:spPr>
          <a:xfrm>
            <a:off x="13788967" y="834111"/>
            <a:ext cx="3010330" cy="2848560"/>
          </a:xfrm>
          <a:prstGeom prst="rect">
            <a:avLst/>
          </a:prstGeom>
        </p:spPr>
      </p:pic>
      <p:sp>
        <p:nvSpPr>
          <p:cNvPr id="2" name="Oval 1">
            <a:extLst>
              <a:ext uri="{FF2B5EF4-FFF2-40B4-BE49-F238E27FC236}">
                <a16:creationId xmlns:a16="http://schemas.microsoft.com/office/drawing/2014/main" id="{191D8404-1FE1-D734-52BC-5516B5DAF804}"/>
              </a:ext>
            </a:extLst>
          </p:cNvPr>
          <p:cNvSpPr/>
          <p:nvPr userDrawn="1"/>
        </p:nvSpPr>
        <p:spPr bwMode="auto">
          <a:xfrm>
            <a:off x="14646822" y="1420532"/>
            <a:ext cx="82550" cy="92869"/>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48755" rIns="60944" bIns="48755" numCol="1" spcCol="0" rtlCol="0" fromWordArt="0" anchor="t" anchorCtr="0" forceAA="0" compatLnSpc="1">
            <a:prstTxWarp prst="textNoShape">
              <a:avLst/>
            </a:prstTxWarp>
            <a:noAutofit/>
          </a:bodyPr>
          <a:lstStyle/>
          <a:p>
            <a:pPr algn="l" defTabSz="310700" fontAlgn="base">
              <a:spcBef>
                <a:spcPct val="0"/>
              </a:spcBef>
              <a:spcAft>
                <a:spcPct val="0"/>
              </a:spcAft>
            </a:pPr>
            <a:endParaRPr lang="en-US" sz="666" err="1">
              <a:solidFill>
                <a:srgbClr val="FFFFFF"/>
              </a:solidFill>
              <a:ea typeface="Segoe UI" pitchFamily="34" charset="0"/>
              <a:cs typeface="Segoe UI" pitchFamily="34" charset="0"/>
            </a:endParaRPr>
          </a:p>
        </p:txBody>
      </p:sp>
      <p:sp>
        <p:nvSpPr>
          <p:cNvPr id="3" name="Oval 2">
            <a:extLst>
              <a:ext uri="{FF2B5EF4-FFF2-40B4-BE49-F238E27FC236}">
                <a16:creationId xmlns:a16="http://schemas.microsoft.com/office/drawing/2014/main" id="{8786EACC-0683-3D2F-39BB-900F49241AF6}"/>
              </a:ext>
            </a:extLst>
          </p:cNvPr>
          <p:cNvSpPr/>
          <p:nvPr userDrawn="1"/>
        </p:nvSpPr>
        <p:spPr bwMode="auto">
          <a:xfrm>
            <a:off x="14655800" y="1167543"/>
            <a:ext cx="82550" cy="92869"/>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48755" rIns="60944" bIns="48755" numCol="1" spcCol="0" rtlCol="0" fromWordArt="0" anchor="t" anchorCtr="0" forceAA="0" compatLnSpc="1">
            <a:prstTxWarp prst="textNoShape">
              <a:avLst/>
            </a:prstTxWarp>
            <a:noAutofit/>
          </a:bodyPr>
          <a:lstStyle/>
          <a:p>
            <a:pPr algn="l" defTabSz="310700" fontAlgn="base">
              <a:spcBef>
                <a:spcPct val="0"/>
              </a:spcBef>
              <a:spcAft>
                <a:spcPct val="0"/>
              </a:spcAft>
            </a:pPr>
            <a:endParaRPr lang="en-US" sz="666" err="1">
              <a:solidFill>
                <a:srgbClr val="FFFFFF"/>
              </a:solidFill>
              <a:ea typeface="Segoe UI" pitchFamily="34" charset="0"/>
              <a:cs typeface="Segoe UI" pitchFamily="34" charset="0"/>
            </a:endParaRPr>
          </a:p>
        </p:txBody>
      </p:sp>
      <p:sp>
        <p:nvSpPr>
          <p:cNvPr id="4" name="Oval 3">
            <a:extLst>
              <a:ext uri="{FF2B5EF4-FFF2-40B4-BE49-F238E27FC236}">
                <a16:creationId xmlns:a16="http://schemas.microsoft.com/office/drawing/2014/main" id="{152EF10A-8F26-D91C-B214-AB6F79AF02F6}"/>
              </a:ext>
            </a:extLst>
          </p:cNvPr>
          <p:cNvSpPr/>
          <p:nvPr userDrawn="1"/>
        </p:nvSpPr>
        <p:spPr bwMode="auto">
          <a:xfrm>
            <a:off x="15840428" y="3180557"/>
            <a:ext cx="82550" cy="92869"/>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48755" rIns="60944" bIns="48755" numCol="1" spcCol="0" rtlCol="0" fromWordArt="0" anchor="t" anchorCtr="0" forceAA="0" compatLnSpc="1">
            <a:prstTxWarp prst="textNoShape">
              <a:avLst/>
            </a:prstTxWarp>
            <a:noAutofit/>
          </a:bodyPr>
          <a:lstStyle/>
          <a:p>
            <a:pPr algn="l" defTabSz="310700" fontAlgn="base">
              <a:spcBef>
                <a:spcPct val="0"/>
              </a:spcBef>
              <a:spcAft>
                <a:spcPct val="0"/>
              </a:spcAft>
            </a:pPr>
            <a:endParaRPr lang="en-US" sz="666" err="1">
              <a:solidFill>
                <a:srgbClr val="FFFFFF"/>
              </a:solidFill>
              <a:ea typeface="Segoe UI" pitchFamily="34" charset="0"/>
              <a:cs typeface="Segoe UI" pitchFamily="34" charset="0"/>
            </a:endParaRPr>
          </a:p>
        </p:txBody>
      </p:sp>
      <p:sp>
        <p:nvSpPr>
          <p:cNvPr id="5" name="Rectangle 4">
            <a:hlinkClick r:id="" action="ppaction://noaction"/>
            <a:extLst>
              <a:ext uri="{FF2B5EF4-FFF2-40B4-BE49-F238E27FC236}">
                <a16:creationId xmlns:a16="http://schemas.microsoft.com/office/drawing/2014/main" id="{0B737CA8-3C4D-E1B8-736D-CC1ABF864169}"/>
              </a:ext>
            </a:extLst>
          </p:cNvPr>
          <p:cNvSpPr/>
          <p:nvPr userDrawn="1"/>
        </p:nvSpPr>
        <p:spPr bwMode="auto">
          <a:xfrm>
            <a:off x="2" y="7180084"/>
            <a:ext cx="2781299" cy="1564183"/>
          </a:xfrm>
          <a:prstGeom prst="rect">
            <a:avLst/>
          </a:prstGeom>
          <a:gradFill flip="none" rotWithShape="1">
            <a:gsLst>
              <a:gs pos="0">
                <a:srgbClr val="D8C3B2"/>
              </a:gs>
              <a:gs pos="44000">
                <a:srgbClr val="CBCCCA"/>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48755" rIns="60944" bIns="48755" numCol="1" spcCol="0" rtlCol="0" fromWordArt="0" anchor="t" anchorCtr="0" forceAA="0" compatLnSpc="1">
            <a:prstTxWarp prst="textNoShape">
              <a:avLst/>
            </a:prstTxWarp>
            <a:noAutofit/>
          </a:bodyPr>
          <a:lstStyle/>
          <a:p>
            <a:pPr defTabSz="310700" fontAlgn="base">
              <a:spcBef>
                <a:spcPct val="0"/>
              </a:spcBef>
              <a:spcAft>
                <a:spcPct val="0"/>
              </a:spcAft>
            </a:pPr>
            <a:endParaRPr lang="en-US" sz="666">
              <a:solidFill>
                <a:schemeClr val="bg1"/>
              </a:solidFill>
              <a:cs typeface="Segoe UI" pitchFamily="34" charset="0"/>
            </a:endParaRPr>
          </a:p>
        </p:txBody>
      </p:sp>
      <p:sp>
        <p:nvSpPr>
          <p:cNvPr id="12" name="Parallelogram 11">
            <a:extLst>
              <a:ext uri="{FF2B5EF4-FFF2-40B4-BE49-F238E27FC236}">
                <a16:creationId xmlns:a16="http://schemas.microsoft.com/office/drawing/2014/main" id="{273C6E69-8511-450E-C31E-A3A4D2852A67}"/>
              </a:ext>
            </a:extLst>
          </p:cNvPr>
          <p:cNvSpPr/>
          <p:nvPr userDrawn="1"/>
        </p:nvSpPr>
        <p:spPr bwMode="auto">
          <a:xfrm>
            <a:off x="2653122" y="7661557"/>
            <a:ext cx="8498975" cy="3574719"/>
          </a:xfrm>
          <a:prstGeom prst="parallelogram">
            <a:avLst>
              <a:gd name="adj" fmla="val 152384"/>
            </a:avLst>
          </a:prstGeom>
          <a:solidFill>
            <a:srgbClr val="E8E6DF">
              <a:alpha val="30000"/>
            </a:srgbClr>
          </a:solidFill>
          <a:ln>
            <a:noFill/>
            <a:headEnd type="none" w="med" len="med"/>
            <a:tailEnd type="none" w="med" len="med"/>
          </a:ln>
          <a:effectLst>
            <a:softEdge rad="12700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48755" rIns="60944" bIns="48755" numCol="1" spcCol="0" rtlCol="0" fromWordArt="0" anchor="t" anchorCtr="0" forceAA="0" compatLnSpc="1">
            <a:prstTxWarp prst="textNoShape">
              <a:avLst/>
            </a:prstTxWarp>
            <a:noAutofit/>
          </a:bodyPr>
          <a:lstStyle/>
          <a:p>
            <a:pPr algn="l" defTabSz="310700" fontAlgn="base">
              <a:spcBef>
                <a:spcPct val="0"/>
              </a:spcBef>
              <a:spcAft>
                <a:spcPct val="0"/>
              </a:spcAft>
            </a:pPr>
            <a:endParaRPr lang="en-US" sz="666" err="1">
              <a:solidFill>
                <a:schemeClr val="bg1"/>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AB16FB0F-48B8-0816-7372-98CF7DECEF7F}"/>
              </a:ext>
            </a:extLst>
          </p:cNvPr>
          <p:cNvSpPr/>
          <p:nvPr userDrawn="1"/>
        </p:nvSpPr>
        <p:spPr bwMode="auto">
          <a:xfrm>
            <a:off x="15446728" y="2201864"/>
            <a:ext cx="82550" cy="92869"/>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48755" rIns="60944" bIns="48755" numCol="1" spcCol="0" rtlCol="0" fromWordArt="0" anchor="t" anchorCtr="0" forceAA="0" compatLnSpc="1">
            <a:prstTxWarp prst="textNoShape">
              <a:avLst/>
            </a:prstTxWarp>
            <a:noAutofit/>
          </a:bodyPr>
          <a:lstStyle/>
          <a:p>
            <a:pPr algn="l" defTabSz="310700" fontAlgn="base">
              <a:spcBef>
                <a:spcPct val="0"/>
              </a:spcBef>
              <a:spcAft>
                <a:spcPct val="0"/>
              </a:spcAft>
            </a:pPr>
            <a:endParaRPr lang="en-US" sz="666"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0613406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6">
          <p15:clr>
            <a:srgbClr val="A4A3A4"/>
          </p15:clr>
        </p15:guide>
        <p15:guide id="11" pos="2149">
          <p15:clr>
            <a:srgbClr val="A4A3A4"/>
          </p15:clr>
        </p15:guide>
        <p15:guide id="12" pos="2560">
          <p15:clr>
            <a:srgbClr val="A4A3A4"/>
          </p15:clr>
        </p15:guide>
        <p15:guide id="13" pos="2743">
          <p15:clr>
            <a:srgbClr val="A4A3A4"/>
          </p15:clr>
        </p15:guide>
        <p15:guide id="14" pos="3160">
          <p15:clr>
            <a:srgbClr val="A4A3A4"/>
          </p15:clr>
        </p15:guide>
        <p15:guide id="15" pos="3347">
          <p15:clr>
            <a:srgbClr val="A4A3A4"/>
          </p15:clr>
        </p15:guide>
        <p15:guide id="16" pos="3753">
          <p15:clr>
            <a:srgbClr val="A4A3A4"/>
          </p15:clr>
        </p15:guide>
        <p15:guide id="17" pos="3930">
          <p15:clr>
            <a:srgbClr val="A4A3A4"/>
          </p15:clr>
        </p15:guide>
        <p15:guide id="18" pos="4341">
          <p15:clr>
            <a:srgbClr val="A4A3A4"/>
          </p15:clr>
        </p15:guide>
        <p15:guide id="19" pos="4530">
          <p15:clr>
            <a:srgbClr val="A4A3A4"/>
          </p15:clr>
        </p15:guide>
        <p15:guide id="20" pos="4936">
          <p15:clr>
            <a:srgbClr val="A4A3A4"/>
          </p15:clr>
        </p15:guide>
        <p15:guide id="21" pos="5119">
          <p15:clr>
            <a:srgbClr val="A4A3A4"/>
          </p15:clr>
        </p15:guide>
        <p15:guide id="22" pos="5528">
          <p15:clr>
            <a:srgbClr val="A4A3A4"/>
          </p15:clr>
        </p15:guide>
        <p15:guide id="23" pos="5713">
          <p15:clr>
            <a:srgbClr val="A4A3A4"/>
          </p15:clr>
        </p15:guide>
        <p15:guide id="24" pos="6121">
          <p15:clr>
            <a:srgbClr val="A4A3A4"/>
          </p15:clr>
        </p15:guide>
        <p15:guide id="25" pos="6306">
          <p15:clr>
            <a:srgbClr val="A4A3A4"/>
          </p15:clr>
        </p15:guide>
        <p15:guide id="26" pos="6715">
          <p15:clr>
            <a:srgbClr val="A4A3A4"/>
          </p15:clr>
        </p15:guide>
        <p15:guide id="27" pos="6898">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p:cSld name="Theme 2">
    <p:bg>
      <p:bgPr>
        <a:gradFill flip="none" rotWithShape="1">
          <a:gsLst>
            <a:gs pos="0">
              <a:srgbClr val="D8C3B2"/>
            </a:gs>
            <a:gs pos="78000">
              <a:srgbClr val="B9DCD2"/>
            </a:gs>
          </a:gsLst>
          <a:lin ang="13500000" scaled="1"/>
          <a:tileRect/>
        </a:gradFill>
        <a:effectLst/>
      </p:bgPr>
    </p:bg>
    <p:spTree>
      <p:nvGrpSpPr>
        <p:cNvPr id="1" name=""/>
        <p:cNvGrpSpPr/>
        <p:nvPr/>
      </p:nvGrpSpPr>
      <p:grpSpPr>
        <a:xfrm>
          <a:off x="0" y="0"/>
          <a:ext cx="0" cy="0"/>
          <a:chOff x="0" y="0"/>
          <a:chExt cx="0" cy="0"/>
        </a:xfrm>
      </p:grpSpPr>
      <p:sp>
        <p:nvSpPr>
          <p:cNvPr id="6" name="Rectangle 5">
            <a:hlinkClick r:id="" action="ppaction://noaction"/>
            <a:extLst>
              <a:ext uri="{FF2B5EF4-FFF2-40B4-BE49-F238E27FC236}">
                <a16:creationId xmlns:a16="http://schemas.microsoft.com/office/drawing/2014/main" id="{FDABF6E2-8634-56F0-BA35-2515F525FAD7}"/>
              </a:ext>
            </a:extLst>
          </p:cNvPr>
          <p:cNvSpPr/>
          <p:nvPr userDrawn="1"/>
        </p:nvSpPr>
        <p:spPr bwMode="auto">
          <a:xfrm>
            <a:off x="0" y="7090288"/>
            <a:ext cx="2605549" cy="1648823"/>
          </a:xfrm>
          <a:prstGeom prst="rect">
            <a:avLst/>
          </a:prstGeom>
          <a:gradFill flip="none" rotWithShape="1">
            <a:gsLst>
              <a:gs pos="0">
                <a:srgbClr val="D8C3B2"/>
              </a:gs>
              <a:gs pos="100000">
                <a:srgbClr val="B9DCD2"/>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48755" rIns="60944" bIns="48755" numCol="1" spcCol="0" rtlCol="0" fromWordArt="0" anchor="t" anchorCtr="0" forceAA="0" compatLnSpc="1">
            <a:prstTxWarp prst="textNoShape">
              <a:avLst/>
            </a:prstTxWarp>
            <a:noAutofit/>
          </a:bodyPr>
          <a:lstStyle/>
          <a:p>
            <a:pPr defTabSz="310700" fontAlgn="base">
              <a:spcBef>
                <a:spcPct val="0"/>
              </a:spcBef>
              <a:spcAft>
                <a:spcPct val="0"/>
              </a:spcAft>
            </a:pPr>
            <a:endParaRPr lang="en-US" sz="666">
              <a:solidFill>
                <a:schemeClr val="bg1"/>
              </a:solidFill>
              <a:cs typeface="Segoe UI" pitchFamily="34" charset="0"/>
            </a:endParaRPr>
          </a:p>
        </p:txBody>
      </p:sp>
      <p:pic>
        <p:nvPicPr>
          <p:cNvPr id="2" name="Picture 1">
            <a:extLst>
              <a:ext uri="{FF2B5EF4-FFF2-40B4-BE49-F238E27FC236}">
                <a16:creationId xmlns:a16="http://schemas.microsoft.com/office/drawing/2014/main" id="{8935BB8A-3909-89EF-52EA-2AA630737F0A}"/>
              </a:ext>
            </a:extLst>
          </p:cNvPr>
          <p:cNvPicPr>
            <a:picLocks noChangeAspect="1"/>
          </p:cNvPicPr>
          <p:nvPr userDrawn="1"/>
        </p:nvPicPr>
        <p:blipFill>
          <a:blip r:embed="rId2"/>
          <a:stretch>
            <a:fillRect/>
          </a:stretch>
        </p:blipFill>
        <p:spPr>
          <a:xfrm>
            <a:off x="13788967" y="834111"/>
            <a:ext cx="3010330" cy="2848560"/>
          </a:xfrm>
          <a:prstGeom prst="rect">
            <a:avLst/>
          </a:prstGeom>
        </p:spPr>
      </p:pic>
      <p:sp>
        <p:nvSpPr>
          <p:cNvPr id="3" name="Oval 2">
            <a:extLst>
              <a:ext uri="{FF2B5EF4-FFF2-40B4-BE49-F238E27FC236}">
                <a16:creationId xmlns:a16="http://schemas.microsoft.com/office/drawing/2014/main" id="{4186C717-BF4E-105D-C37C-BC3A29664695}"/>
              </a:ext>
            </a:extLst>
          </p:cNvPr>
          <p:cNvSpPr/>
          <p:nvPr userDrawn="1"/>
        </p:nvSpPr>
        <p:spPr bwMode="auto">
          <a:xfrm>
            <a:off x="14646822" y="1420532"/>
            <a:ext cx="82550" cy="92869"/>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48755" rIns="60944" bIns="48755" numCol="1" spcCol="0" rtlCol="0" fromWordArt="0" anchor="t" anchorCtr="0" forceAA="0" compatLnSpc="1">
            <a:prstTxWarp prst="textNoShape">
              <a:avLst/>
            </a:prstTxWarp>
            <a:noAutofit/>
          </a:bodyPr>
          <a:lstStyle/>
          <a:p>
            <a:pPr algn="l" defTabSz="310700" fontAlgn="base">
              <a:spcBef>
                <a:spcPct val="0"/>
              </a:spcBef>
              <a:spcAft>
                <a:spcPct val="0"/>
              </a:spcAft>
            </a:pPr>
            <a:endParaRPr lang="en-US" sz="666" err="1">
              <a:solidFill>
                <a:srgbClr val="FFFFFF"/>
              </a:solidFill>
              <a:ea typeface="Segoe UI" pitchFamily="34" charset="0"/>
              <a:cs typeface="Segoe UI" pitchFamily="34" charset="0"/>
            </a:endParaRPr>
          </a:p>
        </p:txBody>
      </p:sp>
      <p:sp>
        <p:nvSpPr>
          <p:cNvPr id="5" name="Oval 4">
            <a:extLst>
              <a:ext uri="{FF2B5EF4-FFF2-40B4-BE49-F238E27FC236}">
                <a16:creationId xmlns:a16="http://schemas.microsoft.com/office/drawing/2014/main" id="{BBD1421E-168A-9D2F-DB21-B75110B101B0}"/>
              </a:ext>
            </a:extLst>
          </p:cNvPr>
          <p:cNvSpPr/>
          <p:nvPr userDrawn="1"/>
        </p:nvSpPr>
        <p:spPr bwMode="auto">
          <a:xfrm>
            <a:off x="14655800" y="1167543"/>
            <a:ext cx="82550" cy="92869"/>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48755" rIns="60944" bIns="48755" numCol="1" spcCol="0" rtlCol="0" fromWordArt="0" anchor="t" anchorCtr="0" forceAA="0" compatLnSpc="1">
            <a:prstTxWarp prst="textNoShape">
              <a:avLst/>
            </a:prstTxWarp>
            <a:noAutofit/>
          </a:bodyPr>
          <a:lstStyle/>
          <a:p>
            <a:pPr algn="l" defTabSz="310700" fontAlgn="base">
              <a:spcBef>
                <a:spcPct val="0"/>
              </a:spcBef>
              <a:spcAft>
                <a:spcPct val="0"/>
              </a:spcAft>
            </a:pPr>
            <a:endParaRPr lang="en-US" sz="666" err="1">
              <a:solidFill>
                <a:srgbClr val="FFFFFF"/>
              </a:solidFill>
              <a:ea typeface="Segoe UI" pitchFamily="34" charset="0"/>
              <a:cs typeface="Segoe UI" pitchFamily="34" charset="0"/>
            </a:endParaRPr>
          </a:p>
        </p:txBody>
      </p:sp>
      <p:sp>
        <p:nvSpPr>
          <p:cNvPr id="10" name="Oval 9">
            <a:extLst>
              <a:ext uri="{FF2B5EF4-FFF2-40B4-BE49-F238E27FC236}">
                <a16:creationId xmlns:a16="http://schemas.microsoft.com/office/drawing/2014/main" id="{56F8B25A-FC33-B9BC-94B0-CD44AB119EE0}"/>
              </a:ext>
            </a:extLst>
          </p:cNvPr>
          <p:cNvSpPr/>
          <p:nvPr userDrawn="1"/>
        </p:nvSpPr>
        <p:spPr bwMode="auto">
          <a:xfrm>
            <a:off x="15840428" y="3180557"/>
            <a:ext cx="82550" cy="92869"/>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48755" rIns="60944" bIns="48755" numCol="1" spcCol="0" rtlCol="0" fromWordArt="0" anchor="t" anchorCtr="0" forceAA="0" compatLnSpc="1">
            <a:prstTxWarp prst="textNoShape">
              <a:avLst/>
            </a:prstTxWarp>
            <a:noAutofit/>
          </a:bodyPr>
          <a:lstStyle/>
          <a:p>
            <a:pPr algn="l" defTabSz="310700" fontAlgn="base">
              <a:spcBef>
                <a:spcPct val="0"/>
              </a:spcBef>
              <a:spcAft>
                <a:spcPct val="0"/>
              </a:spcAft>
            </a:pPr>
            <a:endParaRPr lang="en-US" sz="666"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166752A-893F-EA53-F029-9E7F2021757F}"/>
              </a:ext>
            </a:extLst>
          </p:cNvPr>
          <p:cNvSpPr/>
          <p:nvPr userDrawn="1"/>
        </p:nvSpPr>
        <p:spPr bwMode="auto">
          <a:xfrm>
            <a:off x="15446728" y="2201864"/>
            <a:ext cx="82550" cy="92869"/>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48755" rIns="60944" bIns="48755" numCol="1" spcCol="0" rtlCol="0" fromWordArt="0" anchor="t" anchorCtr="0" forceAA="0" compatLnSpc="1">
            <a:prstTxWarp prst="textNoShape">
              <a:avLst/>
            </a:prstTxWarp>
            <a:noAutofit/>
          </a:bodyPr>
          <a:lstStyle/>
          <a:p>
            <a:pPr algn="l" defTabSz="310700" fontAlgn="base">
              <a:spcBef>
                <a:spcPct val="0"/>
              </a:spcBef>
              <a:spcAft>
                <a:spcPct val="0"/>
              </a:spcAft>
            </a:pPr>
            <a:endParaRPr lang="en-US" sz="666"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4725736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6">
          <p15:clr>
            <a:srgbClr val="A4A3A4"/>
          </p15:clr>
        </p15:guide>
        <p15:guide id="11" pos="2149">
          <p15:clr>
            <a:srgbClr val="A4A3A4"/>
          </p15:clr>
        </p15:guide>
        <p15:guide id="12" pos="2560">
          <p15:clr>
            <a:srgbClr val="A4A3A4"/>
          </p15:clr>
        </p15:guide>
        <p15:guide id="13" pos="2743">
          <p15:clr>
            <a:srgbClr val="A4A3A4"/>
          </p15:clr>
        </p15:guide>
        <p15:guide id="14" pos="3160">
          <p15:clr>
            <a:srgbClr val="A4A3A4"/>
          </p15:clr>
        </p15:guide>
        <p15:guide id="15" pos="3347">
          <p15:clr>
            <a:srgbClr val="A4A3A4"/>
          </p15:clr>
        </p15:guide>
        <p15:guide id="16" pos="3753">
          <p15:clr>
            <a:srgbClr val="A4A3A4"/>
          </p15:clr>
        </p15:guide>
        <p15:guide id="17" pos="3930">
          <p15:clr>
            <a:srgbClr val="A4A3A4"/>
          </p15:clr>
        </p15:guide>
        <p15:guide id="18" pos="4341">
          <p15:clr>
            <a:srgbClr val="A4A3A4"/>
          </p15:clr>
        </p15:guide>
        <p15:guide id="19" pos="4530">
          <p15:clr>
            <a:srgbClr val="A4A3A4"/>
          </p15:clr>
        </p15:guide>
        <p15:guide id="20" pos="4936">
          <p15:clr>
            <a:srgbClr val="A4A3A4"/>
          </p15:clr>
        </p15:guide>
        <p15:guide id="21" pos="5119">
          <p15:clr>
            <a:srgbClr val="A4A3A4"/>
          </p15:clr>
        </p15:guide>
        <p15:guide id="22" pos="5528">
          <p15:clr>
            <a:srgbClr val="A4A3A4"/>
          </p15:clr>
        </p15:guide>
        <p15:guide id="23" pos="5713">
          <p15:clr>
            <a:srgbClr val="A4A3A4"/>
          </p15:clr>
        </p15:guide>
        <p15:guide id="24" pos="6121">
          <p15:clr>
            <a:srgbClr val="A4A3A4"/>
          </p15:clr>
        </p15:guide>
        <p15:guide id="25" pos="6306">
          <p15:clr>
            <a:srgbClr val="A4A3A4"/>
          </p15:clr>
        </p15:guide>
        <p15:guide id="26" pos="6715">
          <p15:clr>
            <a:srgbClr val="A4A3A4"/>
          </p15:clr>
        </p15:guide>
        <p15:guide id="27" pos="6898">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p:cSld name="Theme 3">
    <p:bg>
      <p:bgPr>
        <a:gradFill>
          <a:gsLst>
            <a:gs pos="0">
              <a:srgbClr val="D8C3B2"/>
            </a:gs>
            <a:gs pos="100000">
              <a:srgbClr val="8DC8E8"/>
            </a:gs>
          </a:gsLst>
          <a:lin ang="13500000" scaled="1"/>
        </a:gradFill>
        <a:effectLst/>
      </p:bgPr>
    </p:bg>
    <p:spTree>
      <p:nvGrpSpPr>
        <p:cNvPr id="1" name=""/>
        <p:cNvGrpSpPr/>
        <p:nvPr/>
      </p:nvGrpSpPr>
      <p:grpSpPr>
        <a:xfrm>
          <a:off x="0" y="0"/>
          <a:ext cx="0" cy="0"/>
          <a:chOff x="0" y="0"/>
          <a:chExt cx="0" cy="0"/>
        </a:xfrm>
      </p:grpSpPr>
      <p:sp>
        <p:nvSpPr>
          <p:cNvPr id="6" name="Rectangle 5">
            <a:hlinkClick r:id="" action="ppaction://noaction"/>
            <a:extLst>
              <a:ext uri="{FF2B5EF4-FFF2-40B4-BE49-F238E27FC236}">
                <a16:creationId xmlns:a16="http://schemas.microsoft.com/office/drawing/2014/main" id="{1711F168-3F65-AE6B-C908-229B40B528EC}"/>
              </a:ext>
            </a:extLst>
          </p:cNvPr>
          <p:cNvSpPr/>
          <p:nvPr userDrawn="1"/>
        </p:nvSpPr>
        <p:spPr bwMode="auto">
          <a:xfrm>
            <a:off x="0" y="7278329"/>
            <a:ext cx="4064000" cy="2571750"/>
          </a:xfrm>
          <a:prstGeom prst="rect">
            <a:avLst/>
          </a:prstGeom>
          <a:gradFill flip="none" rotWithShape="1">
            <a:gsLst>
              <a:gs pos="0">
                <a:srgbClr val="D8C3B2"/>
              </a:gs>
              <a:gs pos="100000">
                <a:srgbClr val="8DC8E8"/>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48755" rIns="60944" bIns="48755" numCol="1" spcCol="0" rtlCol="0" fromWordArt="0" anchor="t" anchorCtr="0" forceAA="0" compatLnSpc="1">
            <a:prstTxWarp prst="textNoShape">
              <a:avLst/>
            </a:prstTxWarp>
            <a:noAutofit/>
          </a:bodyPr>
          <a:lstStyle/>
          <a:p>
            <a:pPr defTabSz="310700" fontAlgn="base">
              <a:spcBef>
                <a:spcPct val="0"/>
              </a:spcBef>
              <a:spcAft>
                <a:spcPct val="0"/>
              </a:spcAft>
            </a:pPr>
            <a:endParaRPr lang="en-US" sz="666">
              <a:solidFill>
                <a:schemeClr val="bg1"/>
              </a:solidFill>
              <a:cs typeface="Segoe UI" pitchFamily="34" charset="0"/>
            </a:endParaRPr>
          </a:p>
        </p:txBody>
      </p:sp>
      <p:pic>
        <p:nvPicPr>
          <p:cNvPr id="2" name="Picture 1">
            <a:extLst>
              <a:ext uri="{FF2B5EF4-FFF2-40B4-BE49-F238E27FC236}">
                <a16:creationId xmlns:a16="http://schemas.microsoft.com/office/drawing/2014/main" id="{42E5560D-B63F-52EA-2F62-2ADF97201B9B}"/>
              </a:ext>
            </a:extLst>
          </p:cNvPr>
          <p:cNvPicPr>
            <a:picLocks noChangeAspect="1"/>
          </p:cNvPicPr>
          <p:nvPr userDrawn="1"/>
        </p:nvPicPr>
        <p:blipFill>
          <a:blip r:embed="rId2"/>
          <a:stretch>
            <a:fillRect/>
          </a:stretch>
        </p:blipFill>
        <p:spPr>
          <a:xfrm>
            <a:off x="13788967" y="834111"/>
            <a:ext cx="3010330" cy="2848560"/>
          </a:xfrm>
          <a:prstGeom prst="rect">
            <a:avLst/>
          </a:prstGeom>
        </p:spPr>
      </p:pic>
      <p:sp>
        <p:nvSpPr>
          <p:cNvPr id="3" name="Oval 2">
            <a:extLst>
              <a:ext uri="{FF2B5EF4-FFF2-40B4-BE49-F238E27FC236}">
                <a16:creationId xmlns:a16="http://schemas.microsoft.com/office/drawing/2014/main" id="{A9BE91DE-1DA9-FB93-A12F-95B83C31B389}"/>
              </a:ext>
            </a:extLst>
          </p:cNvPr>
          <p:cNvSpPr/>
          <p:nvPr userDrawn="1"/>
        </p:nvSpPr>
        <p:spPr bwMode="auto">
          <a:xfrm>
            <a:off x="14646822" y="1420532"/>
            <a:ext cx="82550" cy="92869"/>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48755" rIns="60944" bIns="48755" numCol="1" spcCol="0" rtlCol="0" fromWordArt="0" anchor="t" anchorCtr="0" forceAA="0" compatLnSpc="1">
            <a:prstTxWarp prst="textNoShape">
              <a:avLst/>
            </a:prstTxWarp>
            <a:noAutofit/>
          </a:bodyPr>
          <a:lstStyle/>
          <a:p>
            <a:pPr algn="l" defTabSz="310700" fontAlgn="base">
              <a:spcBef>
                <a:spcPct val="0"/>
              </a:spcBef>
              <a:spcAft>
                <a:spcPct val="0"/>
              </a:spcAft>
            </a:pPr>
            <a:endParaRPr lang="en-US" sz="666" err="1">
              <a:solidFill>
                <a:srgbClr val="FFFFFF"/>
              </a:solidFill>
              <a:ea typeface="Segoe UI" pitchFamily="34" charset="0"/>
              <a:cs typeface="Segoe UI" pitchFamily="34" charset="0"/>
            </a:endParaRPr>
          </a:p>
        </p:txBody>
      </p:sp>
      <p:sp>
        <p:nvSpPr>
          <p:cNvPr id="5" name="Oval 4">
            <a:extLst>
              <a:ext uri="{FF2B5EF4-FFF2-40B4-BE49-F238E27FC236}">
                <a16:creationId xmlns:a16="http://schemas.microsoft.com/office/drawing/2014/main" id="{93E1A08E-D913-81CA-3F4A-8D149AEAC357}"/>
              </a:ext>
            </a:extLst>
          </p:cNvPr>
          <p:cNvSpPr/>
          <p:nvPr userDrawn="1"/>
        </p:nvSpPr>
        <p:spPr bwMode="auto">
          <a:xfrm>
            <a:off x="14655800" y="1167543"/>
            <a:ext cx="82550" cy="92869"/>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48755" rIns="60944" bIns="48755" numCol="1" spcCol="0" rtlCol="0" fromWordArt="0" anchor="t" anchorCtr="0" forceAA="0" compatLnSpc="1">
            <a:prstTxWarp prst="textNoShape">
              <a:avLst/>
            </a:prstTxWarp>
            <a:noAutofit/>
          </a:bodyPr>
          <a:lstStyle/>
          <a:p>
            <a:pPr algn="l" defTabSz="310700" fontAlgn="base">
              <a:spcBef>
                <a:spcPct val="0"/>
              </a:spcBef>
              <a:spcAft>
                <a:spcPct val="0"/>
              </a:spcAft>
            </a:pPr>
            <a:endParaRPr lang="en-US" sz="666" err="1">
              <a:solidFill>
                <a:srgbClr val="FFFFFF"/>
              </a:solidFill>
              <a:ea typeface="Segoe UI" pitchFamily="34" charset="0"/>
              <a:cs typeface="Segoe UI" pitchFamily="34" charset="0"/>
            </a:endParaRPr>
          </a:p>
        </p:txBody>
      </p:sp>
      <p:sp>
        <p:nvSpPr>
          <p:cNvPr id="10" name="Oval 9">
            <a:extLst>
              <a:ext uri="{FF2B5EF4-FFF2-40B4-BE49-F238E27FC236}">
                <a16:creationId xmlns:a16="http://schemas.microsoft.com/office/drawing/2014/main" id="{CABBABF1-EB7D-02B9-F56E-CBCC2EB6A958}"/>
              </a:ext>
            </a:extLst>
          </p:cNvPr>
          <p:cNvSpPr/>
          <p:nvPr userDrawn="1"/>
        </p:nvSpPr>
        <p:spPr bwMode="auto">
          <a:xfrm>
            <a:off x="15840428" y="3180557"/>
            <a:ext cx="82550" cy="92869"/>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48755" rIns="60944" bIns="48755" numCol="1" spcCol="0" rtlCol="0" fromWordArt="0" anchor="t" anchorCtr="0" forceAA="0" compatLnSpc="1">
            <a:prstTxWarp prst="textNoShape">
              <a:avLst/>
            </a:prstTxWarp>
            <a:noAutofit/>
          </a:bodyPr>
          <a:lstStyle/>
          <a:p>
            <a:pPr algn="l" defTabSz="310700" fontAlgn="base">
              <a:spcBef>
                <a:spcPct val="0"/>
              </a:spcBef>
              <a:spcAft>
                <a:spcPct val="0"/>
              </a:spcAft>
            </a:pPr>
            <a:endParaRPr lang="en-US" sz="666"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B02519F7-2E51-02E3-7325-00A21C6FDD2B}"/>
              </a:ext>
            </a:extLst>
          </p:cNvPr>
          <p:cNvSpPr/>
          <p:nvPr userDrawn="1"/>
        </p:nvSpPr>
        <p:spPr bwMode="auto">
          <a:xfrm>
            <a:off x="15446728" y="2201864"/>
            <a:ext cx="82550" cy="92869"/>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48755" rIns="60944" bIns="48755" numCol="1" spcCol="0" rtlCol="0" fromWordArt="0" anchor="t" anchorCtr="0" forceAA="0" compatLnSpc="1">
            <a:prstTxWarp prst="textNoShape">
              <a:avLst/>
            </a:prstTxWarp>
            <a:noAutofit/>
          </a:bodyPr>
          <a:lstStyle/>
          <a:p>
            <a:pPr algn="l" defTabSz="310700" fontAlgn="base">
              <a:spcBef>
                <a:spcPct val="0"/>
              </a:spcBef>
              <a:spcAft>
                <a:spcPct val="0"/>
              </a:spcAft>
            </a:pPr>
            <a:endParaRPr lang="en-US" sz="666"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3353096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6">
          <p15:clr>
            <a:srgbClr val="A4A3A4"/>
          </p15:clr>
        </p15:guide>
        <p15:guide id="11" pos="2149">
          <p15:clr>
            <a:srgbClr val="A4A3A4"/>
          </p15:clr>
        </p15:guide>
        <p15:guide id="12" pos="2560">
          <p15:clr>
            <a:srgbClr val="A4A3A4"/>
          </p15:clr>
        </p15:guide>
        <p15:guide id="13" pos="2743">
          <p15:clr>
            <a:srgbClr val="A4A3A4"/>
          </p15:clr>
        </p15:guide>
        <p15:guide id="14" pos="3160">
          <p15:clr>
            <a:srgbClr val="A4A3A4"/>
          </p15:clr>
        </p15:guide>
        <p15:guide id="15" pos="3347">
          <p15:clr>
            <a:srgbClr val="A4A3A4"/>
          </p15:clr>
        </p15:guide>
        <p15:guide id="16" pos="3753">
          <p15:clr>
            <a:srgbClr val="A4A3A4"/>
          </p15:clr>
        </p15:guide>
        <p15:guide id="17" pos="3930">
          <p15:clr>
            <a:srgbClr val="A4A3A4"/>
          </p15:clr>
        </p15:guide>
        <p15:guide id="18" pos="4341">
          <p15:clr>
            <a:srgbClr val="A4A3A4"/>
          </p15:clr>
        </p15:guide>
        <p15:guide id="19" pos="4530">
          <p15:clr>
            <a:srgbClr val="A4A3A4"/>
          </p15:clr>
        </p15:guide>
        <p15:guide id="20" pos="4936">
          <p15:clr>
            <a:srgbClr val="A4A3A4"/>
          </p15:clr>
        </p15:guide>
        <p15:guide id="21" pos="5119">
          <p15:clr>
            <a:srgbClr val="A4A3A4"/>
          </p15:clr>
        </p15:guide>
        <p15:guide id="22" pos="5528">
          <p15:clr>
            <a:srgbClr val="A4A3A4"/>
          </p15:clr>
        </p15:guide>
        <p15:guide id="23" pos="5713">
          <p15:clr>
            <a:srgbClr val="A4A3A4"/>
          </p15:clr>
        </p15:guide>
        <p15:guide id="24" pos="6121">
          <p15:clr>
            <a:srgbClr val="A4A3A4"/>
          </p15:clr>
        </p15:guide>
        <p15:guide id="25" pos="6306">
          <p15:clr>
            <a:srgbClr val="A4A3A4"/>
          </p15:clr>
        </p15:guide>
        <p15:guide id="26" pos="6715">
          <p15:clr>
            <a:srgbClr val="A4A3A4"/>
          </p15:clr>
        </p15:guide>
        <p15:guide id="27" pos="6898">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p:cSld name="Theme 4">
    <p:bg>
      <p:bgPr>
        <a:gradFill>
          <a:gsLst>
            <a:gs pos="0">
              <a:srgbClr val="D8C3B2"/>
            </a:gs>
            <a:gs pos="93000">
              <a:srgbClr val="D59ED7"/>
            </a:gs>
          </a:gsLst>
          <a:lin ang="13500000" scaled="1"/>
        </a:gradFill>
        <a:effectLst/>
      </p:bgPr>
    </p:bg>
    <p:spTree>
      <p:nvGrpSpPr>
        <p:cNvPr id="1" name=""/>
        <p:cNvGrpSpPr/>
        <p:nvPr/>
      </p:nvGrpSpPr>
      <p:grpSpPr>
        <a:xfrm>
          <a:off x="0" y="0"/>
          <a:ext cx="0" cy="0"/>
          <a:chOff x="0" y="0"/>
          <a:chExt cx="0" cy="0"/>
        </a:xfrm>
      </p:grpSpPr>
      <p:sp>
        <p:nvSpPr>
          <p:cNvPr id="9" name="Rectangle 8">
            <a:hlinkClick r:id="" action="ppaction://noaction"/>
            <a:extLst>
              <a:ext uri="{FF2B5EF4-FFF2-40B4-BE49-F238E27FC236}">
                <a16:creationId xmlns:a16="http://schemas.microsoft.com/office/drawing/2014/main" id="{888B9531-3655-F72C-2999-D30BB7082D63}"/>
              </a:ext>
            </a:extLst>
          </p:cNvPr>
          <p:cNvSpPr/>
          <p:nvPr userDrawn="1"/>
        </p:nvSpPr>
        <p:spPr bwMode="auto">
          <a:xfrm>
            <a:off x="0" y="6968613"/>
            <a:ext cx="4064000" cy="2571750"/>
          </a:xfrm>
          <a:prstGeom prst="rect">
            <a:avLst/>
          </a:prstGeom>
          <a:gradFill flip="none" rotWithShape="1">
            <a:gsLst>
              <a:gs pos="0">
                <a:srgbClr val="D8C3B2"/>
              </a:gs>
              <a:gs pos="100000">
                <a:srgbClr val="C5B4E3"/>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48755" rIns="60944" bIns="48755" numCol="1" spcCol="0" rtlCol="0" fromWordArt="0" anchor="t" anchorCtr="0" forceAA="0" compatLnSpc="1">
            <a:prstTxWarp prst="textNoShape">
              <a:avLst/>
            </a:prstTxWarp>
            <a:noAutofit/>
          </a:bodyPr>
          <a:lstStyle/>
          <a:p>
            <a:pPr defTabSz="310700" fontAlgn="base">
              <a:spcBef>
                <a:spcPct val="0"/>
              </a:spcBef>
              <a:spcAft>
                <a:spcPct val="0"/>
              </a:spcAft>
            </a:pPr>
            <a:endParaRPr lang="en-US" sz="666">
              <a:solidFill>
                <a:schemeClr val="bg1"/>
              </a:solidFill>
              <a:cs typeface="Segoe UI" pitchFamily="34" charset="0"/>
            </a:endParaRPr>
          </a:p>
        </p:txBody>
      </p:sp>
      <p:pic>
        <p:nvPicPr>
          <p:cNvPr id="2" name="Picture 1">
            <a:extLst>
              <a:ext uri="{FF2B5EF4-FFF2-40B4-BE49-F238E27FC236}">
                <a16:creationId xmlns:a16="http://schemas.microsoft.com/office/drawing/2014/main" id="{BC455512-95E0-7072-8200-66F7D67A8A04}"/>
              </a:ext>
            </a:extLst>
          </p:cNvPr>
          <p:cNvPicPr>
            <a:picLocks noChangeAspect="1"/>
          </p:cNvPicPr>
          <p:nvPr userDrawn="1"/>
        </p:nvPicPr>
        <p:blipFill>
          <a:blip r:embed="rId2"/>
          <a:stretch>
            <a:fillRect/>
          </a:stretch>
        </p:blipFill>
        <p:spPr>
          <a:xfrm>
            <a:off x="13788967" y="834111"/>
            <a:ext cx="3010330" cy="2848560"/>
          </a:xfrm>
          <a:prstGeom prst="rect">
            <a:avLst/>
          </a:prstGeom>
        </p:spPr>
      </p:pic>
      <p:sp>
        <p:nvSpPr>
          <p:cNvPr id="3" name="Oval 2">
            <a:extLst>
              <a:ext uri="{FF2B5EF4-FFF2-40B4-BE49-F238E27FC236}">
                <a16:creationId xmlns:a16="http://schemas.microsoft.com/office/drawing/2014/main" id="{4DA7F286-52F0-7BE8-481E-7AFB02DA6053}"/>
              </a:ext>
            </a:extLst>
          </p:cNvPr>
          <p:cNvSpPr/>
          <p:nvPr userDrawn="1"/>
        </p:nvSpPr>
        <p:spPr bwMode="auto">
          <a:xfrm>
            <a:off x="14646822" y="1420532"/>
            <a:ext cx="82550" cy="92869"/>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48755" rIns="60944" bIns="48755" numCol="1" spcCol="0" rtlCol="0" fromWordArt="0" anchor="t" anchorCtr="0" forceAA="0" compatLnSpc="1">
            <a:prstTxWarp prst="textNoShape">
              <a:avLst/>
            </a:prstTxWarp>
            <a:noAutofit/>
          </a:bodyPr>
          <a:lstStyle/>
          <a:p>
            <a:pPr algn="l" defTabSz="310700" fontAlgn="base">
              <a:spcBef>
                <a:spcPct val="0"/>
              </a:spcBef>
              <a:spcAft>
                <a:spcPct val="0"/>
              </a:spcAft>
            </a:pPr>
            <a:endParaRPr lang="en-US" sz="666" err="1">
              <a:solidFill>
                <a:srgbClr val="FFFFFF"/>
              </a:solidFill>
              <a:ea typeface="Segoe UI" pitchFamily="34" charset="0"/>
              <a:cs typeface="Segoe UI" pitchFamily="34" charset="0"/>
            </a:endParaRPr>
          </a:p>
        </p:txBody>
      </p:sp>
      <p:sp>
        <p:nvSpPr>
          <p:cNvPr id="5" name="Oval 4">
            <a:extLst>
              <a:ext uri="{FF2B5EF4-FFF2-40B4-BE49-F238E27FC236}">
                <a16:creationId xmlns:a16="http://schemas.microsoft.com/office/drawing/2014/main" id="{24AF0B8E-CAD2-EEFA-3170-6B7EA60A3E1F}"/>
              </a:ext>
            </a:extLst>
          </p:cNvPr>
          <p:cNvSpPr/>
          <p:nvPr userDrawn="1"/>
        </p:nvSpPr>
        <p:spPr bwMode="auto">
          <a:xfrm>
            <a:off x="14655800" y="1167543"/>
            <a:ext cx="82550" cy="92869"/>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48755" rIns="60944" bIns="48755" numCol="1" spcCol="0" rtlCol="0" fromWordArt="0" anchor="t" anchorCtr="0" forceAA="0" compatLnSpc="1">
            <a:prstTxWarp prst="textNoShape">
              <a:avLst/>
            </a:prstTxWarp>
            <a:noAutofit/>
          </a:bodyPr>
          <a:lstStyle/>
          <a:p>
            <a:pPr algn="l" defTabSz="310700" fontAlgn="base">
              <a:spcBef>
                <a:spcPct val="0"/>
              </a:spcBef>
              <a:spcAft>
                <a:spcPct val="0"/>
              </a:spcAft>
            </a:pPr>
            <a:endParaRPr lang="en-US" sz="666" err="1">
              <a:solidFill>
                <a:srgbClr val="FFFFFF"/>
              </a:solidFill>
              <a:ea typeface="Segoe UI" pitchFamily="34" charset="0"/>
              <a:cs typeface="Segoe UI" pitchFamily="34" charset="0"/>
            </a:endParaRPr>
          </a:p>
        </p:txBody>
      </p:sp>
      <p:sp>
        <p:nvSpPr>
          <p:cNvPr id="6" name="Oval 5">
            <a:extLst>
              <a:ext uri="{FF2B5EF4-FFF2-40B4-BE49-F238E27FC236}">
                <a16:creationId xmlns:a16="http://schemas.microsoft.com/office/drawing/2014/main" id="{E3AF6069-6569-CF6C-0B17-CF4B509DC0D7}"/>
              </a:ext>
            </a:extLst>
          </p:cNvPr>
          <p:cNvSpPr/>
          <p:nvPr userDrawn="1"/>
        </p:nvSpPr>
        <p:spPr bwMode="auto">
          <a:xfrm>
            <a:off x="15840428" y="3180557"/>
            <a:ext cx="82550" cy="92869"/>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48755" rIns="60944" bIns="48755" numCol="1" spcCol="0" rtlCol="0" fromWordArt="0" anchor="t" anchorCtr="0" forceAA="0" compatLnSpc="1">
            <a:prstTxWarp prst="textNoShape">
              <a:avLst/>
            </a:prstTxWarp>
            <a:noAutofit/>
          </a:bodyPr>
          <a:lstStyle/>
          <a:p>
            <a:pPr algn="l" defTabSz="310700" fontAlgn="base">
              <a:spcBef>
                <a:spcPct val="0"/>
              </a:spcBef>
              <a:spcAft>
                <a:spcPct val="0"/>
              </a:spcAft>
            </a:pPr>
            <a:endParaRPr lang="en-US" sz="666" err="1">
              <a:solidFill>
                <a:srgbClr val="FFFFFF"/>
              </a:solidFill>
              <a:ea typeface="Segoe UI" pitchFamily="34" charset="0"/>
              <a:cs typeface="Segoe UI" pitchFamily="34" charset="0"/>
            </a:endParaRPr>
          </a:p>
        </p:txBody>
      </p:sp>
      <p:sp>
        <p:nvSpPr>
          <p:cNvPr id="8" name="Oval 7">
            <a:extLst>
              <a:ext uri="{FF2B5EF4-FFF2-40B4-BE49-F238E27FC236}">
                <a16:creationId xmlns:a16="http://schemas.microsoft.com/office/drawing/2014/main" id="{DF8522F6-2E28-FF4B-5760-DE6B2CC72B6F}"/>
              </a:ext>
            </a:extLst>
          </p:cNvPr>
          <p:cNvSpPr/>
          <p:nvPr userDrawn="1"/>
        </p:nvSpPr>
        <p:spPr bwMode="auto">
          <a:xfrm>
            <a:off x="15446728" y="2201864"/>
            <a:ext cx="82550" cy="92869"/>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48755" rIns="60944" bIns="48755" numCol="1" spcCol="0" rtlCol="0" fromWordArt="0" anchor="t" anchorCtr="0" forceAA="0" compatLnSpc="1">
            <a:prstTxWarp prst="textNoShape">
              <a:avLst/>
            </a:prstTxWarp>
            <a:noAutofit/>
          </a:bodyPr>
          <a:lstStyle/>
          <a:p>
            <a:pPr algn="l" defTabSz="310700" fontAlgn="base">
              <a:spcBef>
                <a:spcPct val="0"/>
              </a:spcBef>
              <a:spcAft>
                <a:spcPct val="0"/>
              </a:spcAft>
            </a:pPr>
            <a:endParaRPr lang="en-US" sz="666"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4162322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6">
          <p15:clr>
            <a:srgbClr val="A4A3A4"/>
          </p15:clr>
        </p15:guide>
        <p15:guide id="11" pos="2149">
          <p15:clr>
            <a:srgbClr val="A4A3A4"/>
          </p15:clr>
        </p15:guide>
        <p15:guide id="12" pos="2560">
          <p15:clr>
            <a:srgbClr val="A4A3A4"/>
          </p15:clr>
        </p15:guide>
        <p15:guide id="13" pos="2743">
          <p15:clr>
            <a:srgbClr val="A4A3A4"/>
          </p15:clr>
        </p15:guide>
        <p15:guide id="14" pos="3160">
          <p15:clr>
            <a:srgbClr val="A4A3A4"/>
          </p15:clr>
        </p15:guide>
        <p15:guide id="15" pos="3347">
          <p15:clr>
            <a:srgbClr val="A4A3A4"/>
          </p15:clr>
        </p15:guide>
        <p15:guide id="16" pos="3753">
          <p15:clr>
            <a:srgbClr val="A4A3A4"/>
          </p15:clr>
        </p15:guide>
        <p15:guide id="17" pos="3930">
          <p15:clr>
            <a:srgbClr val="A4A3A4"/>
          </p15:clr>
        </p15:guide>
        <p15:guide id="18" pos="4341">
          <p15:clr>
            <a:srgbClr val="A4A3A4"/>
          </p15:clr>
        </p15:guide>
        <p15:guide id="19" pos="4530">
          <p15:clr>
            <a:srgbClr val="A4A3A4"/>
          </p15:clr>
        </p15:guide>
        <p15:guide id="20" pos="4936">
          <p15:clr>
            <a:srgbClr val="A4A3A4"/>
          </p15:clr>
        </p15:guide>
        <p15:guide id="21" pos="5119">
          <p15:clr>
            <a:srgbClr val="A4A3A4"/>
          </p15:clr>
        </p15:guide>
        <p15:guide id="22" pos="5528">
          <p15:clr>
            <a:srgbClr val="A4A3A4"/>
          </p15:clr>
        </p15:guide>
        <p15:guide id="23" pos="5713">
          <p15:clr>
            <a:srgbClr val="A4A3A4"/>
          </p15:clr>
        </p15:guide>
        <p15:guide id="24" pos="6121">
          <p15:clr>
            <a:srgbClr val="A4A3A4"/>
          </p15:clr>
        </p15:guide>
        <p15:guide id="25" pos="6306">
          <p15:clr>
            <a:srgbClr val="A4A3A4"/>
          </p15:clr>
        </p15:guide>
        <p15:guide id="26" pos="6715">
          <p15:clr>
            <a:srgbClr val="A4A3A4"/>
          </p15:clr>
        </p15:guide>
        <p15:guide id="27" pos="6898">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52766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14927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3_Closing slide_with Logo">
    <p:bg>
      <p:bgRef idx="1001">
        <a:schemeClr val="bg2"/>
      </p:bgRef>
    </p:bg>
    <p:spTree>
      <p:nvGrpSpPr>
        <p:cNvPr id="1" name=""/>
        <p:cNvGrpSpPr/>
        <p:nvPr/>
      </p:nvGrpSpPr>
      <p:grpSpPr>
        <a:xfrm>
          <a:off x="0" y="0"/>
          <a:ext cx="0" cy="0"/>
          <a:chOff x="0" y="0"/>
          <a:chExt cx="0" cy="0"/>
        </a:xfrm>
      </p:grpSpPr>
      <p:pic>
        <p:nvPicPr>
          <p:cNvPr id="8" name="Picture 7" descr="A close-up of a computer screen&#10;&#10;Description automatically generated">
            <a:extLst>
              <a:ext uri="{FF2B5EF4-FFF2-40B4-BE49-F238E27FC236}">
                <a16:creationId xmlns:a16="http://schemas.microsoft.com/office/drawing/2014/main" id="{2DB4627A-42AD-DD19-0422-DBBC9408E6AB}"/>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2" name="MS logo gray - EMF">
            <a:extLst>
              <a:ext uri="{FF2B5EF4-FFF2-40B4-BE49-F238E27FC236}">
                <a16:creationId xmlns:a16="http://schemas.microsoft.com/office/drawing/2014/main" id="{34855668-1A0A-E5EE-1D0F-97B30351BA0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Text Box 3"/>
          <p:cNvSpPr txBox="1">
            <a:spLocks noChangeArrowheads="1"/>
          </p:cNvSpPr>
          <p:nvPr userDrawn="1"/>
        </p:nvSpPr>
        <p:spPr bwMode="blackWhite">
          <a:xfrm>
            <a:off x="584200" y="6446520"/>
            <a:ext cx="8193024" cy="153888"/>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1000">
                <a:solidFill>
                  <a:schemeClr val="tx1"/>
                </a:solidFill>
                <a:cs typeface="Segoe UI" pitchFamily="34" charset="0"/>
              </a:rPr>
              <a:t>© Copyright Microsoft Corporation. All rights reserved. </a:t>
            </a:r>
          </a:p>
        </p:txBody>
      </p:sp>
      <p:sp>
        <p:nvSpPr>
          <p:cNvPr id="3" name="Title 1">
            <a:extLst>
              <a:ext uri="{FF2B5EF4-FFF2-40B4-BE49-F238E27FC236}">
                <a16:creationId xmlns:a16="http://schemas.microsoft.com/office/drawing/2014/main" id="{5072CE3E-C99E-C188-A13F-A0815FF096D2}"/>
              </a:ext>
            </a:extLst>
          </p:cNvPr>
          <p:cNvSpPr>
            <a:spLocks noGrp="1"/>
          </p:cNvSpPr>
          <p:nvPr>
            <p:ph type="title" hasCustomPrompt="1"/>
          </p:nvPr>
        </p:nvSpPr>
        <p:spPr>
          <a:xfrm>
            <a:off x="588262" y="-307777"/>
            <a:ext cx="8193024" cy="307777"/>
          </a:xfrm>
        </p:spPr>
        <p:txBody>
          <a:bodyPr/>
          <a:lstStyle>
            <a:lvl1pPr>
              <a:defRPr sz="2000" b="0" i="0">
                <a:solidFill>
                  <a:srgbClr val="001F2D"/>
                </a:solidFill>
                <a:latin typeface="+mj-lt"/>
                <a:cs typeface="Segoe UI Semibold" panose="020B0502040204020203" pitchFamily="34" charset="0"/>
              </a:defRPr>
            </a:lvl1pPr>
          </a:lstStyle>
          <a:p>
            <a:r>
              <a:rPr lang="en-US"/>
              <a:t>Final slide with logo</a:t>
            </a:r>
          </a:p>
        </p:txBody>
      </p:sp>
    </p:spTree>
    <p:extLst>
      <p:ext uri="{BB962C8B-B14F-4D97-AF65-F5344CB8AC3E}">
        <p14:creationId xmlns:p14="http://schemas.microsoft.com/office/powerpoint/2010/main" val="183895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p:cSld name="1_Blank 2">
    <p:bg>
      <p:bgPr>
        <a:solidFill>
          <a:srgbClr val="2A446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512635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hank you">
    <p:bg>
      <p:bgPr>
        <a:solidFill>
          <a:schemeClr val="tx1"/>
        </a:solidFill>
        <a:effectLst/>
      </p:bgPr>
    </p:bg>
    <p:spTree>
      <p:nvGrpSpPr>
        <p:cNvPr id="1" name=""/>
        <p:cNvGrpSpPr/>
        <p:nvPr/>
      </p:nvGrpSpPr>
      <p:grpSpPr>
        <a:xfrm>
          <a:off x="0" y="0"/>
          <a:ext cx="0" cy="0"/>
          <a:chOff x="0" y="0"/>
          <a:chExt cx="0" cy="0"/>
        </a:xfrm>
      </p:grpSpPr>
      <p:pic>
        <p:nvPicPr>
          <p:cNvPr id="5" name="Picture 4" descr="A close-up of a yellow and blue background&#10;&#10;Description automatically generated">
            <a:extLst>
              <a:ext uri="{FF2B5EF4-FFF2-40B4-BE49-F238E27FC236}">
                <a16:creationId xmlns:a16="http://schemas.microsoft.com/office/drawing/2014/main" id="{A6A9DD60-6582-EC28-94B1-2DB255180C50}"/>
              </a:ext>
            </a:extLst>
          </p:cNvPr>
          <p:cNvPicPr>
            <a:picLocks noChangeAspect="1"/>
          </p:cNvPicPr>
          <p:nvPr userDrawn="1"/>
        </p:nvPicPr>
        <p:blipFill>
          <a:blip r:embed="rId2"/>
          <a:stretch>
            <a:fillRect/>
          </a:stretch>
        </p:blipFill>
        <p:spPr>
          <a:xfrm>
            <a:off x="4800" y="0"/>
            <a:ext cx="12182400" cy="6858000"/>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Thank you</a:t>
            </a:r>
          </a:p>
        </p:txBody>
      </p:sp>
    </p:spTree>
    <p:extLst>
      <p:ext uri="{BB962C8B-B14F-4D97-AF65-F5344CB8AC3E}">
        <p14:creationId xmlns:p14="http://schemas.microsoft.com/office/powerpoint/2010/main" val="3160698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p:cSld name="Blank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923561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p:cSld name="1_Closing logo slide">
    <p:bg>
      <p:bgPr>
        <a:solidFill>
          <a:srgbClr val="2A446F"/>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1"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01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1" y="585788"/>
            <a:ext cx="1366245" cy="292608"/>
          </a:xfrm>
          <a:prstGeom prst="rect">
            <a:avLst/>
          </a:prstGeom>
        </p:spPr>
      </p:pic>
    </p:spTree>
    <p:extLst>
      <p:ext uri="{BB962C8B-B14F-4D97-AF65-F5344CB8AC3E}">
        <p14:creationId xmlns:p14="http://schemas.microsoft.com/office/powerpoint/2010/main" val="32104297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2361533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4647148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65205662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78556488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65306030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06201339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5646774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Test patter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E530C24-163F-15BF-3D01-A8CA8BF2688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4061084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20327022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9_Title Slide">
    <p:spTree>
      <p:nvGrpSpPr>
        <p:cNvPr id="1" name=""/>
        <p:cNvGrpSpPr/>
        <p:nvPr/>
      </p:nvGrpSpPr>
      <p:grpSpPr>
        <a:xfrm>
          <a:off x="0" y="0"/>
          <a:ext cx="0" cy="0"/>
          <a:chOff x="0" y="0"/>
          <a:chExt cx="0" cy="0"/>
        </a:xfrm>
      </p:grpSpPr>
      <p:pic>
        <p:nvPicPr>
          <p:cNvPr id="11" name="Picture 10" descr="A blue sky with white clouds&#10;&#10;Description automatically generated">
            <a:extLst>
              <a:ext uri="{FF2B5EF4-FFF2-40B4-BE49-F238E27FC236}">
                <a16:creationId xmlns:a16="http://schemas.microsoft.com/office/drawing/2014/main" id="{79BAFC8C-EB9A-06B0-36D4-AEB224BFA26E}"/>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11529"/>
            <a:ext cx="12192000" cy="6869529"/>
          </a:xfrm>
          <a:prstGeom prst="rect">
            <a:avLst/>
          </a:prstGeom>
        </p:spPr>
      </p:pic>
      <p:sp>
        <p:nvSpPr>
          <p:cNvPr id="8" name="Rectangle 7">
            <a:extLst>
              <a:ext uri="{FF2B5EF4-FFF2-40B4-BE49-F238E27FC236}">
                <a16:creationId xmlns:a16="http://schemas.microsoft.com/office/drawing/2014/main" id="{108F13F4-2AA0-2751-9C54-183410D351E2}"/>
              </a:ext>
            </a:extLst>
          </p:cNvPr>
          <p:cNvSpPr/>
          <p:nvPr userDrawn="1"/>
        </p:nvSpPr>
        <p:spPr>
          <a:xfrm>
            <a:off x="0" y="0"/>
            <a:ext cx="6616700" cy="6858000"/>
          </a:xfrm>
          <a:prstGeom prst="rect">
            <a:avLst/>
          </a:prstGeom>
          <a:gradFill flip="none" rotWithShape="1">
            <a:gsLst>
              <a:gs pos="26000">
                <a:schemeClr val="bg1">
                  <a:alpha val="58000"/>
                </a:schemeClr>
              </a:gs>
              <a:gs pos="70000">
                <a:schemeClr val="bg1">
                  <a:alpha val="0"/>
                </a:schemeClr>
              </a:gs>
            </a:gsLst>
            <a:path path="circle">
              <a:fillToRect r="100000" b="100000"/>
            </a:path>
            <a:tileRect l="-100000" t="-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 name="Title 15">
            <a:extLst>
              <a:ext uri="{FF2B5EF4-FFF2-40B4-BE49-F238E27FC236}">
                <a16:creationId xmlns:a16="http://schemas.microsoft.com/office/drawing/2014/main" id="{1AB79229-7EF8-8D54-ED6D-2A2E11C74F94}"/>
              </a:ext>
            </a:extLst>
          </p:cNvPr>
          <p:cNvSpPr>
            <a:spLocks noGrp="1"/>
          </p:cNvSpPr>
          <p:nvPr>
            <p:ph type="title"/>
          </p:nvPr>
        </p:nvSpPr>
        <p:spPr>
          <a:xfrm>
            <a:off x="389121" y="3202170"/>
            <a:ext cx="7683500" cy="895065"/>
          </a:xfrm>
        </p:spPr>
        <p:txBody>
          <a:bodyPr/>
          <a:lstStyle>
            <a:lvl1pPr>
              <a:defRPr>
                <a:solidFill>
                  <a:srgbClr val="463668"/>
                </a:solidFill>
                <a:latin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24" name="Text Placeholder 23">
            <a:extLst>
              <a:ext uri="{FF2B5EF4-FFF2-40B4-BE49-F238E27FC236}">
                <a16:creationId xmlns:a16="http://schemas.microsoft.com/office/drawing/2014/main" id="{44FD65AF-CF48-C43D-0B1B-B1AD516E4D77}"/>
              </a:ext>
            </a:extLst>
          </p:cNvPr>
          <p:cNvSpPr>
            <a:spLocks noGrp="1"/>
          </p:cNvSpPr>
          <p:nvPr>
            <p:ph type="body" sz="quarter" idx="10"/>
          </p:nvPr>
        </p:nvSpPr>
        <p:spPr>
          <a:xfrm>
            <a:off x="404235" y="4236857"/>
            <a:ext cx="6823075" cy="454517"/>
          </a:xfrm>
        </p:spPr>
        <p:txBody>
          <a:bodyPr/>
          <a:lstStyle>
            <a:lvl1pPr marL="0" indent="0">
              <a:buNone/>
              <a:defRPr/>
            </a:lvl1pPr>
          </a:lstStyle>
          <a:p>
            <a:pPr lvl="0"/>
            <a:r>
              <a:rPr lang="en-US"/>
              <a:t>Click to edit Master text styles</a:t>
            </a:r>
          </a:p>
        </p:txBody>
      </p:sp>
      <p:pic>
        <p:nvPicPr>
          <p:cNvPr id="3" name="Graphic 2">
            <a:extLst>
              <a:ext uri="{FF2B5EF4-FFF2-40B4-BE49-F238E27FC236}">
                <a16:creationId xmlns:a16="http://schemas.microsoft.com/office/drawing/2014/main" id="{40FE4DE3-3527-1991-05B6-5D4EBF61787B}"/>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9275" y="549275"/>
            <a:ext cx="1287780" cy="274320"/>
          </a:xfrm>
          <a:prstGeom prst="rect">
            <a:avLst/>
          </a:prstGeom>
        </p:spPr>
      </p:pic>
    </p:spTree>
    <p:extLst>
      <p:ext uri="{BB962C8B-B14F-4D97-AF65-F5344CB8AC3E}">
        <p14:creationId xmlns:p14="http://schemas.microsoft.com/office/powerpoint/2010/main" val="2031774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2_Title Slide 2">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AF2630F-9D54-C9E6-5F76-BA1370320369}"/>
              </a:ext>
              <a:ext uri="{C183D7F6-B498-43B3-948B-1728B52AA6E4}">
                <adec:decorative xmlns:adec="http://schemas.microsoft.com/office/drawing/2017/decorative" val="1"/>
              </a:ext>
            </a:extLst>
          </p:cNvPr>
          <p:cNvSpPr/>
          <p:nvPr userDrawn="1"/>
        </p:nvSpPr>
        <p:spPr>
          <a:xfrm>
            <a:off x="0" y="0"/>
            <a:ext cx="12192000" cy="6857999"/>
          </a:xfrm>
          <a:prstGeom prst="rect">
            <a:avLst/>
          </a:prstGeom>
          <a:gradFill flip="none" rotWithShape="1">
            <a:gsLst>
              <a:gs pos="27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 name="Title 1">
            <a:extLst>
              <a:ext uri="{FF2B5EF4-FFF2-40B4-BE49-F238E27FC236}">
                <a16:creationId xmlns:a16="http://schemas.microsoft.com/office/drawing/2014/main" id="{FF2427BA-E9BA-7256-9B3F-95A47E6A7890}"/>
              </a:ext>
            </a:extLst>
          </p:cNvPr>
          <p:cNvSpPr>
            <a:spLocks noGrp="1"/>
          </p:cNvSpPr>
          <p:nvPr>
            <p:ph type="title" hasCustomPrompt="1"/>
          </p:nvPr>
        </p:nvSpPr>
        <p:spPr bwMode="black">
          <a:xfrm>
            <a:off x="585216" y="2764203"/>
            <a:ext cx="4848632" cy="1329595"/>
          </a:xfrm>
          <a:noFill/>
        </p:spPr>
        <p:txBody>
          <a:bodyPr vert="horz" wrap="square" lIns="0" tIns="0" rIns="0" bIns="0" rtlCol="0" anchor="b" anchorCtr="0">
            <a:spAutoFit/>
          </a:bodyPr>
          <a:lstStyle>
            <a:lvl1pPr>
              <a:defRPr lang="en-US" sz="4800" dirty="0">
                <a:solidFill>
                  <a:schemeClr val="bg1"/>
                </a:solidFill>
              </a:defRPr>
            </a:lvl1pPr>
          </a:lstStyle>
          <a:p>
            <a:pPr lvl="0"/>
            <a:r>
              <a:rPr lang="en-US"/>
              <a:t>Event name or presentation title </a:t>
            </a:r>
          </a:p>
        </p:txBody>
      </p:sp>
    </p:spTree>
    <p:extLst>
      <p:ext uri="{BB962C8B-B14F-4D97-AF65-F5344CB8AC3E}">
        <p14:creationId xmlns:p14="http://schemas.microsoft.com/office/powerpoint/2010/main" val="28626760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graphicFrame>
        <p:nvGraphicFramePr>
          <p:cNvPr id="7" name="Table 4">
            <a:extLst>
              <a:ext uri="{FF2B5EF4-FFF2-40B4-BE49-F238E27FC236}">
                <a16:creationId xmlns:a16="http://schemas.microsoft.com/office/drawing/2014/main" id="{B97909A9-0FC0-37F2-6376-850FAC681C83}"/>
              </a:ext>
            </a:extLst>
          </p:cNvPr>
          <p:cNvGraphicFramePr>
            <a:graphicFrameLocks noGrp="1"/>
          </p:cNvGraphicFramePr>
          <p:nvPr userDrawn="1">
            <p:extLst>
              <p:ext uri="{D42A27DB-BD31-4B8C-83A1-F6EECF244321}">
                <p14:modId xmlns:p14="http://schemas.microsoft.com/office/powerpoint/2010/main" val="1122762139"/>
              </p:ext>
            </p:extLst>
          </p:nvPr>
        </p:nvGraphicFramePr>
        <p:xfrm>
          <a:off x="405068" y="1220920"/>
          <a:ext cx="11281874" cy="5160286"/>
        </p:xfrm>
        <a:graphic>
          <a:graphicData uri="http://schemas.openxmlformats.org/drawingml/2006/table">
            <a:tbl>
              <a:tblPr firstRow="1" bandRow="1">
                <a:tableStyleId>{2D5ABB26-0587-4C30-8999-92F81FD0307C}</a:tableStyleId>
              </a:tblPr>
              <a:tblGrid>
                <a:gridCol w="1181133">
                  <a:extLst>
                    <a:ext uri="{9D8B030D-6E8A-4147-A177-3AD203B41FA5}">
                      <a16:colId xmlns:a16="http://schemas.microsoft.com/office/drawing/2014/main" val="139002961"/>
                    </a:ext>
                  </a:extLst>
                </a:gridCol>
                <a:gridCol w="171199">
                  <a:extLst>
                    <a:ext uri="{9D8B030D-6E8A-4147-A177-3AD203B41FA5}">
                      <a16:colId xmlns:a16="http://schemas.microsoft.com/office/drawing/2014/main" val="2595147862"/>
                    </a:ext>
                  </a:extLst>
                </a:gridCol>
                <a:gridCol w="171199">
                  <a:extLst>
                    <a:ext uri="{9D8B030D-6E8A-4147-A177-3AD203B41FA5}">
                      <a16:colId xmlns:a16="http://schemas.microsoft.com/office/drawing/2014/main" val="2401896004"/>
                    </a:ext>
                  </a:extLst>
                </a:gridCol>
                <a:gridCol w="171199">
                  <a:extLst>
                    <a:ext uri="{9D8B030D-6E8A-4147-A177-3AD203B41FA5}">
                      <a16:colId xmlns:a16="http://schemas.microsoft.com/office/drawing/2014/main" val="3133315569"/>
                    </a:ext>
                  </a:extLst>
                </a:gridCol>
                <a:gridCol w="171199">
                  <a:extLst>
                    <a:ext uri="{9D8B030D-6E8A-4147-A177-3AD203B41FA5}">
                      <a16:colId xmlns:a16="http://schemas.microsoft.com/office/drawing/2014/main" val="1963834079"/>
                    </a:ext>
                  </a:extLst>
                </a:gridCol>
                <a:gridCol w="171199">
                  <a:extLst>
                    <a:ext uri="{9D8B030D-6E8A-4147-A177-3AD203B41FA5}">
                      <a16:colId xmlns:a16="http://schemas.microsoft.com/office/drawing/2014/main" val="3296328320"/>
                    </a:ext>
                  </a:extLst>
                </a:gridCol>
                <a:gridCol w="171199">
                  <a:extLst>
                    <a:ext uri="{9D8B030D-6E8A-4147-A177-3AD203B41FA5}">
                      <a16:colId xmlns:a16="http://schemas.microsoft.com/office/drawing/2014/main" val="978405614"/>
                    </a:ext>
                  </a:extLst>
                </a:gridCol>
                <a:gridCol w="171199">
                  <a:extLst>
                    <a:ext uri="{9D8B030D-6E8A-4147-A177-3AD203B41FA5}">
                      <a16:colId xmlns:a16="http://schemas.microsoft.com/office/drawing/2014/main" val="1305120353"/>
                    </a:ext>
                  </a:extLst>
                </a:gridCol>
                <a:gridCol w="171199">
                  <a:extLst>
                    <a:ext uri="{9D8B030D-6E8A-4147-A177-3AD203B41FA5}">
                      <a16:colId xmlns:a16="http://schemas.microsoft.com/office/drawing/2014/main" val="1963733083"/>
                    </a:ext>
                  </a:extLst>
                </a:gridCol>
                <a:gridCol w="171199">
                  <a:extLst>
                    <a:ext uri="{9D8B030D-6E8A-4147-A177-3AD203B41FA5}">
                      <a16:colId xmlns:a16="http://schemas.microsoft.com/office/drawing/2014/main" val="601243044"/>
                    </a:ext>
                  </a:extLst>
                </a:gridCol>
                <a:gridCol w="171199">
                  <a:extLst>
                    <a:ext uri="{9D8B030D-6E8A-4147-A177-3AD203B41FA5}">
                      <a16:colId xmlns:a16="http://schemas.microsoft.com/office/drawing/2014/main" val="3526607817"/>
                    </a:ext>
                  </a:extLst>
                </a:gridCol>
                <a:gridCol w="171199">
                  <a:extLst>
                    <a:ext uri="{9D8B030D-6E8A-4147-A177-3AD203B41FA5}">
                      <a16:colId xmlns:a16="http://schemas.microsoft.com/office/drawing/2014/main" val="2215976785"/>
                    </a:ext>
                  </a:extLst>
                </a:gridCol>
                <a:gridCol w="171199">
                  <a:extLst>
                    <a:ext uri="{9D8B030D-6E8A-4147-A177-3AD203B41FA5}">
                      <a16:colId xmlns:a16="http://schemas.microsoft.com/office/drawing/2014/main" val="1721391407"/>
                    </a:ext>
                  </a:extLst>
                </a:gridCol>
                <a:gridCol w="171199">
                  <a:extLst>
                    <a:ext uri="{9D8B030D-6E8A-4147-A177-3AD203B41FA5}">
                      <a16:colId xmlns:a16="http://schemas.microsoft.com/office/drawing/2014/main" val="1493851506"/>
                    </a:ext>
                  </a:extLst>
                </a:gridCol>
                <a:gridCol w="171199">
                  <a:extLst>
                    <a:ext uri="{9D8B030D-6E8A-4147-A177-3AD203B41FA5}">
                      <a16:colId xmlns:a16="http://schemas.microsoft.com/office/drawing/2014/main" val="1099816242"/>
                    </a:ext>
                  </a:extLst>
                </a:gridCol>
                <a:gridCol w="171199">
                  <a:extLst>
                    <a:ext uri="{9D8B030D-6E8A-4147-A177-3AD203B41FA5}">
                      <a16:colId xmlns:a16="http://schemas.microsoft.com/office/drawing/2014/main" val="1993367128"/>
                    </a:ext>
                  </a:extLst>
                </a:gridCol>
                <a:gridCol w="171199">
                  <a:extLst>
                    <a:ext uri="{9D8B030D-6E8A-4147-A177-3AD203B41FA5}">
                      <a16:colId xmlns:a16="http://schemas.microsoft.com/office/drawing/2014/main" val="1322700314"/>
                    </a:ext>
                  </a:extLst>
                </a:gridCol>
                <a:gridCol w="171199">
                  <a:extLst>
                    <a:ext uri="{9D8B030D-6E8A-4147-A177-3AD203B41FA5}">
                      <a16:colId xmlns:a16="http://schemas.microsoft.com/office/drawing/2014/main" val="3582699855"/>
                    </a:ext>
                  </a:extLst>
                </a:gridCol>
                <a:gridCol w="171199">
                  <a:extLst>
                    <a:ext uri="{9D8B030D-6E8A-4147-A177-3AD203B41FA5}">
                      <a16:colId xmlns:a16="http://schemas.microsoft.com/office/drawing/2014/main" val="4106340395"/>
                    </a:ext>
                  </a:extLst>
                </a:gridCol>
                <a:gridCol w="171199">
                  <a:extLst>
                    <a:ext uri="{9D8B030D-6E8A-4147-A177-3AD203B41FA5}">
                      <a16:colId xmlns:a16="http://schemas.microsoft.com/office/drawing/2014/main" val="3276059429"/>
                    </a:ext>
                  </a:extLst>
                </a:gridCol>
                <a:gridCol w="171199">
                  <a:extLst>
                    <a:ext uri="{9D8B030D-6E8A-4147-A177-3AD203B41FA5}">
                      <a16:colId xmlns:a16="http://schemas.microsoft.com/office/drawing/2014/main" val="2245552482"/>
                    </a:ext>
                  </a:extLst>
                </a:gridCol>
                <a:gridCol w="171199">
                  <a:extLst>
                    <a:ext uri="{9D8B030D-6E8A-4147-A177-3AD203B41FA5}">
                      <a16:colId xmlns:a16="http://schemas.microsoft.com/office/drawing/2014/main" val="1382987798"/>
                    </a:ext>
                  </a:extLst>
                </a:gridCol>
                <a:gridCol w="171199">
                  <a:extLst>
                    <a:ext uri="{9D8B030D-6E8A-4147-A177-3AD203B41FA5}">
                      <a16:colId xmlns:a16="http://schemas.microsoft.com/office/drawing/2014/main" val="4274534227"/>
                    </a:ext>
                  </a:extLst>
                </a:gridCol>
                <a:gridCol w="171199">
                  <a:extLst>
                    <a:ext uri="{9D8B030D-6E8A-4147-A177-3AD203B41FA5}">
                      <a16:colId xmlns:a16="http://schemas.microsoft.com/office/drawing/2014/main" val="3766968145"/>
                    </a:ext>
                  </a:extLst>
                </a:gridCol>
                <a:gridCol w="171199">
                  <a:extLst>
                    <a:ext uri="{9D8B030D-6E8A-4147-A177-3AD203B41FA5}">
                      <a16:colId xmlns:a16="http://schemas.microsoft.com/office/drawing/2014/main" val="3569410570"/>
                    </a:ext>
                  </a:extLst>
                </a:gridCol>
                <a:gridCol w="171199">
                  <a:extLst>
                    <a:ext uri="{9D8B030D-6E8A-4147-A177-3AD203B41FA5}">
                      <a16:colId xmlns:a16="http://schemas.microsoft.com/office/drawing/2014/main" val="2056581450"/>
                    </a:ext>
                  </a:extLst>
                </a:gridCol>
                <a:gridCol w="171199">
                  <a:extLst>
                    <a:ext uri="{9D8B030D-6E8A-4147-A177-3AD203B41FA5}">
                      <a16:colId xmlns:a16="http://schemas.microsoft.com/office/drawing/2014/main" val="316901304"/>
                    </a:ext>
                  </a:extLst>
                </a:gridCol>
                <a:gridCol w="171199">
                  <a:extLst>
                    <a:ext uri="{9D8B030D-6E8A-4147-A177-3AD203B41FA5}">
                      <a16:colId xmlns:a16="http://schemas.microsoft.com/office/drawing/2014/main" val="3037743816"/>
                    </a:ext>
                  </a:extLst>
                </a:gridCol>
                <a:gridCol w="171199">
                  <a:extLst>
                    <a:ext uri="{9D8B030D-6E8A-4147-A177-3AD203B41FA5}">
                      <a16:colId xmlns:a16="http://schemas.microsoft.com/office/drawing/2014/main" val="1524364707"/>
                    </a:ext>
                  </a:extLst>
                </a:gridCol>
                <a:gridCol w="171199">
                  <a:extLst>
                    <a:ext uri="{9D8B030D-6E8A-4147-A177-3AD203B41FA5}">
                      <a16:colId xmlns:a16="http://schemas.microsoft.com/office/drawing/2014/main" val="3746671706"/>
                    </a:ext>
                  </a:extLst>
                </a:gridCol>
                <a:gridCol w="171199">
                  <a:extLst>
                    <a:ext uri="{9D8B030D-6E8A-4147-A177-3AD203B41FA5}">
                      <a16:colId xmlns:a16="http://schemas.microsoft.com/office/drawing/2014/main" val="106425224"/>
                    </a:ext>
                  </a:extLst>
                </a:gridCol>
                <a:gridCol w="171199">
                  <a:extLst>
                    <a:ext uri="{9D8B030D-6E8A-4147-A177-3AD203B41FA5}">
                      <a16:colId xmlns:a16="http://schemas.microsoft.com/office/drawing/2014/main" val="704508852"/>
                    </a:ext>
                  </a:extLst>
                </a:gridCol>
                <a:gridCol w="171199">
                  <a:extLst>
                    <a:ext uri="{9D8B030D-6E8A-4147-A177-3AD203B41FA5}">
                      <a16:colId xmlns:a16="http://schemas.microsoft.com/office/drawing/2014/main" val="1743720722"/>
                    </a:ext>
                  </a:extLst>
                </a:gridCol>
                <a:gridCol w="171199">
                  <a:extLst>
                    <a:ext uri="{9D8B030D-6E8A-4147-A177-3AD203B41FA5}">
                      <a16:colId xmlns:a16="http://schemas.microsoft.com/office/drawing/2014/main" val="4206440371"/>
                    </a:ext>
                  </a:extLst>
                </a:gridCol>
                <a:gridCol w="171199">
                  <a:extLst>
                    <a:ext uri="{9D8B030D-6E8A-4147-A177-3AD203B41FA5}">
                      <a16:colId xmlns:a16="http://schemas.microsoft.com/office/drawing/2014/main" val="3245454163"/>
                    </a:ext>
                  </a:extLst>
                </a:gridCol>
                <a:gridCol w="171199">
                  <a:extLst>
                    <a:ext uri="{9D8B030D-6E8A-4147-A177-3AD203B41FA5}">
                      <a16:colId xmlns:a16="http://schemas.microsoft.com/office/drawing/2014/main" val="172583902"/>
                    </a:ext>
                  </a:extLst>
                </a:gridCol>
                <a:gridCol w="171199">
                  <a:extLst>
                    <a:ext uri="{9D8B030D-6E8A-4147-A177-3AD203B41FA5}">
                      <a16:colId xmlns:a16="http://schemas.microsoft.com/office/drawing/2014/main" val="745361375"/>
                    </a:ext>
                  </a:extLst>
                </a:gridCol>
                <a:gridCol w="171199">
                  <a:extLst>
                    <a:ext uri="{9D8B030D-6E8A-4147-A177-3AD203B41FA5}">
                      <a16:colId xmlns:a16="http://schemas.microsoft.com/office/drawing/2014/main" val="937869156"/>
                    </a:ext>
                  </a:extLst>
                </a:gridCol>
                <a:gridCol w="171199">
                  <a:extLst>
                    <a:ext uri="{9D8B030D-6E8A-4147-A177-3AD203B41FA5}">
                      <a16:colId xmlns:a16="http://schemas.microsoft.com/office/drawing/2014/main" val="3715741561"/>
                    </a:ext>
                  </a:extLst>
                </a:gridCol>
                <a:gridCol w="171199">
                  <a:extLst>
                    <a:ext uri="{9D8B030D-6E8A-4147-A177-3AD203B41FA5}">
                      <a16:colId xmlns:a16="http://schemas.microsoft.com/office/drawing/2014/main" val="1280984595"/>
                    </a:ext>
                  </a:extLst>
                </a:gridCol>
                <a:gridCol w="171199">
                  <a:extLst>
                    <a:ext uri="{9D8B030D-6E8A-4147-A177-3AD203B41FA5}">
                      <a16:colId xmlns:a16="http://schemas.microsoft.com/office/drawing/2014/main" val="1334737629"/>
                    </a:ext>
                  </a:extLst>
                </a:gridCol>
                <a:gridCol w="171199">
                  <a:extLst>
                    <a:ext uri="{9D8B030D-6E8A-4147-A177-3AD203B41FA5}">
                      <a16:colId xmlns:a16="http://schemas.microsoft.com/office/drawing/2014/main" val="1613621912"/>
                    </a:ext>
                  </a:extLst>
                </a:gridCol>
                <a:gridCol w="171199">
                  <a:extLst>
                    <a:ext uri="{9D8B030D-6E8A-4147-A177-3AD203B41FA5}">
                      <a16:colId xmlns:a16="http://schemas.microsoft.com/office/drawing/2014/main" val="3357569998"/>
                    </a:ext>
                  </a:extLst>
                </a:gridCol>
                <a:gridCol w="171199">
                  <a:extLst>
                    <a:ext uri="{9D8B030D-6E8A-4147-A177-3AD203B41FA5}">
                      <a16:colId xmlns:a16="http://schemas.microsoft.com/office/drawing/2014/main" val="656625864"/>
                    </a:ext>
                  </a:extLst>
                </a:gridCol>
                <a:gridCol w="171199">
                  <a:extLst>
                    <a:ext uri="{9D8B030D-6E8A-4147-A177-3AD203B41FA5}">
                      <a16:colId xmlns:a16="http://schemas.microsoft.com/office/drawing/2014/main" val="1412526929"/>
                    </a:ext>
                  </a:extLst>
                </a:gridCol>
                <a:gridCol w="171199">
                  <a:extLst>
                    <a:ext uri="{9D8B030D-6E8A-4147-A177-3AD203B41FA5}">
                      <a16:colId xmlns:a16="http://schemas.microsoft.com/office/drawing/2014/main" val="647377130"/>
                    </a:ext>
                  </a:extLst>
                </a:gridCol>
                <a:gridCol w="171199">
                  <a:extLst>
                    <a:ext uri="{9D8B030D-6E8A-4147-A177-3AD203B41FA5}">
                      <a16:colId xmlns:a16="http://schemas.microsoft.com/office/drawing/2014/main" val="783445939"/>
                    </a:ext>
                  </a:extLst>
                </a:gridCol>
                <a:gridCol w="171199">
                  <a:extLst>
                    <a:ext uri="{9D8B030D-6E8A-4147-A177-3AD203B41FA5}">
                      <a16:colId xmlns:a16="http://schemas.microsoft.com/office/drawing/2014/main" val="1513694250"/>
                    </a:ext>
                  </a:extLst>
                </a:gridCol>
                <a:gridCol w="171199">
                  <a:extLst>
                    <a:ext uri="{9D8B030D-6E8A-4147-A177-3AD203B41FA5}">
                      <a16:colId xmlns:a16="http://schemas.microsoft.com/office/drawing/2014/main" val="1496411637"/>
                    </a:ext>
                  </a:extLst>
                </a:gridCol>
                <a:gridCol w="171199">
                  <a:extLst>
                    <a:ext uri="{9D8B030D-6E8A-4147-A177-3AD203B41FA5}">
                      <a16:colId xmlns:a16="http://schemas.microsoft.com/office/drawing/2014/main" val="1290766309"/>
                    </a:ext>
                  </a:extLst>
                </a:gridCol>
                <a:gridCol w="171199">
                  <a:extLst>
                    <a:ext uri="{9D8B030D-6E8A-4147-A177-3AD203B41FA5}">
                      <a16:colId xmlns:a16="http://schemas.microsoft.com/office/drawing/2014/main" val="1390400275"/>
                    </a:ext>
                  </a:extLst>
                </a:gridCol>
                <a:gridCol w="171199">
                  <a:extLst>
                    <a:ext uri="{9D8B030D-6E8A-4147-A177-3AD203B41FA5}">
                      <a16:colId xmlns:a16="http://schemas.microsoft.com/office/drawing/2014/main" val="2772241488"/>
                    </a:ext>
                  </a:extLst>
                </a:gridCol>
                <a:gridCol w="171199">
                  <a:extLst>
                    <a:ext uri="{9D8B030D-6E8A-4147-A177-3AD203B41FA5}">
                      <a16:colId xmlns:a16="http://schemas.microsoft.com/office/drawing/2014/main" val="575613933"/>
                    </a:ext>
                  </a:extLst>
                </a:gridCol>
                <a:gridCol w="171199">
                  <a:extLst>
                    <a:ext uri="{9D8B030D-6E8A-4147-A177-3AD203B41FA5}">
                      <a16:colId xmlns:a16="http://schemas.microsoft.com/office/drawing/2014/main" val="1857268977"/>
                    </a:ext>
                  </a:extLst>
                </a:gridCol>
                <a:gridCol w="171199">
                  <a:extLst>
                    <a:ext uri="{9D8B030D-6E8A-4147-A177-3AD203B41FA5}">
                      <a16:colId xmlns:a16="http://schemas.microsoft.com/office/drawing/2014/main" val="2665754153"/>
                    </a:ext>
                  </a:extLst>
                </a:gridCol>
                <a:gridCol w="171199">
                  <a:extLst>
                    <a:ext uri="{9D8B030D-6E8A-4147-A177-3AD203B41FA5}">
                      <a16:colId xmlns:a16="http://schemas.microsoft.com/office/drawing/2014/main" val="1709550414"/>
                    </a:ext>
                  </a:extLst>
                </a:gridCol>
                <a:gridCol w="171199">
                  <a:extLst>
                    <a:ext uri="{9D8B030D-6E8A-4147-A177-3AD203B41FA5}">
                      <a16:colId xmlns:a16="http://schemas.microsoft.com/office/drawing/2014/main" val="1051208460"/>
                    </a:ext>
                  </a:extLst>
                </a:gridCol>
                <a:gridCol w="171199">
                  <a:extLst>
                    <a:ext uri="{9D8B030D-6E8A-4147-A177-3AD203B41FA5}">
                      <a16:colId xmlns:a16="http://schemas.microsoft.com/office/drawing/2014/main" val="79008726"/>
                    </a:ext>
                  </a:extLst>
                </a:gridCol>
                <a:gridCol w="171199">
                  <a:extLst>
                    <a:ext uri="{9D8B030D-6E8A-4147-A177-3AD203B41FA5}">
                      <a16:colId xmlns:a16="http://schemas.microsoft.com/office/drawing/2014/main" val="3544677737"/>
                    </a:ext>
                  </a:extLst>
                </a:gridCol>
                <a:gridCol w="171199">
                  <a:extLst>
                    <a:ext uri="{9D8B030D-6E8A-4147-A177-3AD203B41FA5}">
                      <a16:colId xmlns:a16="http://schemas.microsoft.com/office/drawing/2014/main" val="1936430234"/>
                    </a:ext>
                  </a:extLst>
                </a:gridCol>
              </a:tblGrid>
              <a:tr h="260509">
                <a:tc rowSpan="2">
                  <a:txBody>
                    <a:bodyPr/>
                    <a:lstStyle/>
                    <a:p>
                      <a:endParaRPr lang="en-US" sz="1100" b="1">
                        <a:solidFill>
                          <a:schemeClr val="bg1"/>
                        </a:solidFill>
                      </a:endParaRPr>
                    </a:p>
                  </a:txBody>
                  <a:tcPr marL="91427" marR="91427" marT="45713" marB="45713">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A9F"/>
                    </a:solidFill>
                  </a:tcPr>
                </a:tc>
                <a:tc gridSpan="10">
                  <a:txBody>
                    <a:bodyPr/>
                    <a:lstStyle/>
                    <a:p>
                      <a:pPr algn="ctr" fontAlgn="b"/>
                      <a:r>
                        <a:rPr lang="en-US" sz="1100" b="1" i="0" u="none" strike="noStrike" kern="1200">
                          <a:solidFill>
                            <a:schemeClr val="tx1"/>
                          </a:solidFill>
                          <a:effectLst/>
                          <a:latin typeface="Calibri" panose="020F0502020204030204" pitchFamily="34" charset="0"/>
                          <a:ea typeface="+mn-ea"/>
                          <a:cs typeface="+mn-cs"/>
                        </a:rPr>
                        <a:t>July</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5">
                        <a:lumMod val="20000"/>
                        <a:lumOff val="80000"/>
                      </a:schemeClr>
                    </a:solidFill>
                  </a:tcPr>
                </a:tc>
                <a:tc hMerge="1">
                  <a:txBody>
                    <a:bodyPr/>
                    <a:lstStyle/>
                    <a:p>
                      <a:pPr algn="ctr" fontAlgn="b"/>
                      <a:r>
                        <a:rPr lang="en-US" sz="800" b="0" i="0" u="none" strike="noStrike">
                          <a:solidFill>
                            <a:srgbClr val="000000"/>
                          </a:solidFill>
                          <a:effectLst/>
                          <a:latin typeface="Calibri" panose="020F0502020204030204" pitchFamily="34" charset="0"/>
                        </a:rPr>
                        <a:t>23</a:t>
                      </a:r>
                    </a:p>
                  </a:txBody>
                  <a:tcPr marL="5443" marR="5443" marT="5443" marB="0" anchor="ctr"/>
                </a:tc>
                <a:tc hMerge="1">
                  <a:txBody>
                    <a:bodyPr/>
                    <a:lstStyle/>
                    <a:p>
                      <a:pPr algn="ctr" fontAlgn="b"/>
                      <a:r>
                        <a:rPr lang="en-US" sz="800" b="0" i="0" u="none" strike="noStrike">
                          <a:solidFill>
                            <a:srgbClr val="000000"/>
                          </a:solidFill>
                          <a:effectLst/>
                          <a:latin typeface="Calibri" panose="020F0502020204030204" pitchFamily="34" charset="0"/>
                        </a:rPr>
                        <a:t>24</a:t>
                      </a:r>
                    </a:p>
                  </a:txBody>
                  <a:tcPr marL="5443" marR="5443" marT="5443" marB="0" anchor="ctr"/>
                </a:tc>
                <a:tc hMerge="1">
                  <a:txBody>
                    <a:bodyPr/>
                    <a:lstStyle/>
                    <a:p>
                      <a:pPr algn="ctr" fontAlgn="b"/>
                      <a:r>
                        <a:rPr lang="en-US" sz="800" b="0" i="0" u="none" strike="noStrike">
                          <a:solidFill>
                            <a:srgbClr val="000000"/>
                          </a:solidFill>
                          <a:effectLst/>
                          <a:latin typeface="Calibri" panose="020F0502020204030204" pitchFamily="34" charset="0"/>
                        </a:rPr>
                        <a:t>25</a:t>
                      </a:r>
                    </a:p>
                  </a:txBody>
                  <a:tcPr marL="5443" marR="5443" marT="5443" marB="0" anchor="ctr"/>
                </a:tc>
                <a:tc hMerge="1">
                  <a:txBody>
                    <a:bodyPr/>
                    <a:lstStyle/>
                    <a:p>
                      <a:pPr algn="ctr" fontAlgn="b"/>
                      <a:r>
                        <a:rPr lang="en-US" sz="800" b="0" i="0" u="none" strike="noStrike">
                          <a:solidFill>
                            <a:srgbClr val="000000"/>
                          </a:solidFill>
                          <a:effectLst/>
                          <a:latin typeface="Calibri" panose="020F0502020204030204" pitchFamily="34" charset="0"/>
                        </a:rPr>
                        <a:t>26</a:t>
                      </a:r>
                    </a:p>
                  </a:txBody>
                  <a:tcPr marL="5443" marR="5443" marT="54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tc hMerge="1">
                  <a:txBody>
                    <a:bodyPr/>
                    <a:lstStyle/>
                    <a:p>
                      <a:pPr algn="ctr" fontAlgn="b"/>
                      <a:r>
                        <a:rPr lang="en-US" sz="800" b="0" i="0" u="none" strike="noStrike">
                          <a:solidFill>
                            <a:srgbClr val="000000"/>
                          </a:solidFill>
                          <a:effectLst/>
                          <a:latin typeface="Calibri" panose="020F0502020204030204" pitchFamily="34" charset="0"/>
                        </a:rPr>
                        <a:t>27</a:t>
                      </a:r>
                    </a:p>
                  </a:txBody>
                  <a:tcPr marL="5443" marR="5443" marT="5443" marB="0" anchor="ctr"/>
                </a:tc>
                <a:tc hMerge="1">
                  <a:txBody>
                    <a:bodyPr/>
                    <a:lstStyle/>
                    <a:p>
                      <a:pPr algn="ctr" fontAlgn="b"/>
                      <a:r>
                        <a:rPr lang="en-US" sz="800" b="0" i="0" u="none" strike="noStrike">
                          <a:solidFill>
                            <a:srgbClr val="000000"/>
                          </a:solidFill>
                          <a:effectLst/>
                          <a:latin typeface="Calibri" panose="020F0502020204030204" pitchFamily="34" charset="0"/>
                        </a:rPr>
                        <a:t>28</a:t>
                      </a:r>
                    </a:p>
                  </a:txBody>
                  <a:tcPr marL="5443" marR="5443" marT="5443" marB="0" anchor="ctr"/>
                </a:tc>
                <a:tc hMerge="1">
                  <a:txBody>
                    <a:bodyPr/>
                    <a:lstStyle/>
                    <a:p>
                      <a:pPr algn="ctr" fontAlgn="b"/>
                      <a:endParaRPr lang="en-US" sz="1100" b="1" i="0" u="none" strike="noStrike">
                        <a:solidFill>
                          <a:schemeClr val="bg1"/>
                        </a:solidFill>
                        <a:effectLst/>
                        <a:latin typeface="Calibri" panose="020F0502020204030204" pitchFamily="34" charset="0"/>
                      </a:endParaRPr>
                    </a:p>
                  </a:txBody>
                  <a:tcPr marL="5443" marR="5443" marT="5443"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fontAlgn="b"/>
                      <a:endParaRPr lang="en-US" sz="1100" b="1" i="0" u="none" strike="noStrike">
                        <a:solidFill>
                          <a:schemeClr val="bg1"/>
                        </a:solidFill>
                        <a:effectLst/>
                        <a:latin typeface="Calibri" panose="020F0502020204030204" pitchFamily="34" charset="0"/>
                      </a:endParaRPr>
                    </a:p>
                  </a:txBody>
                  <a:tcPr marL="5443" marR="5443" marT="5443"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fontAlgn="b"/>
                      <a:endParaRPr lang="en-US" sz="800" b="0" i="0" u="none" strike="noStrike">
                        <a:solidFill>
                          <a:srgbClr val="000000"/>
                        </a:solidFill>
                        <a:effectLst/>
                        <a:latin typeface="Calibri" panose="020F0502020204030204" pitchFamily="34" charset="0"/>
                      </a:endParaRP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5">
                        <a:lumMod val="20000"/>
                        <a:lumOff val="80000"/>
                      </a:schemeClr>
                    </a:solidFill>
                  </a:tcPr>
                </a:tc>
                <a:tc gridSpan="31">
                  <a:txBody>
                    <a:bodyPr/>
                    <a:lstStyle/>
                    <a:p>
                      <a:pPr algn="ctr" fontAlgn="b"/>
                      <a:r>
                        <a:rPr lang="en-US" sz="1100" b="1" i="0" u="none" strike="noStrike">
                          <a:solidFill>
                            <a:schemeClr val="bg1"/>
                          </a:solidFill>
                          <a:effectLst/>
                          <a:latin typeface="Calibri" panose="020F0502020204030204" pitchFamily="34" charset="0"/>
                        </a:rPr>
                        <a:t>August</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hMerge="1">
                  <a:txBody>
                    <a:bodyPr/>
                    <a:lstStyle/>
                    <a:p>
                      <a:pPr algn="ctr" fontAlgn="b"/>
                      <a:endParaRPr lang="en-US" sz="800" b="0" i="0" u="none" strike="noStrike">
                        <a:solidFill>
                          <a:srgbClr val="000000"/>
                        </a:solidFill>
                        <a:effectLst/>
                        <a:latin typeface="Calibri" panose="020F0502020204030204" pitchFamily="34" charset="0"/>
                      </a:endParaRPr>
                    </a:p>
                  </a:txBody>
                  <a:tcPr marL="5443" marR="5443" marT="5443" marB="0" anchor="ctr"/>
                </a:tc>
                <a:tc hMerge="1">
                  <a:txBody>
                    <a:bodyPr/>
                    <a:lstStyle/>
                    <a:p>
                      <a:pPr algn="ctr" fontAlgn="b"/>
                      <a:endParaRPr lang="en-US" sz="800" b="0" i="0" u="none" strike="noStrike">
                        <a:solidFill>
                          <a:srgbClr val="000000"/>
                        </a:solidFill>
                        <a:effectLst/>
                        <a:latin typeface="Calibri" panose="020F0502020204030204" pitchFamily="34" charset="0"/>
                      </a:endParaRPr>
                    </a:p>
                  </a:txBody>
                  <a:tcPr marL="5443" marR="5443" marT="5443" marB="0" anchor="ctr"/>
                </a:tc>
                <a:tc hMerge="1">
                  <a:txBody>
                    <a:bodyPr/>
                    <a:lstStyle/>
                    <a:p>
                      <a:pPr algn="ctr" fontAlgn="b"/>
                      <a:endParaRPr lang="en-US" sz="800" b="0" i="0" u="none" strike="noStrike">
                        <a:solidFill>
                          <a:srgbClr val="000000"/>
                        </a:solidFill>
                        <a:effectLst/>
                        <a:latin typeface="Calibri" panose="020F0502020204030204" pitchFamily="34" charset="0"/>
                      </a:endParaRPr>
                    </a:p>
                  </a:txBody>
                  <a:tcPr marL="5443" marR="5443" marT="5443" marB="0" anchor="ctr"/>
                </a:tc>
                <a:tc hMerge="1">
                  <a:txBody>
                    <a:bodyPr/>
                    <a:lstStyle/>
                    <a:p>
                      <a:pPr algn="ctr" fontAlgn="b"/>
                      <a:endParaRPr lang="en-US" sz="800" b="0" i="0" u="none" strike="noStrike">
                        <a:solidFill>
                          <a:srgbClr val="000000"/>
                        </a:solidFill>
                        <a:effectLst/>
                        <a:latin typeface="Calibri" panose="020F0502020204030204" pitchFamily="34" charset="0"/>
                      </a:endParaRPr>
                    </a:p>
                  </a:txBody>
                  <a:tcPr marL="5443" marR="5443" marT="5443" marB="0" anchor="ctr"/>
                </a:tc>
                <a:tc hMerge="1">
                  <a:txBody>
                    <a:bodyPr/>
                    <a:lstStyle/>
                    <a:p>
                      <a:pPr algn="ctr" fontAlgn="b"/>
                      <a:endParaRPr lang="en-US" sz="800" b="0" i="0" u="none" strike="noStrike">
                        <a:solidFill>
                          <a:srgbClr val="000000"/>
                        </a:solidFill>
                        <a:effectLst/>
                        <a:latin typeface="Calibri" panose="020F0502020204030204" pitchFamily="34" charset="0"/>
                      </a:endParaRPr>
                    </a:p>
                  </a:txBody>
                  <a:tcPr marL="5443" marR="5443" marT="54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tc hMerge="1">
                  <a:txBody>
                    <a:bodyPr/>
                    <a:lstStyle/>
                    <a:p>
                      <a:pPr algn="ctr" fontAlgn="b"/>
                      <a:endParaRPr lang="en-US" sz="800" b="0" i="0" u="none" strike="noStrike">
                        <a:solidFill>
                          <a:srgbClr val="000000"/>
                        </a:solidFill>
                        <a:effectLst/>
                        <a:latin typeface="Calibri" panose="020F0502020204030204" pitchFamily="34" charset="0"/>
                      </a:endParaRPr>
                    </a:p>
                  </a:txBody>
                  <a:tcPr marL="5443" marR="5443" marT="54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tc hMerge="1">
                  <a:txBody>
                    <a:bodyPr/>
                    <a:lstStyle/>
                    <a:p>
                      <a:pPr algn="ctr" fontAlgn="b"/>
                      <a:endParaRPr lang="en-US" sz="800" b="0" i="0" u="none" strike="noStrike">
                        <a:solidFill>
                          <a:srgbClr val="000000"/>
                        </a:solidFill>
                        <a:effectLst/>
                        <a:latin typeface="Calibri" panose="020F0502020204030204" pitchFamily="34" charset="0"/>
                      </a:endParaRPr>
                    </a:p>
                  </a:txBody>
                  <a:tcPr marL="5443" marR="5443" marT="54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tc hMerge="1">
                  <a:txBody>
                    <a:bodyPr/>
                    <a:lstStyle/>
                    <a:p>
                      <a:pPr algn="ctr" fontAlgn="b"/>
                      <a:endParaRPr lang="en-US" sz="800" b="0" i="0" u="none" strike="noStrike">
                        <a:solidFill>
                          <a:srgbClr val="000000"/>
                        </a:solidFill>
                        <a:effectLst/>
                        <a:latin typeface="Calibri" panose="020F0502020204030204" pitchFamily="34" charset="0"/>
                      </a:endParaRPr>
                    </a:p>
                  </a:txBody>
                  <a:tcPr marL="5443" marR="5443" marT="54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tc hMerge="1">
                  <a:txBody>
                    <a:bodyPr/>
                    <a:lstStyle/>
                    <a:p>
                      <a:pPr algn="ctr" fontAlgn="b"/>
                      <a:endParaRPr lang="en-US" sz="800" b="0" i="0" u="none" strike="noStrike">
                        <a:solidFill>
                          <a:srgbClr val="000000"/>
                        </a:solidFill>
                        <a:effectLst/>
                        <a:latin typeface="Calibri" panose="020F0502020204030204" pitchFamily="34" charset="0"/>
                      </a:endParaRPr>
                    </a:p>
                  </a:txBody>
                  <a:tcPr marL="5443" marR="5443" marT="54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tc hMerge="1">
                  <a:txBody>
                    <a:bodyPr/>
                    <a:lstStyle/>
                    <a:p>
                      <a:pPr algn="ctr" fontAlgn="b"/>
                      <a:endParaRPr lang="en-US" sz="800" b="0" i="0" u="none" strike="noStrike">
                        <a:solidFill>
                          <a:srgbClr val="000000"/>
                        </a:solidFill>
                        <a:effectLst/>
                        <a:latin typeface="Calibri" panose="020F0502020204030204" pitchFamily="34" charset="0"/>
                      </a:endParaRPr>
                    </a:p>
                  </a:txBody>
                  <a:tcPr marL="5443" marR="5443" marT="5443"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hMerge="1">
                  <a:txBody>
                    <a:bodyPr/>
                    <a:lstStyle/>
                    <a:p>
                      <a:pPr algn="ctr" fontAlgn="b"/>
                      <a:endParaRPr lang="en-US" sz="800" b="0" i="0" u="none" strike="noStrike">
                        <a:solidFill>
                          <a:srgbClr val="000000"/>
                        </a:solidFill>
                        <a:effectLst/>
                        <a:latin typeface="Calibri" panose="020F0502020204030204" pitchFamily="34" charset="0"/>
                      </a:endParaRPr>
                    </a:p>
                  </a:txBody>
                  <a:tcPr marL="5443" marR="5443" marT="54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tc hMerge="1">
                  <a:txBody>
                    <a:bodyPr/>
                    <a:lstStyle/>
                    <a:p>
                      <a:pPr algn="ctr" fontAlgn="b"/>
                      <a:endParaRPr lang="en-US" sz="800" b="0" i="0" u="none" strike="noStrike">
                        <a:solidFill>
                          <a:srgbClr val="000000"/>
                        </a:solidFill>
                        <a:effectLst/>
                        <a:latin typeface="Calibri" panose="020F0502020204030204" pitchFamily="34" charset="0"/>
                      </a:endParaRPr>
                    </a:p>
                  </a:txBody>
                  <a:tcPr marL="5443" marR="5443" marT="54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tc hMerge="1">
                  <a:txBody>
                    <a:bodyPr/>
                    <a:lstStyle/>
                    <a:p>
                      <a:pPr algn="ctr" fontAlgn="b"/>
                      <a:endParaRPr lang="en-US" sz="800" b="0" i="0" u="none" strike="noStrike">
                        <a:solidFill>
                          <a:srgbClr val="000000"/>
                        </a:solidFill>
                        <a:effectLst/>
                        <a:latin typeface="Calibri" panose="020F0502020204030204" pitchFamily="34" charset="0"/>
                      </a:endParaRPr>
                    </a:p>
                  </a:txBody>
                  <a:tcPr marL="5443" marR="5443" marT="54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tc hMerge="1">
                  <a:txBody>
                    <a:bodyPr/>
                    <a:lstStyle/>
                    <a:p>
                      <a:pPr algn="ctr" fontAlgn="b"/>
                      <a:endParaRPr lang="en-US" sz="800" b="0" i="0" u="none" strike="noStrike">
                        <a:solidFill>
                          <a:srgbClr val="000000"/>
                        </a:solidFill>
                        <a:effectLst/>
                        <a:latin typeface="Calibri" panose="020F0502020204030204" pitchFamily="34" charset="0"/>
                      </a:endParaRPr>
                    </a:p>
                  </a:txBody>
                  <a:tcPr marL="5443" marR="5443" marT="54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tc hMerge="1">
                  <a:txBody>
                    <a:bodyPr/>
                    <a:lstStyle/>
                    <a:p>
                      <a:pPr algn="ctr" fontAlgn="b"/>
                      <a:endParaRPr lang="en-US" sz="800" b="0" i="0" u="none" strike="noStrike">
                        <a:solidFill>
                          <a:srgbClr val="000000"/>
                        </a:solidFill>
                        <a:effectLst/>
                        <a:latin typeface="Calibri" panose="020F0502020204030204" pitchFamily="34" charset="0"/>
                      </a:endParaRPr>
                    </a:p>
                  </a:txBody>
                  <a:tcPr marL="5443" marR="5443" marT="54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tc hMerge="1">
                  <a:txBody>
                    <a:bodyPr/>
                    <a:lstStyle/>
                    <a:p>
                      <a:pPr algn="ctr" fontAlgn="b"/>
                      <a:endParaRPr lang="en-US" sz="800" b="0" i="0" u="none" strike="noStrike">
                        <a:solidFill>
                          <a:srgbClr val="000000"/>
                        </a:solidFill>
                        <a:effectLst/>
                        <a:latin typeface="Calibri" panose="020F0502020204030204" pitchFamily="34" charset="0"/>
                      </a:endParaRPr>
                    </a:p>
                  </a:txBody>
                  <a:tcPr marL="5443" marR="5443" marT="54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ctr" fontAlgn="b"/>
                      <a:endParaRPr lang="en-US" sz="800" b="0" i="0" u="none" strike="noStrike">
                        <a:solidFill>
                          <a:srgbClr val="000000"/>
                        </a:solidFill>
                        <a:effectLst/>
                        <a:latin typeface="Calibri" panose="020F0502020204030204" pitchFamily="34" charset="0"/>
                      </a:endParaRPr>
                    </a:p>
                  </a:txBody>
                  <a:tcPr marL="5443" marR="5443" marT="54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tc gridSpan="18">
                  <a:txBody>
                    <a:bodyPr/>
                    <a:lstStyle/>
                    <a:p>
                      <a:pPr algn="ctr" fontAlgn="b"/>
                      <a:r>
                        <a:rPr lang="en-US" sz="1100" b="1" i="0" u="none" strike="noStrike" kern="1200">
                          <a:solidFill>
                            <a:schemeClr val="tx1"/>
                          </a:solidFill>
                          <a:effectLst/>
                          <a:latin typeface="Calibri" panose="020F0502020204030204" pitchFamily="34" charset="0"/>
                          <a:ea typeface="+mn-ea"/>
                          <a:cs typeface="+mn-cs"/>
                        </a:rPr>
                        <a:t>September</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hMerge="1">
                  <a:txBody>
                    <a:bodyPr/>
                    <a:lstStyle/>
                    <a:p>
                      <a:pPr algn="ctr" fontAlgn="b"/>
                      <a:endParaRPr lang="en-US" sz="1100" b="1" i="0" u="none" strike="noStrike">
                        <a:solidFill>
                          <a:schemeClr val="bg1"/>
                        </a:solidFill>
                        <a:effectLst/>
                        <a:latin typeface="Calibri" panose="020F0502020204030204" pitchFamily="34" charset="0"/>
                      </a:endParaRPr>
                    </a:p>
                  </a:txBody>
                  <a:tcPr marL="5443" marR="5443" marT="54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ctr" fontAlgn="b"/>
                      <a:endParaRPr lang="en-US" sz="1100" b="1" i="0" u="none" strike="noStrike">
                        <a:solidFill>
                          <a:schemeClr val="bg1"/>
                        </a:solidFill>
                        <a:effectLst/>
                        <a:latin typeface="Calibri" panose="020F0502020204030204" pitchFamily="34" charset="0"/>
                      </a:endParaRPr>
                    </a:p>
                  </a:txBody>
                  <a:tcPr marL="5443" marR="5443" marT="54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extLst>
                  <a:ext uri="{0D108BD9-81ED-4DB2-BD59-A6C34878D82A}">
                    <a16:rowId xmlns:a16="http://schemas.microsoft.com/office/drawing/2014/main" val="2720888717"/>
                  </a:ext>
                </a:extLst>
              </a:tr>
              <a:tr h="132734">
                <a:tc vMerge="1">
                  <a:txBody>
                    <a:bodyPr/>
                    <a:lstStyle/>
                    <a:p>
                      <a:pPr algn="ctr"/>
                      <a:endParaRPr lang="en-US" sz="1100" b="1"/>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700" b="0" i="0" u="none" strike="noStrike">
                          <a:solidFill>
                            <a:srgbClr val="000000"/>
                          </a:solidFill>
                          <a:effectLst/>
                          <a:latin typeface="Calibri" panose="020F0502020204030204" pitchFamily="34" charset="0"/>
                        </a:rPr>
                        <a:t>22</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700" b="0" i="0" u="none" strike="noStrike">
                          <a:solidFill>
                            <a:srgbClr val="000000"/>
                          </a:solidFill>
                          <a:effectLst/>
                          <a:latin typeface="Calibri" panose="020F0502020204030204" pitchFamily="34" charset="0"/>
                        </a:rPr>
                        <a:t>23</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700" b="0" i="0" u="none" strike="noStrike">
                          <a:solidFill>
                            <a:srgbClr val="000000"/>
                          </a:solidFill>
                          <a:effectLst/>
                          <a:latin typeface="Calibri" panose="020F0502020204030204" pitchFamily="34" charset="0"/>
                        </a:rPr>
                        <a:t>24</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700" b="0" i="0" u="none" strike="noStrike">
                          <a:solidFill>
                            <a:srgbClr val="000000"/>
                          </a:solidFill>
                          <a:effectLst/>
                          <a:latin typeface="Calibri" panose="020F0502020204030204" pitchFamily="34" charset="0"/>
                        </a:rPr>
                        <a:t>25</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700" b="0" i="0" u="none" strike="noStrike">
                          <a:solidFill>
                            <a:srgbClr val="000000"/>
                          </a:solidFill>
                          <a:effectLst/>
                          <a:latin typeface="Calibri" panose="020F0502020204030204" pitchFamily="34" charset="0"/>
                        </a:rPr>
                        <a:t>26</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700" b="0" i="0" u="none" strike="noStrike">
                          <a:solidFill>
                            <a:srgbClr val="000000"/>
                          </a:solidFill>
                          <a:effectLst/>
                          <a:latin typeface="Calibri" panose="020F0502020204030204" pitchFamily="34" charset="0"/>
                        </a:rPr>
                        <a:t>27</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fontAlgn="b"/>
                      <a:r>
                        <a:rPr lang="en-US" sz="700" b="0" i="0" u="none" strike="noStrike">
                          <a:solidFill>
                            <a:srgbClr val="000000"/>
                          </a:solidFill>
                          <a:effectLst/>
                          <a:latin typeface="Calibri" panose="020F0502020204030204" pitchFamily="34" charset="0"/>
                        </a:rPr>
                        <a:t>28</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fontAlgn="b"/>
                      <a:r>
                        <a:rPr lang="en-US" sz="700" b="0" i="0" u="none" strike="noStrike">
                          <a:solidFill>
                            <a:srgbClr val="000000"/>
                          </a:solidFill>
                          <a:effectLst/>
                          <a:latin typeface="Calibri" panose="020F0502020204030204" pitchFamily="34" charset="0"/>
                        </a:rPr>
                        <a:t>29</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700" b="0" i="0" u="none" strike="noStrike">
                          <a:solidFill>
                            <a:srgbClr val="000000"/>
                          </a:solidFill>
                          <a:effectLst/>
                          <a:latin typeface="Calibri" panose="020F0502020204030204" pitchFamily="34" charset="0"/>
                        </a:rPr>
                        <a:t>30</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700" b="0" i="0" u="none" strike="noStrike">
                          <a:solidFill>
                            <a:srgbClr val="000000"/>
                          </a:solidFill>
                          <a:effectLst/>
                          <a:latin typeface="Calibri" panose="020F0502020204030204" pitchFamily="34" charset="0"/>
                        </a:rPr>
                        <a:t>31</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700" b="0" i="0" u="none" strike="noStrike">
                          <a:solidFill>
                            <a:srgbClr val="000000"/>
                          </a:solidFill>
                          <a:effectLst/>
                          <a:latin typeface="Calibri" panose="020F0502020204030204" pitchFamily="34" charset="0"/>
                        </a:rPr>
                        <a:t>1</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700" b="0" i="0" u="none" strike="noStrike">
                          <a:solidFill>
                            <a:srgbClr val="000000"/>
                          </a:solidFill>
                          <a:effectLst/>
                          <a:latin typeface="Calibri" panose="020F0502020204030204" pitchFamily="34" charset="0"/>
                        </a:rPr>
                        <a:t>2</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700" b="0" i="0" u="none" strike="noStrike">
                          <a:solidFill>
                            <a:srgbClr val="000000"/>
                          </a:solidFill>
                          <a:effectLst/>
                          <a:latin typeface="Calibri" panose="020F0502020204030204" pitchFamily="34" charset="0"/>
                        </a:rPr>
                        <a:t>3</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fontAlgn="b"/>
                      <a:r>
                        <a:rPr lang="en-US" sz="700" b="0" i="0" u="none" strike="noStrike">
                          <a:solidFill>
                            <a:srgbClr val="000000"/>
                          </a:solidFill>
                          <a:effectLst/>
                          <a:latin typeface="Calibri" panose="020F0502020204030204" pitchFamily="34" charset="0"/>
                        </a:rPr>
                        <a:t>4</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fontAlgn="b"/>
                      <a:r>
                        <a:rPr lang="en-US" sz="700" b="0" i="0" u="none" strike="noStrike">
                          <a:solidFill>
                            <a:srgbClr val="000000"/>
                          </a:solidFill>
                          <a:effectLst/>
                          <a:latin typeface="Calibri" panose="020F0502020204030204" pitchFamily="34" charset="0"/>
                        </a:rPr>
                        <a:t>5</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700" b="0" i="0" u="none" strike="noStrike">
                          <a:solidFill>
                            <a:srgbClr val="000000"/>
                          </a:solidFill>
                          <a:effectLst/>
                          <a:latin typeface="Calibri" panose="020F0502020204030204" pitchFamily="34" charset="0"/>
                        </a:rPr>
                        <a:t>6</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700" b="0" i="0" u="none" strike="noStrike">
                          <a:solidFill>
                            <a:srgbClr val="000000"/>
                          </a:solidFill>
                          <a:effectLst/>
                          <a:latin typeface="Calibri" panose="020F0502020204030204" pitchFamily="34" charset="0"/>
                        </a:rPr>
                        <a:t>7</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700" b="0" i="0" u="none" strike="noStrike">
                          <a:solidFill>
                            <a:srgbClr val="000000"/>
                          </a:solidFill>
                          <a:effectLst/>
                          <a:latin typeface="Calibri" panose="020F0502020204030204" pitchFamily="34" charset="0"/>
                        </a:rPr>
                        <a:t>8</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700" b="0" i="0" u="none" strike="noStrike">
                          <a:solidFill>
                            <a:srgbClr val="000000"/>
                          </a:solidFill>
                          <a:effectLst/>
                          <a:latin typeface="Calibri" panose="020F0502020204030204" pitchFamily="34" charset="0"/>
                        </a:rPr>
                        <a:t>9</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700" b="0" i="0" u="none" strike="noStrike">
                          <a:solidFill>
                            <a:srgbClr val="000000"/>
                          </a:solidFill>
                          <a:effectLst/>
                          <a:latin typeface="Calibri" panose="020F0502020204030204" pitchFamily="34" charset="0"/>
                        </a:rPr>
                        <a:t>10</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fontAlgn="b"/>
                      <a:r>
                        <a:rPr lang="en-US" sz="700" b="0" i="0" u="none" strike="noStrike">
                          <a:solidFill>
                            <a:srgbClr val="000000"/>
                          </a:solidFill>
                          <a:effectLst/>
                          <a:latin typeface="Calibri" panose="020F0502020204030204" pitchFamily="34" charset="0"/>
                        </a:rPr>
                        <a:t>11</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fontAlgn="b"/>
                      <a:r>
                        <a:rPr lang="en-US" sz="700" b="0" i="0" u="none" strike="noStrike">
                          <a:solidFill>
                            <a:srgbClr val="000000"/>
                          </a:solidFill>
                          <a:effectLst/>
                          <a:latin typeface="Calibri" panose="020F0502020204030204" pitchFamily="34" charset="0"/>
                        </a:rPr>
                        <a:t>12</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700" b="0" i="0" u="none" strike="noStrike">
                          <a:solidFill>
                            <a:srgbClr val="000000"/>
                          </a:solidFill>
                          <a:effectLst/>
                          <a:latin typeface="Calibri" panose="020F0502020204030204" pitchFamily="34" charset="0"/>
                        </a:rPr>
                        <a:t>13</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700" b="0" i="0" u="none" strike="noStrike">
                          <a:solidFill>
                            <a:srgbClr val="000000"/>
                          </a:solidFill>
                          <a:effectLst/>
                          <a:latin typeface="Calibri" panose="020F0502020204030204" pitchFamily="34" charset="0"/>
                        </a:rPr>
                        <a:t>14</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700" b="0" i="0" u="none" strike="noStrike">
                          <a:solidFill>
                            <a:srgbClr val="000000"/>
                          </a:solidFill>
                          <a:effectLst/>
                          <a:latin typeface="Calibri" panose="020F0502020204030204" pitchFamily="34" charset="0"/>
                        </a:rPr>
                        <a:t>15</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700" b="0" i="0" u="none" strike="noStrike">
                          <a:solidFill>
                            <a:srgbClr val="000000"/>
                          </a:solidFill>
                          <a:effectLst/>
                          <a:latin typeface="Calibri" panose="020F0502020204030204" pitchFamily="34" charset="0"/>
                        </a:rPr>
                        <a:t>16</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700" b="0" i="0" u="none" strike="noStrike">
                          <a:solidFill>
                            <a:srgbClr val="000000"/>
                          </a:solidFill>
                          <a:effectLst/>
                          <a:latin typeface="Calibri" panose="020F0502020204030204" pitchFamily="34" charset="0"/>
                        </a:rPr>
                        <a:t>17</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fontAlgn="b"/>
                      <a:r>
                        <a:rPr lang="en-US" sz="700" b="0" i="0" u="none" strike="noStrike">
                          <a:solidFill>
                            <a:srgbClr val="000000"/>
                          </a:solidFill>
                          <a:effectLst/>
                          <a:latin typeface="Calibri" panose="020F0502020204030204" pitchFamily="34" charset="0"/>
                        </a:rPr>
                        <a:t>18</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fontAlgn="b"/>
                      <a:r>
                        <a:rPr lang="en-US" sz="700" b="0" i="0" u="none" strike="noStrike">
                          <a:solidFill>
                            <a:srgbClr val="000000"/>
                          </a:solidFill>
                          <a:effectLst/>
                          <a:latin typeface="Calibri" panose="020F0502020204030204" pitchFamily="34" charset="0"/>
                        </a:rPr>
                        <a:t>19</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700" b="0" i="0" u="none" strike="noStrike">
                          <a:solidFill>
                            <a:srgbClr val="000000"/>
                          </a:solidFill>
                          <a:effectLst/>
                          <a:latin typeface="Calibri" panose="020F0502020204030204" pitchFamily="34" charset="0"/>
                        </a:rPr>
                        <a:t>20</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700" b="0" i="0" u="none" strike="noStrike">
                          <a:solidFill>
                            <a:srgbClr val="000000"/>
                          </a:solidFill>
                          <a:effectLst/>
                          <a:latin typeface="Calibri" panose="020F0502020204030204" pitchFamily="34" charset="0"/>
                        </a:rPr>
                        <a:t>21</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700" b="0" i="0" u="none" strike="noStrike">
                          <a:solidFill>
                            <a:srgbClr val="000000"/>
                          </a:solidFill>
                          <a:effectLst/>
                          <a:latin typeface="Calibri" panose="020F0502020204030204" pitchFamily="34" charset="0"/>
                        </a:rPr>
                        <a:t>22</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700" b="0" i="0" u="none" strike="noStrike">
                          <a:solidFill>
                            <a:srgbClr val="000000"/>
                          </a:solidFill>
                          <a:effectLst/>
                          <a:latin typeface="Calibri" panose="020F0502020204030204" pitchFamily="34" charset="0"/>
                        </a:rPr>
                        <a:t>23</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700" b="0" i="0" u="none" strike="noStrike">
                          <a:solidFill>
                            <a:srgbClr val="000000"/>
                          </a:solidFill>
                          <a:effectLst/>
                          <a:latin typeface="Calibri" panose="020F0502020204030204" pitchFamily="34" charset="0"/>
                        </a:rPr>
                        <a:t>24</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fontAlgn="b"/>
                      <a:r>
                        <a:rPr lang="en-US" sz="700" b="0" i="0" u="none" strike="noStrike">
                          <a:solidFill>
                            <a:srgbClr val="000000"/>
                          </a:solidFill>
                          <a:effectLst/>
                          <a:latin typeface="Calibri" panose="020F0502020204030204" pitchFamily="34" charset="0"/>
                        </a:rPr>
                        <a:t>25</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fontAlgn="b"/>
                      <a:r>
                        <a:rPr lang="en-US" sz="700" b="0" i="0" u="none" strike="noStrike">
                          <a:solidFill>
                            <a:srgbClr val="000000"/>
                          </a:solidFill>
                          <a:effectLst/>
                          <a:latin typeface="Calibri" panose="020F0502020204030204" pitchFamily="34" charset="0"/>
                        </a:rPr>
                        <a:t>26</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700" b="0" i="0" u="none" strike="noStrike">
                          <a:solidFill>
                            <a:srgbClr val="000000"/>
                          </a:solidFill>
                          <a:effectLst/>
                          <a:latin typeface="Calibri" panose="020F0502020204030204" pitchFamily="34" charset="0"/>
                        </a:rPr>
                        <a:t>27</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700" b="0" i="0" u="none" strike="noStrike">
                          <a:solidFill>
                            <a:srgbClr val="000000"/>
                          </a:solidFill>
                          <a:effectLst/>
                          <a:latin typeface="Calibri" panose="020F0502020204030204" pitchFamily="34" charset="0"/>
                        </a:rPr>
                        <a:t>28</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700" b="0" i="0" u="none" strike="noStrike">
                          <a:solidFill>
                            <a:srgbClr val="000000"/>
                          </a:solidFill>
                          <a:effectLst/>
                          <a:latin typeface="Calibri" panose="020F0502020204030204" pitchFamily="34" charset="0"/>
                        </a:rPr>
                        <a:t>29</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700" b="0" i="0" u="none" strike="noStrike">
                          <a:solidFill>
                            <a:srgbClr val="000000"/>
                          </a:solidFill>
                          <a:effectLst/>
                          <a:latin typeface="Calibri" panose="020F0502020204030204" pitchFamily="34" charset="0"/>
                        </a:rPr>
                        <a:t>30</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700" b="0" i="0" u="none" strike="noStrike">
                          <a:solidFill>
                            <a:srgbClr val="000000"/>
                          </a:solidFill>
                          <a:effectLst/>
                          <a:latin typeface="Calibri" panose="020F0502020204030204" pitchFamily="34" charset="0"/>
                        </a:rPr>
                        <a:t>31</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fontAlgn="b"/>
                      <a:r>
                        <a:rPr lang="en-US" sz="700" b="0" i="0" u="none" strike="noStrike">
                          <a:solidFill>
                            <a:srgbClr val="000000"/>
                          </a:solidFill>
                          <a:effectLst/>
                          <a:latin typeface="Calibri" panose="020F0502020204030204" pitchFamily="34" charset="0"/>
                        </a:rPr>
                        <a:t>1</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fontAlgn="b"/>
                      <a:r>
                        <a:rPr lang="en-US" sz="700" b="0" i="0" u="none" strike="noStrike">
                          <a:solidFill>
                            <a:srgbClr val="000000"/>
                          </a:solidFill>
                          <a:effectLst/>
                          <a:latin typeface="Calibri" panose="020F0502020204030204" pitchFamily="34" charset="0"/>
                        </a:rPr>
                        <a:t>2</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fontAlgn="b"/>
                      <a:r>
                        <a:rPr lang="en-US" sz="700" b="0" i="0" u="none" strike="noStrike">
                          <a:solidFill>
                            <a:srgbClr val="000000"/>
                          </a:solidFill>
                          <a:effectLst/>
                          <a:latin typeface="Calibri" panose="020F0502020204030204" pitchFamily="34" charset="0"/>
                        </a:rPr>
                        <a:t>3</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700" b="0" i="0" u="none" strike="noStrike">
                          <a:solidFill>
                            <a:srgbClr val="000000"/>
                          </a:solidFill>
                          <a:effectLst/>
                          <a:latin typeface="Calibri" panose="020F0502020204030204" pitchFamily="34" charset="0"/>
                        </a:rPr>
                        <a:t>4</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700" b="0" i="0" u="none" strike="noStrike">
                          <a:solidFill>
                            <a:srgbClr val="000000"/>
                          </a:solidFill>
                          <a:effectLst/>
                          <a:latin typeface="Calibri" panose="020F0502020204030204" pitchFamily="34" charset="0"/>
                        </a:rPr>
                        <a:t>5</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700" b="0" i="0" u="none" strike="noStrike">
                          <a:solidFill>
                            <a:srgbClr val="000000"/>
                          </a:solidFill>
                          <a:effectLst/>
                          <a:latin typeface="Calibri" panose="020F0502020204030204" pitchFamily="34" charset="0"/>
                        </a:rPr>
                        <a:t>6</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700" b="0" i="0" u="none" strike="noStrike">
                          <a:solidFill>
                            <a:srgbClr val="000000"/>
                          </a:solidFill>
                          <a:effectLst/>
                          <a:latin typeface="Calibri" panose="020F0502020204030204" pitchFamily="34" charset="0"/>
                        </a:rPr>
                        <a:t>7</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fontAlgn="b"/>
                      <a:r>
                        <a:rPr lang="en-US" sz="700" b="0" i="0" u="none" strike="noStrike">
                          <a:solidFill>
                            <a:srgbClr val="000000"/>
                          </a:solidFill>
                          <a:effectLst/>
                          <a:latin typeface="Calibri" panose="020F0502020204030204" pitchFamily="34" charset="0"/>
                        </a:rPr>
                        <a:t>8</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fontAlgn="b"/>
                      <a:r>
                        <a:rPr lang="en-US" sz="700" b="0" i="0" u="none" strike="noStrike">
                          <a:solidFill>
                            <a:srgbClr val="000000"/>
                          </a:solidFill>
                          <a:effectLst/>
                          <a:latin typeface="Calibri" panose="020F0502020204030204" pitchFamily="34" charset="0"/>
                        </a:rPr>
                        <a:t>9</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700" b="0" i="0" u="none" strike="noStrike">
                          <a:solidFill>
                            <a:srgbClr val="000000"/>
                          </a:solidFill>
                          <a:effectLst/>
                          <a:latin typeface="Calibri" panose="020F0502020204030204" pitchFamily="34" charset="0"/>
                        </a:rPr>
                        <a:t>10</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700" b="0" i="0" u="none" strike="noStrike">
                          <a:solidFill>
                            <a:srgbClr val="000000"/>
                          </a:solidFill>
                          <a:effectLst/>
                          <a:latin typeface="Calibri" panose="020F0502020204030204" pitchFamily="34" charset="0"/>
                        </a:rPr>
                        <a:t>11</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700" b="0" i="0" u="none" strike="noStrike">
                          <a:solidFill>
                            <a:srgbClr val="000000"/>
                          </a:solidFill>
                          <a:effectLst/>
                          <a:latin typeface="Calibri" panose="020F0502020204030204" pitchFamily="34" charset="0"/>
                        </a:rPr>
                        <a:t>12</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700" b="0" i="0" u="none" strike="noStrike">
                          <a:solidFill>
                            <a:srgbClr val="000000"/>
                          </a:solidFill>
                          <a:effectLst/>
                          <a:latin typeface="Calibri" panose="020F0502020204030204" pitchFamily="34" charset="0"/>
                        </a:rPr>
                        <a:t>13</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700" b="0" i="0" u="none" strike="noStrike">
                          <a:solidFill>
                            <a:srgbClr val="000000"/>
                          </a:solidFill>
                          <a:effectLst/>
                          <a:latin typeface="Calibri" panose="020F0502020204030204" pitchFamily="34" charset="0"/>
                        </a:rPr>
                        <a:t>14</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fontAlgn="b"/>
                      <a:r>
                        <a:rPr lang="en-US" sz="700" b="0" i="0" u="none" strike="noStrike">
                          <a:solidFill>
                            <a:srgbClr val="000000"/>
                          </a:solidFill>
                          <a:effectLst/>
                          <a:latin typeface="Calibri" panose="020F0502020204030204" pitchFamily="34" charset="0"/>
                        </a:rPr>
                        <a:t>15</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fontAlgn="b"/>
                      <a:r>
                        <a:rPr lang="en-US" sz="700" b="0" i="0" u="none" strike="noStrike">
                          <a:solidFill>
                            <a:srgbClr val="000000"/>
                          </a:solidFill>
                          <a:effectLst/>
                          <a:latin typeface="Calibri" panose="020F0502020204030204" pitchFamily="34" charset="0"/>
                        </a:rPr>
                        <a:t>16</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700" b="0" i="0" u="none" strike="noStrike">
                          <a:solidFill>
                            <a:srgbClr val="000000"/>
                          </a:solidFill>
                          <a:effectLst/>
                          <a:latin typeface="Calibri" panose="020F0502020204030204" pitchFamily="34" charset="0"/>
                        </a:rPr>
                        <a:t>17</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700" b="0" i="0" u="none" strike="noStrike">
                          <a:solidFill>
                            <a:srgbClr val="000000"/>
                          </a:solidFill>
                          <a:effectLst/>
                          <a:latin typeface="Calibri" panose="020F0502020204030204" pitchFamily="34" charset="0"/>
                        </a:rPr>
                        <a:t>18</a:t>
                      </a:r>
                    </a:p>
                  </a:txBody>
                  <a:tcPr marL="5443" marR="5443" marT="544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37604929"/>
                  </a:ext>
                </a:extLst>
              </a:tr>
              <a:tr h="567062">
                <a:tc>
                  <a:txBody>
                    <a:bodyPr/>
                    <a:lstStyle/>
                    <a:p>
                      <a:r>
                        <a:rPr lang="en-US" sz="1050" b="0">
                          <a:latin typeface="+mj-lt"/>
                        </a:rPr>
                        <a:t>Event Milestones</a:t>
                      </a:r>
                    </a:p>
                  </a:txBody>
                  <a:tcPr marL="91427" marR="91427" marT="45713" marB="45713">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04070698"/>
                  </a:ext>
                </a:extLst>
              </a:tr>
              <a:tr h="1264104">
                <a:tc>
                  <a:txBody>
                    <a:bodyPr/>
                    <a:lstStyle/>
                    <a:p>
                      <a:r>
                        <a:rPr lang="en-US" sz="1050" b="0">
                          <a:latin typeface="+mj-lt"/>
                        </a:rPr>
                        <a:t>Exec Milestones</a:t>
                      </a:r>
                    </a:p>
                  </a:txBody>
                  <a:tcPr marL="91427" marR="91427" marT="45713" marB="45713">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214936363"/>
                  </a:ext>
                </a:extLst>
              </a:tr>
              <a:tr h="563795">
                <a:tc>
                  <a:txBody>
                    <a:bodyPr/>
                    <a:lstStyle/>
                    <a:p>
                      <a:r>
                        <a:rPr lang="en-US" sz="1050" b="0">
                          <a:latin typeface="+mj-lt"/>
                        </a:rPr>
                        <a:t>Design team milestones</a:t>
                      </a:r>
                    </a:p>
                  </a:txBody>
                  <a:tcPr marL="91427" marR="91427" marT="45713" marB="45713">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3063349"/>
                  </a:ext>
                </a:extLst>
              </a:tr>
              <a:tr h="1605450">
                <a:tc>
                  <a:txBody>
                    <a:bodyPr/>
                    <a:lstStyle/>
                    <a:p>
                      <a:r>
                        <a:rPr lang="en-US" sz="1050" b="0">
                          <a:latin typeface="+mj-lt"/>
                        </a:rPr>
                        <a:t>Demo team milestones</a:t>
                      </a:r>
                    </a:p>
                  </a:txBody>
                  <a:tcPr marL="91427" marR="91427" marT="45713" marB="45713">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294100205"/>
                  </a:ext>
                </a:extLst>
              </a:tr>
              <a:tr h="766632">
                <a:tc>
                  <a:txBody>
                    <a:bodyPr/>
                    <a:lstStyle/>
                    <a:p>
                      <a:r>
                        <a:rPr lang="en-US" sz="1050" b="0">
                          <a:latin typeface="+mj-lt"/>
                        </a:rPr>
                        <a:t>Production milestones</a:t>
                      </a:r>
                    </a:p>
                  </a:txBody>
                  <a:tcPr marL="91427" marR="91427" marT="45713" marB="45713">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100" b="1"/>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89331350"/>
                  </a:ext>
                </a:extLst>
              </a:tr>
            </a:tbl>
          </a:graphicData>
        </a:graphic>
      </p:graphicFrame>
      <p:sp>
        <p:nvSpPr>
          <p:cNvPr id="9" name="Rectangle 8">
            <a:extLst>
              <a:ext uri="{FF2B5EF4-FFF2-40B4-BE49-F238E27FC236}">
                <a16:creationId xmlns:a16="http://schemas.microsoft.com/office/drawing/2014/main" id="{B3314B20-A0AB-A0A8-C31F-AEC74A658F75}"/>
              </a:ext>
            </a:extLst>
          </p:cNvPr>
          <p:cNvSpPr/>
          <p:nvPr userDrawn="1"/>
        </p:nvSpPr>
        <p:spPr bwMode="auto">
          <a:xfrm>
            <a:off x="11001202" y="147548"/>
            <a:ext cx="137160" cy="163524"/>
          </a:xfrm>
          <a:prstGeom prst="rect">
            <a:avLst/>
          </a:prstGeom>
          <a:solidFill>
            <a:schemeClr val="accent6">
              <a:lumMod val="60000"/>
              <a:lumOff val="40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latin typeface="Segoe UI"/>
              <a:cs typeface="Segoe UI" pitchFamily="34" charset="0"/>
            </a:endParaRPr>
          </a:p>
        </p:txBody>
      </p:sp>
      <p:sp>
        <p:nvSpPr>
          <p:cNvPr id="10" name="TextBox 9">
            <a:extLst>
              <a:ext uri="{FF2B5EF4-FFF2-40B4-BE49-F238E27FC236}">
                <a16:creationId xmlns:a16="http://schemas.microsoft.com/office/drawing/2014/main" id="{6E316491-BFE6-1AE5-A965-BF490B31D68A}"/>
              </a:ext>
            </a:extLst>
          </p:cNvPr>
          <p:cNvSpPr txBox="1"/>
          <p:nvPr userDrawn="1"/>
        </p:nvSpPr>
        <p:spPr>
          <a:xfrm>
            <a:off x="11240444" y="147548"/>
            <a:ext cx="713016" cy="184666"/>
          </a:xfrm>
          <a:prstGeom prst="rect">
            <a:avLst/>
          </a:prstGeom>
          <a:noFill/>
        </p:spPr>
        <p:txBody>
          <a:bodyPr wrap="none" lIns="0" tIns="0" rIns="0" bIns="0" rtlCol="0">
            <a:spAutoFit/>
          </a:bodyPr>
          <a:lstStyle/>
          <a:p>
            <a:pPr algn="l"/>
            <a:r>
              <a:rPr lang="en-US" sz="1200">
                <a:gradFill>
                  <a:gsLst>
                    <a:gs pos="2917">
                      <a:schemeClr val="tx1"/>
                    </a:gs>
                    <a:gs pos="30000">
                      <a:schemeClr val="tx1"/>
                    </a:gs>
                  </a:gsLst>
                  <a:lin ang="5400000" scaled="0"/>
                </a:gradFill>
              </a:rPr>
              <a:t>Confirmed</a:t>
            </a:r>
          </a:p>
        </p:txBody>
      </p:sp>
      <p:sp>
        <p:nvSpPr>
          <p:cNvPr id="11" name="Rectangle 10">
            <a:extLst>
              <a:ext uri="{FF2B5EF4-FFF2-40B4-BE49-F238E27FC236}">
                <a16:creationId xmlns:a16="http://schemas.microsoft.com/office/drawing/2014/main" id="{50A65B7C-BDED-4516-D95D-CCFC46C51D24}"/>
              </a:ext>
            </a:extLst>
          </p:cNvPr>
          <p:cNvSpPr/>
          <p:nvPr userDrawn="1"/>
        </p:nvSpPr>
        <p:spPr bwMode="auto">
          <a:xfrm>
            <a:off x="11001202" y="442930"/>
            <a:ext cx="137160" cy="163524"/>
          </a:xfrm>
          <a:prstGeom prst="rect">
            <a:avLst/>
          </a:prstGeom>
          <a:solidFill>
            <a:schemeClr val="accent3">
              <a:lumMod val="20000"/>
              <a:lumOff val="80000"/>
            </a:schemeClr>
          </a:solidFill>
          <a:ln w="1270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latin typeface="Segoe UI"/>
              <a:cs typeface="Segoe UI" pitchFamily="34" charset="0"/>
            </a:endParaRPr>
          </a:p>
        </p:txBody>
      </p:sp>
      <p:sp>
        <p:nvSpPr>
          <p:cNvPr id="12" name="TextBox 11">
            <a:extLst>
              <a:ext uri="{FF2B5EF4-FFF2-40B4-BE49-F238E27FC236}">
                <a16:creationId xmlns:a16="http://schemas.microsoft.com/office/drawing/2014/main" id="{45237FDE-7AD0-C7B4-0860-1DCD30A34A0E}"/>
              </a:ext>
            </a:extLst>
          </p:cNvPr>
          <p:cNvSpPr txBox="1"/>
          <p:nvPr userDrawn="1"/>
        </p:nvSpPr>
        <p:spPr>
          <a:xfrm>
            <a:off x="11240444" y="432359"/>
            <a:ext cx="605230" cy="184666"/>
          </a:xfrm>
          <a:prstGeom prst="rect">
            <a:avLst/>
          </a:prstGeom>
          <a:noFill/>
        </p:spPr>
        <p:txBody>
          <a:bodyPr wrap="none" lIns="0" tIns="0" rIns="0" bIns="0" rtlCol="0">
            <a:spAutoFit/>
          </a:bodyPr>
          <a:lstStyle/>
          <a:p>
            <a:pPr algn="l"/>
            <a:r>
              <a:rPr lang="en-US" sz="1200">
                <a:gradFill>
                  <a:gsLst>
                    <a:gs pos="2917">
                      <a:schemeClr val="tx1"/>
                    </a:gs>
                    <a:gs pos="30000">
                      <a:schemeClr val="tx1"/>
                    </a:gs>
                  </a:gsLst>
                  <a:lin ang="5400000" scaled="0"/>
                </a:gradFill>
              </a:rPr>
              <a:t>Tentative</a:t>
            </a:r>
          </a:p>
        </p:txBody>
      </p:sp>
    </p:spTree>
    <p:extLst>
      <p:ext uri="{BB962C8B-B14F-4D97-AF65-F5344CB8AC3E}">
        <p14:creationId xmlns:p14="http://schemas.microsoft.com/office/powerpoint/2010/main" val="3626751950"/>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4633313"/>
      </p:ext>
    </p:extLst>
  </p:cSld>
  <p:clrMapOvr>
    <a:masterClrMapping/>
  </p:clrMapOvr>
  <mc:AlternateContent xmlns:mc="http://schemas.openxmlformats.org/markup-compatibility/2006" xmlns:p14="http://schemas.microsoft.com/office/powerpoint/2010/main">
    <mc:Choice Requires="p14">
      <p:transition spd="slow" p14:dur="10000" advTm="10000"/>
    </mc:Choice>
    <mc:Fallback xmlns="">
      <p:transition spd="slow" advTm="10000"/>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cSld name="Blank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8301759"/>
      </p:ext>
    </p:extLst>
  </p:cSld>
  <p:clrMapOvr>
    <a:masterClrMapping/>
  </p:clrMapOvr>
  <p:transition>
    <p:fade/>
  </p:transition>
  <p:extLst>
    <p:ext uri="{DCECCB84-F9BA-43D5-87BE-67443E8EF086}">
      <p15:sldGuideLst xmlns:p15="http://schemas.microsoft.com/office/powerpoint/2012/main"/>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userDrawn="1">
  <p:cSld name="3_Title Only">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7984262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userDrawn="1">
  <p:cSld name="Big Numb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E53C62E-72E5-F065-0EA5-5455A61A105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6" name="Text Placeholder 5">
            <a:extLst>
              <a:ext uri="{FF2B5EF4-FFF2-40B4-BE49-F238E27FC236}">
                <a16:creationId xmlns:a16="http://schemas.microsoft.com/office/drawing/2014/main" id="{E61FDE9D-CE47-EE58-DDEB-A4E2C9956FDB}"/>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7" name="Text Placeholder 5">
            <a:extLst>
              <a:ext uri="{FF2B5EF4-FFF2-40B4-BE49-F238E27FC236}">
                <a16:creationId xmlns:a16="http://schemas.microsoft.com/office/drawing/2014/main" id="{483921F1-D334-EC88-D639-C6492418B9D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33301133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2">
          <p15:clr>
            <a:srgbClr val="A4A3A4"/>
          </p15:clr>
        </p15:guide>
        <p15:guide id="24" pos="6120">
          <p15:clr>
            <a:srgbClr val="A4A3A4"/>
          </p15:clr>
        </p15:guide>
        <p15:guide id="25" pos="6308">
          <p15:clr>
            <a:srgbClr val="A4A3A4"/>
          </p15:clr>
        </p15:guide>
        <p15:guide id="26" pos="6717">
          <p15:clr>
            <a:srgbClr val="A4A3A4"/>
          </p15:clr>
        </p15:guide>
        <p15:guide id="27" pos="6900">
          <p15:clr>
            <a:srgbClr val="A4A3A4"/>
          </p15:clr>
        </p15:guide>
        <p15:guide id="28" orient="horz" pos="888">
          <p15:clr>
            <a:srgbClr val="5ACBF0"/>
          </p15:clr>
        </p15:guide>
        <p15:guide id="29" orient="horz" pos="1271">
          <p15:clr>
            <a:srgbClr val="5ACBF0"/>
          </p15:clr>
        </p15:guide>
        <p15:guide id="30" orient="horz" pos="288">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cSld name="Square Photo Graphic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624513" y="585788"/>
            <a:ext cx="5683249" cy="5683249"/>
          </a:xfrm>
          <a:prstGeom prst="roundRect">
            <a:avLst>
              <a:gd name="adj" fmla="val 3259"/>
            </a:avLst>
          </a:prstGeom>
          <a:blipFill>
            <a:blip r:embed="rId3" cstate="email">
              <a:extLst>
                <a:ext uri="{28A0092B-C50C-407E-A947-70E740481C1C}">
                  <a14:useLocalDpi xmlns:a14="http://schemas.microsoft.com/office/drawing/2010/main"/>
                </a:ext>
              </a:extLst>
            </a:blip>
            <a:stretch>
              <a:fillRect/>
            </a:stretch>
          </a:blipFill>
        </p:spPr>
        <p:txBody>
          <a:bodyPr lIns="0" tIns="91440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2" name="Picture 1" hidden="1">
            <a:extLst>
              <a:ext uri="{FF2B5EF4-FFF2-40B4-BE49-F238E27FC236}">
                <a16:creationId xmlns:a16="http://schemas.microsoft.com/office/drawing/2014/main" id="{4E2E619B-2D74-9B55-98E1-9E6126DE0DB1}"/>
              </a:ext>
            </a:extLst>
          </p:cNvPr>
          <p:cNvPicPr>
            <a:picLocks noChangeAspect="1"/>
          </p:cNvPicPr>
          <p:nvPr userDrawn="1"/>
        </p:nvPicPr>
        <p:blipFill>
          <a:blip r:embed="rId4" cstate="email">
            <a:extLst>
              <a:ext uri="{28A0092B-C50C-407E-A947-70E740481C1C}">
                <a14:useLocalDpi xmlns:a14="http://schemas.microsoft.com/office/drawing/2010/main"/>
              </a:ext>
            </a:extLst>
          </a:blip>
          <a:srcRect b="93678"/>
          <a:stretch/>
        </p:blipFill>
        <p:spPr>
          <a:xfrm flipV="1">
            <a:off x="5614987" y="6032665"/>
            <a:ext cx="5702300" cy="236372"/>
          </a:xfrm>
          <a:prstGeom prst="round2SameRect">
            <a:avLst>
              <a:gd name="adj1" fmla="val 50000"/>
              <a:gd name="adj2" fmla="val 0"/>
            </a:avLst>
          </a:prstGeom>
        </p:spPr>
      </p:pic>
    </p:spTree>
    <p:extLst>
      <p:ext uri="{BB962C8B-B14F-4D97-AF65-F5344CB8AC3E}">
        <p14:creationId xmlns:p14="http://schemas.microsoft.com/office/powerpoint/2010/main" val="1387575263"/>
      </p:ext>
    </p:extLst>
  </p:cSld>
  <p:clrMapOvr>
    <a:masterClrMapping/>
  </p:clrMapOvr>
  <p:transition>
    <p:fade/>
  </p:transition>
  <p:extLst>
    <p:ext uri="{DCECCB84-F9BA-43D5-87BE-67443E8EF086}">
      <p15:sldGuideLst xmlns:p15="http://schemas.microsoft.com/office/powerpoint/2012/main"/>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userDrawn="1">
  <p:cSld name="Content Graphic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318D53-3286-EAEB-3098-F1081AF276A8}"/>
              </a:ext>
              <a:ext uri="{C183D7F6-B498-43B3-948B-1728B52AA6E4}">
                <adec:decorative xmlns:adec="http://schemas.microsoft.com/office/drawing/2017/decorative" val="1"/>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15000"/>
                    </a14:imgEffect>
                  </a14:imgLayer>
                </a14:imgProps>
              </a:ext>
            </a:extLst>
          </a:blip>
          <a:srcRect t="48" b="48"/>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AD825C2-7FF1-3371-96A7-47B94663743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4DDFB201-BF2E-7E3A-CE08-CB33082FCE63}"/>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C83B56F-81D2-3B74-659E-75EE6D1D4858}"/>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2883037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userDrawn="1">
  <p:cSld name="Prompt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93FD22E-D362-78A6-2219-103E4138CA05}"/>
              </a:ext>
            </a:extLst>
          </p:cNvPr>
          <p:cNvSpPr>
            <a:spLocks noGrp="1"/>
          </p:cNvSpPr>
          <p:nvPr>
            <p:ph type="body" sz="quarter" idx="10"/>
          </p:nvPr>
        </p:nvSpPr>
        <p:spPr>
          <a:xfrm>
            <a:off x="4117471" y="222068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9" name="Text Placeholder 7">
            <a:extLst>
              <a:ext uri="{FF2B5EF4-FFF2-40B4-BE49-F238E27FC236}">
                <a16:creationId xmlns:a16="http://schemas.microsoft.com/office/drawing/2014/main" id="{ED89376E-3BB0-0414-9125-A137EF9F4E8D}"/>
              </a:ext>
            </a:extLst>
          </p:cNvPr>
          <p:cNvSpPr>
            <a:spLocks noGrp="1"/>
          </p:cNvSpPr>
          <p:nvPr>
            <p:ph type="body" sz="quarter" idx="11"/>
          </p:nvPr>
        </p:nvSpPr>
        <p:spPr>
          <a:xfrm>
            <a:off x="4117471" y="331796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10" name="Text Placeholder 7">
            <a:extLst>
              <a:ext uri="{FF2B5EF4-FFF2-40B4-BE49-F238E27FC236}">
                <a16:creationId xmlns:a16="http://schemas.microsoft.com/office/drawing/2014/main" id="{8D545552-38C6-59C4-C664-F1E24F0794B7}"/>
              </a:ext>
            </a:extLst>
          </p:cNvPr>
          <p:cNvSpPr>
            <a:spLocks noGrp="1"/>
          </p:cNvSpPr>
          <p:nvPr>
            <p:ph type="body" sz="quarter" idx="12"/>
          </p:nvPr>
        </p:nvSpPr>
        <p:spPr>
          <a:xfrm>
            <a:off x="4117471" y="441524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2" name="Title Placeholder 1">
            <a:extLst>
              <a:ext uri="{FF2B5EF4-FFF2-40B4-BE49-F238E27FC236}">
                <a16:creationId xmlns:a16="http://schemas.microsoft.com/office/drawing/2014/main" id="{8953A433-F2D5-7B5B-B3BD-45E3929D6926}"/>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Tree>
    <p:extLst>
      <p:ext uri="{BB962C8B-B14F-4D97-AF65-F5344CB8AC3E}">
        <p14:creationId xmlns:p14="http://schemas.microsoft.com/office/powerpoint/2010/main" val="280593625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Quote 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394202"/>
            <a:ext cx="6309360" cy="553998"/>
          </a:xfrm>
        </p:spPr>
        <p:txBody>
          <a:bodyPr wrap="square" anchor="t">
            <a:sp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n-lt"/>
                <a:ea typeface="+mn-ea"/>
                <a:cs typeface="Segoe Sans Display" pitchFamily="2" charset="0"/>
              </a:defRPr>
            </a:lvl1pPr>
          </a:lstStyle>
          <a:p>
            <a:r>
              <a:rPr lang="en-US"/>
              <a:t>Click to edit Master title style</a:t>
            </a:r>
          </a:p>
        </p:txBody>
      </p:sp>
      <p:grpSp>
        <p:nvGrpSpPr>
          <p:cNvPr id="4" name="Group 3">
            <a:extLst>
              <a:ext uri="{FF2B5EF4-FFF2-40B4-BE49-F238E27FC236}">
                <a16:creationId xmlns:a16="http://schemas.microsoft.com/office/drawing/2014/main" id="{A3F2B542-236C-FF9E-34DA-F674AC8C23DA}"/>
              </a:ext>
              <a:ext uri="{C183D7F6-B498-43B3-948B-1728B52AA6E4}">
                <adec:decorative xmlns:adec="http://schemas.microsoft.com/office/drawing/2017/decorative" val="1"/>
              </a:ext>
            </a:extLst>
          </p:cNvPr>
          <p:cNvGrpSpPr>
            <a:grpSpLocks noChangeAspect="1"/>
          </p:cNvGrpSpPr>
          <p:nvPr userDrawn="1"/>
        </p:nvGrpSpPr>
        <p:grpSpPr>
          <a:xfrm>
            <a:off x="582391" y="585788"/>
            <a:ext cx="1049075" cy="914400"/>
            <a:chOff x="4169763" y="585788"/>
            <a:chExt cx="713371" cy="622746"/>
          </a:xfrm>
          <a:solidFill>
            <a:schemeClr val="tx1"/>
          </a:solidFill>
        </p:grpSpPr>
        <p:sp>
          <p:nvSpPr>
            <p:cNvPr id="5" name="Graphic 9">
              <a:extLst>
                <a:ext uri="{FF2B5EF4-FFF2-40B4-BE49-F238E27FC236}">
                  <a16:creationId xmlns:a16="http://schemas.microsoft.com/office/drawing/2014/main" id="{8616100D-B493-F639-609A-59DC6A2B2945}"/>
                </a:ext>
              </a:extLst>
            </p:cNvPr>
            <p:cNvSpPr/>
            <p:nvPr/>
          </p:nvSpPr>
          <p:spPr>
            <a:xfrm>
              <a:off x="4565666" y="585788"/>
              <a:ext cx="317468" cy="622746"/>
            </a:xfrm>
            <a:custGeom>
              <a:avLst/>
              <a:gdLst>
                <a:gd name="connsiteX0" fmla="*/ 19526 w 317468"/>
                <a:gd name="connsiteY0" fmla="*/ 622746 h 622746"/>
                <a:gd name="connsiteX1" fmla="*/ 0 w 317468"/>
                <a:gd name="connsiteY1" fmla="*/ 603315 h 622746"/>
                <a:gd name="connsiteX2" fmla="*/ 0 w 317468"/>
                <a:gd name="connsiteY2" fmla="*/ 387955 h 622746"/>
                <a:gd name="connsiteX3" fmla="*/ 81915 w 317468"/>
                <a:gd name="connsiteY3" fmla="*/ 123160 h 622746"/>
                <a:gd name="connsiteX4" fmla="*/ 298037 w 317468"/>
                <a:gd name="connsiteY4" fmla="*/ 287 h 622746"/>
                <a:gd name="connsiteX5" fmla="*/ 311944 w 317468"/>
                <a:gd name="connsiteY5" fmla="*/ 11336 h 622746"/>
                <a:gd name="connsiteX6" fmla="*/ 311944 w 317468"/>
                <a:gd name="connsiteY6" fmla="*/ 104681 h 622746"/>
                <a:gd name="connsiteX7" fmla="*/ 304229 w 317468"/>
                <a:gd name="connsiteY7" fmla="*/ 115445 h 622746"/>
                <a:gd name="connsiteX8" fmla="*/ 160401 w 317468"/>
                <a:gd name="connsiteY8" fmla="*/ 237555 h 622746"/>
                <a:gd name="connsiteX9" fmla="*/ 142018 w 317468"/>
                <a:gd name="connsiteY9" fmla="*/ 322709 h 622746"/>
                <a:gd name="connsiteX10" fmla="*/ 149543 w 317468"/>
                <a:gd name="connsiteY10" fmla="*/ 329948 h 622746"/>
                <a:gd name="connsiteX11" fmla="*/ 297942 w 317468"/>
                <a:gd name="connsiteY11" fmla="*/ 329948 h 622746"/>
                <a:gd name="connsiteX12" fmla="*/ 317468 w 317468"/>
                <a:gd name="connsiteY12" fmla="*/ 349379 h 622746"/>
                <a:gd name="connsiteX13" fmla="*/ 317468 w 317468"/>
                <a:gd name="connsiteY13" fmla="*/ 560643 h 622746"/>
                <a:gd name="connsiteX14" fmla="*/ 255461 w 317468"/>
                <a:gd name="connsiteY14" fmla="*/ 622556 h 622746"/>
                <a:gd name="connsiteX15" fmla="*/ 19526 w 317468"/>
                <a:gd name="connsiteY15" fmla="*/ 622556 h 62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7468" h="622746">
                  <a:moveTo>
                    <a:pt x="19526" y="622746"/>
                  </a:moveTo>
                  <a:cubicBezTo>
                    <a:pt x="8763" y="622746"/>
                    <a:pt x="0" y="613983"/>
                    <a:pt x="0" y="603315"/>
                  </a:cubicBezTo>
                  <a:lnTo>
                    <a:pt x="0" y="387955"/>
                  </a:lnTo>
                  <a:cubicBezTo>
                    <a:pt x="0" y="275274"/>
                    <a:pt x="27337" y="186977"/>
                    <a:pt x="81915" y="123160"/>
                  </a:cubicBezTo>
                  <a:cubicBezTo>
                    <a:pt x="133922" y="62295"/>
                    <a:pt x="205931" y="21338"/>
                    <a:pt x="298037" y="287"/>
                  </a:cubicBezTo>
                  <a:cubicBezTo>
                    <a:pt x="305181" y="-1332"/>
                    <a:pt x="311944" y="4097"/>
                    <a:pt x="311944" y="11336"/>
                  </a:cubicBezTo>
                  <a:lnTo>
                    <a:pt x="311944" y="104681"/>
                  </a:lnTo>
                  <a:cubicBezTo>
                    <a:pt x="311944" y="109539"/>
                    <a:pt x="308896" y="113921"/>
                    <a:pt x="304229" y="115445"/>
                  </a:cubicBezTo>
                  <a:cubicBezTo>
                    <a:pt x="233458" y="138876"/>
                    <a:pt x="185452" y="179643"/>
                    <a:pt x="160401" y="237555"/>
                  </a:cubicBezTo>
                  <a:cubicBezTo>
                    <a:pt x="146780" y="266892"/>
                    <a:pt x="140589" y="295277"/>
                    <a:pt x="142018" y="322709"/>
                  </a:cubicBezTo>
                  <a:cubicBezTo>
                    <a:pt x="142208" y="326805"/>
                    <a:pt x="145542" y="329948"/>
                    <a:pt x="149543" y="329948"/>
                  </a:cubicBezTo>
                  <a:lnTo>
                    <a:pt x="297942" y="329948"/>
                  </a:lnTo>
                  <a:cubicBezTo>
                    <a:pt x="308705" y="329948"/>
                    <a:pt x="317468" y="338711"/>
                    <a:pt x="317468" y="349379"/>
                  </a:cubicBezTo>
                  <a:lnTo>
                    <a:pt x="317468" y="560643"/>
                  </a:lnTo>
                  <a:cubicBezTo>
                    <a:pt x="317468" y="594838"/>
                    <a:pt x="289751" y="622556"/>
                    <a:pt x="255461" y="622556"/>
                  </a:cubicBezTo>
                  <a:lnTo>
                    <a:pt x="19526" y="622556"/>
                  </a:lnTo>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Sans Display"/>
                <a:ea typeface="+mn-ea"/>
                <a:cs typeface="+mn-cs"/>
              </a:endParaRPr>
            </a:p>
          </p:txBody>
        </p:sp>
        <p:sp>
          <p:nvSpPr>
            <p:cNvPr id="6" name="Graphic 9">
              <a:extLst>
                <a:ext uri="{FF2B5EF4-FFF2-40B4-BE49-F238E27FC236}">
                  <a16:creationId xmlns:a16="http://schemas.microsoft.com/office/drawing/2014/main" id="{254D7E75-4226-8293-E429-5E73E9130D6B}"/>
                </a:ext>
              </a:extLst>
            </p:cNvPr>
            <p:cNvSpPr/>
            <p:nvPr userDrawn="1"/>
          </p:nvSpPr>
          <p:spPr>
            <a:xfrm>
              <a:off x="4169763" y="585788"/>
              <a:ext cx="317468" cy="622746"/>
            </a:xfrm>
            <a:custGeom>
              <a:avLst/>
              <a:gdLst>
                <a:gd name="connsiteX0" fmla="*/ 19526 w 317468"/>
                <a:gd name="connsiteY0" fmla="*/ 622746 h 622746"/>
                <a:gd name="connsiteX1" fmla="*/ 0 w 317468"/>
                <a:gd name="connsiteY1" fmla="*/ 603315 h 622746"/>
                <a:gd name="connsiteX2" fmla="*/ 0 w 317468"/>
                <a:gd name="connsiteY2" fmla="*/ 387955 h 622746"/>
                <a:gd name="connsiteX3" fmla="*/ 81915 w 317468"/>
                <a:gd name="connsiteY3" fmla="*/ 123160 h 622746"/>
                <a:gd name="connsiteX4" fmla="*/ 298037 w 317468"/>
                <a:gd name="connsiteY4" fmla="*/ 287 h 622746"/>
                <a:gd name="connsiteX5" fmla="*/ 311944 w 317468"/>
                <a:gd name="connsiteY5" fmla="*/ 11336 h 622746"/>
                <a:gd name="connsiteX6" fmla="*/ 311944 w 317468"/>
                <a:gd name="connsiteY6" fmla="*/ 104681 h 622746"/>
                <a:gd name="connsiteX7" fmla="*/ 304229 w 317468"/>
                <a:gd name="connsiteY7" fmla="*/ 115445 h 622746"/>
                <a:gd name="connsiteX8" fmla="*/ 160401 w 317468"/>
                <a:gd name="connsiteY8" fmla="*/ 237555 h 622746"/>
                <a:gd name="connsiteX9" fmla="*/ 142018 w 317468"/>
                <a:gd name="connsiteY9" fmla="*/ 322709 h 622746"/>
                <a:gd name="connsiteX10" fmla="*/ 149543 w 317468"/>
                <a:gd name="connsiteY10" fmla="*/ 329948 h 622746"/>
                <a:gd name="connsiteX11" fmla="*/ 297942 w 317468"/>
                <a:gd name="connsiteY11" fmla="*/ 329948 h 622746"/>
                <a:gd name="connsiteX12" fmla="*/ 317468 w 317468"/>
                <a:gd name="connsiteY12" fmla="*/ 349379 h 622746"/>
                <a:gd name="connsiteX13" fmla="*/ 317468 w 317468"/>
                <a:gd name="connsiteY13" fmla="*/ 560643 h 622746"/>
                <a:gd name="connsiteX14" fmla="*/ 255461 w 317468"/>
                <a:gd name="connsiteY14" fmla="*/ 622556 h 622746"/>
                <a:gd name="connsiteX15" fmla="*/ 19526 w 317468"/>
                <a:gd name="connsiteY15" fmla="*/ 622556 h 62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7468" h="622746">
                  <a:moveTo>
                    <a:pt x="19526" y="622746"/>
                  </a:moveTo>
                  <a:cubicBezTo>
                    <a:pt x="8763" y="622746"/>
                    <a:pt x="0" y="613983"/>
                    <a:pt x="0" y="603315"/>
                  </a:cubicBezTo>
                  <a:lnTo>
                    <a:pt x="0" y="387955"/>
                  </a:lnTo>
                  <a:cubicBezTo>
                    <a:pt x="0" y="275274"/>
                    <a:pt x="27337" y="186977"/>
                    <a:pt x="81915" y="123160"/>
                  </a:cubicBezTo>
                  <a:cubicBezTo>
                    <a:pt x="133922" y="62295"/>
                    <a:pt x="205931" y="21338"/>
                    <a:pt x="298037" y="287"/>
                  </a:cubicBezTo>
                  <a:cubicBezTo>
                    <a:pt x="305181" y="-1332"/>
                    <a:pt x="311944" y="4097"/>
                    <a:pt x="311944" y="11336"/>
                  </a:cubicBezTo>
                  <a:lnTo>
                    <a:pt x="311944" y="104681"/>
                  </a:lnTo>
                  <a:cubicBezTo>
                    <a:pt x="311944" y="109539"/>
                    <a:pt x="308896" y="113921"/>
                    <a:pt x="304229" y="115445"/>
                  </a:cubicBezTo>
                  <a:cubicBezTo>
                    <a:pt x="233458" y="138876"/>
                    <a:pt x="185452" y="179643"/>
                    <a:pt x="160401" y="237555"/>
                  </a:cubicBezTo>
                  <a:cubicBezTo>
                    <a:pt x="146780" y="266892"/>
                    <a:pt x="140589" y="295277"/>
                    <a:pt x="142018" y="322709"/>
                  </a:cubicBezTo>
                  <a:cubicBezTo>
                    <a:pt x="142208" y="326805"/>
                    <a:pt x="145542" y="329948"/>
                    <a:pt x="149543" y="329948"/>
                  </a:cubicBezTo>
                  <a:lnTo>
                    <a:pt x="297942" y="329948"/>
                  </a:lnTo>
                  <a:cubicBezTo>
                    <a:pt x="308705" y="329948"/>
                    <a:pt x="317468" y="338711"/>
                    <a:pt x="317468" y="349379"/>
                  </a:cubicBezTo>
                  <a:lnTo>
                    <a:pt x="317468" y="560643"/>
                  </a:lnTo>
                  <a:cubicBezTo>
                    <a:pt x="317468" y="594838"/>
                    <a:pt x="289751" y="622556"/>
                    <a:pt x="255461" y="622556"/>
                  </a:cubicBezTo>
                  <a:lnTo>
                    <a:pt x="19526" y="622556"/>
                  </a:lnTo>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Sans Display"/>
                <a:ea typeface="+mn-ea"/>
                <a:cs typeface="+mn-cs"/>
              </a:endParaRPr>
            </a:p>
          </p:txBody>
        </p:sp>
      </p:grpSp>
    </p:spTree>
    <p:extLst>
      <p:ext uri="{BB962C8B-B14F-4D97-AF65-F5344CB8AC3E}">
        <p14:creationId xmlns:p14="http://schemas.microsoft.com/office/powerpoint/2010/main" val="38190531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4">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12">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97C7DB-1041-7236-0BB2-16EE1CF46F3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0574F6C-F8B6-C7E0-5272-1452B6AB55D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F90DBD6-2D95-53A0-6550-6A3E1B650DAE}"/>
              </a:ext>
            </a:extLst>
          </p:cNvPr>
          <p:cNvSpPr>
            <a:spLocks noGrp="1"/>
          </p:cNvSpPr>
          <p:nvPr>
            <p:ph type="dt" sz="half" idx="10"/>
          </p:nvPr>
        </p:nvSpPr>
        <p:spPr/>
        <p:txBody>
          <a:bodyPr/>
          <a:lstStyle/>
          <a:p>
            <a:fld id="{D2F33161-56AF-4572-ADA3-06B66150B150}" type="datetimeFigureOut">
              <a:rPr lang="en-US" smtClean="0"/>
              <a:t>5/5/2025</a:t>
            </a:fld>
            <a:endParaRPr lang="en-US"/>
          </a:p>
        </p:txBody>
      </p:sp>
      <p:sp>
        <p:nvSpPr>
          <p:cNvPr id="5" name="Footer Placeholder 4">
            <a:extLst>
              <a:ext uri="{FF2B5EF4-FFF2-40B4-BE49-F238E27FC236}">
                <a16:creationId xmlns:a16="http://schemas.microsoft.com/office/drawing/2014/main" id="{24C67985-0EDE-1AD5-4FF5-1CB87190245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1471BA-B0D8-3B90-709A-DA7D6231B4FB}"/>
              </a:ext>
            </a:extLst>
          </p:cNvPr>
          <p:cNvSpPr>
            <a:spLocks noGrp="1"/>
          </p:cNvSpPr>
          <p:nvPr>
            <p:ph type="sldNum" sz="quarter" idx="12"/>
          </p:nvPr>
        </p:nvSpPr>
        <p:spPr/>
        <p:txBody>
          <a:bodyPr/>
          <a:lstStyle/>
          <a:p>
            <a:fld id="{20EE1B64-8348-49F2-A323-8BE900313399}" type="slidenum">
              <a:rPr lang="en-US" smtClean="0"/>
              <a:t>‹#›</a:t>
            </a:fld>
            <a:endParaRPr lang="en-US"/>
          </a:p>
        </p:txBody>
      </p:sp>
    </p:spTree>
    <p:extLst>
      <p:ext uri="{BB962C8B-B14F-4D97-AF65-F5344CB8AC3E}">
        <p14:creationId xmlns:p14="http://schemas.microsoft.com/office/powerpoint/2010/main" val="162433355"/>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6046A9-3438-C511-CF4F-80CC12B2F75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5281F04-C7BF-843D-FE57-7043307328E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1F8E4E3-C9A2-F325-58DA-2B2FFAF6FDD6}"/>
              </a:ext>
            </a:extLst>
          </p:cNvPr>
          <p:cNvSpPr>
            <a:spLocks noGrp="1"/>
          </p:cNvSpPr>
          <p:nvPr>
            <p:ph type="dt" sz="half" idx="10"/>
          </p:nvPr>
        </p:nvSpPr>
        <p:spPr/>
        <p:txBody>
          <a:bodyPr/>
          <a:lstStyle/>
          <a:p>
            <a:fld id="{D2F33161-56AF-4572-ADA3-06B66150B150}" type="datetimeFigureOut">
              <a:rPr lang="en-US" smtClean="0"/>
              <a:t>5/5/2025</a:t>
            </a:fld>
            <a:endParaRPr lang="en-US"/>
          </a:p>
        </p:txBody>
      </p:sp>
      <p:sp>
        <p:nvSpPr>
          <p:cNvPr id="5" name="Footer Placeholder 4">
            <a:extLst>
              <a:ext uri="{FF2B5EF4-FFF2-40B4-BE49-F238E27FC236}">
                <a16:creationId xmlns:a16="http://schemas.microsoft.com/office/drawing/2014/main" id="{D008B05B-AD77-AAD0-D550-CCD8EA11F5A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48EA9D3-5E7E-3540-457E-7242CA4670D5}"/>
              </a:ext>
            </a:extLst>
          </p:cNvPr>
          <p:cNvSpPr>
            <a:spLocks noGrp="1"/>
          </p:cNvSpPr>
          <p:nvPr>
            <p:ph type="sldNum" sz="quarter" idx="12"/>
          </p:nvPr>
        </p:nvSpPr>
        <p:spPr/>
        <p:txBody>
          <a:bodyPr/>
          <a:lstStyle/>
          <a:p>
            <a:fld id="{20EE1B64-8348-49F2-A323-8BE900313399}" type="slidenum">
              <a:rPr lang="en-US" smtClean="0"/>
              <a:t>‹#›</a:t>
            </a:fld>
            <a:endParaRPr lang="en-US"/>
          </a:p>
        </p:txBody>
      </p:sp>
    </p:spTree>
    <p:extLst>
      <p:ext uri="{BB962C8B-B14F-4D97-AF65-F5344CB8AC3E}">
        <p14:creationId xmlns:p14="http://schemas.microsoft.com/office/powerpoint/2010/main" val="1104283016"/>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type="tx">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rtlCol="0"/>
          <a:lstStyle>
            <a:lvl1pPr marL="0" indent="0" algn="ctr" defTabSz="-18496626" rtl="0" eaLnBrk="1" fontAlgn="base" hangingPunct="1">
              <a:spcBef>
                <a:spcPct val="0"/>
              </a:spcBef>
              <a:spcAft>
                <a:spcPct val="0"/>
              </a:spcAft>
              <a:defRPr lang="en-US" sz="3733" b="1" dirty="0">
                <a:solidFill>
                  <a:srgbClr val="FF00FE"/>
                </a:solidFill>
                <a:latin typeface="Calibri"/>
                <a:ea typeface="+mj-ea"/>
                <a:cs typeface="Segoe UI" pitchFamily="34" charset="0"/>
              </a:defRPr>
            </a:lvl1pPr>
          </a:lstStyle>
          <a:p>
            <a:r>
              <a:rPr lang="en-US"/>
              <a:t>Click to edit Master title style</a:t>
            </a:r>
          </a:p>
        </p:txBody>
      </p:sp>
      <p:sp>
        <p:nvSpPr>
          <p:cNvPr id="3" name="Text Placeholder 2"/>
          <p:cNvSpPr>
            <a:spLocks noGrp="1"/>
          </p:cNvSpPr>
          <p:nvPr>
            <p:ph type="body" idx="1"/>
          </p:nvPr>
        </p:nvSpPr>
        <p:spPr>
          <a:xfrm>
            <a:off x="609600" y="1371600"/>
            <a:ext cx="10972800" cy="4267200"/>
          </a:xfrm>
        </p:spPr>
        <p:txBody>
          <a:bodyPr rtlCol="0"/>
          <a:lstStyle>
            <a:lvl1pPr>
              <a:buClrTx/>
              <a:buFont typeface="Wingdings" pitchFamily="2" charset="2"/>
              <a:buChar char="§"/>
              <a:defRPr sz="2667" b="1">
                <a:latin typeface="Calibri" pitchFamily="34" charset="0"/>
              </a:defRPr>
            </a:lvl1pPr>
            <a:lvl2pPr>
              <a:buClrTx/>
              <a:buFont typeface="Wingdings" pitchFamily="2" charset="2"/>
              <a:buChar char="o"/>
              <a:defRPr sz="2400" b="0">
                <a:latin typeface="Calibri Light" pitchFamily="34" charset="0"/>
              </a:defRPr>
            </a:lvl2pPr>
            <a:lvl3pPr>
              <a:buClrTx/>
              <a:buFont typeface="Wingdings" pitchFamily="2" charset="2"/>
              <a:buChar char="o"/>
              <a:defRPr sz="2133" b="0">
                <a:latin typeface="Calibri Light" pitchFamily="34" charset="0"/>
              </a:defRPr>
            </a:lvl3pPr>
            <a:lvl4pPr>
              <a:buClrTx/>
              <a:buFont typeface="Wingdings" pitchFamily="2" charset="2"/>
              <a:buChar char="o"/>
              <a:defRPr sz="1867" b="0">
                <a:latin typeface="Calibri Light" pitchFamily="34" charset="0"/>
              </a:defRPr>
            </a:lvl4pPr>
            <a:lvl5pPr>
              <a:buClrTx/>
              <a:buFont typeface="Wingdings" pitchFamily="2" charset="2"/>
              <a:buChar char="o"/>
              <a:defRPr sz="1600" b="0">
                <a:latin typeface="Calibri Light"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0587917"/>
      </p:ext>
    </p:extLst>
  </p:cSld>
  <p:clrMapOvr>
    <a:masterClrMapping/>
  </p:clrMapOvr>
  <p:transition>
    <p:fade/>
  </p:transition>
  <p:hf sldNum="0" hdr="0" ftr="0" dt="0"/>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Comprehensiveness_Title Slide gray">
    <p:bg>
      <p:bgPr>
        <a:gradFill>
          <a:gsLst>
            <a:gs pos="0">
              <a:schemeClr val="tx1"/>
            </a:gs>
            <a:gs pos="100000">
              <a:srgbClr val="243A5E"/>
            </a:gs>
          </a:gsLst>
          <a:lin ang="5400000" scaled="1"/>
        </a:gradFill>
        <a:effectLst/>
      </p:bgPr>
    </p:bg>
    <p:spTree>
      <p:nvGrpSpPr>
        <p:cNvPr id="1" name=""/>
        <p:cNvGrpSpPr/>
        <p:nvPr/>
      </p:nvGrpSpPr>
      <p:grpSpPr>
        <a:xfrm>
          <a:off x="0" y="0"/>
          <a:ext cx="0" cy="0"/>
          <a:chOff x="0" y="0"/>
          <a:chExt cx="0" cy="0"/>
        </a:xfrm>
      </p:grpSpPr>
      <p:pic>
        <p:nvPicPr>
          <p:cNvPr id="8" name="Picture 7" descr="A black and white logo&#10;&#10;Description automatically generated">
            <a:extLst>
              <a:ext uri="{FF2B5EF4-FFF2-40B4-BE49-F238E27FC236}">
                <a16:creationId xmlns:a16="http://schemas.microsoft.com/office/drawing/2014/main" id="{D53C2693-44D2-E310-FCC5-B74A3117280F}"/>
              </a:ext>
            </a:extLst>
          </p:cNvPr>
          <p:cNvPicPr>
            <a:picLocks noChangeAspect="1"/>
          </p:cNvPicPr>
          <p:nvPr userDrawn="1"/>
        </p:nvPicPr>
        <p:blipFill rotWithShape="1">
          <a:blip r:embed="rId2"/>
          <a:srcRect l="9831" t="30470" r="9778" b="31934"/>
          <a:stretch/>
        </p:blipFill>
        <p:spPr>
          <a:xfrm>
            <a:off x="565402" y="560565"/>
            <a:ext cx="2354775" cy="331610"/>
          </a:xfrm>
          <a:prstGeom prst="rect">
            <a:avLst/>
          </a:prstGeom>
        </p:spPr>
      </p:pic>
      <p:sp>
        <p:nvSpPr>
          <p:cNvPr id="11" name="Title 1">
            <a:extLst>
              <a:ext uri="{FF2B5EF4-FFF2-40B4-BE49-F238E27FC236}">
                <a16:creationId xmlns:a16="http://schemas.microsoft.com/office/drawing/2014/main" id="{5D57A429-B725-DEC4-10B2-57AB5A0E5C4B}"/>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bg1"/>
                </a:solidFill>
              </a:defRPr>
            </a:lvl1pPr>
          </a:lstStyle>
          <a:p>
            <a:r>
              <a:rPr lang="en-US"/>
              <a:t>Event name or presentation title </a:t>
            </a:r>
          </a:p>
        </p:txBody>
      </p:sp>
      <p:sp>
        <p:nvSpPr>
          <p:cNvPr id="12" name="Text Placeholder 4">
            <a:extLst>
              <a:ext uri="{FF2B5EF4-FFF2-40B4-BE49-F238E27FC236}">
                <a16:creationId xmlns:a16="http://schemas.microsoft.com/office/drawing/2014/main" id="{6589B334-4CD9-2A8C-DB98-290D13A4E86A}"/>
              </a:ext>
            </a:extLst>
          </p:cNvPr>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b="0" i="0" spc="0" baseline="0">
                <a:solidFill>
                  <a:schemeClr val="bg1"/>
                </a:solidFill>
                <a:latin typeface="Segoe Sans Display" pitchFamily="2" charset="0"/>
                <a:cs typeface="Segoe Sans Display" pitchFamily="2" charset="0"/>
              </a:defRPr>
            </a:lvl1pPr>
          </a:lstStyle>
          <a:p>
            <a:pPr lvl="0"/>
            <a:r>
              <a:rPr lang="en-US"/>
              <a:t>Speaker name or subtitle</a:t>
            </a:r>
          </a:p>
        </p:txBody>
      </p:sp>
      <p:grpSp>
        <p:nvGrpSpPr>
          <p:cNvPr id="82" name="Group 81">
            <a:extLst>
              <a:ext uri="{FF2B5EF4-FFF2-40B4-BE49-F238E27FC236}">
                <a16:creationId xmlns:a16="http://schemas.microsoft.com/office/drawing/2014/main" id="{FBC6B086-0BE6-A783-A2A4-4750B3E697DB}"/>
              </a:ext>
            </a:extLst>
          </p:cNvPr>
          <p:cNvGrpSpPr/>
          <p:nvPr userDrawn="1"/>
        </p:nvGrpSpPr>
        <p:grpSpPr>
          <a:xfrm>
            <a:off x="3238768" y="0"/>
            <a:ext cx="10616911" cy="6858000"/>
            <a:chOff x="3238768" y="0"/>
            <a:chExt cx="10616911" cy="6858000"/>
          </a:xfrm>
        </p:grpSpPr>
        <p:sp>
          <p:nvSpPr>
            <p:cNvPr id="83" name="Freeform: Shape 82">
              <a:extLst>
                <a:ext uri="{FF2B5EF4-FFF2-40B4-BE49-F238E27FC236}">
                  <a16:creationId xmlns:a16="http://schemas.microsoft.com/office/drawing/2014/main" id="{C18E066C-1E14-7F01-F95F-16348C8CF986}"/>
                </a:ext>
              </a:extLst>
            </p:cNvPr>
            <p:cNvSpPr/>
            <p:nvPr/>
          </p:nvSpPr>
          <p:spPr>
            <a:xfrm rot="18900000">
              <a:off x="3238768" y="3018520"/>
              <a:ext cx="10388708" cy="1137054"/>
            </a:xfrm>
            <a:custGeom>
              <a:avLst/>
              <a:gdLst>
                <a:gd name="connsiteX0" fmla="*/ 9698677 w 10388708"/>
                <a:gd name="connsiteY0" fmla="*/ 0 h 1137054"/>
                <a:gd name="connsiteX1" fmla="*/ 10388708 w 10388708"/>
                <a:gd name="connsiteY1" fmla="*/ 690031 h 1137054"/>
                <a:gd name="connsiteX2" fmla="*/ 9941684 w 10388708"/>
                <a:gd name="connsiteY2" fmla="*/ 1137054 h 1137054"/>
                <a:gd name="connsiteX3" fmla="*/ 1137055 w 10388708"/>
                <a:gd name="connsiteY3" fmla="*/ 1137054 h 1137054"/>
                <a:gd name="connsiteX4" fmla="*/ 0 w 10388708"/>
                <a:gd name="connsiteY4" fmla="*/ 0 h 1137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708" h="1137054">
                  <a:moveTo>
                    <a:pt x="9698677" y="0"/>
                  </a:moveTo>
                  <a:lnTo>
                    <a:pt x="10388708" y="690031"/>
                  </a:lnTo>
                  <a:lnTo>
                    <a:pt x="9941684" y="1137054"/>
                  </a:lnTo>
                  <a:lnTo>
                    <a:pt x="1137055" y="1137054"/>
                  </a:lnTo>
                  <a:lnTo>
                    <a:pt x="0" y="0"/>
                  </a:lnTo>
                  <a:close/>
                </a:path>
              </a:pathLst>
            </a:custGeom>
            <a:solidFill>
              <a:schemeClr val="bg2"/>
            </a:solidFill>
            <a:ln>
              <a:solidFill>
                <a:schemeClr val="tx1">
                  <a:alpha val="25000"/>
                </a:schemeClr>
              </a:solidFill>
              <a:headEnd type="none" w="med" len="med"/>
              <a:tailEnd type="none" w="med" len="med"/>
            </a:ln>
            <a:effectLst>
              <a:innerShdw blurRad="63500" dist="50800" dir="13500000">
                <a:prstClr val="black">
                  <a:alpha val="35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84" name="Freeform: Shape 83">
              <a:extLst>
                <a:ext uri="{FF2B5EF4-FFF2-40B4-BE49-F238E27FC236}">
                  <a16:creationId xmlns:a16="http://schemas.microsoft.com/office/drawing/2014/main" id="{6651E84F-3151-A86A-AB65-8B01C68584B3}"/>
                </a:ext>
              </a:extLst>
            </p:cNvPr>
            <p:cNvSpPr/>
            <p:nvPr/>
          </p:nvSpPr>
          <p:spPr>
            <a:xfrm rot="18900000">
              <a:off x="5240472" y="3645545"/>
              <a:ext cx="8615207" cy="1137055"/>
            </a:xfrm>
            <a:custGeom>
              <a:avLst/>
              <a:gdLst>
                <a:gd name="connsiteX0" fmla="*/ 8615207 w 8615207"/>
                <a:gd name="connsiteY0" fmla="*/ 0 h 1137055"/>
                <a:gd name="connsiteX1" fmla="*/ 7478152 w 8615207"/>
                <a:gd name="connsiteY1" fmla="*/ 1137055 h 1137055"/>
                <a:gd name="connsiteX2" fmla="*/ 1137055 w 8615207"/>
                <a:gd name="connsiteY2" fmla="*/ 1137055 h 1137055"/>
                <a:gd name="connsiteX3" fmla="*/ 0 w 8615207"/>
                <a:gd name="connsiteY3" fmla="*/ 0 h 1137055"/>
              </a:gdLst>
              <a:ahLst/>
              <a:cxnLst>
                <a:cxn ang="0">
                  <a:pos x="connsiteX0" y="connsiteY0"/>
                </a:cxn>
                <a:cxn ang="0">
                  <a:pos x="connsiteX1" y="connsiteY1"/>
                </a:cxn>
                <a:cxn ang="0">
                  <a:pos x="connsiteX2" y="connsiteY2"/>
                </a:cxn>
                <a:cxn ang="0">
                  <a:pos x="connsiteX3" y="connsiteY3"/>
                </a:cxn>
              </a:cxnLst>
              <a:rect l="l" t="t" r="r" b="b"/>
              <a:pathLst>
                <a:path w="8615207" h="1137055">
                  <a:moveTo>
                    <a:pt x="8615207" y="0"/>
                  </a:moveTo>
                  <a:lnTo>
                    <a:pt x="7478152" y="1137055"/>
                  </a:lnTo>
                  <a:lnTo>
                    <a:pt x="1137055" y="1137055"/>
                  </a:lnTo>
                  <a:lnTo>
                    <a:pt x="0" y="0"/>
                  </a:lnTo>
                  <a:close/>
                </a:path>
              </a:pathLst>
            </a:custGeom>
            <a:solidFill>
              <a:schemeClr val="bg1"/>
            </a:solidFill>
            <a:ln>
              <a:solidFill>
                <a:schemeClr val="bg1">
                  <a:alpha val="25000"/>
                </a:schemeClr>
              </a:solidFill>
              <a:headEnd type="none" w="med" len="med"/>
              <a:tailEnd type="none" w="med" len="med"/>
            </a:ln>
            <a:effectLst>
              <a:innerShdw blurRad="63500" dist="50800" dir="13500000">
                <a:prstClr val="black">
                  <a:alpha val="35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85" name="Freeform: Shape 84">
              <a:extLst>
                <a:ext uri="{FF2B5EF4-FFF2-40B4-BE49-F238E27FC236}">
                  <a16:creationId xmlns:a16="http://schemas.microsoft.com/office/drawing/2014/main" id="{2532033B-AD13-0F59-8284-9F2697295D38}"/>
                </a:ext>
              </a:extLst>
            </p:cNvPr>
            <p:cNvSpPr/>
            <p:nvPr/>
          </p:nvSpPr>
          <p:spPr>
            <a:xfrm rot="18900000">
              <a:off x="5240472" y="3645545"/>
              <a:ext cx="8615207" cy="1137055"/>
            </a:xfrm>
            <a:custGeom>
              <a:avLst/>
              <a:gdLst>
                <a:gd name="connsiteX0" fmla="*/ 8615207 w 8615207"/>
                <a:gd name="connsiteY0" fmla="*/ 0 h 1137055"/>
                <a:gd name="connsiteX1" fmla="*/ 7478152 w 8615207"/>
                <a:gd name="connsiteY1" fmla="*/ 1137055 h 1137055"/>
                <a:gd name="connsiteX2" fmla="*/ 1137055 w 8615207"/>
                <a:gd name="connsiteY2" fmla="*/ 1137055 h 1137055"/>
                <a:gd name="connsiteX3" fmla="*/ 0 w 8615207"/>
                <a:gd name="connsiteY3" fmla="*/ 0 h 1137055"/>
              </a:gdLst>
              <a:ahLst/>
              <a:cxnLst>
                <a:cxn ang="0">
                  <a:pos x="connsiteX0" y="connsiteY0"/>
                </a:cxn>
                <a:cxn ang="0">
                  <a:pos x="connsiteX1" y="connsiteY1"/>
                </a:cxn>
                <a:cxn ang="0">
                  <a:pos x="connsiteX2" y="connsiteY2"/>
                </a:cxn>
                <a:cxn ang="0">
                  <a:pos x="connsiteX3" y="connsiteY3"/>
                </a:cxn>
              </a:cxnLst>
              <a:rect l="l" t="t" r="r" b="b"/>
              <a:pathLst>
                <a:path w="8615207" h="1137055">
                  <a:moveTo>
                    <a:pt x="8615207" y="0"/>
                  </a:moveTo>
                  <a:lnTo>
                    <a:pt x="7478152" y="1137055"/>
                  </a:lnTo>
                  <a:lnTo>
                    <a:pt x="1137055" y="1137055"/>
                  </a:lnTo>
                  <a:lnTo>
                    <a:pt x="0" y="0"/>
                  </a:lnTo>
                  <a:close/>
                </a:path>
              </a:pathLst>
            </a:custGeom>
            <a:solidFill>
              <a:schemeClr val="accent4"/>
            </a:solidFill>
            <a:ln>
              <a:solidFill>
                <a:schemeClr val="bg1">
                  <a:alpha val="25000"/>
                </a:schemeClr>
              </a:solidFill>
              <a:headEnd type="none" w="med" len="med"/>
              <a:tailEnd type="none" w="med" len="med"/>
            </a:ln>
            <a:effectLst>
              <a:innerShdw blurRad="63500" dist="50800" dir="13500000">
                <a:prstClr val="black">
                  <a:alpha val="35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86" name="Freeform: Shape 85">
              <a:extLst>
                <a:ext uri="{FF2B5EF4-FFF2-40B4-BE49-F238E27FC236}">
                  <a16:creationId xmlns:a16="http://schemas.microsoft.com/office/drawing/2014/main" id="{27375CF7-4161-4C30-8437-D6167908328D}"/>
                </a:ext>
              </a:extLst>
            </p:cNvPr>
            <p:cNvSpPr/>
            <p:nvPr/>
          </p:nvSpPr>
          <p:spPr>
            <a:xfrm rot="18900000">
              <a:off x="7343338" y="4516581"/>
              <a:ext cx="6151545" cy="1137058"/>
            </a:xfrm>
            <a:custGeom>
              <a:avLst/>
              <a:gdLst>
                <a:gd name="connsiteX0" fmla="*/ 6151545 w 6151545"/>
                <a:gd name="connsiteY0" fmla="*/ 0 h 1137058"/>
                <a:gd name="connsiteX1" fmla="*/ 5014487 w 6151545"/>
                <a:gd name="connsiteY1" fmla="*/ 1137058 h 1137058"/>
                <a:gd name="connsiteX2" fmla="*/ 1137057 w 6151545"/>
                <a:gd name="connsiteY2" fmla="*/ 1137058 h 1137058"/>
                <a:gd name="connsiteX3" fmla="*/ 0 w 6151545"/>
                <a:gd name="connsiteY3" fmla="*/ 0 h 1137058"/>
              </a:gdLst>
              <a:ahLst/>
              <a:cxnLst>
                <a:cxn ang="0">
                  <a:pos x="connsiteX0" y="connsiteY0"/>
                </a:cxn>
                <a:cxn ang="0">
                  <a:pos x="connsiteX1" y="connsiteY1"/>
                </a:cxn>
                <a:cxn ang="0">
                  <a:pos x="connsiteX2" y="connsiteY2"/>
                </a:cxn>
                <a:cxn ang="0">
                  <a:pos x="connsiteX3" y="connsiteY3"/>
                </a:cxn>
              </a:cxnLst>
              <a:rect l="l" t="t" r="r" b="b"/>
              <a:pathLst>
                <a:path w="6151545" h="1137058">
                  <a:moveTo>
                    <a:pt x="6151545" y="0"/>
                  </a:moveTo>
                  <a:lnTo>
                    <a:pt x="5014487" y="1137058"/>
                  </a:lnTo>
                  <a:lnTo>
                    <a:pt x="1137057" y="1137058"/>
                  </a:lnTo>
                  <a:lnTo>
                    <a:pt x="0" y="0"/>
                  </a:lnTo>
                  <a:close/>
                </a:path>
              </a:pathLst>
            </a:custGeom>
            <a:solidFill>
              <a:schemeClr val="bg1">
                <a:lumMod val="95000"/>
              </a:schemeClr>
            </a:solidFill>
            <a:ln>
              <a:solidFill>
                <a:schemeClr val="tx1">
                  <a:alpha val="25000"/>
                </a:schemeClr>
              </a:solidFill>
              <a:headEnd type="none" w="med" len="med"/>
              <a:tailEnd type="none" w="med" len="med"/>
            </a:ln>
            <a:effectLst>
              <a:innerShdw blurRad="63500" dist="50800" dir="13500000">
                <a:prstClr val="black">
                  <a:alpha val="35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87" name="Freeform: Shape 86">
              <a:extLst>
                <a:ext uri="{FF2B5EF4-FFF2-40B4-BE49-F238E27FC236}">
                  <a16:creationId xmlns:a16="http://schemas.microsoft.com/office/drawing/2014/main" id="{E97F0575-C9B6-B0C0-696B-358008030106}"/>
                </a:ext>
              </a:extLst>
            </p:cNvPr>
            <p:cNvSpPr/>
            <p:nvPr/>
          </p:nvSpPr>
          <p:spPr>
            <a:xfrm>
              <a:off x="4357679" y="1485280"/>
              <a:ext cx="6176793" cy="5372720"/>
            </a:xfrm>
            <a:custGeom>
              <a:avLst/>
              <a:gdLst>
                <a:gd name="connsiteX0" fmla="*/ 5608250 w 6176793"/>
                <a:gd name="connsiteY0" fmla="*/ 0 h 5372720"/>
                <a:gd name="connsiteX1" fmla="*/ 6010263 w 6176793"/>
                <a:gd name="connsiteY1" fmla="*/ 166532 h 5372720"/>
                <a:gd name="connsiteX2" fmla="*/ 6010263 w 6176793"/>
                <a:gd name="connsiteY2" fmla="*/ 970557 h 5372720"/>
                <a:gd name="connsiteX3" fmla="*/ 1608057 w 6176793"/>
                <a:gd name="connsiteY3" fmla="*/ 5372720 h 5372720"/>
                <a:gd name="connsiteX4" fmla="*/ 0 w 6176793"/>
                <a:gd name="connsiteY4" fmla="*/ 5372720 h 5372720"/>
                <a:gd name="connsiteX5" fmla="*/ 5206237 w 6176793"/>
                <a:gd name="connsiteY5" fmla="*/ 166532 h 5372720"/>
                <a:gd name="connsiteX6" fmla="*/ 5608250 w 6176793"/>
                <a:gd name="connsiteY6" fmla="*/ 0 h 5372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76793" h="5372720">
                  <a:moveTo>
                    <a:pt x="5608250" y="0"/>
                  </a:moveTo>
                  <a:cubicBezTo>
                    <a:pt x="5753746" y="0"/>
                    <a:pt x="5899242" y="55510"/>
                    <a:pt x="6010263" y="166532"/>
                  </a:cubicBezTo>
                  <a:cubicBezTo>
                    <a:pt x="6232303" y="388574"/>
                    <a:pt x="6232303" y="748515"/>
                    <a:pt x="6010263" y="970557"/>
                  </a:cubicBezTo>
                  <a:lnTo>
                    <a:pt x="1608057" y="5372720"/>
                  </a:lnTo>
                  <a:lnTo>
                    <a:pt x="0" y="5372720"/>
                  </a:lnTo>
                  <a:lnTo>
                    <a:pt x="5206237" y="166532"/>
                  </a:lnTo>
                  <a:cubicBezTo>
                    <a:pt x="5317259" y="55510"/>
                    <a:pt x="5462755" y="0"/>
                    <a:pt x="5608250" y="0"/>
                  </a:cubicBezTo>
                  <a:close/>
                </a:path>
              </a:pathLst>
            </a:custGeom>
            <a:solidFill>
              <a:srgbClr val="FFB900"/>
            </a:solidFill>
            <a:ln>
              <a:solidFill>
                <a:schemeClr val="bg1">
                  <a:alpha val="25000"/>
                </a:schemeClr>
              </a:solidFill>
              <a:headEnd type="none" w="med" len="med"/>
              <a:tailEnd type="none" w="med" len="med"/>
            </a:ln>
            <a:effectLst>
              <a:innerShdw blurRad="63500" dist="50800" dir="13500000">
                <a:prstClr val="black">
                  <a:alpha val="35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88" name="Freeform: Shape 87">
              <a:extLst>
                <a:ext uri="{FF2B5EF4-FFF2-40B4-BE49-F238E27FC236}">
                  <a16:creationId xmlns:a16="http://schemas.microsoft.com/office/drawing/2014/main" id="{07CB183B-76D5-F3D3-2565-2BFFA1BC3BD1}"/>
                </a:ext>
              </a:extLst>
            </p:cNvPr>
            <p:cNvSpPr/>
            <p:nvPr/>
          </p:nvSpPr>
          <p:spPr>
            <a:xfrm>
              <a:off x="10237620" y="0"/>
              <a:ext cx="1954380" cy="1782194"/>
            </a:xfrm>
            <a:custGeom>
              <a:avLst/>
              <a:gdLst>
                <a:gd name="connsiteX0" fmla="*/ 991499 w 1954380"/>
                <a:gd name="connsiteY0" fmla="*/ 0 h 1782194"/>
                <a:gd name="connsiteX1" fmla="*/ 1954380 w 1954380"/>
                <a:gd name="connsiteY1" fmla="*/ 0 h 1782194"/>
                <a:gd name="connsiteX2" fmla="*/ 1954380 w 1954380"/>
                <a:gd name="connsiteY2" fmla="*/ 618384 h 1782194"/>
                <a:gd name="connsiteX3" fmla="*/ 954306 w 1954380"/>
                <a:gd name="connsiteY3" fmla="*/ 1618458 h 1782194"/>
                <a:gd name="connsiteX4" fmla="*/ 558990 w 1954380"/>
                <a:gd name="connsiteY4" fmla="*/ 1782194 h 1782194"/>
                <a:gd name="connsiteX5" fmla="*/ 559052 w 1954380"/>
                <a:gd name="connsiteY5" fmla="*/ 1782130 h 1782194"/>
                <a:gd name="connsiteX6" fmla="*/ 163737 w 1954380"/>
                <a:gd name="connsiteY6" fmla="*/ 1618394 h 1782194"/>
                <a:gd name="connsiteX7" fmla="*/ 163737 w 1954380"/>
                <a:gd name="connsiteY7" fmla="*/ 827763 h 1782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380" h="1782194">
                  <a:moveTo>
                    <a:pt x="991499" y="0"/>
                  </a:moveTo>
                  <a:lnTo>
                    <a:pt x="1954380" y="0"/>
                  </a:lnTo>
                  <a:lnTo>
                    <a:pt x="1954380" y="618384"/>
                  </a:lnTo>
                  <a:lnTo>
                    <a:pt x="954306" y="1618458"/>
                  </a:lnTo>
                  <a:cubicBezTo>
                    <a:pt x="845149" y="1727614"/>
                    <a:pt x="702070" y="1782194"/>
                    <a:pt x="558990" y="1782194"/>
                  </a:cubicBezTo>
                  <a:lnTo>
                    <a:pt x="559052" y="1782130"/>
                  </a:lnTo>
                  <a:cubicBezTo>
                    <a:pt x="415973" y="1782130"/>
                    <a:pt x="272893" y="1727552"/>
                    <a:pt x="163737" y="1618394"/>
                  </a:cubicBezTo>
                  <a:cubicBezTo>
                    <a:pt x="-54578" y="1400079"/>
                    <a:pt x="-54578" y="1046078"/>
                    <a:pt x="163737" y="827763"/>
                  </a:cubicBezTo>
                  <a:close/>
                </a:path>
              </a:pathLst>
            </a:custGeom>
            <a:solidFill>
              <a:schemeClr val="bg1"/>
            </a:solidFill>
            <a:ln>
              <a:solidFill>
                <a:schemeClr val="bg1">
                  <a:alpha val="25000"/>
                </a:schemeClr>
              </a:solidFill>
              <a:headEnd type="none" w="med" len="med"/>
              <a:tailEnd type="none" w="med" len="med"/>
            </a:ln>
            <a:effectLst>
              <a:outerShdw blurRad="50800" dist="254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89" name="Freeform: Shape 88">
              <a:extLst>
                <a:ext uri="{FF2B5EF4-FFF2-40B4-BE49-F238E27FC236}">
                  <a16:creationId xmlns:a16="http://schemas.microsoft.com/office/drawing/2014/main" id="{BE3F0A9E-45B0-FFE9-6647-DD3ACF1748FB}"/>
                </a:ext>
              </a:extLst>
            </p:cNvPr>
            <p:cNvSpPr/>
            <p:nvPr/>
          </p:nvSpPr>
          <p:spPr>
            <a:xfrm>
              <a:off x="10223596" y="779339"/>
              <a:ext cx="1968404" cy="2759037"/>
            </a:xfrm>
            <a:custGeom>
              <a:avLst/>
              <a:gdLst>
                <a:gd name="connsiteX0" fmla="*/ 1968404 w 1968404"/>
                <a:gd name="connsiteY0" fmla="*/ 0 h 2759037"/>
                <a:gd name="connsiteX1" fmla="*/ 1968404 w 1968404"/>
                <a:gd name="connsiteY1" fmla="*/ 1581264 h 2759037"/>
                <a:gd name="connsiteX2" fmla="*/ 954367 w 1968404"/>
                <a:gd name="connsiteY2" fmla="*/ 2595301 h 2759037"/>
                <a:gd name="connsiteX3" fmla="*/ 559052 w 1968404"/>
                <a:gd name="connsiteY3" fmla="*/ 2759037 h 2759037"/>
                <a:gd name="connsiteX4" fmla="*/ 163737 w 1968404"/>
                <a:gd name="connsiteY4" fmla="*/ 2595301 h 2759037"/>
                <a:gd name="connsiteX5" fmla="*/ 163737 w 1968404"/>
                <a:gd name="connsiteY5" fmla="*/ 1804668 h 2759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8404" h="2759037">
                  <a:moveTo>
                    <a:pt x="1968404" y="0"/>
                  </a:moveTo>
                  <a:lnTo>
                    <a:pt x="1968404" y="1581264"/>
                  </a:lnTo>
                  <a:lnTo>
                    <a:pt x="954367" y="2595301"/>
                  </a:lnTo>
                  <a:cubicBezTo>
                    <a:pt x="845211" y="2704459"/>
                    <a:pt x="702132" y="2759037"/>
                    <a:pt x="559052" y="2759037"/>
                  </a:cubicBezTo>
                  <a:cubicBezTo>
                    <a:pt x="415972" y="2759037"/>
                    <a:pt x="272893" y="2704459"/>
                    <a:pt x="163737" y="2595301"/>
                  </a:cubicBezTo>
                  <a:cubicBezTo>
                    <a:pt x="-54578" y="2376986"/>
                    <a:pt x="-54578" y="2022983"/>
                    <a:pt x="163737" y="1804668"/>
                  </a:cubicBezTo>
                  <a:close/>
                </a:path>
              </a:pathLst>
            </a:custGeom>
            <a:solidFill>
              <a:schemeClr val="accent1"/>
            </a:solidFill>
            <a:ln>
              <a:solidFill>
                <a:schemeClr val="bg1">
                  <a:alpha val="25000"/>
                </a:schemeClr>
              </a:solidFill>
              <a:headEnd type="none" w="med" len="med"/>
              <a:tailEnd type="none" w="med" len="med"/>
            </a:ln>
            <a:effectLst>
              <a:innerShdw blurRad="63500" dist="50800" dir="13500000">
                <a:prstClr val="black">
                  <a:alpha val="35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90" name="Freeform: Shape 89">
              <a:extLst>
                <a:ext uri="{FF2B5EF4-FFF2-40B4-BE49-F238E27FC236}">
                  <a16:creationId xmlns:a16="http://schemas.microsoft.com/office/drawing/2014/main" id="{E914D86C-945B-0404-F3DB-759DD9835231}"/>
                </a:ext>
              </a:extLst>
            </p:cNvPr>
            <p:cNvSpPr/>
            <p:nvPr/>
          </p:nvSpPr>
          <p:spPr>
            <a:xfrm>
              <a:off x="10214106" y="765950"/>
              <a:ext cx="1977894" cy="2781902"/>
            </a:xfrm>
            <a:custGeom>
              <a:avLst/>
              <a:gdLst>
                <a:gd name="connsiteX0" fmla="*/ 1977894 w 1977894"/>
                <a:gd name="connsiteY0" fmla="*/ 0 h 2781902"/>
                <a:gd name="connsiteX1" fmla="*/ 1977894 w 1977894"/>
                <a:gd name="connsiteY1" fmla="*/ 1608049 h 2781902"/>
                <a:gd name="connsiteX2" fmla="*/ 970557 w 1977894"/>
                <a:gd name="connsiteY2" fmla="*/ 2615387 h 2781902"/>
                <a:gd name="connsiteX3" fmla="*/ 568544 w 1977894"/>
                <a:gd name="connsiteY3" fmla="*/ 2781902 h 2781902"/>
                <a:gd name="connsiteX4" fmla="*/ 166531 w 1977894"/>
                <a:gd name="connsiteY4" fmla="*/ 2615387 h 2781902"/>
                <a:gd name="connsiteX5" fmla="*/ 166531 w 1977894"/>
                <a:gd name="connsiteY5" fmla="*/ 1811363 h 2781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7894" h="2781902">
                  <a:moveTo>
                    <a:pt x="1977894" y="0"/>
                  </a:moveTo>
                  <a:lnTo>
                    <a:pt x="1977894" y="1608049"/>
                  </a:lnTo>
                  <a:lnTo>
                    <a:pt x="970557" y="2615387"/>
                  </a:lnTo>
                  <a:cubicBezTo>
                    <a:pt x="859565" y="2726376"/>
                    <a:pt x="714024" y="2781902"/>
                    <a:pt x="568544" y="2781902"/>
                  </a:cubicBezTo>
                  <a:cubicBezTo>
                    <a:pt x="423064" y="2781902"/>
                    <a:pt x="277520" y="2726376"/>
                    <a:pt x="166531" y="2615387"/>
                  </a:cubicBezTo>
                  <a:cubicBezTo>
                    <a:pt x="-55511" y="2393346"/>
                    <a:pt x="-55511" y="2033404"/>
                    <a:pt x="166531" y="1811363"/>
                  </a:cubicBezTo>
                  <a:close/>
                </a:path>
              </a:pathLst>
            </a:custGeom>
            <a:solidFill>
              <a:schemeClr val="accent1"/>
            </a:solidFill>
            <a:ln>
              <a:solidFill>
                <a:schemeClr val="bg1">
                  <a:alpha val="25000"/>
                </a:schemeClr>
              </a:solidFill>
              <a:headEnd type="none" w="med" len="med"/>
              <a:tailEnd type="none" w="med" len="med"/>
            </a:ln>
            <a:effectLst>
              <a:innerShdw blurRad="63500" dist="50800" dir="13500000">
                <a:prstClr val="black">
                  <a:alpha val="35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91" name="Freeform: Shape 90">
              <a:extLst>
                <a:ext uri="{FF2B5EF4-FFF2-40B4-BE49-F238E27FC236}">
                  <a16:creationId xmlns:a16="http://schemas.microsoft.com/office/drawing/2014/main" id="{CF2F2637-C5AC-A5C5-558C-F939FF7D705B}"/>
                </a:ext>
              </a:extLst>
            </p:cNvPr>
            <p:cNvSpPr/>
            <p:nvPr/>
          </p:nvSpPr>
          <p:spPr>
            <a:xfrm>
              <a:off x="10214106" y="765950"/>
              <a:ext cx="1977894" cy="2781902"/>
            </a:xfrm>
            <a:custGeom>
              <a:avLst/>
              <a:gdLst>
                <a:gd name="connsiteX0" fmla="*/ 1977894 w 1977894"/>
                <a:gd name="connsiteY0" fmla="*/ 0 h 2781902"/>
                <a:gd name="connsiteX1" fmla="*/ 1977894 w 1977894"/>
                <a:gd name="connsiteY1" fmla="*/ 1608049 h 2781902"/>
                <a:gd name="connsiteX2" fmla="*/ 970557 w 1977894"/>
                <a:gd name="connsiteY2" fmla="*/ 2615387 h 2781902"/>
                <a:gd name="connsiteX3" fmla="*/ 568544 w 1977894"/>
                <a:gd name="connsiteY3" fmla="*/ 2781902 h 2781902"/>
                <a:gd name="connsiteX4" fmla="*/ 166531 w 1977894"/>
                <a:gd name="connsiteY4" fmla="*/ 2615387 h 2781902"/>
                <a:gd name="connsiteX5" fmla="*/ 166531 w 1977894"/>
                <a:gd name="connsiteY5" fmla="*/ 1811363 h 2781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7894" h="2781902">
                  <a:moveTo>
                    <a:pt x="1977894" y="0"/>
                  </a:moveTo>
                  <a:lnTo>
                    <a:pt x="1977894" y="1608049"/>
                  </a:lnTo>
                  <a:lnTo>
                    <a:pt x="970557" y="2615387"/>
                  </a:lnTo>
                  <a:cubicBezTo>
                    <a:pt x="859565" y="2726376"/>
                    <a:pt x="714024" y="2781902"/>
                    <a:pt x="568544" y="2781902"/>
                  </a:cubicBezTo>
                  <a:cubicBezTo>
                    <a:pt x="423064" y="2781902"/>
                    <a:pt x="277520" y="2726376"/>
                    <a:pt x="166531" y="2615387"/>
                  </a:cubicBezTo>
                  <a:cubicBezTo>
                    <a:pt x="-55511" y="2393346"/>
                    <a:pt x="-55511" y="2033404"/>
                    <a:pt x="166531" y="1811363"/>
                  </a:cubicBezTo>
                  <a:close/>
                </a:path>
              </a:pathLst>
            </a:custGeom>
            <a:solidFill>
              <a:schemeClr val="accent1"/>
            </a:solidFill>
            <a:ln>
              <a:solidFill>
                <a:schemeClr val="bg1">
                  <a:alpha val="25000"/>
                </a:schemeClr>
              </a:solidFill>
              <a:headEnd type="none" w="med" len="med"/>
              <a:tailEnd type="none" w="med" len="med"/>
            </a:ln>
            <a:effectLst>
              <a:innerShdw blurRad="63500" dist="50800" dir="13500000">
                <a:prstClr val="black">
                  <a:alpha val="35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92" name="Freeform: Shape 91">
              <a:extLst>
                <a:ext uri="{FF2B5EF4-FFF2-40B4-BE49-F238E27FC236}">
                  <a16:creationId xmlns:a16="http://schemas.microsoft.com/office/drawing/2014/main" id="{62C226E3-590E-4267-C8B2-1F91A4B34C7B}"/>
                </a:ext>
              </a:extLst>
            </p:cNvPr>
            <p:cNvSpPr/>
            <p:nvPr/>
          </p:nvSpPr>
          <p:spPr>
            <a:xfrm>
              <a:off x="10791494" y="2521374"/>
              <a:ext cx="1400507" cy="2191139"/>
            </a:xfrm>
            <a:custGeom>
              <a:avLst/>
              <a:gdLst>
                <a:gd name="connsiteX0" fmla="*/ 1400507 w 1400507"/>
                <a:gd name="connsiteY0" fmla="*/ 0 h 2191139"/>
                <a:gd name="connsiteX1" fmla="*/ 1400507 w 1400507"/>
                <a:gd name="connsiteY1" fmla="*/ 1581264 h 2191139"/>
                <a:gd name="connsiteX2" fmla="*/ 954368 w 1400507"/>
                <a:gd name="connsiteY2" fmla="*/ 2027403 h 2191139"/>
                <a:gd name="connsiteX3" fmla="*/ 559052 w 1400507"/>
                <a:gd name="connsiteY3" fmla="*/ 2191139 h 2191139"/>
                <a:gd name="connsiteX4" fmla="*/ 163737 w 1400507"/>
                <a:gd name="connsiteY4" fmla="*/ 2027403 h 2191139"/>
                <a:gd name="connsiteX5" fmla="*/ 163737 w 1400507"/>
                <a:gd name="connsiteY5" fmla="*/ 1236770 h 2191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0507" h="2191139">
                  <a:moveTo>
                    <a:pt x="1400507" y="0"/>
                  </a:moveTo>
                  <a:lnTo>
                    <a:pt x="1400507" y="1581264"/>
                  </a:lnTo>
                  <a:lnTo>
                    <a:pt x="954368" y="2027403"/>
                  </a:lnTo>
                  <a:cubicBezTo>
                    <a:pt x="845211" y="2136561"/>
                    <a:pt x="702132" y="2191139"/>
                    <a:pt x="559052" y="2191139"/>
                  </a:cubicBezTo>
                  <a:cubicBezTo>
                    <a:pt x="415973" y="2191139"/>
                    <a:pt x="272893" y="2136561"/>
                    <a:pt x="163737" y="2027403"/>
                  </a:cubicBezTo>
                  <a:cubicBezTo>
                    <a:pt x="-54578" y="1809088"/>
                    <a:pt x="-54578" y="1455084"/>
                    <a:pt x="163737" y="1236770"/>
                  </a:cubicBezTo>
                  <a:close/>
                </a:path>
              </a:pathLst>
            </a:custGeom>
            <a:solidFill>
              <a:schemeClr val="bg1"/>
            </a:solidFill>
            <a:ln>
              <a:solidFill>
                <a:schemeClr val="bg1">
                  <a:alpha val="25000"/>
                </a:schemeClr>
              </a:solidFill>
              <a:headEnd type="none" w="med" len="med"/>
              <a:tailEnd type="none" w="med" len="med"/>
            </a:ln>
            <a:effectLst>
              <a:innerShdw blurRad="63500" dist="50800" dir="13500000">
                <a:prstClr val="black">
                  <a:alpha val="35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93" name="Freeform: Shape 92">
              <a:extLst>
                <a:ext uri="{FF2B5EF4-FFF2-40B4-BE49-F238E27FC236}">
                  <a16:creationId xmlns:a16="http://schemas.microsoft.com/office/drawing/2014/main" id="{72E71E0C-5701-F8C6-7423-F13D6948A7B4}"/>
                </a:ext>
              </a:extLst>
            </p:cNvPr>
            <p:cNvSpPr/>
            <p:nvPr/>
          </p:nvSpPr>
          <p:spPr>
            <a:xfrm>
              <a:off x="10782001" y="2507982"/>
              <a:ext cx="1409999" cy="2214007"/>
            </a:xfrm>
            <a:custGeom>
              <a:avLst/>
              <a:gdLst>
                <a:gd name="connsiteX0" fmla="*/ 1409999 w 1409999"/>
                <a:gd name="connsiteY0" fmla="*/ 0 h 2214007"/>
                <a:gd name="connsiteX1" fmla="*/ 1409999 w 1409999"/>
                <a:gd name="connsiteY1" fmla="*/ 1608050 h 2214007"/>
                <a:gd name="connsiteX2" fmla="*/ 970557 w 1409999"/>
                <a:gd name="connsiteY2" fmla="*/ 2047492 h 2214007"/>
                <a:gd name="connsiteX3" fmla="*/ 568544 w 1409999"/>
                <a:gd name="connsiteY3" fmla="*/ 2214007 h 2214007"/>
                <a:gd name="connsiteX4" fmla="*/ 166531 w 1409999"/>
                <a:gd name="connsiteY4" fmla="*/ 2047492 h 2214007"/>
                <a:gd name="connsiteX5" fmla="*/ 166531 w 1409999"/>
                <a:gd name="connsiteY5" fmla="*/ 1243468 h 2214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9999" h="2214007">
                  <a:moveTo>
                    <a:pt x="1409999" y="0"/>
                  </a:moveTo>
                  <a:lnTo>
                    <a:pt x="1409999" y="1608050"/>
                  </a:lnTo>
                  <a:lnTo>
                    <a:pt x="970557" y="2047492"/>
                  </a:lnTo>
                  <a:cubicBezTo>
                    <a:pt x="859565" y="2158481"/>
                    <a:pt x="714024" y="2214007"/>
                    <a:pt x="568544" y="2214007"/>
                  </a:cubicBezTo>
                  <a:cubicBezTo>
                    <a:pt x="423064" y="2214007"/>
                    <a:pt x="277520" y="2158481"/>
                    <a:pt x="166531" y="2047492"/>
                  </a:cubicBezTo>
                  <a:cubicBezTo>
                    <a:pt x="-55511" y="1825451"/>
                    <a:pt x="-55511" y="1465509"/>
                    <a:pt x="166531" y="1243468"/>
                  </a:cubicBezTo>
                  <a:close/>
                </a:path>
              </a:pathLst>
            </a:custGeom>
            <a:solidFill>
              <a:schemeClr val="bg1"/>
            </a:solidFill>
            <a:ln>
              <a:solidFill>
                <a:schemeClr val="bg1">
                  <a:alpha val="25000"/>
                </a:schemeClr>
              </a:solidFill>
              <a:headEnd type="none" w="med" len="med"/>
              <a:tailEnd type="none" w="med" len="med"/>
            </a:ln>
            <a:effectLst>
              <a:innerShdw blurRad="63500" dist="50800" dir="13500000">
                <a:prstClr val="black">
                  <a:alpha val="35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94" name="Freeform: Shape 93">
              <a:extLst>
                <a:ext uri="{FF2B5EF4-FFF2-40B4-BE49-F238E27FC236}">
                  <a16:creationId xmlns:a16="http://schemas.microsoft.com/office/drawing/2014/main" id="{A1C5954A-F909-4FEB-CC44-AF78DF452FF3}"/>
                </a:ext>
              </a:extLst>
            </p:cNvPr>
            <p:cNvSpPr/>
            <p:nvPr/>
          </p:nvSpPr>
          <p:spPr>
            <a:xfrm>
              <a:off x="10782001" y="2507982"/>
              <a:ext cx="1409999" cy="2214007"/>
            </a:xfrm>
            <a:custGeom>
              <a:avLst/>
              <a:gdLst>
                <a:gd name="connsiteX0" fmla="*/ 1409999 w 1409999"/>
                <a:gd name="connsiteY0" fmla="*/ 0 h 2214007"/>
                <a:gd name="connsiteX1" fmla="*/ 1409999 w 1409999"/>
                <a:gd name="connsiteY1" fmla="*/ 1608050 h 2214007"/>
                <a:gd name="connsiteX2" fmla="*/ 970557 w 1409999"/>
                <a:gd name="connsiteY2" fmla="*/ 2047492 h 2214007"/>
                <a:gd name="connsiteX3" fmla="*/ 568544 w 1409999"/>
                <a:gd name="connsiteY3" fmla="*/ 2214007 h 2214007"/>
                <a:gd name="connsiteX4" fmla="*/ 166531 w 1409999"/>
                <a:gd name="connsiteY4" fmla="*/ 2047492 h 2214007"/>
                <a:gd name="connsiteX5" fmla="*/ 166531 w 1409999"/>
                <a:gd name="connsiteY5" fmla="*/ 1243468 h 2214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9999" h="2214007">
                  <a:moveTo>
                    <a:pt x="1409999" y="0"/>
                  </a:moveTo>
                  <a:lnTo>
                    <a:pt x="1409999" y="1608050"/>
                  </a:lnTo>
                  <a:lnTo>
                    <a:pt x="970557" y="2047492"/>
                  </a:lnTo>
                  <a:cubicBezTo>
                    <a:pt x="859565" y="2158481"/>
                    <a:pt x="714024" y="2214007"/>
                    <a:pt x="568544" y="2214007"/>
                  </a:cubicBezTo>
                  <a:cubicBezTo>
                    <a:pt x="423064" y="2214007"/>
                    <a:pt x="277520" y="2158481"/>
                    <a:pt x="166531" y="2047492"/>
                  </a:cubicBezTo>
                  <a:cubicBezTo>
                    <a:pt x="-55511" y="1825451"/>
                    <a:pt x="-55511" y="1465509"/>
                    <a:pt x="166531" y="1243468"/>
                  </a:cubicBezTo>
                  <a:close/>
                </a:path>
              </a:pathLst>
            </a:custGeom>
            <a:solidFill>
              <a:srgbClr val="095E09"/>
            </a:solidFill>
            <a:ln>
              <a:solidFill>
                <a:schemeClr val="bg1">
                  <a:alpha val="25000"/>
                </a:schemeClr>
              </a:solidFill>
              <a:headEnd type="none" w="med" len="med"/>
              <a:tailEnd type="none" w="med" len="med"/>
            </a:ln>
            <a:effectLst>
              <a:innerShdw blurRad="63500" dist="50800" dir="13500000">
                <a:prstClr val="black">
                  <a:alpha val="35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95" name="Freeform: Shape 94">
              <a:extLst>
                <a:ext uri="{FF2B5EF4-FFF2-40B4-BE49-F238E27FC236}">
                  <a16:creationId xmlns:a16="http://schemas.microsoft.com/office/drawing/2014/main" id="{42F47D21-1E87-504F-2458-29E733573904}"/>
                </a:ext>
              </a:extLst>
            </p:cNvPr>
            <p:cNvSpPr/>
            <p:nvPr/>
          </p:nvSpPr>
          <p:spPr>
            <a:xfrm>
              <a:off x="7855373" y="5553744"/>
              <a:ext cx="2094889" cy="1304256"/>
            </a:xfrm>
            <a:custGeom>
              <a:avLst/>
              <a:gdLst>
                <a:gd name="connsiteX0" fmla="*/ 1535836 w 2094889"/>
                <a:gd name="connsiteY0" fmla="*/ 0 h 1304256"/>
                <a:gd name="connsiteX1" fmla="*/ 1931152 w 2094889"/>
                <a:gd name="connsiteY1" fmla="*/ 163736 h 1304256"/>
                <a:gd name="connsiteX2" fmla="*/ 1931152 w 2094889"/>
                <a:gd name="connsiteY2" fmla="*/ 954367 h 1304256"/>
                <a:gd name="connsiteX3" fmla="*/ 1581263 w 2094889"/>
                <a:gd name="connsiteY3" fmla="*/ 1304256 h 1304256"/>
                <a:gd name="connsiteX4" fmla="*/ 0 w 2094889"/>
                <a:gd name="connsiteY4" fmla="*/ 1304256 h 1304256"/>
                <a:gd name="connsiteX5" fmla="*/ 1140520 w 2094889"/>
                <a:gd name="connsiteY5" fmla="*/ 163736 h 1304256"/>
                <a:gd name="connsiteX6" fmla="*/ 1535836 w 2094889"/>
                <a:gd name="connsiteY6" fmla="*/ 0 h 1304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4889" h="1304256">
                  <a:moveTo>
                    <a:pt x="1535836" y="0"/>
                  </a:moveTo>
                  <a:cubicBezTo>
                    <a:pt x="1678915" y="0"/>
                    <a:pt x="1821995" y="54579"/>
                    <a:pt x="1931152" y="163736"/>
                  </a:cubicBezTo>
                  <a:cubicBezTo>
                    <a:pt x="2149468" y="382051"/>
                    <a:pt x="2149468" y="736052"/>
                    <a:pt x="1931152" y="954367"/>
                  </a:cubicBezTo>
                  <a:lnTo>
                    <a:pt x="1581263" y="1304256"/>
                  </a:lnTo>
                  <a:lnTo>
                    <a:pt x="0" y="1304256"/>
                  </a:lnTo>
                  <a:lnTo>
                    <a:pt x="1140520" y="163736"/>
                  </a:lnTo>
                  <a:cubicBezTo>
                    <a:pt x="1249677" y="54579"/>
                    <a:pt x="1392756" y="0"/>
                    <a:pt x="1535836" y="0"/>
                  </a:cubicBezTo>
                  <a:close/>
                </a:path>
              </a:pathLst>
            </a:custGeom>
            <a:solidFill>
              <a:srgbClr val="FFB900"/>
            </a:solidFill>
            <a:ln>
              <a:solidFill>
                <a:schemeClr val="bg1">
                  <a:alpha val="25000"/>
                </a:schemeClr>
              </a:solidFill>
              <a:headEnd type="none" w="med" len="med"/>
              <a:tailEnd type="none" w="med" len="med"/>
            </a:ln>
            <a:effectLst>
              <a:innerShdw blurRad="63500" dist="50800" dir="13500000">
                <a:prstClr val="black">
                  <a:alpha val="35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96" name="Freeform: Shape 95">
              <a:extLst>
                <a:ext uri="{FF2B5EF4-FFF2-40B4-BE49-F238E27FC236}">
                  <a16:creationId xmlns:a16="http://schemas.microsoft.com/office/drawing/2014/main" id="{0BAD970C-9D3A-7969-29A9-AC7DCED1DB10}"/>
                </a:ext>
              </a:extLst>
            </p:cNvPr>
            <p:cNvSpPr/>
            <p:nvPr/>
          </p:nvSpPr>
          <p:spPr>
            <a:xfrm>
              <a:off x="7841981" y="5544253"/>
              <a:ext cx="2117772" cy="1313747"/>
            </a:xfrm>
            <a:custGeom>
              <a:avLst/>
              <a:gdLst>
                <a:gd name="connsiteX0" fmla="*/ 1549228 w 2117772"/>
                <a:gd name="connsiteY0" fmla="*/ 0 h 1313747"/>
                <a:gd name="connsiteX1" fmla="*/ 1951241 w 2117772"/>
                <a:gd name="connsiteY1" fmla="*/ 166532 h 1313747"/>
                <a:gd name="connsiteX2" fmla="*/ 1951241 w 2117772"/>
                <a:gd name="connsiteY2" fmla="*/ 970557 h 1313747"/>
                <a:gd name="connsiteX3" fmla="*/ 1608051 w 2117772"/>
                <a:gd name="connsiteY3" fmla="*/ 1313747 h 1313747"/>
                <a:gd name="connsiteX4" fmla="*/ 0 w 2117772"/>
                <a:gd name="connsiteY4" fmla="*/ 1313747 h 1313747"/>
                <a:gd name="connsiteX5" fmla="*/ 1147215 w 2117772"/>
                <a:gd name="connsiteY5" fmla="*/ 166532 h 1313747"/>
                <a:gd name="connsiteX6" fmla="*/ 1549228 w 2117772"/>
                <a:gd name="connsiteY6" fmla="*/ 0 h 1313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17772" h="1313747">
                  <a:moveTo>
                    <a:pt x="1549228" y="0"/>
                  </a:moveTo>
                  <a:cubicBezTo>
                    <a:pt x="1694724" y="0"/>
                    <a:pt x="1840220" y="55511"/>
                    <a:pt x="1951241" y="166532"/>
                  </a:cubicBezTo>
                  <a:cubicBezTo>
                    <a:pt x="2173283" y="388574"/>
                    <a:pt x="2173283" y="748515"/>
                    <a:pt x="1951241" y="970557"/>
                  </a:cubicBezTo>
                  <a:lnTo>
                    <a:pt x="1608051" y="1313747"/>
                  </a:lnTo>
                  <a:lnTo>
                    <a:pt x="0" y="1313747"/>
                  </a:lnTo>
                  <a:lnTo>
                    <a:pt x="1147215" y="166532"/>
                  </a:lnTo>
                  <a:cubicBezTo>
                    <a:pt x="1258237" y="55511"/>
                    <a:pt x="1403732" y="0"/>
                    <a:pt x="1549228" y="0"/>
                  </a:cubicBezTo>
                  <a:close/>
                </a:path>
              </a:pathLst>
            </a:custGeom>
            <a:solidFill>
              <a:srgbClr val="FFB900"/>
            </a:solidFill>
            <a:ln>
              <a:solidFill>
                <a:schemeClr val="bg1">
                  <a:alpha val="25000"/>
                </a:schemeClr>
              </a:solidFill>
              <a:headEnd type="none" w="med" len="med"/>
              <a:tailEnd type="none" w="med" len="med"/>
            </a:ln>
            <a:effectLst>
              <a:innerShdw blurRad="63500" dist="50800" dir="13500000">
                <a:prstClr val="black">
                  <a:alpha val="35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97" name="Freeform: Shape 96">
              <a:extLst>
                <a:ext uri="{FF2B5EF4-FFF2-40B4-BE49-F238E27FC236}">
                  <a16:creationId xmlns:a16="http://schemas.microsoft.com/office/drawing/2014/main" id="{9EEF53FA-D114-B2C6-FB86-67F91BE2EE75}"/>
                </a:ext>
              </a:extLst>
            </p:cNvPr>
            <p:cNvSpPr/>
            <p:nvPr/>
          </p:nvSpPr>
          <p:spPr>
            <a:xfrm>
              <a:off x="7841981" y="5544253"/>
              <a:ext cx="2117772" cy="1313747"/>
            </a:xfrm>
            <a:custGeom>
              <a:avLst/>
              <a:gdLst>
                <a:gd name="connsiteX0" fmla="*/ 1549228 w 2117772"/>
                <a:gd name="connsiteY0" fmla="*/ 0 h 1313747"/>
                <a:gd name="connsiteX1" fmla="*/ 1951241 w 2117772"/>
                <a:gd name="connsiteY1" fmla="*/ 166532 h 1313747"/>
                <a:gd name="connsiteX2" fmla="*/ 1951241 w 2117772"/>
                <a:gd name="connsiteY2" fmla="*/ 970557 h 1313747"/>
                <a:gd name="connsiteX3" fmla="*/ 1608051 w 2117772"/>
                <a:gd name="connsiteY3" fmla="*/ 1313747 h 1313747"/>
                <a:gd name="connsiteX4" fmla="*/ 0 w 2117772"/>
                <a:gd name="connsiteY4" fmla="*/ 1313747 h 1313747"/>
                <a:gd name="connsiteX5" fmla="*/ 1147215 w 2117772"/>
                <a:gd name="connsiteY5" fmla="*/ 166532 h 1313747"/>
                <a:gd name="connsiteX6" fmla="*/ 1549228 w 2117772"/>
                <a:gd name="connsiteY6" fmla="*/ 0 h 1313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17772" h="1313747">
                  <a:moveTo>
                    <a:pt x="1549228" y="0"/>
                  </a:moveTo>
                  <a:cubicBezTo>
                    <a:pt x="1694724" y="0"/>
                    <a:pt x="1840220" y="55511"/>
                    <a:pt x="1951241" y="166532"/>
                  </a:cubicBezTo>
                  <a:cubicBezTo>
                    <a:pt x="2173283" y="388574"/>
                    <a:pt x="2173283" y="748515"/>
                    <a:pt x="1951241" y="970557"/>
                  </a:cubicBezTo>
                  <a:lnTo>
                    <a:pt x="1608051" y="1313747"/>
                  </a:lnTo>
                  <a:lnTo>
                    <a:pt x="0" y="1313747"/>
                  </a:lnTo>
                  <a:lnTo>
                    <a:pt x="1147215" y="166532"/>
                  </a:lnTo>
                  <a:cubicBezTo>
                    <a:pt x="1258237" y="55511"/>
                    <a:pt x="1403732" y="0"/>
                    <a:pt x="1549228" y="0"/>
                  </a:cubicBezTo>
                  <a:close/>
                </a:path>
              </a:pathLst>
            </a:custGeom>
            <a:solidFill>
              <a:srgbClr val="FFB900"/>
            </a:solidFill>
            <a:ln>
              <a:solidFill>
                <a:schemeClr val="bg1">
                  <a:alpha val="25000"/>
                </a:schemeClr>
              </a:solidFill>
              <a:headEnd type="none" w="med" len="med"/>
              <a:tailEnd type="none" w="med" len="med"/>
            </a:ln>
            <a:effectLst>
              <a:innerShdw blurRad="63500" dist="50800" dir="13500000">
                <a:prstClr val="black">
                  <a:alpha val="35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98" name="Freeform: Shape 97">
              <a:extLst>
                <a:ext uri="{FF2B5EF4-FFF2-40B4-BE49-F238E27FC236}">
                  <a16:creationId xmlns:a16="http://schemas.microsoft.com/office/drawing/2014/main" id="{260CD89E-8D7A-ABCA-85DB-27D90A2D040A}"/>
                </a:ext>
              </a:extLst>
            </p:cNvPr>
            <p:cNvSpPr/>
            <p:nvPr/>
          </p:nvSpPr>
          <p:spPr>
            <a:xfrm>
              <a:off x="10332375" y="758779"/>
              <a:ext cx="928593" cy="928593"/>
            </a:xfrm>
            <a:custGeom>
              <a:avLst/>
              <a:gdLst>
                <a:gd name="connsiteX0" fmla="*/ 419005 w 419004"/>
                <a:gd name="connsiteY0" fmla="*/ 209502 h 419004"/>
                <a:gd name="connsiteX1" fmla="*/ 209502 w 419004"/>
                <a:gd name="connsiteY1" fmla="*/ 419005 h 419004"/>
                <a:gd name="connsiteX2" fmla="*/ 0 w 419004"/>
                <a:gd name="connsiteY2" fmla="*/ 209502 h 419004"/>
                <a:gd name="connsiteX3" fmla="*/ 209502 w 419004"/>
                <a:gd name="connsiteY3" fmla="*/ 0 h 419004"/>
                <a:gd name="connsiteX4" fmla="*/ 419005 w 419004"/>
                <a:gd name="connsiteY4" fmla="*/ 209502 h 419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004" h="419004">
                  <a:moveTo>
                    <a:pt x="419005" y="209502"/>
                  </a:moveTo>
                  <a:cubicBezTo>
                    <a:pt x="419005" y="325208"/>
                    <a:pt x="325207" y="419005"/>
                    <a:pt x="209502" y="419005"/>
                  </a:cubicBezTo>
                  <a:cubicBezTo>
                    <a:pt x="93798" y="419005"/>
                    <a:pt x="0" y="325208"/>
                    <a:pt x="0" y="209502"/>
                  </a:cubicBezTo>
                  <a:cubicBezTo>
                    <a:pt x="0" y="93797"/>
                    <a:pt x="93798" y="0"/>
                    <a:pt x="209502" y="0"/>
                  </a:cubicBezTo>
                  <a:cubicBezTo>
                    <a:pt x="325207" y="0"/>
                    <a:pt x="419005" y="93797"/>
                    <a:pt x="419005" y="209502"/>
                  </a:cubicBezTo>
                  <a:close/>
                </a:path>
              </a:pathLst>
            </a:custGeom>
            <a:solidFill>
              <a:srgbClr val="FFB900"/>
            </a:solidFill>
            <a:ln>
              <a:gradFill flip="none" rotWithShape="1">
                <a:gsLst>
                  <a:gs pos="0">
                    <a:schemeClr val="bg1">
                      <a:alpha val="75000"/>
                    </a:schemeClr>
                  </a:gs>
                  <a:gs pos="75000">
                    <a:schemeClr val="bg1">
                      <a:alpha val="25000"/>
                    </a:schemeClr>
                  </a:gs>
                </a:gsLst>
                <a:lin ang="2700000" scaled="1"/>
                <a:tileRect/>
              </a:gradFill>
              <a:headEnd type="none" w="med" len="med"/>
              <a:tailEnd type="none" w="med" len="med"/>
            </a:ln>
            <a:effectLst>
              <a:outerShdw blurRad="50800" dist="254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99" name="Freeform: Shape 98">
              <a:extLst>
                <a:ext uri="{FF2B5EF4-FFF2-40B4-BE49-F238E27FC236}">
                  <a16:creationId xmlns:a16="http://schemas.microsoft.com/office/drawing/2014/main" id="{40954DBF-3298-9EBD-885F-64852E354145}"/>
                </a:ext>
              </a:extLst>
            </p:cNvPr>
            <p:cNvSpPr/>
            <p:nvPr/>
          </p:nvSpPr>
          <p:spPr>
            <a:xfrm>
              <a:off x="10332375" y="758779"/>
              <a:ext cx="928593" cy="928593"/>
            </a:xfrm>
            <a:custGeom>
              <a:avLst/>
              <a:gdLst>
                <a:gd name="connsiteX0" fmla="*/ 209502 w 419004"/>
                <a:gd name="connsiteY0" fmla="*/ 8551 h 419004"/>
                <a:gd name="connsiteX1" fmla="*/ 209502 w 419004"/>
                <a:gd name="connsiteY1" fmla="*/ 8551 h 419004"/>
                <a:gd name="connsiteX2" fmla="*/ 410454 w 419004"/>
                <a:gd name="connsiteY2" fmla="*/ 209503 h 419004"/>
                <a:gd name="connsiteX3" fmla="*/ 209502 w 419004"/>
                <a:gd name="connsiteY3" fmla="*/ 410454 h 419004"/>
                <a:gd name="connsiteX4" fmla="*/ 8551 w 419004"/>
                <a:gd name="connsiteY4" fmla="*/ 209503 h 419004"/>
                <a:gd name="connsiteX5" fmla="*/ 209502 w 419004"/>
                <a:gd name="connsiteY5" fmla="*/ 8551 h 419004"/>
                <a:gd name="connsiteX6" fmla="*/ 209502 w 419004"/>
                <a:gd name="connsiteY6" fmla="*/ 0 h 419004"/>
                <a:gd name="connsiteX7" fmla="*/ 0 w 419004"/>
                <a:gd name="connsiteY7" fmla="*/ 209503 h 419004"/>
                <a:gd name="connsiteX8" fmla="*/ 209502 w 419004"/>
                <a:gd name="connsiteY8" fmla="*/ 419005 h 419004"/>
                <a:gd name="connsiteX9" fmla="*/ 419005 w 419004"/>
                <a:gd name="connsiteY9" fmla="*/ 209503 h 419004"/>
                <a:gd name="connsiteX10" fmla="*/ 209502 w 419004"/>
                <a:gd name="connsiteY10" fmla="*/ 0 h 419004"/>
                <a:gd name="connsiteX11" fmla="*/ 209502 w 419004"/>
                <a:gd name="connsiteY11" fmla="*/ 0 h 419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9004" h="419004">
                  <a:moveTo>
                    <a:pt x="209502" y="8551"/>
                  </a:moveTo>
                  <a:lnTo>
                    <a:pt x="209502" y="8551"/>
                  </a:lnTo>
                  <a:cubicBezTo>
                    <a:pt x="320297" y="8551"/>
                    <a:pt x="410454" y="98708"/>
                    <a:pt x="410454" y="209503"/>
                  </a:cubicBezTo>
                  <a:cubicBezTo>
                    <a:pt x="410454" y="320297"/>
                    <a:pt x="320297" y="410454"/>
                    <a:pt x="209502" y="410454"/>
                  </a:cubicBezTo>
                  <a:cubicBezTo>
                    <a:pt x="98708" y="410454"/>
                    <a:pt x="8551" y="320297"/>
                    <a:pt x="8551" y="209503"/>
                  </a:cubicBezTo>
                  <a:cubicBezTo>
                    <a:pt x="8551" y="98708"/>
                    <a:pt x="98708" y="8551"/>
                    <a:pt x="209502" y="8551"/>
                  </a:cubicBezTo>
                  <a:moveTo>
                    <a:pt x="209502" y="0"/>
                  </a:moveTo>
                  <a:cubicBezTo>
                    <a:pt x="93806" y="0"/>
                    <a:pt x="0" y="93806"/>
                    <a:pt x="0" y="209503"/>
                  </a:cubicBezTo>
                  <a:cubicBezTo>
                    <a:pt x="0" y="325199"/>
                    <a:pt x="93806" y="419005"/>
                    <a:pt x="209502" y="419005"/>
                  </a:cubicBezTo>
                  <a:cubicBezTo>
                    <a:pt x="325199" y="419005"/>
                    <a:pt x="419005" y="325199"/>
                    <a:pt x="419005" y="209503"/>
                  </a:cubicBezTo>
                  <a:cubicBezTo>
                    <a:pt x="419005" y="93806"/>
                    <a:pt x="325199" y="0"/>
                    <a:pt x="209502" y="0"/>
                  </a:cubicBezTo>
                  <a:lnTo>
                    <a:pt x="209502" y="0"/>
                  </a:lnTo>
                  <a:close/>
                </a:path>
              </a:pathLst>
            </a:custGeom>
            <a:gradFill>
              <a:gsLst>
                <a:gs pos="0">
                  <a:srgbClr val="FFFFFF"/>
                </a:gs>
                <a:gs pos="17000">
                  <a:srgbClr val="FCFCFC">
                    <a:alpha val="98824"/>
                  </a:srgbClr>
                </a:gs>
                <a:gs pos="30000">
                  <a:srgbClr val="F3F3F3">
                    <a:alpha val="95686"/>
                  </a:srgbClr>
                </a:gs>
                <a:gs pos="42000">
                  <a:srgbClr val="E4E4E4">
                    <a:alpha val="90980"/>
                  </a:srgbClr>
                </a:gs>
                <a:gs pos="54000">
                  <a:srgbClr val="D0D0D0">
                    <a:alpha val="83922"/>
                  </a:srgbClr>
                </a:gs>
                <a:gs pos="65000">
                  <a:srgbClr val="B5B5B5">
                    <a:alpha val="74902"/>
                  </a:srgbClr>
                </a:gs>
                <a:gs pos="76000">
                  <a:srgbClr val="959595">
                    <a:alpha val="63922"/>
                  </a:srgbClr>
                </a:gs>
                <a:gs pos="86000">
                  <a:srgbClr val="6E6E6E">
                    <a:alpha val="50980"/>
                  </a:srgbClr>
                </a:gs>
                <a:gs pos="96000">
                  <a:srgbClr val="424242">
                    <a:alpha val="36863"/>
                  </a:srgbClr>
                </a:gs>
                <a:gs pos="100000">
                  <a:srgbClr val="2F2F2F">
                    <a:alpha val="29804"/>
                  </a:srgbClr>
                </a:gs>
              </a:gsLst>
              <a:lin ang="2700000" scaled="1"/>
            </a:gradFill>
            <a:ln w="0"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DFBD363C-96DB-33CF-51D2-8A7BA283CEB3}"/>
                </a:ext>
              </a:extLst>
            </p:cNvPr>
            <p:cNvSpPr/>
            <p:nvPr/>
          </p:nvSpPr>
          <p:spPr>
            <a:xfrm>
              <a:off x="10214122" y="2410798"/>
              <a:ext cx="1137055" cy="1137055"/>
            </a:xfrm>
            <a:custGeom>
              <a:avLst/>
              <a:gdLst>
                <a:gd name="connsiteX0" fmla="*/ 513067 w 513067"/>
                <a:gd name="connsiteY0" fmla="*/ 256534 h 513067"/>
                <a:gd name="connsiteX1" fmla="*/ 256534 w 513067"/>
                <a:gd name="connsiteY1" fmla="*/ 513067 h 513067"/>
                <a:gd name="connsiteX2" fmla="*/ 0 w 513067"/>
                <a:gd name="connsiteY2" fmla="*/ 256534 h 513067"/>
                <a:gd name="connsiteX3" fmla="*/ 256534 w 513067"/>
                <a:gd name="connsiteY3" fmla="*/ 0 h 513067"/>
                <a:gd name="connsiteX4" fmla="*/ 513067 w 513067"/>
                <a:gd name="connsiteY4" fmla="*/ 256534 h 5130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3067" h="513067">
                  <a:moveTo>
                    <a:pt x="513067" y="256534"/>
                  </a:moveTo>
                  <a:cubicBezTo>
                    <a:pt x="513067" y="398214"/>
                    <a:pt x="398214" y="513067"/>
                    <a:pt x="256534" y="513067"/>
                  </a:cubicBezTo>
                  <a:cubicBezTo>
                    <a:pt x="114854" y="513067"/>
                    <a:pt x="0" y="398214"/>
                    <a:pt x="0" y="256534"/>
                  </a:cubicBezTo>
                  <a:cubicBezTo>
                    <a:pt x="0" y="114854"/>
                    <a:pt x="114854" y="0"/>
                    <a:pt x="256534" y="0"/>
                  </a:cubicBezTo>
                  <a:cubicBezTo>
                    <a:pt x="398214" y="0"/>
                    <a:pt x="513067" y="114854"/>
                    <a:pt x="513067" y="256534"/>
                  </a:cubicBezTo>
                  <a:close/>
                </a:path>
              </a:pathLst>
            </a:custGeom>
            <a:solidFill>
              <a:schemeClr val="accent1"/>
            </a:solidFill>
            <a:ln w="25400">
              <a:gradFill flip="none" rotWithShape="1">
                <a:gsLst>
                  <a:gs pos="0">
                    <a:schemeClr val="bg1">
                      <a:alpha val="75000"/>
                    </a:schemeClr>
                  </a:gs>
                  <a:gs pos="75000">
                    <a:schemeClr val="bg1">
                      <a:alpha val="15000"/>
                    </a:schemeClr>
                  </a:gs>
                </a:gsLst>
                <a:lin ang="2700000" scaled="1"/>
                <a:tileRect/>
              </a:gradFill>
              <a:headEnd type="none" w="med" len="med"/>
              <a:tailEnd type="none" w="med" len="med"/>
            </a:ln>
            <a:effectLst>
              <a:outerShdw blurRad="50800" dist="254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101" name="Freeform: Shape 100">
              <a:extLst>
                <a:ext uri="{FF2B5EF4-FFF2-40B4-BE49-F238E27FC236}">
                  <a16:creationId xmlns:a16="http://schemas.microsoft.com/office/drawing/2014/main" id="{5B99B036-E7BC-19ED-62FD-8DA81D428D92}"/>
                </a:ext>
              </a:extLst>
            </p:cNvPr>
            <p:cNvSpPr/>
            <p:nvPr/>
          </p:nvSpPr>
          <p:spPr>
            <a:xfrm>
              <a:off x="10318347" y="2515023"/>
              <a:ext cx="928593" cy="928593"/>
            </a:xfrm>
            <a:custGeom>
              <a:avLst/>
              <a:gdLst>
                <a:gd name="connsiteX0" fmla="*/ 419005 w 419004"/>
                <a:gd name="connsiteY0" fmla="*/ 209503 h 419004"/>
                <a:gd name="connsiteX1" fmla="*/ 209503 w 419004"/>
                <a:gd name="connsiteY1" fmla="*/ 419005 h 419004"/>
                <a:gd name="connsiteX2" fmla="*/ 0 w 419004"/>
                <a:gd name="connsiteY2" fmla="*/ 209503 h 419004"/>
                <a:gd name="connsiteX3" fmla="*/ 209503 w 419004"/>
                <a:gd name="connsiteY3" fmla="*/ 0 h 419004"/>
                <a:gd name="connsiteX4" fmla="*/ 419005 w 419004"/>
                <a:gd name="connsiteY4" fmla="*/ 209503 h 419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004" h="419004">
                  <a:moveTo>
                    <a:pt x="419005" y="209503"/>
                  </a:moveTo>
                  <a:cubicBezTo>
                    <a:pt x="419005" y="325207"/>
                    <a:pt x="325207" y="419005"/>
                    <a:pt x="209503" y="419005"/>
                  </a:cubicBezTo>
                  <a:cubicBezTo>
                    <a:pt x="93798" y="419005"/>
                    <a:pt x="0" y="325207"/>
                    <a:pt x="0" y="209503"/>
                  </a:cubicBezTo>
                  <a:cubicBezTo>
                    <a:pt x="0" y="93798"/>
                    <a:pt x="93798" y="0"/>
                    <a:pt x="209503" y="0"/>
                  </a:cubicBezTo>
                  <a:cubicBezTo>
                    <a:pt x="325207" y="0"/>
                    <a:pt x="419005" y="93798"/>
                    <a:pt x="419005" y="209503"/>
                  </a:cubicBezTo>
                  <a:close/>
                </a:path>
              </a:pathLst>
            </a:custGeom>
            <a:solidFill>
              <a:schemeClr val="accent1"/>
            </a:solidFill>
            <a:ln w="25400">
              <a:gradFill flip="none" rotWithShape="1">
                <a:gsLst>
                  <a:gs pos="0">
                    <a:schemeClr val="bg1">
                      <a:alpha val="75000"/>
                    </a:schemeClr>
                  </a:gs>
                  <a:gs pos="75000">
                    <a:schemeClr val="bg1">
                      <a:alpha val="15000"/>
                    </a:schemeClr>
                  </a:gs>
                </a:gsLst>
                <a:lin ang="2700000" scaled="1"/>
                <a:tileRect/>
              </a:gradFill>
              <a:headEnd type="none" w="med" len="med"/>
              <a:tailEnd type="none" w="med" len="med"/>
            </a:ln>
            <a:effectLst>
              <a:outerShdw blurRad="50800" dist="254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102" name="Freeform: Shape 101">
              <a:extLst>
                <a:ext uri="{FF2B5EF4-FFF2-40B4-BE49-F238E27FC236}">
                  <a16:creationId xmlns:a16="http://schemas.microsoft.com/office/drawing/2014/main" id="{A737157E-F04C-9BC8-BAFF-67030E03E91D}"/>
                </a:ext>
              </a:extLst>
            </p:cNvPr>
            <p:cNvSpPr/>
            <p:nvPr/>
          </p:nvSpPr>
          <p:spPr>
            <a:xfrm>
              <a:off x="8926911" y="5648563"/>
              <a:ext cx="928593" cy="928593"/>
            </a:xfrm>
            <a:custGeom>
              <a:avLst/>
              <a:gdLst>
                <a:gd name="connsiteX0" fmla="*/ 419005 w 419004"/>
                <a:gd name="connsiteY0" fmla="*/ 209503 h 419004"/>
                <a:gd name="connsiteX1" fmla="*/ 209502 w 419004"/>
                <a:gd name="connsiteY1" fmla="*/ 419005 h 419004"/>
                <a:gd name="connsiteX2" fmla="*/ 0 w 419004"/>
                <a:gd name="connsiteY2" fmla="*/ 209503 h 419004"/>
                <a:gd name="connsiteX3" fmla="*/ 209502 w 419004"/>
                <a:gd name="connsiteY3" fmla="*/ 0 h 419004"/>
                <a:gd name="connsiteX4" fmla="*/ 419005 w 419004"/>
                <a:gd name="connsiteY4" fmla="*/ 209503 h 419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004" h="419004">
                  <a:moveTo>
                    <a:pt x="419005" y="209503"/>
                  </a:moveTo>
                  <a:cubicBezTo>
                    <a:pt x="419005" y="325208"/>
                    <a:pt x="325207" y="419005"/>
                    <a:pt x="209502" y="419005"/>
                  </a:cubicBezTo>
                  <a:cubicBezTo>
                    <a:pt x="93798" y="419005"/>
                    <a:pt x="0" y="325208"/>
                    <a:pt x="0" y="209503"/>
                  </a:cubicBezTo>
                  <a:cubicBezTo>
                    <a:pt x="0" y="93798"/>
                    <a:pt x="93798" y="0"/>
                    <a:pt x="209502" y="0"/>
                  </a:cubicBezTo>
                  <a:cubicBezTo>
                    <a:pt x="325207" y="0"/>
                    <a:pt x="419005" y="93798"/>
                    <a:pt x="419005" y="209503"/>
                  </a:cubicBezTo>
                  <a:close/>
                </a:path>
              </a:pathLst>
            </a:custGeom>
            <a:solidFill>
              <a:schemeClr val="bg1"/>
            </a:solidFill>
            <a:ln>
              <a:solidFill>
                <a:schemeClr val="bg1">
                  <a:alpha val="25000"/>
                </a:schemeClr>
              </a:solidFill>
              <a:headEnd type="none" w="med" len="med"/>
              <a:tailEnd type="none" w="med" len="med"/>
            </a:ln>
            <a:effectLst>
              <a:outerShdw blurRad="50800" dist="254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103" name="Freeform: Shape 102">
              <a:extLst>
                <a:ext uri="{FF2B5EF4-FFF2-40B4-BE49-F238E27FC236}">
                  <a16:creationId xmlns:a16="http://schemas.microsoft.com/office/drawing/2014/main" id="{AA91CDA4-5C85-97DB-B2C0-D0B48A3EF516}"/>
                </a:ext>
              </a:extLst>
            </p:cNvPr>
            <p:cNvSpPr/>
            <p:nvPr/>
          </p:nvSpPr>
          <p:spPr>
            <a:xfrm>
              <a:off x="8926911" y="5648563"/>
              <a:ext cx="928593" cy="928593"/>
            </a:xfrm>
            <a:custGeom>
              <a:avLst/>
              <a:gdLst>
                <a:gd name="connsiteX0" fmla="*/ 209502 w 419004"/>
                <a:gd name="connsiteY0" fmla="*/ 8551 h 419004"/>
                <a:gd name="connsiteX1" fmla="*/ 209502 w 419004"/>
                <a:gd name="connsiteY1" fmla="*/ 8551 h 419004"/>
                <a:gd name="connsiteX2" fmla="*/ 410454 w 419004"/>
                <a:gd name="connsiteY2" fmla="*/ 209503 h 419004"/>
                <a:gd name="connsiteX3" fmla="*/ 351594 w 419004"/>
                <a:gd name="connsiteY3" fmla="*/ 351594 h 419004"/>
                <a:gd name="connsiteX4" fmla="*/ 209502 w 419004"/>
                <a:gd name="connsiteY4" fmla="*/ 410454 h 419004"/>
                <a:gd name="connsiteX5" fmla="*/ 8551 w 419004"/>
                <a:gd name="connsiteY5" fmla="*/ 209503 h 419004"/>
                <a:gd name="connsiteX6" fmla="*/ 209502 w 419004"/>
                <a:gd name="connsiteY6" fmla="*/ 8551 h 419004"/>
                <a:gd name="connsiteX7" fmla="*/ 209502 w 419004"/>
                <a:gd name="connsiteY7" fmla="*/ 0 h 419004"/>
                <a:gd name="connsiteX8" fmla="*/ 0 w 419004"/>
                <a:gd name="connsiteY8" fmla="*/ 209503 h 419004"/>
                <a:gd name="connsiteX9" fmla="*/ 209502 w 419004"/>
                <a:gd name="connsiteY9" fmla="*/ 419005 h 419004"/>
                <a:gd name="connsiteX10" fmla="*/ 419005 w 419004"/>
                <a:gd name="connsiteY10" fmla="*/ 209503 h 419004"/>
                <a:gd name="connsiteX11" fmla="*/ 209502 w 419004"/>
                <a:gd name="connsiteY11" fmla="*/ 0 h 419004"/>
                <a:gd name="connsiteX12" fmla="*/ 209502 w 419004"/>
                <a:gd name="connsiteY12" fmla="*/ 0 h 419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9004" h="419004">
                  <a:moveTo>
                    <a:pt x="209502" y="8551"/>
                  </a:moveTo>
                  <a:lnTo>
                    <a:pt x="209502" y="8551"/>
                  </a:lnTo>
                  <a:cubicBezTo>
                    <a:pt x="320297" y="8551"/>
                    <a:pt x="410454" y="98708"/>
                    <a:pt x="410454" y="209503"/>
                  </a:cubicBezTo>
                  <a:cubicBezTo>
                    <a:pt x="410454" y="263175"/>
                    <a:pt x="389561" y="313655"/>
                    <a:pt x="351594" y="351594"/>
                  </a:cubicBezTo>
                  <a:cubicBezTo>
                    <a:pt x="313627" y="389560"/>
                    <a:pt x="263175" y="410454"/>
                    <a:pt x="209502" y="410454"/>
                  </a:cubicBezTo>
                  <a:cubicBezTo>
                    <a:pt x="98708" y="410454"/>
                    <a:pt x="8551" y="320297"/>
                    <a:pt x="8551" y="209503"/>
                  </a:cubicBezTo>
                  <a:cubicBezTo>
                    <a:pt x="8551" y="98708"/>
                    <a:pt x="98708" y="8551"/>
                    <a:pt x="209502" y="8551"/>
                  </a:cubicBezTo>
                  <a:moveTo>
                    <a:pt x="209502" y="0"/>
                  </a:moveTo>
                  <a:cubicBezTo>
                    <a:pt x="93806" y="0"/>
                    <a:pt x="0" y="93806"/>
                    <a:pt x="0" y="209503"/>
                  </a:cubicBezTo>
                  <a:cubicBezTo>
                    <a:pt x="0" y="325199"/>
                    <a:pt x="93806" y="419005"/>
                    <a:pt x="209502" y="419005"/>
                  </a:cubicBezTo>
                  <a:cubicBezTo>
                    <a:pt x="325199" y="419005"/>
                    <a:pt x="419005" y="325199"/>
                    <a:pt x="419005" y="209503"/>
                  </a:cubicBezTo>
                  <a:cubicBezTo>
                    <a:pt x="419005" y="93806"/>
                    <a:pt x="325199" y="0"/>
                    <a:pt x="209502" y="0"/>
                  </a:cubicBezTo>
                  <a:lnTo>
                    <a:pt x="209502" y="0"/>
                  </a:lnTo>
                  <a:close/>
                </a:path>
              </a:pathLst>
            </a:custGeom>
            <a:gradFill>
              <a:gsLst>
                <a:gs pos="0">
                  <a:srgbClr val="FFFFFF"/>
                </a:gs>
                <a:gs pos="17000">
                  <a:srgbClr val="FCFCFC">
                    <a:alpha val="98824"/>
                  </a:srgbClr>
                </a:gs>
                <a:gs pos="30000">
                  <a:srgbClr val="F3F3F3">
                    <a:alpha val="95686"/>
                  </a:srgbClr>
                </a:gs>
                <a:gs pos="42000">
                  <a:srgbClr val="E4E4E4">
                    <a:alpha val="90980"/>
                  </a:srgbClr>
                </a:gs>
                <a:gs pos="54000">
                  <a:srgbClr val="D0D0D0">
                    <a:alpha val="83922"/>
                  </a:srgbClr>
                </a:gs>
                <a:gs pos="65000">
                  <a:srgbClr val="B5B5B5">
                    <a:alpha val="74902"/>
                  </a:srgbClr>
                </a:gs>
                <a:gs pos="76000">
                  <a:srgbClr val="959595">
                    <a:alpha val="63922"/>
                  </a:srgbClr>
                </a:gs>
                <a:gs pos="86000">
                  <a:srgbClr val="6E6E6E">
                    <a:alpha val="50980"/>
                  </a:srgbClr>
                </a:gs>
                <a:gs pos="96000">
                  <a:srgbClr val="424242">
                    <a:alpha val="36863"/>
                  </a:srgbClr>
                </a:gs>
                <a:gs pos="100000">
                  <a:srgbClr val="2F2F2F">
                    <a:alpha val="29804"/>
                  </a:srgbClr>
                </a:gs>
              </a:gsLst>
              <a:lin ang="2880159" scaled="1"/>
            </a:gradFill>
            <a:ln w="0" cap="flat">
              <a:noFill/>
              <a:prstDash val="solid"/>
              <a:miter/>
            </a:ln>
          </p:spPr>
          <p:txBody>
            <a:bodyPr rtlCol="0" anchor="ctr"/>
            <a:lstStyle/>
            <a:p>
              <a:endParaRPr lang="en-US"/>
            </a:p>
          </p:txBody>
        </p:sp>
        <p:sp>
          <p:nvSpPr>
            <p:cNvPr id="104" name="Freeform: Shape 103">
              <a:extLst>
                <a:ext uri="{FF2B5EF4-FFF2-40B4-BE49-F238E27FC236}">
                  <a16:creationId xmlns:a16="http://schemas.microsoft.com/office/drawing/2014/main" id="{6AD9234C-C010-903D-84AF-89844C0A3BA1}"/>
                </a:ext>
              </a:extLst>
            </p:cNvPr>
            <p:cNvSpPr/>
            <p:nvPr/>
          </p:nvSpPr>
          <p:spPr>
            <a:xfrm>
              <a:off x="10782016" y="3584931"/>
              <a:ext cx="1137055" cy="1137055"/>
            </a:xfrm>
            <a:custGeom>
              <a:avLst/>
              <a:gdLst>
                <a:gd name="connsiteX0" fmla="*/ 513067 w 513067"/>
                <a:gd name="connsiteY0" fmla="*/ 256534 h 513067"/>
                <a:gd name="connsiteX1" fmla="*/ 256534 w 513067"/>
                <a:gd name="connsiteY1" fmla="*/ 513067 h 513067"/>
                <a:gd name="connsiteX2" fmla="*/ 0 w 513067"/>
                <a:gd name="connsiteY2" fmla="*/ 256534 h 513067"/>
                <a:gd name="connsiteX3" fmla="*/ 256534 w 513067"/>
                <a:gd name="connsiteY3" fmla="*/ 0 h 513067"/>
                <a:gd name="connsiteX4" fmla="*/ 513067 w 513067"/>
                <a:gd name="connsiteY4" fmla="*/ 256534 h 5130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3067" h="513067">
                  <a:moveTo>
                    <a:pt x="513067" y="256534"/>
                  </a:moveTo>
                  <a:cubicBezTo>
                    <a:pt x="513067" y="398213"/>
                    <a:pt x="398214" y="513067"/>
                    <a:pt x="256534" y="513067"/>
                  </a:cubicBezTo>
                  <a:cubicBezTo>
                    <a:pt x="114854" y="513067"/>
                    <a:pt x="0" y="398213"/>
                    <a:pt x="0" y="256534"/>
                  </a:cubicBezTo>
                  <a:cubicBezTo>
                    <a:pt x="0" y="114854"/>
                    <a:pt x="114854" y="0"/>
                    <a:pt x="256534" y="0"/>
                  </a:cubicBezTo>
                  <a:cubicBezTo>
                    <a:pt x="398214" y="0"/>
                    <a:pt x="513067" y="114854"/>
                    <a:pt x="513067" y="256534"/>
                  </a:cubicBezTo>
                  <a:close/>
                </a:path>
              </a:pathLst>
            </a:custGeom>
            <a:solidFill>
              <a:srgbClr val="095E09"/>
            </a:solidFill>
            <a:ln>
              <a:gradFill flip="none" rotWithShape="1">
                <a:gsLst>
                  <a:gs pos="0">
                    <a:schemeClr val="bg1">
                      <a:alpha val="75000"/>
                    </a:schemeClr>
                  </a:gs>
                  <a:gs pos="75000">
                    <a:schemeClr val="bg1">
                      <a:alpha val="25000"/>
                    </a:schemeClr>
                  </a:gs>
                </a:gsLst>
                <a:lin ang="2700000" scaled="1"/>
                <a:tileRect/>
              </a:gradFill>
              <a:headEnd type="none" w="med" len="med"/>
              <a:tailEnd type="none" w="med" len="med"/>
            </a:ln>
            <a:effectLst>
              <a:outerShdw blurRad="50800" dist="254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105" name="Freeform: Shape 104">
              <a:extLst>
                <a:ext uri="{FF2B5EF4-FFF2-40B4-BE49-F238E27FC236}">
                  <a16:creationId xmlns:a16="http://schemas.microsoft.com/office/drawing/2014/main" id="{DC5A50F9-6087-751D-E265-D140A52E6E56}"/>
                </a:ext>
              </a:extLst>
            </p:cNvPr>
            <p:cNvSpPr/>
            <p:nvPr/>
          </p:nvSpPr>
          <p:spPr>
            <a:xfrm>
              <a:off x="10886248" y="3689163"/>
              <a:ext cx="928594" cy="928593"/>
            </a:xfrm>
            <a:custGeom>
              <a:avLst/>
              <a:gdLst>
                <a:gd name="connsiteX0" fmla="*/ 419005 w 419004"/>
                <a:gd name="connsiteY0" fmla="*/ 209503 h 419004"/>
                <a:gd name="connsiteX1" fmla="*/ 209503 w 419004"/>
                <a:gd name="connsiteY1" fmla="*/ 419005 h 419004"/>
                <a:gd name="connsiteX2" fmla="*/ 0 w 419004"/>
                <a:gd name="connsiteY2" fmla="*/ 209503 h 419004"/>
                <a:gd name="connsiteX3" fmla="*/ 209503 w 419004"/>
                <a:gd name="connsiteY3" fmla="*/ 0 h 419004"/>
                <a:gd name="connsiteX4" fmla="*/ 419005 w 419004"/>
                <a:gd name="connsiteY4" fmla="*/ 209503 h 419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004" h="419004">
                  <a:moveTo>
                    <a:pt x="419005" y="209503"/>
                  </a:moveTo>
                  <a:cubicBezTo>
                    <a:pt x="419005" y="325207"/>
                    <a:pt x="325208" y="419005"/>
                    <a:pt x="209503" y="419005"/>
                  </a:cubicBezTo>
                  <a:cubicBezTo>
                    <a:pt x="93798" y="419005"/>
                    <a:pt x="0" y="325207"/>
                    <a:pt x="0" y="209503"/>
                  </a:cubicBezTo>
                  <a:cubicBezTo>
                    <a:pt x="0" y="93798"/>
                    <a:pt x="93798" y="0"/>
                    <a:pt x="209503" y="0"/>
                  </a:cubicBezTo>
                  <a:cubicBezTo>
                    <a:pt x="325208" y="0"/>
                    <a:pt x="419005" y="93798"/>
                    <a:pt x="419005" y="209503"/>
                  </a:cubicBezTo>
                  <a:close/>
                </a:path>
              </a:pathLst>
            </a:custGeom>
            <a:solidFill>
              <a:schemeClr val="bg1"/>
            </a:solidFill>
            <a:ln>
              <a:solidFill>
                <a:schemeClr val="bg1">
                  <a:alpha val="25000"/>
                </a:schemeClr>
              </a:solidFill>
              <a:headEnd type="none" w="med" len="med"/>
              <a:tailEnd type="none" w="med" len="med"/>
            </a:ln>
            <a:effectLst>
              <a:outerShdw blurRad="50800" dist="254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106" name="Freeform: Shape 105">
              <a:extLst>
                <a:ext uri="{FF2B5EF4-FFF2-40B4-BE49-F238E27FC236}">
                  <a16:creationId xmlns:a16="http://schemas.microsoft.com/office/drawing/2014/main" id="{506EC801-54EA-4025-70BF-6C725C2E67B6}"/>
                </a:ext>
              </a:extLst>
            </p:cNvPr>
            <p:cNvSpPr/>
            <p:nvPr/>
          </p:nvSpPr>
          <p:spPr>
            <a:xfrm>
              <a:off x="10886248" y="3689163"/>
              <a:ext cx="928594" cy="928593"/>
            </a:xfrm>
            <a:custGeom>
              <a:avLst/>
              <a:gdLst>
                <a:gd name="connsiteX0" fmla="*/ 209502 w 419004"/>
                <a:gd name="connsiteY0" fmla="*/ 8551 h 419004"/>
                <a:gd name="connsiteX1" fmla="*/ 410454 w 419004"/>
                <a:gd name="connsiteY1" fmla="*/ 209503 h 419004"/>
                <a:gd name="connsiteX2" fmla="*/ 209502 w 419004"/>
                <a:gd name="connsiteY2" fmla="*/ 410454 h 419004"/>
                <a:gd name="connsiteX3" fmla="*/ 8551 w 419004"/>
                <a:gd name="connsiteY3" fmla="*/ 209503 h 419004"/>
                <a:gd name="connsiteX4" fmla="*/ 209502 w 419004"/>
                <a:gd name="connsiteY4" fmla="*/ 8551 h 419004"/>
                <a:gd name="connsiteX5" fmla="*/ 209502 w 419004"/>
                <a:gd name="connsiteY5" fmla="*/ 0 h 419004"/>
                <a:gd name="connsiteX6" fmla="*/ 0 w 419004"/>
                <a:gd name="connsiteY6" fmla="*/ 209503 h 419004"/>
                <a:gd name="connsiteX7" fmla="*/ 209502 w 419004"/>
                <a:gd name="connsiteY7" fmla="*/ 419005 h 419004"/>
                <a:gd name="connsiteX8" fmla="*/ 419005 w 419004"/>
                <a:gd name="connsiteY8" fmla="*/ 209503 h 419004"/>
                <a:gd name="connsiteX9" fmla="*/ 209502 w 419004"/>
                <a:gd name="connsiteY9" fmla="*/ 0 h 419004"/>
                <a:gd name="connsiteX10" fmla="*/ 209502 w 419004"/>
                <a:gd name="connsiteY10" fmla="*/ 0 h 419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9004" h="419004">
                  <a:moveTo>
                    <a:pt x="209502" y="8551"/>
                  </a:moveTo>
                  <a:cubicBezTo>
                    <a:pt x="320297" y="8551"/>
                    <a:pt x="410454" y="98708"/>
                    <a:pt x="410454" y="209503"/>
                  </a:cubicBezTo>
                  <a:cubicBezTo>
                    <a:pt x="410454" y="320297"/>
                    <a:pt x="320297" y="410454"/>
                    <a:pt x="209502" y="410454"/>
                  </a:cubicBezTo>
                  <a:cubicBezTo>
                    <a:pt x="98708" y="410454"/>
                    <a:pt x="8551" y="320297"/>
                    <a:pt x="8551" y="209503"/>
                  </a:cubicBezTo>
                  <a:cubicBezTo>
                    <a:pt x="8551" y="98708"/>
                    <a:pt x="98708" y="8551"/>
                    <a:pt x="209502" y="8551"/>
                  </a:cubicBezTo>
                  <a:moveTo>
                    <a:pt x="209502" y="0"/>
                  </a:moveTo>
                  <a:cubicBezTo>
                    <a:pt x="93806" y="0"/>
                    <a:pt x="0" y="93806"/>
                    <a:pt x="0" y="209503"/>
                  </a:cubicBezTo>
                  <a:cubicBezTo>
                    <a:pt x="0" y="325199"/>
                    <a:pt x="93806" y="419005"/>
                    <a:pt x="209502" y="419005"/>
                  </a:cubicBezTo>
                  <a:cubicBezTo>
                    <a:pt x="325199" y="419005"/>
                    <a:pt x="419005" y="325199"/>
                    <a:pt x="419005" y="209503"/>
                  </a:cubicBezTo>
                  <a:cubicBezTo>
                    <a:pt x="419005" y="93806"/>
                    <a:pt x="325199" y="0"/>
                    <a:pt x="209502" y="0"/>
                  </a:cubicBezTo>
                  <a:lnTo>
                    <a:pt x="209502" y="0"/>
                  </a:lnTo>
                  <a:close/>
                </a:path>
              </a:pathLst>
            </a:custGeom>
            <a:gradFill>
              <a:gsLst>
                <a:gs pos="0">
                  <a:srgbClr val="FFFFFF"/>
                </a:gs>
                <a:gs pos="50000">
                  <a:srgbClr val="979797"/>
                </a:gs>
                <a:gs pos="100000">
                  <a:srgbClr val="2F2F2F"/>
                </a:gs>
              </a:gsLst>
              <a:lin ang="2699835" scaled="1"/>
            </a:gradFill>
            <a:ln w="0" cap="flat">
              <a:noFill/>
              <a:prstDash val="solid"/>
              <a:miter/>
            </a:ln>
          </p:spPr>
          <p:txBody>
            <a:bodyPr rtlCol="0" anchor="ctr"/>
            <a:lstStyle/>
            <a:p>
              <a:endParaRPr lang="en-US"/>
            </a:p>
          </p:txBody>
        </p:sp>
      </p:grpSp>
    </p:spTree>
    <p:extLst>
      <p:ext uri="{BB962C8B-B14F-4D97-AF65-F5344CB8AC3E}">
        <p14:creationId xmlns:p14="http://schemas.microsoft.com/office/powerpoint/2010/main" val="39744316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Simplicity_Title Slide gray">
    <p:bg>
      <p:bgPr>
        <a:gradFill>
          <a:gsLst>
            <a:gs pos="0">
              <a:schemeClr val="tx1"/>
            </a:gs>
            <a:gs pos="100000">
              <a:srgbClr val="243A5E"/>
            </a:gs>
          </a:gsLst>
          <a:lin ang="5400000" scaled="1"/>
        </a:gradFill>
        <a:effectLst/>
      </p:bgPr>
    </p:bg>
    <p:spTree>
      <p:nvGrpSpPr>
        <p:cNvPr id="1" name=""/>
        <p:cNvGrpSpPr/>
        <p:nvPr/>
      </p:nvGrpSpPr>
      <p:grpSpPr>
        <a:xfrm>
          <a:off x="0" y="0"/>
          <a:ext cx="0" cy="0"/>
          <a:chOff x="0" y="0"/>
          <a:chExt cx="0" cy="0"/>
        </a:xfrm>
      </p:grpSpPr>
      <p:pic>
        <p:nvPicPr>
          <p:cNvPr id="10" name="Picture 9" descr="A black and white logo&#10;&#10;Description automatically generated">
            <a:extLst>
              <a:ext uri="{FF2B5EF4-FFF2-40B4-BE49-F238E27FC236}">
                <a16:creationId xmlns:a16="http://schemas.microsoft.com/office/drawing/2014/main" id="{D301B91F-AAAC-E538-5F45-5CA0DDF041B4}"/>
              </a:ext>
            </a:extLst>
          </p:cNvPr>
          <p:cNvPicPr>
            <a:picLocks noChangeAspect="1"/>
          </p:cNvPicPr>
          <p:nvPr userDrawn="1"/>
        </p:nvPicPr>
        <p:blipFill rotWithShape="1">
          <a:blip r:embed="rId2"/>
          <a:srcRect l="9831" t="30470" r="9778" b="31934"/>
          <a:stretch/>
        </p:blipFill>
        <p:spPr>
          <a:xfrm>
            <a:off x="565402" y="560565"/>
            <a:ext cx="2354775" cy="331610"/>
          </a:xfrm>
          <a:prstGeom prst="rect">
            <a:avLst/>
          </a:prstGeom>
        </p:spPr>
      </p:pic>
      <p:sp>
        <p:nvSpPr>
          <p:cNvPr id="11" name="Title 1">
            <a:extLst>
              <a:ext uri="{FF2B5EF4-FFF2-40B4-BE49-F238E27FC236}">
                <a16:creationId xmlns:a16="http://schemas.microsoft.com/office/drawing/2014/main" id="{0E8DA97C-7A91-D5D5-D481-7D716921A7F9}"/>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bg1"/>
                </a:solidFill>
              </a:defRPr>
            </a:lvl1pPr>
          </a:lstStyle>
          <a:p>
            <a:r>
              <a:rPr lang="en-US"/>
              <a:t>Event name or presentation title </a:t>
            </a:r>
          </a:p>
        </p:txBody>
      </p:sp>
      <p:sp>
        <p:nvSpPr>
          <p:cNvPr id="12" name="Text Placeholder 4">
            <a:extLst>
              <a:ext uri="{FF2B5EF4-FFF2-40B4-BE49-F238E27FC236}">
                <a16:creationId xmlns:a16="http://schemas.microsoft.com/office/drawing/2014/main" id="{80EE20D7-51F8-E10A-ECDE-30D3C939FA2D}"/>
              </a:ext>
            </a:extLst>
          </p:cNvPr>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b="0" i="0" spc="0" baseline="0">
                <a:solidFill>
                  <a:schemeClr val="bg1"/>
                </a:solidFill>
                <a:latin typeface="Segoe Sans Display" pitchFamily="2" charset="0"/>
                <a:cs typeface="Segoe Sans Display" pitchFamily="2" charset="0"/>
              </a:defRPr>
            </a:lvl1pPr>
          </a:lstStyle>
          <a:p>
            <a:pPr lvl="0"/>
            <a:r>
              <a:rPr lang="en-US"/>
              <a:t>Speaker name or subtitle</a:t>
            </a:r>
          </a:p>
        </p:txBody>
      </p:sp>
      <p:sp>
        <p:nvSpPr>
          <p:cNvPr id="4" name="Freeform: Shape 3">
            <a:extLst>
              <a:ext uri="{FF2B5EF4-FFF2-40B4-BE49-F238E27FC236}">
                <a16:creationId xmlns:a16="http://schemas.microsoft.com/office/drawing/2014/main" id="{2B462A13-DB77-F214-E6BA-42F346289FDD}"/>
              </a:ext>
            </a:extLst>
          </p:cNvPr>
          <p:cNvSpPr/>
          <p:nvPr/>
        </p:nvSpPr>
        <p:spPr>
          <a:xfrm>
            <a:off x="8056398" y="-2295691"/>
            <a:ext cx="11450802" cy="11450802"/>
          </a:xfrm>
          <a:custGeom>
            <a:avLst/>
            <a:gdLst>
              <a:gd name="connsiteX0" fmla="*/ 2197989 w 4395978"/>
              <a:gd name="connsiteY0" fmla="*/ 4395978 h 4395978"/>
              <a:gd name="connsiteX1" fmla="*/ 1342390 w 4395978"/>
              <a:gd name="connsiteY1" fmla="*/ 4223131 h 4395978"/>
              <a:gd name="connsiteX2" fmla="*/ 643827 w 4395978"/>
              <a:gd name="connsiteY2" fmla="*/ 3752152 h 4395978"/>
              <a:gd name="connsiteX3" fmla="*/ 172847 w 4395978"/>
              <a:gd name="connsiteY3" fmla="*/ 3053588 h 4395978"/>
              <a:gd name="connsiteX4" fmla="*/ 0 w 4395978"/>
              <a:gd name="connsiteY4" fmla="*/ 2197989 h 4395978"/>
              <a:gd name="connsiteX5" fmla="*/ 172847 w 4395978"/>
              <a:gd name="connsiteY5" fmla="*/ 1342390 h 4395978"/>
              <a:gd name="connsiteX6" fmla="*/ 643827 w 4395978"/>
              <a:gd name="connsiteY6" fmla="*/ 643827 h 4395978"/>
              <a:gd name="connsiteX7" fmla="*/ 1342390 w 4395978"/>
              <a:gd name="connsiteY7" fmla="*/ 172847 h 4395978"/>
              <a:gd name="connsiteX8" fmla="*/ 2197989 w 4395978"/>
              <a:gd name="connsiteY8" fmla="*/ 0 h 4395978"/>
              <a:gd name="connsiteX9" fmla="*/ 3053588 w 4395978"/>
              <a:gd name="connsiteY9" fmla="*/ 172847 h 4395978"/>
              <a:gd name="connsiteX10" fmla="*/ 3752152 w 4395978"/>
              <a:gd name="connsiteY10" fmla="*/ 643827 h 4395978"/>
              <a:gd name="connsiteX11" fmla="*/ 4223132 w 4395978"/>
              <a:gd name="connsiteY11" fmla="*/ 1342390 h 4395978"/>
              <a:gd name="connsiteX12" fmla="*/ 4395978 w 4395978"/>
              <a:gd name="connsiteY12" fmla="*/ 2197989 h 4395978"/>
              <a:gd name="connsiteX13" fmla="*/ 4223132 w 4395978"/>
              <a:gd name="connsiteY13" fmla="*/ 3053588 h 4395978"/>
              <a:gd name="connsiteX14" fmla="*/ 3752152 w 4395978"/>
              <a:gd name="connsiteY14" fmla="*/ 3752152 h 4395978"/>
              <a:gd name="connsiteX15" fmla="*/ 3053588 w 4395978"/>
              <a:gd name="connsiteY15" fmla="*/ 4223131 h 4395978"/>
              <a:gd name="connsiteX16" fmla="*/ 2197989 w 4395978"/>
              <a:gd name="connsiteY16" fmla="*/ 4395978 h 4395978"/>
              <a:gd name="connsiteX17" fmla="*/ 2197989 w 4395978"/>
              <a:gd name="connsiteY17" fmla="*/ 464630 h 4395978"/>
              <a:gd name="connsiteX18" fmla="*/ 464630 w 4395978"/>
              <a:gd name="connsiteY18" fmla="*/ 2197989 h 4395978"/>
              <a:gd name="connsiteX19" fmla="*/ 2197989 w 4395978"/>
              <a:gd name="connsiteY19" fmla="*/ 3931348 h 4395978"/>
              <a:gd name="connsiteX20" fmla="*/ 3931349 w 4395978"/>
              <a:gd name="connsiteY20" fmla="*/ 2197989 h 4395978"/>
              <a:gd name="connsiteX21" fmla="*/ 2197989 w 4395978"/>
              <a:gd name="connsiteY21" fmla="*/ 464630 h 4395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395978" h="4395978">
                <a:moveTo>
                  <a:pt x="2197989" y="4395978"/>
                </a:moveTo>
                <a:cubicBezTo>
                  <a:pt x="1901381" y="4395978"/>
                  <a:pt x="1613472" y="4337812"/>
                  <a:pt x="1342390" y="4223131"/>
                </a:cubicBezTo>
                <a:cubicBezTo>
                  <a:pt x="1080643" y="4112387"/>
                  <a:pt x="845566" y="3953955"/>
                  <a:pt x="643827" y="3752152"/>
                </a:cubicBezTo>
                <a:cubicBezTo>
                  <a:pt x="442023" y="3550348"/>
                  <a:pt x="283591" y="3315335"/>
                  <a:pt x="172847" y="3053588"/>
                </a:cubicBezTo>
                <a:cubicBezTo>
                  <a:pt x="58166" y="2782443"/>
                  <a:pt x="0" y="2494598"/>
                  <a:pt x="0" y="2197989"/>
                </a:cubicBezTo>
                <a:cubicBezTo>
                  <a:pt x="0" y="1901381"/>
                  <a:pt x="58166" y="1613472"/>
                  <a:pt x="172847" y="1342390"/>
                </a:cubicBezTo>
                <a:cubicBezTo>
                  <a:pt x="283591" y="1080643"/>
                  <a:pt x="442023" y="845566"/>
                  <a:pt x="643827" y="643827"/>
                </a:cubicBezTo>
                <a:cubicBezTo>
                  <a:pt x="845630" y="442024"/>
                  <a:pt x="1080643" y="283591"/>
                  <a:pt x="1342390" y="172847"/>
                </a:cubicBezTo>
                <a:cubicBezTo>
                  <a:pt x="1613535" y="58166"/>
                  <a:pt x="1901381" y="0"/>
                  <a:pt x="2197989" y="0"/>
                </a:cubicBezTo>
                <a:cubicBezTo>
                  <a:pt x="2494598" y="0"/>
                  <a:pt x="2782507" y="58166"/>
                  <a:pt x="3053588" y="172847"/>
                </a:cubicBezTo>
                <a:cubicBezTo>
                  <a:pt x="3315335" y="283591"/>
                  <a:pt x="3550412" y="442024"/>
                  <a:pt x="3752152" y="643827"/>
                </a:cubicBezTo>
                <a:cubicBezTo>
                  <a:pt x="3953955" y="845630"/>
                  <a:pt x="4112387" y="1080643"/>
                  <a:pt x="4223132" y="1342390"/>
                </a:cubicBezTo>
                <a:cubicBezTo>
                  <a:pt x="4337812" y="1613535"/>
                  <a:pt x="4395978" y="1901381"/>
                  <a:pt x="4395978" y="2197989"/>
                </a:cubicBezTo>
                <a:cubicBezTo>
                  <a:pt x="4395978" y="2494598"/>
                  <a:pt x="4337812" y="2782507"/>
                  <a:pt x="4223132" y="3053588"/>
                </a:cubicBezTo>
                <a:cubicBezTo>
                  <a:pt x="4112387" y="3315335"/>
                  <a:pt x="3953955" y="3550412"/>
                  <a:pt x="3752152" y="3752152"/>
                </a:cubicBezTo>
                <a:cubicBezTo>
                  <a:pt x="3550349" y="3953955"/>
                  <a:pt x="3315335" y="4112387"/>
                  <a:pt x="3053588" y="4223131"/>
                </a:cubicBezTo>
                <a:cubicBezTo>
                  <a:pt x="2782443" y="4337812"/>
                  <a:pt x="2494598" y="4395978"/>
                  <a:pt x="2197989" y="4395978"/>
                </a:cubicBezTo>
                <a:close/>
                <a:moveTo>
                  <a:pt x="2197989" y="464630"/>
                </a:moveTo>
                <a:cubicBezTo>
                  <a:pt x="1242251" y="464630"/>
                  <a:pt x="464630" y="1242187"/>
                  <a:pt x="464630" y="2197989"/>
                </a:cubicBezTo>
                <a:cubicBezTo>
                  <a:pt x="464630" y="3153791"/>
                  <a:pt x="1242187" y="3931348"/>
                  <a:pt x="2197989" y="3931348"/>
                </a:cubicBezTo>
                <a:cubicBezTo>
                  <a:pt x="3153791" y="3931348"/>
                  <a:pt x="3931349" y="3153791"/>
                  <a:pt x="3931349" y="2197989"/>
                </a:cubicBezTo>
                <a:cubicBezTo>
                  <a:pt x="3931349" y="1242187"/>
                  <a:pt x="3153791" y="464630"/>
                  <a:pt x="2197989" y="464630"/>
                </a:cubicBezTo>
                <a:close/>
              </a:path>
            </a:pathLst>
          </a:custGeom>
          <a:grpFill/>
          <a:ln>
            <a:noFill/>
            <a:headEnd type="none" w="med" len="med"/>
            <a:tailEnd type="none" w="med" len="med"/>
          </a:ln>
          <a:effectLst>
            <a:innerShdw blurRad="114300">
              <a:prstClr val="black"/>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grpSp>
        <p:nvGrpSpPr>
          <p:cNvPr id="56" name="Group 55">
            <a:extLst>
              <a:ext uri="{FF2B5EF4-FFF2-40B4-BE49-F238E27FC236}">
                <a16:creationId xmlns:a16="http://schemas.microsoft.com/office/drawing/2014/main" id="{0E6B1CEC-6F37-9887-980B-073BBD14C3A4}"/>
              </a:ext>
            </a:extLst>
          </p:cNvPr>
          <p:cNvGrpSpPr/>
          <p:nvPr userDrawn="1"/>
        </p:nvGrpSpPr>
        <p:grpSpPr>
          <a:xfrm>
            <a:off x="6532012" y="0"/>
            <a:ext cx="5659988" cy="6858001"/>
            <a:chOff x="6532012" y="0"/>
            <a:chExt cx="5659988" cy="6858001"/>
          </a:xfrm>
        </p:grpSpPr>
        <p:sp>
          <p:nvSpPr>
            <p:cNvPr id="48" name="Freeform: Shape 47">
              <a:extLst>
                <a:ext uri="{FF2B5EF4-FFF2-40B4-BE49-F238E27FC236}">
                  <a16:creationId xmlns:a16="http://schemas.microsoft.com/office/drawing/2014/main" id="{CAFABA05-D113-F270-2839-DA3D96C333EF}"/>
                </a:ext>
              </a:extLst>
            </p:cNvPr>
            <p:cNvSpPr/>
            <p:nvPr userDrawn="1"/>
          </p:nvSpPr>
          <p:spPr>
            <a:xfrm>
              <a:off x="6532012" y="0"/>
              <a:ext cx="2284349" cy="6858000"/>
            </a:xfrm>
            <a:custGeom>
              <a:avLst/>
              <a:gdLst>
                <a:gd name="connsiteX0" fmla="*/ 862374 w 2284349"/>
                <a:gd name="connsiteY0" fmla="*/ 0 h 6858000"/>
                <a:gd name="connsiteX1" fmla="*/ 2284349 w 2284349"/>
                <a:gd name="connsiteY1" fmla="*/ 0 h 6858000"/>
                <a:gd name="connsiteX2" fmla="*/ 2241718 w 2284349"/>
                <a:gd name="connsiteY2" fmla="*/ 59906 h 6858000"/>
                <a:gd name="connsiteX3" fmla="*/ 1210283 w 2284349"/>
                <a:gd name="connsiteY3" fmla="*/ 3429706 h 6858000"/>
                <a:gd name="connsiteX4" fmla="*/ 2241718 w 2284349"/>
                <a:gd name="connsiteY4" fmla="*/ 6799506 h 6858000"/>
                <a:gd name="connsiteX5" fmla="*/ 2283345 w 2284349"/>
                <a:gd name="connsiteY5" fmla="*/ 6858000 h 6858000"/>
                <a:gd name="connsiteX6" fmla="*/ 861653 w 2284349"/>
                <a:gd name="connsiteY6" fmla="*/ 6858000 h 6858000"/>
                <a:gd name="connsiteX7" fmla="*/ 713448 w 2284349"/>
                <a:gd name="connsiteY7" fmla="*/ 6567812 h 6858000"/>
                <a:gd name="connsiteX8" fmla="*/ 569331 w 2284349"/>
                <a:gd name="connsiteY8" fmla="*/ 6248573 h 6858000"/>
                <a:gd name="connsiteX9" fmla="*/ 0 w 2284349"/>
                <a:gd name="connsiteY9" fmla="*/ 3429706 h 6858000"/>
                <a:gd name="connsiteX10" fmla="*/ 569331 w 2284349"/>
                <a:gd name="connsiteY10" fmla="*/ 610838 h 6858000"/>
                <a:gd name="connsiteX11" fmla="*/ 713448 w 2284349"/>
                <a:gd name="connsiteY11" fmla="*/ 2916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84349" h="6858000">
                  <a:moveTo>
                    <a:pt x="862374" y="0"/>
                  </a:moveTo>
                  <a:lnTo>
                    <a:pt x="2284349" y="0"/>
                  </a:lnTo>
                  <a:lnTo>
                    <a:pt x="2241718" y="59906"/>
                  </a:lnTo>
                  <a:cubicBezTo>
                    <a:pt x="1590753" y="1022653"/>
                    <a:pt x="1210283" y="2182578"/>
                    <a:pt x="1210283" y="3429706"/>
                  </a:cubicBezTo>
                  <a:cubicBezTo>
                    <a:pt x="1210283" y="4676834"/>
                    <a:pt x="1590753" y="5836759"/>
                    <a:pt x="2241718" y="6799506"/>
                  </a:cubicBezTo>
                  <a:lnTo>
                    <a:pt x="2283345" y="6858000"/>
                  </a:lnTo>
                  <a:lnTo>
                    <a:pt x="861653" y="6858000"/>
                  </a:lnTo>
                  <a:lnTo>
                    <a:pt x="713448" y="6567812"/>
                  </a:lnTo>
                  <a:cubicBezTo>
                    <a:pt x="662970" y="6462804"/>
                    <a:pt x="614922" y="6356377"/>
                    <a:pt x="569331" y="6248573"/>
                  </a:cubicBezTo>
                  <a:cubicBezTo>
                    <a:pt x="191542" y="5355375"/>
                    <a:pt x="0" y="4406931"/>
                    <a:pt x="0" y="3429706"/>
                  </a:cubicBezTo>
                  <a:cubicBezTo>
                    <a:pt x="0" y="2452481"/>
                    <a:pt x="191542" y="1503872"/>
                    <a:pt x="569331" y="610838"/>
                  </a:cubicBezTo>
                  <a:cubicBezTo>
                    <a:pt x="614922" y="503034"/>
                    <a:pt x="662970" y="396608"/>
                    <a:pt x="713448" y="291600"/>
                  </a:cubicBezTo>
                  <a:close/>
                </a:path>
              </a:pathLst>
            </a:custGeom>
            <a:solidFill>
              <a:schemeClr val="bg1"/>
            </a:solidFill>
            <a:ln>
              <a:solidFill>
                <a:schemeClr val="bg1">
                  <a:alpha val="25000"/>
                </a:schemeClr>
              </a:solidFill>
              <a:headEnd type="none" w="med" len="med"/>
              <a:tailEnd type="none" w="med" len="med"/>
            </a:ln>
            <a:effectLst>
              <a:innerShdw blurRad="101600" dist="50800" dir="11580000">
                <a:prstClr val="black">
                  <a:alpha val="71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28" name="Freeform: Shape 27">
              <a:extLst>
                <a:ext uri="{FF2B5EF4-FFF2-40B4-BE49-F238E27FC236}">
                  <a16:creationId xmlns:a16="http://schemas.microsoft.com/office/drawing/2014/main" id="{FDC4CFFE-BA26-BC5A-3457-B09C378A3B3D}"/>
                </a:ext>
              </a:extLst>
            </p:cNvPr>
            <p:cNvSpPr/>
            <p:nvPr userDrawn="1"/>
          </p:nvSpPr>
          <p:spPr>
            <a:xfrm>
              <a:off x="6586859" y="0"/>
              <a:ext cx="2222401" cy="3172810"/>
            </a:xfrm>
            <a:custGeom>
              <a:avLst/>
              <a:gdLst>
                <a:gd name="connsiteX0" fmla="*/ 807285 w 2222401"/>
                <a:gd name="connsiteY0" fmla="*/ 0 h 3172810"/>
                <a:gd name="connsiteX1" fmla="*/ 2222401 w 2222401"/>
                <a:gd name="connsiteY1" fmla="*/ 0 h 3172810"/>
                <a:gd name="connsiteX2" fmla="*/ 2110058 w 2222401"/>
                <a:gd name="connsiteY2" fmla="*/ 165328 h 3172810"/>
                <a:gd name="connsiteX3" fmla="*/ 1205242 w 2222401"/>
                <a:gd name="connsiteY3" fmla="*/ 2646234 h 3172810"/>
                <a:gd name="connsiteX4" fmla="*/ 526576 w 2222401"/>
                <a:gd name="connsiteY4" fmla="*/ 3167597 h 3172810"/>
                <a:gd name="connsiteX5" fmla="*/ 5213 w 2222401"/>
                <a:gd name="connsiteY5" fmla="*/ 2488933 h 3172810"/>
                <a:gd name="connsiteX6" fmla="*/ 760155 w 2222401"/>
                <a:gd name="connsiteY6" fmla="*/ 85150 h 3172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2401" h="3172810">
                  <a:moveTo>
                    <a:pt x="807285" y="0"/>
                  </a:moveTo>
                  <a:lnTo>
                    <a:pt x="2222401" y="0"/>
                  </a:lnTo>
                  <a:lnTo>
                    <a:pt x="2110058" y="165328"/>
                  </a:lnTo>
                  <a:cubicBezTo>
                    <a:pt x="1633494" y="905229"/>
                    <a:pt x="1322939" y="1747731"/>
                    <a:pt x="1205242" y="2646234"/>
                  </a:cubicBezTo>
                  <a:cubicBezTo>
                    <a:pt x="1161906" y="2977546"/>
                    <a:pt x="858051" y="3211100"/>
                    <a:pt x="526576" y="3167597"/>
                  </a:cubicBezTo>
                  <a:cubicBezTo>
                    <a:pt x="195267" y="3124260"/>
                    <a:pt x="-38289" y="2820409"/>
                    <a:pt x="5213" y="2488933"/>
                  </a:cubicBezTo>
                  <a:cubicBezTo>
                    <a:pt x="116223" y="1640951"/>
                    <a:pt x="369827" y="834003"/>
                    <a:pt x="760155" y="85150"/>
                  </a:cubicBezTo>
                  <a:close/>
                </a:path>
              </a:pathLst>
            </a:custGeom>
            <a:gradFill>
              <a:gsLst>
                <a:gs pos="43000">
                  <a:srgbClr val="FFB900"/>
                </a:gs>
                <a:gs pos="100000">
                  <a:srgbClr val="FF8F00"/>
                </a:gs>
              </a:gsLst>
              <a:lin ang="18900000" scaled="1"/>
            </a:gradFill>
            <a:ln>
              <a:solidFill>
                <a:schemeClr val="bg1">
                  <a:alpha val="25000"/>
                </a:schemeClr>
              </a:solidFill>
              <a:headEnd type="none" w="med" len="med"/>
              <a:tailEnd type="none" w="med" len="med"/>
            </a:ln>
            <a:effectLst>
              <a:innerShdw blurRad="101600" dist="50800" dir="11580000">
                <a:prstClr val="black">
                  <a:alpha val="71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46" name="Freeform: Shape 45">
              <a:extLst>
                <a:ext uri="{FF2B5EF4-FFF2-40B4-BE49-F238E27FC236}">
                  <a16:creationId xmlns:a16="http://schemas.microsoft.com/office/drawing/2014/main" id="{1AFE8F5B-AE35-5012-E8D7-9A5DDEB11330}"/>
                </a:ext>
              </a:extLst>
            </p:cNvPr>
            <p:cNvSpPr/>
            <p:nvPr userDrawn="1"/>
          </p:nvSpPr>
          <p:spPr>
            <a:xfrm>
              <a:off x="8056398" y="0"/>
              <a:ext cx="2796646" cy="6858000"/>
            </a:xfrm>
            <a:custGeom>
              <a:avLst/>
              <a:gdLst>
                <a:gd name="connsiteX0" fmla="*/ 1140444 w 2796646"/>
                <a:gd name="connsiteY0" fmla="*/ 0 h 6858000"/>
                <a:gd name="connsiteX1" fmla="*/ 2796646 w 2796646"/>
                <a:gd name="connsiteY1" fmla="*/ 0 h 6858000"/>
                <a:gd name="connsiteX2" fmla="*/ 2534265 w 2796646"/>
                <a:gd name="connsiteY2" fmla="*/ 238512 h 6858000"/>
                <a:gd name="connsiteX3" fmla="*/ 1210285 w 2796646"/>
                <a:gd name="connsiteY3" fmla="*/ 3429710 h 6858000"/>
                <a:gd name="connsiteX4" fmla="*/ 2534203 w 2796646"/>
                <a:gd name="connsiteY4" fmla="*/ 6620909 h 6858000"/>
                <a:gd name="connsiteX5" fmla="*/ 2795016 w 2796646"/>
                <a:gd name="connsiteY5" fmla="*/ 6858000 h 6858000"/>
                <a:gd name="connsiteX6" fmla="*/ 1139386 w 2796646"/>
                <a:gd name="connsiteY6" fmla="*/ 6858000 h 6858000"/>
                <a:gd name="connsiteX7" fmla="*/ 1133945 w 2796646"/>
                <a:gd name="connsiteY7" fmla="*/ 6851071 h 6858000"/>
                <a:gd name="connsiteX8" fmla="*/ 450238 w 2796646"/>
                <a:gd name="connsiteY8" fmla="*/ 5658405 h 6858000"/>
                <a:gd name="connsiteX9" fmla="*/ 0 w 2796646"/>
                <a:gd name="connsiteY9" fmla="*/ 3429710 h 6858000"/>
                <a:gd name="connsiteX10" fmla="*/ 450238 w 2796646"/>
                <a:gd name="connsiteY10" fmla="*/ 1201015 h 6858000"/>
                <a:gd name="connsiteX11" fmla="*/ 1133945 w 2796646"/>
                <a:gd name="connsiteY11" fmla="*/ 827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96646" h="6858000">
                  <a:moveTo>
                    <a:pt x="1140444" y="0"/>
                  </a:moveTo>
                  <a:lnTo>
                    <a:pt x="2796646" y="0"/>
                  </a:lnTo>
                  <a:lnTo>
                    <a:pt x="2534265" y="238512"/>
                  </a:lnTo>
                  <a:cubicBezTo>
                    <a:pt x="1716679" y="1056077"/>
                    <a:pt x="1210285" y="2184856"/>
                    <a:pt x="1210285" y="3429710"/>
                  </a:cubicBezTo>
                  <a:cubicBezTo>
                    <a:pt x="1210285" y="4674564"/>
                    <a:pt x="1716637" y="5803343"/>
                    <a:pt x="2534203" y="6620909"/>
                  </a:cubicBezTo>
                  <a:lnTo>
                    <a:pt x="2795016" y="6858000"/>
                  </a:lnTo>
                  <a:lnTo>
                    <a:pt x="1139386" y="6858000"/>
                  </a:lnTo>
                  <a:lnTo>
                    <a:pt x="1133945" y="6851071"/>
                  </a:lnTo>
                  <a:cubicBezTo>
                    <a:pt x="859349" y="6483463"/>
                    <a:pt x="630532" y="6084535"/>
                    <a:pt x="450238" y="5658405"/>
                  </a:cubicBezTo>
                  <a:cubicBezTo>
                    <a:pt x="151513" y="4952117"/>
                    <a:pt x="0" y="4202328"/>
                    <a:pt x="0" y="3429710"/>
                  </a:cubicBezTo>
                  <a:cubicBezTo>
                    <a:pt x="0" y="2657095"/>
                    <a:pt x="151513" y="1907139"/>
                    <a:pt x="450238" y="1201015"/>
                  </a:cubicBezTo>
                  <a:cubicBezTo>
                    <a:pt x="630532" y="774885"/>
                    <a:pt x="859349" y="375892"/>
                    <a:pt x="1133945" y="8277"/>
                  </a:cubicBezTo>
                  <a:close/>
                </a:path>
              </a:pathLst>
            </a:custGeom>
            <a:solidFill>
              <a:schemeClr val="accent4"/>
            </a:solidFill>
            <a:ln>
              <a:solidFill>
                <a:schemeClr val="bg1">
                  <a:alpha val="25000"/>
                </a:schemeClr>
              </a:solidFill>
              <a:headEnd type="none" w="med" len="med"/>
              <a:tailEnd type="none" w="med" len="med"/>
            </a:ln>
            <a:effectLst>
              <a:innerShdw blurRad="114300">
                <a:prstClr val="black"/>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37" name="Freeform: Shape 36">
              <a:extLst>
                <a:ext uri="{FF2B5EF4-FFF2-40B4-BE49-F238E27FC236}">
                  <a16:creationId xmlns:a16="http://schemas.microsoft.com/office/drawing/2014/main" id="{056A0C6C-C2BF-A03E-7F6C-2F41BAE47EF2}"/>
                </a:ext>
              </a:extLst>
            </p:cNvPr>
            <p:cNvSpPr/>
            <p:nvPr userDrawn="1"/>
          </p:nvSpPr>
          <p:spPr>
            <a:xfrm>
              <a:off x="6586859" y="0"/>
              <a:ext cx="2222401" cy="3172810"/>
            </a:xfrm>
            <a:custGeom>
              <a:avLst/>
              <a:gdLst>
                <a:gd name="connsiteX0" fmla="*/ 807285 w 2222401"/>
                <a:gd name="connsiteY0" fmla="*/ 0 h 3172810"/>
                <a:gd name="connsiteX1" fmla="*/ 2222401 w 2222401"/>
                <a:gd name="connsiteY1" fmla="*/ 0 h 3172810"/>
                <a:gd name="connsiteX2" fmla="*/ 2110058 w 2222401"/>
                <a:gd name="connsiteY2" fmla="*/ 165328 h 3172810"/>
                <a:gd name="connsiteX3" fmla="*/ 1205242 w 2222401"/>
                <a:gd name="connsiteY3" fmla="*/ 2646234 h 3172810"/>
                <a:gd name="connsiteX4" fmla="*/ 526576 w 2222401"/>
                <a:gd name="connsiteY4" fmla="*/ 3167597 h 3172810"/>
                <a:gd name="connsiteX5" fmla="*/ 5213 w 2222401"/>
                <a:gd name="connsiteY5" fmla="*/ 2488933 h 3172810"/>
                <a:gd name="connsiteX6" fmla="*/ 760155 w 2222401"/>
                <a:gd name="connsiteY6" fmla="*/ 85150 h 3172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2401" h="3172810">
                  <a:moveTo>
                    <a:pt x="807285" y="0"/>
                  </a:moveTo>
                  <a:lnTo>
                    <a:pt x="2222401" y="0"/>
                  </a:lnTo>
                  <a:lnTo>
                    <a:pt x="2110058" y="165328"/>
                  </a:lnTo>
                  <a:cubicBezTo>
                    <a:pt x="1633494" y="905229"/>
                    <a:pt x="1322939" y="1747731"/>
                    <a:pt x="1205242" y="2646234"/>
                  </a:cubicBezTo>
                  <a:cubicBezTo>
                    <a:pt x="1161906" y="2977546"/>
                    <a:pt x="858051" y="3211100"/>
                    <a:pt x="526576" y="3167597"/>
                  </a:cubicBezTo>
                  <a:cubicBezTo>
                    <a:pt x="195267" y="3124260"/>
                    <a:pt x="-38289" y="2820409"/>
                    <a:pt x="5213" y="2488933"/>
                  </a:cubicBezTo>
                  <a:cubicBezTo>
                    <a:pt x="116223" y="1640951"/>
                    <a:pt x="369827" y="834003"/>
                    <a:pt x="760155" y="85150"/>
                  </a:cubicBezTo>
                  <a:close/>
                </a:path>
              </a:pathLst>
            </a:custGeom>
            <a:gradFill>
              <a:gsLst>
                <a:gs pos="43000">
                  <a:srgbClr val="FFB900"/>
                </a:gs>
                <a:gs pos="100000">
                  <a:srgbClr val="FF8F00"/>
                </a:gs>
              </a:gsLst>
              <a:lin ang="18900000" scaled="1"/>
            </a:gradFill>
            <a:ln>
              <a:solidFill>
                <a:schemeClr val="bg1">
                  <a:alpha val="25000"/>
                </a:schemeClr>
              </a:solidFill>
              <a:headEnd type="none" w="med" len="med"/>
              <a:tailEnd type="none" w="med" len="med"/>
            </a:ln>
            <a:effectLst>
              <a:innerShdw blurRad="101600" dist="50800" dir="11580000">
                <a:prstClr val="black">
                  <a:alpha val="71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52" name="Freeform: Shape 51">
              <a:extLst>
                <a:ext uri="{FF2B5EF4-FFF2-40B4-BE49-F238E27FC236}">
                  <a16:creationId xmlns:a16="http://schemas.microsoft.com/office/drawing/2014/main" id="{5EB3A5B1-3499-2B30-4C29-FD4648AD6A3F}"/>
                </a:ext>
              </a:extLst>
            </p:cNvPr>
            <p:cNvSpPr/>
            <p:nvPr userDrawn="1"/>
          </p:nvSpPr>
          <p:spPr>
            <a:xfrm>
              <a:off x="8391162" y="4645594"/>
              <a:ext cx="2450493" cy="2212407"/>
            </a:xfrm>
            <a:custGeom>
              <a:avLst/>
              <a:gdLst>
                <a:gd name="connsiteX0" fmla="*/ 626810 w 2450493"/>
                <a:gd name="connsiteY0" fmla="*/ 417 h 2212407"/>
                <a:gd name="connsiteX1" fmla="*/ 1170775 w 2450493"/>
                <a:gd name="connsiteY1" fmla="*/ 389890 h 2212407"/>
                <a:gd name="connsiteX2" fmla="*/ 2421443 w 2450493"/>
                <a:gd name="connsiteY2" fmla="*/ 2188368 h 2212407"/>
                <a:gd name="connsiteX3" fmla="*/ 2450493 w 2450493"/>
                <a:gd name="connsiteY3" fmla="*/ 2212407 h 2212407"/>
                <a:gd name="connsiteX4" fmla="*/ 2418889 w 2450493"/>
                <a:gd name="connsiteY4" fmla="*/ 2212407 h 2212407"/>
                <a:gd name="connsiteX5" fmla="*/ 2408165 w 2450493"/>
                <a:gd name="connsiteY5" fmla="*/ 2203533 h 2212407"/>
                <a:gd name="connsiteX6" fmla="*/ 1151919 w 2450493"/>
                <a:gd name="connsiteY6" fmla="*/ 397001 h 2212407"/>
                <a:gd name="connsiteX7" fmla="*/ 604588 w 2450493"/>
                <a:gd name="connsiteY7" fmla="*/ 20039 h 2212407"/>
                <a:gd name="connsiteX8" fmla="*/ 604588 w 2450493"/>
                <a:gd name="connsiteY8" fmla="*/ 20203 h 2212407"/>
                <a:gd name="connsiteX9" fmla="*/ 397167 w 2450493"/>
                <a:gd name="connsiteY9" fmla="*/ 58414 h 2212407"/>
                <a:gd name="connsiteX10" fmla="*/ 58578 w 2450493"/>
                <a:gd name="connsiteY10" fmla="*/ 813165 h 2212407"/>
                <a:gd name="connsiteX11" fmla="*/ 725069 w 2450493"/>
                <a:gd name="connsiteY11" fmla="*/ 2070211 h 2212407"/>
                <a:gd name="connsiteX12" fmla="*/ 830611 w 2450493"/>
                <a:gd name="connsiteY12" fmla="*/ 2212407 h 2212407"/>
                <a:gd name="connsiteX13" fmla="*/ 805305 w 2450493"/>
                <a:gd name="connsiteY13" fmla="*/ 2212407 h 2212407"/>
                <a:gd name="connsiteX14" fmla="*/ 708449 w 2450493"/>
                <a:gd name="connsiteY14" fmla="*/ 2081908 h 2212407"/>
                <a:gd name="connsiteX15" fmla="*/ 39557 w 2450493"/>
                <a:gd name="connsiteY15" fmla="*/ 820443 h 2212407"/>
                <a:gd name="connsiteX16" fmla="*/ 389889 w 2450493"/>
                <a:gd name="connsiteY16" fmla="*/ 39557 h 2212407"/>
                <a:gd name="connsiteX17" fmla="*/ 626810 w 2450493"/>
                <a:gd name="connsiteY17" fmla="*/ 417 h 2212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50493" h="2212407">
                  <a:moveTo>
                    <a:pt x="626810" y="417"/>
                  </a:moveTo>
                  <a:cubicBezTo>
                    <a:pt x="862466" y="9193"/>
                    <a:pt x="1081703" y="156046"/>
                    <a:pt x="1170775" y="389890"/>
                  </a:cubicBezTo>
                  <a:cubicBezTo>
                    <a:pt x="1438839" y="1094420"/>
                    <a:pt x="1868368" y="1707266"/>
                    <a:pt x="2421443" y="2188368"/>
                  </a:cubicBezTo>
                  <a:lnTo>
                    <a:pt x="2450493" y="2212407"/>
                  </a:lnTo>
                  <a:lnTo>
                    <a:pt x="2418889" y="2212407"/>
                  </a:lnTo>
                  <a:lnTo>
                    <a:pt x="2408165" y="2203533"/>
                  </a:lnTo>
                  <a:cubicBezTo>
                    <a:pt x="1852638" y="1720258"/>
                    <a:pt x="1421223" y="1104634"/>
                    <a:pt x="1151919" y="397001"/>
                  </a:cubicBezTo>
                  <a:cubicBezTo>
                    <a:pt x="1063096" y="163777"/>
                    <a:pt x="840458" y="20039"/>
                    <a:pt x="604588" y="20039"/>
                  </a:cubicBezTo>
                  <a:lnTo>
                    <a:pt x="604588" y="20203"/>
                  </a:lnTo>
                  <a:cubicBezTo>
                    <a:pt x="535612" y="20203"/>
                    <a:pt x="465479" y="32443"/>
                    <a:pt x="397167" y="58414"/>
                  </a:cubicBezTo>
                  <a:cubicBezTo>
                    <a:pt x="95629" y="173206"/>
                    <a:pt x="-56215" y="511793"/>
                    <a:pt x="58578" y="813165"/>
                  </a:cubicBezTo>
                  <a:cubicBezTo>
                    <a:pt x="229672" y="1262866"/>
                    <a:pt x="452778" y="1683362"/>
                    <a:pt x="725069" y="2070211"/>
                  </a:cubicBezTo>
                  <a:lnTo>
                    <a:pt x="830611" y="2212407"/>
                  </a:lnTo>
                  <a:lnTo>
                    <a:pt x="805305" y="2212407"/>
                  </a:lnTo>
                  <a:lnTo>
                    <a:pt x="708449" y="2081908"/>
                  </a:lnTo>
                  <a:cubicBezTo>
                    <a:pt x="435190" y="1693677"/>
                    <a:pt x="211270" y="1271695"/>
                    <a:pt x="39557" y="820443"/>
                  </a:cubicBezTo>
                  <a:cubicBezTo>
                    <a:pt x="-79041" y="508652"/>
                    <a:pt x="78096" y="158320"/>
                    <a:pt x="389889" y="39557"/>
                  </a:cubicBezTo>
                  <a:cubicBezTo>
                    <a:pt x="467878" y="9909"/>
                    <a:pt x="548255" y="-2509"/>
                    <a:pt x="626810" y="417"/>
                  </a:cubicBezTo>
                  <a:close/>
                </a:path>
              </a:pathLst>
            </a:custGeom>
            <a:solidFill>
              <a:schemeClr val="bg1"/>
            </a:solidFill>
            <a:ln>
              <a:solidFill>
                <a:schemeClr val="bg1">
                  <a:alpha val="25000"/>
                </a:schemeClr>
              </a:solidFill>
              <a:headEnd type="none" w="med" len="med"/>
              <a:tailEnd type="none" w="med" len="med"/>
            </a:ln>
            <a:effectLst>
              <a:innerShdw blurRad="101600" dist="50800" dir="11580000">
                <a:prstClr val="black">
                  <a:alpha val="71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50" name="Freeform: Shape 49">
              <a:extLst>
                <a:ext uri="{FF2B5EF4-FFF2-40B4-BE49-F238E27FC236}">
                  <a16:creationId xmlns:a16="http://schemas.microsoft.com/office/drawing/2014/main" id="{4325D77C-B55C-ACB3-061B-62606D38B35F}"/>
                </a:ext>
              </a:extLst>
            </p:cNvPr>
            <p:cNvSpPr/>
            <p:nvPr userDrawn="1"/>
          </p:nvSpPr>
          <p:spPr>
            <a:xfrm>
              <a:off x="8390968" y="4645402"/>
              <a:ext cx="2450734" cy="2212599"/>
            </a:xfrm>
            <a:custGeom>
              <a:avLst/>
              <a:gdLst>
                <a:gd name="connsiteX0" fmla="*/ 627190 w 2450734"/>
                <a:gd name="connsiteY0" fmla="*/ 401 h 2212599"/>
                <a:gd name="connsiteX1" fmla="*/ 1170970 w 2450734"/>
                <a:gd name="connsiteY1" fmla="*/ 390082 h 2212599"/>
                <a:gd name="connsiteX2" fmla="*/ 2421635 w 2450734"/>
                <a:gd name="connsiteY2" fmla="*/ 2188518 h 2212599"/>
                <a:gd name="connsiteX3" fmla="*/ 2450734 w 2450734"/>
                <a:gd name="connsiteY3" fmla="*/ 2212599 h 2212599"/>
                <a:gd name="connsiteX4" fmla="*/ 805498 w 2450734"/>
                <a:gd name="connsiteY4" fmla="*/ 2212599 h 2212599"/>
                <a:gd name="connsiteX5" fmla="*/ 708642 w 2450734"/>
                <a:gd name="connsiteY5" fmla="*/ 2082100 h 2212599"/>
                <a:gd name="connsiteX6" fmla="*/ 39750 w 2450734"/>
                <a:gd name="connsiteY6" fmla="*/ 820636 h 2212599"/>
                <a:gd name="connsiteX7" fmla="*/ 390082 w 2450734"/>
                <a:gd name="connsiteY7" fmla="*/ 39750 h 2212599"/>
                <a:gd name="connsiteX8" fmla="*/ 627190 w 2450734"/>
                <a:gd name="connsiteY8" fmla="*/ 401 h 2212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734" h="2212599">
                  <a:moveTo>
                    <a:pt x="627190" y="401"/>
                  </a:moveTo>
                  <a:cubicBezTo>
                    <a:pt x="862878" y="9016"/>
                    <a:pt x="1081773" y="155866"/>
                    <a:pt x="1170970" y="390082"/>
                  </a:cubicBezTo>
                  <a:cubicBezTo>
                    <a:pt x="1439033" y="1094510"/>
                    <a:pt x="1868561" y="1707382"/>
                    <a:pt x="2421635" y="2188518"/>
                  </a:cubicBezTo>
                  <a:lnTo>
                    <a:pt x="2450734" y="2212599"/>
                  </a:lnTo>
                  <a:lnTo>
                    <a:pt x="805498" y="2212599"/>
                  </a:lnTo>
                  <a:lnTo>
                    <a:pt x="708642" y="2082100"/>
                  </a:lnTo>
                  <a:cubicBezTo>
                    <a:pt x="435383" y="1693870"/>
                    <a:pt x="211463" y="1271888"/>
                    <a:pt x="39750" y="820636"/>
                  </a:cubicBezTo>
                  <a:cubicBezTo>
                    <a:pt x="-79177" y="508347"/>
                    <a:pt x="77793" y="158679"/>
                    <a:pt x="390082" y="39750"/>
                  </a:cubicBezTo>
                  <a:cubicBezTo>
                    <a:pt x="468196" y="10018"/>
                    <a:pt x="548625" y="-2470"/>
                    <a:pt x="627190" y="401"/>
                  </a:cubicBezTo>
                  <a:close/>
                </a:path>
              </a:pathLst>
            </a:custGeom>
            <a:solidFill>
              <a:schemeClr val="bg1"/>
            </a:solidFill>
            <a:ln>
              <a:solidFill>
                <a:schemeClr val="bg1">
                  <a:alpha val="25000"/>
                </a:schemeClr>
              </a:solidFill>
              <a:headEnd type="none" w="med" len="med"/>
              <a:tailEnd type="none" w="med" len="med"/>
            </a:ln>
            <a:effectLst>
              <a:innerShdw blurRad="63500" dist="50800" dir="2700000">
                <a:prstClr val="black">
                  <a:alpha val="5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33" name="Freeform: Shape 32">
              <a:extLst>
                <a:ext uri="{FF2B5EF4-FFF2-40B4-BE49-F238E27FC236}">
                  <a16:creationId xmlns:a16="http://schemas.microsoft.com/office/drawing/2014/main" id="{45750175-3987-7222-2C5A-FF744E2C1159}"/>
                </a:ext>
              </a:extLst>
            </p:cNvPr>
            <p:cNvSpPr/>
            <p:nvPr/>
          </p:nvSpPr>
          <p:spPr>
            <a:xfrm>
              <a:off x="9545726" y="0"/>
              <a:ext cx="2646274" cy="6858000"/>
            </a:xfrm>
            <a:custGeom>
              <a:avLst/>
              <a:gdLst>
                <a:gd name="connsiteX0" fmla="*/ 1749539 w 2646274"/>
                <a:gd name="connsiteY0" fmla="*/ 0 h 6858000"/>
                <a:gd name="connsiteX1" fmla="*/ 2646274 w 2646274"/>
                <a:gd name="connsiteY1" fmla="*/ 0 h 6858000"/>
                <a:gd name="connsiteX2" fmla="*/ 2646274 w 2646274"/>
                <a:gd name="connsiteY2" fmla="*/ 860073 h 6858000"/>
                <a:gd name="connsiteX3" fmla="*/ 2545485 w 2646274"/>
                <a:gd name="connsiteY3" fmla="*/ 921368 h 6858000"/>
                <a:gd name="connsiteX4" fmla="*/ 1210282 w 2646274"/>
                <a:gd name="connsiteY4" fmla="*/ 3429706 h 6858000"/>
                <a:gd name="connsiteX5" fmla="*/ 2545485 w 2646274"/>
                <a:gd name="connsiteY5" fmla="*/ 5938046 h 6858000"/>
                <a:gd name="connsiteX6" fmla="*/ 2646274 w 2646274"/>
                <a:gd name="connsiteY6" fmla="*/ 5999341 h 6858000"/>
                <a:gd name="connsiteX7" fmla="*/ 2646274 w 2646274"/>
                <a:gd name="connsiteY7" fmla="*/ 6858000 h 6858000"/>
                <a:gd name="connsiteX8" fmla="*/ 1747536 w 2646274"/>
                <a:gd name="connsiteY8" fmla="*/ 6858000 h 6858000"/>
                <a:gd name="connsiteX9" fmla="*/ 1717277 w 2646274"/>
                <a:gd name="connsiteY9" fmla="*/ 6836661 h 6858000"/>
                <a:gd name="connsiteX10" fmla="*/ 1240717 w 2646274"/>
                <a:gd name="connsiteY10" fmla="*/ 6425064 h 6858000"/>
                <a:gd name="connsiteX11" fmla="*/ 0 w 2646274"/>
                <a:gd name="connsiteY11" fmla="*/ 3429706 h 6858000"/>
                <a:gd name="connsiteX12" fmla="*/ 1240717 w 2646274"/>
                <a:gd name="connsiteY12" fmla="*/ 434350 h 6858000"/>
                <a:gd name="connsiteX13" fmla="*/ 1717277 w 2646274"/>
                <a:gd name="connsiteY13" fmla="*/ 2275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46274" h="6858000">
                  <a:moveTo>
                    <a:pt x="1749539" y="0"/>
                  </a:moveTo>
                  <a:lnTo>
                    <a:pt x="2646274" y="0"/>
                  </a:lnTo>
                  <a:lnTo>
                    <a:pt x="2646274" y="860073"/>
                  </a:lnTo>
                  <a:lnTo>
                    <a:pt x="2545485" y="921368"/>
                  </a:lnTo>
                  <a:cubicBezTo>
                    <a:pt x="1740489" y="1465666"/>
                    <a:pt x="1210282" y="2386918"/>
                    <a:pt x="1210282" y="3429706"/>
                  </a:cubicBezTo>
                  <a:cubicBezTo>
                    <a:pt x="1210282" y="4472495"/>
                    <a:pt x="1740489" y="5393748"/>
                    <a:pt x="2545485" y="5938046"/>
                  </a:cubicBezTo>
                  <a:lnTo>
                    <a:pt x="2646274" y="5999341"/>
                  </a:lnTo>
                  <a:lnTo>
                    <a:pt x="2646274" y="6858000"/>
                  </a:lnTo>
                  <a:lnTo>
                    <a:pt x="1747536" y="6858000"/>
                  </a:lnTo>
                  <a:lnTo>
                    <a:pt x="1717277" y="6836661"/>
                  </a:lnTo>
                  <a:cubicBezTo>
                    <a:pt x="1550015" y="6712455"/>
                    <a:pt x="1390731" y="6575077"/>
                    <a:pt x="1240717" y="6425064"/>
                  </a:cubicBezTo>
                  <a:cubicBezTo>
                    <a:pt x="440644" y="5624989"/>
                    <a:pt x="0" y="4561254"/>
                    <a:pt x="0" y="3429706"/>
                  </a:cubicBezTo>
                  <a:cubicBezTo>
                    <a:pt x="0" y="2298157"/>
                    <a:pt x="440644" y="1234423"/>
                    <a:pt x="1240717" y="434350"/>
                  </a:cubicBezTo>
                  <a:cubicBezTo>
                    <a:pt x="1390731" y="284336"/>
                    <a:pt x="1550015" y="146958"/>
                    <a:pt x="1717277" y="22752"/>
                  </a:cubicBezTo>
                  <a:close/>
                </a:path>
              </a:pathLst>
            </a:custGeom>
            <a:gradFill flip="none" rotWithShape="1">
              <a:gsLst>
                <a:gs pos="43000">
                  <a:schemeClr val="accent3"/>
                </a:gs>
                <a:gs pos="100000">
                  <a:srgbClr val="095E09"/>
                </a:gs>
              </a:gsLst>
              <a:lin ang="0" scaled="1"/>
              <a:tileRect/>
            </a:gradFill>
            <a:ln>
              <a:solidFill>
                <a:schemeClr val="bg1">
                  <a:alpha val="25000"/>
                </a:schemeClr>
              </a:solidFill>
              <a:headEnd type="none" w="med" len="med"/>
              <a:tailEnd type="none" w="med" len="med"/>
            </a:ln>
            <a:effectLst>
              <a:innerShdw blurRad="101600" dist="50800" dir="11580000">
                <a:prstClr val="black">
                  <a:alpha val="71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54" name="Freeform: Shape 53">
              <a:extLst>
                <a:ext uri="{FF2B5EF4-FFF2-40B4-BE49-F238E27FC236}">
                  <a16:creationId xmlns:a16="http://schemas.microsoft.com/office/drawing/2014/main" id="{00155404-F158-B2CE-0760-50D0205026EB}"/>
                </a:ext>
              </a:extLst>
            </p:cNvPr>
            <p:cNvSpPr/>
            <p:nvPr userDrawn="1"/>
          </p:nvSpPr>
          <p:spPr>
            <a:xfrm>
              <a:off x="8626945" y="0"/>
              <a:ext cx="2215547" cy="1684784"/>
            </a:xfrm>
            <a:custGeom>
              <a:avLst/>
              <a:gdLst>
                <a:gd name="connsiteX0" fmla="*/ 570554 w 2215547"/>
                <a:gd name="connsiteY0" fmla="*/ 0 h 1684784"/>
                <a:gd name="connsiteX1" fmla="*/ 595714 w 2215547"/>
                <a:gd name="connsiteY1" fmla="*/ 0 h 1684784"/>
                <a:gd name="connsiteX2" fmla="*/ 534548 w 2215547"/>
                <a:gd name="connsiteY2" fmla="*/ 80301 h 1684784"/>
                <a:gd name="connsiteX3" fmla="*/ 85459 w 2215547"/>
                <a:gd name="connsiteY3" fmla="*/ 811316 h 1684784"/>
                <a:gd name="connsiteX4" fmla="*/ 47911 w 2215547"/>
                <a:gd name="connsiteY4" fmla="*/ 1257418 h 1684784"/>
                <a:gd name="connsiteX5" fmla="*/ 336714 w 2215547"/>
                <a:gd name="connsiteY5" fmla="*/ 1599480 h 1684784"/>
                <a:gd name="connsiteX6" fmla="*/ 1124878 w 2215547"/>
                <a:gd name="connsiteY6" fmla="*/ 1348228 h 1684784"/>
                <a:gd name="connsiteX7" fmla="*/ 2061598 w 2215547"/>
                <a:gd name="connsiteY7" fmla="*/ 109193 h 1684784"/>
                <a:gd name="connsiteX8" fmla="*/ 2184619 w 2215547"/>
                <a:gd name="connsiteY8" fmla="*/ 0 h 1684784"/>
                <a:gd name="connsiteX9" fmla="*/ 2215547 w 2215547"/>
                <a:gd name="connsiteY9" fmla="*/ 0 h 1684784"/>
                <a:gd name="connsiteX10" fmla="*/ 2075807 w 2215547"/>
                <a:gd name="connsiteY10" fmla="*/ 124033 h 1684784"/>
                <a:gd name="connsiteX11" fmla="*/ 1143237 w 2215547"/>
                <a:gd name="connsiteY11" fmla="*/ 1357491 h 1684784"/>
                <a:gd name="connsiteX12" fmla="*/ 327780 w 2215547"/>
                <a:gd name="connsiteY12" fmla="*/ 1617344 h 1684784"/>
                <a:gd name="connsiteX13" fmla="*/ 28890 w 2215547"/>
                <a:gd name="connsiteY13" fmla="*/ 1263539 h 1684784"/>
                <a:gd name="connsiteX14" fmla="*/ 67762 w 2215547"/>
                <a:gd name="connsiteY14" fmla="*/ 802054 h 1684784"/>
                <a:gd name="connsiteX15" fmla="*/ 518362 w 2215547"/>
                <a:gd name="connsiteY15" fmla="*/ 68520 h 16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15547" h="1684784">
                  <a:moveTo>
                    <a:pt x="570554" y="0"/>
                  </a:moveTo>
                  <a:lnTo>
                    <a:pt x="595714" y="0"/>
                  </a:lnTo>
                  <a:lnTo>
                    <a:pt x="534548" y="80301"/>
                  </a:lnTo>
                  <a:cubicBezTo>
                    <a:pt x="367942" y="310807"/>
                    <a:pt x="218013" y="554770"/>
                    <a:pt x="85459" y="811316"/>
                  </a:cubicBezTo>
                  <a:cubicBezTo>
                    <a:pt x="13673" y="950092"/>
                    <a:pt x="440" y="1108552"/>
                    <a:pt x="47911" y="1257418"/>
                  </a:cubicBezTo>
                  <a:cubicBezTo>
                    <a:pt x="95384" y="1406284"/>
                    <a:pt x="197936" y="1527860"/>
                    <a:pt x="336714" y="1599480"/>
                  </a:cubicBezTo>
                  <a:cubicBezTo>
                    <a:pt x="623199" y="1747521"/>
                    <a:pt x="976837" y="1634713"/>
                    <a:pt x="1124878" y="1348228"/>
                  </a:cubicBezTo>
                  <a:cubicBezTo>
                    <a:pt x="1368098" y="877344"/>
                    <a:pt x="1685182" y="460251"/>
                    <a:pt x="2061598" y="109193"/>
                  </a:cubicBezTo>
                  <a:lnTo>
                    <a:pt x="2184619" y="0"/>
                  </a:lnTo>
                  <a:lnTo>
                    <a:pt x="2215547" y="0"/>
                  </a:lnTo>
                  <a:lnTo>
                    <a:pt x="2075807" y="124033"/>
                  </a:lnTo>
                  <a:cubicBezTo>
                    <a:pt x="1701054" y="473539"/>
                    <a:pt x="1385372" y="888778"/>
                    <a:pt x="1143237" y="1357491"/>
                  </a:cubicBezTo>
                  <a:cubicBezTo>
                    <a:pt x="990072" y="1653900"/>
                    <a:pt x="624356" y="1770511"/>
                    <a:pt x="327780" y="1617344"/>
                  </a:cubicBezTo>
                  <a:cubicBezTo>
                    <a:pt x="184206" y="1543077"/>
                    <a:pt x="78017" y="1417532"/>
                    <a:pt x="28890" y="1263539"/>
                  </a:cubicBezTo>
                  <a:cubicBezTo>
                    <a:pt x="-20237" y="1109544"/>
                    <a:pt x="-6343" y="945627"/>
                    <a:pt x="67762" y="802054"/>
                  </a:cubicBezTo>
                  <a:cubicBezTo>
                    <a:pt x="200750" y="544639"/>
                    <a:pt x="351182" y="299831"/>
                    <a:pt x="518362" y="68520"/>
                  </a:cubicBezTo>
                  <a:close/>
                </a:path>
              </a:pathLst>
            </a:custGeom>
            <a:solidFill>
              <a:srgbClr val="FFFFFF">
                <a:alpha val="50000"/>
              </a:srgbClr>
            </a:solidFill>
            <a:ln w="0" cap="flat">
              <a:noFill/>
              <a:prstDash val="solid"/>
              <a:miter/>
            </a:ln>
          </p:spPr>
          <p:txBody>
            <a:bodyPr wrap="square" rtlCol="0" anchor="ctr">
              <a:noAutofit/>
            </a:bodyPr>
            <a:lstStyle/>
            <a:p>
              <a:endParaRPr lang="en-US"/>
            </a:p>
          </p:txBody>
        </p:sp>
        <p:sp>
          <p:nvSpPr>
            <p:cNvPr id="35" name="Freeform: Shape 34">
              <a:extLst>
                <a:ext uri="{FF2B5EF4-FFF2-40B4-BE49-F238E27FC236}">
                  <a16:creationId xmlns:a16="http://schemas.microsoft.com/office/drawing/2014/main" id="{49CB7444-CF39-23C1-DB5C-66D870458FA2}"/>
                </a:ext>
              </a:extLst>
            </p:cNvPr>
            <p:cNvSpPr/>
            <p:nvPr/>
          </p:nvSpPr>
          <p:spPr>
            <a:xfrm>
              <a:off x="8627490" y="0"/>
              <a:ext cx="2215146" cy="1684858"/>
            </a:xfrm>
            <a:custGeom>
              <a:avLst/>
              <a:gdLst>
                <a:gd name="connsiteX0" fmla="*/ 570249 w 2215146"/>
                <a:gd name="connsiteY0" fmla="*/ 0 h 1684858"/>
                <a:gd name="connsiteX1" fmla="*/ 2215146 w 2215146"/>
                <a:gd name="connsiteY1" fmla="*/ 0 h 1684858"/>
                <a:gd name="connsiteX2" fmla="*/ 2075592 w 2215146"/>
                <a:gd name="connsiteY2" fmla="*/ 123868 h 1684858"/>
                <a:gd name="connsiteX3" fmla="*/ 1143023 w 2215146"/>
                <a:gd name="connsiteY3" fmla="*/ 1357323 h 1684858"/>
                <a:gd name="connsiteX4" fmla="*/ 327566 w 2215146"/>
                <a:gd name="connsiteY4" fmla="*/ 1617179 h 1684858"/>
                <a:gd name="connsiteX5" fmla="*/ 67710 w 2215146"/>
                <a:gd name="connsiteY5" fmla="*/ 801722 h 1684858"/>
                <a:gd name="connsiteX6" fmla="*/ 518310 w 2215146"/>
                <a:gd name="connsiteY6" fmla="*/ 68189 h 1684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15146" h="1684858">
                  <a:moveTo>
                    <a:pt x="570249" y="0"/>
                  </a:moveTo>
                  <a:lnTo>
                    <a:pt x="2215146" y="0"/>
                  </a:lnTo>
                  <a:lnTo>
                    <a:pt x="2075592" y="123868"/>
                  </a:lnTo>
                  <a:cubicBezTo>
                    <a:pt x="1700839" y="473374"/>
                    <a:pt x="1385158" y="888612"/>
                    <a:pt x="1143023" y="1357323"/>
                  </a:cubicBezTo>
                  <a:cubicBezTo>
                    <a:pt x="989689" y="1654230"/>
                    <a:pt x="624637" y="1770677"/>
                    <a:pt x="327566" y="1617179"/>
                  </a:cubicBezTo>
                  <a:cubicBezTo>
                    <a:pt x="30495" y="1463682"/>
                    <a:pt x="-85788" y="1098793"/>
                    <a:pt x="67710" y="801722"/>
                  </a:cubicBezTo>
                  <a:cubicBezTo>
                    <a:pt x="200697" y="544308"/>
                    <a:pt x="351130" y="299500"/>
                    <a:pt x="518310" y="68189"/>
                  </a:cubicBezTo>
                  <a:close/>
                </a:path>
              </a:pathLst>
            </a:custGeom>
            <a:solidFill>
              <a:schemeClr val="accent1"/>
            </a:solidFill>
            <a:ln>
              <a:solidFill>
                <a:schemeClr val="bg1">
                  <a:alpha val="25000"/>
                </a:schemeClr>
              </a:solidFill>
              <a:headEnd type="none" w="med" len="med"/>
              <a:tailEnd type="none" w="med" len="med"/>
            </a:ln>
            <a:effectLst>
              <a:innerShdw blurRad="63500" dist="50800" dir="13500000">
                <a:prstClr val="black">
                  <a:alpha val="35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16" name="Freeform: Shape 15">
              <a:extLst>
                <a:ext uri="{FF2B5EF4-FFF2-40B4-BE49-F238E27FC236}">
                  <a16:creationId xmlns:a16="http://schemas.microsoft.com/office/drawing/2014/main" id="{3FFF64F6-69E6-4C9D-33DE-400D1AB3B214}"/>
                </a:ext>
              </a:extLst>
            </p:cNvPr>
            <p:cNvSpPr/>
            <p:nvPr/>
          </p:nvSpPr>
          <p:spPr>
            <a:xfrm>
              <a:off x="6603397" y="1964081"/>
              <a:ext cx="1214429" cy="1214429"/>
            </a:xfrm>
            <a:custGeom>
              <a:avLst/>
              <a:gdLst>
                <a:gd name="connsiteX0" fmla="*/ 464693 w 464693"/>
                <a:gd name="connsiteY0" fmla="*/ 232347 h 464693"/>
                <a:gd name="connsiteX1" fmla="*/ 232346 w 464693"/>
                <a:gd name="connsiteY1" fmla="*/ 464693 h 464693"/>
                <a:gd name="connsiteX2" fmla="*/ 0 w 464693"/>
                <a:gd name="connsiteY2" fmla="*/ 232347 h 464693"/>
                <a:gd name="connsiteX3" fmla="*/ 232346 w 464693"/>
                <a:gd name="connsiteY3" fmla="*/ 0 h 464693"/>
                <a:gd name="connsiteX4" fmla="*/ 464693 w 464693"/>
                <a:gd name="connsiteY4" fmla="*/ 232347 h 464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693" h="464693">
                  <a:moveTo>
                    <a:pt x="464693" y="232347"/>
                  </a:moveTo>
                  <a:cubicBezTo>
                    <a:pt x="464693" y="360668"/>
                    <a:pt x="360668" y="464693"/>
                    <a:pt x="232346" y="464693"/>
                  </a:cubicBezTo>
                  <a:cubicBezTo>
                    <a:pt x="104025" y="464693"/>
                    <a:pt x="0" y="360668"/>
                    <a:pt x="0" y="232347"/>
                  </a:cubicBezTo>
                  <a:cubicBezTo>
                    <a:pt x="0" y="104025"/>
                    <a:pt x="104025" y="0"/>
                    <a:pt x="232346" y="0"/>
                  </a:cubicBezTo>
                  <a:cubicBezTo>
                    <a:pt x="360668" y="0"/>
                    <a:pt x="464693" y="104025"/>
                    <a:pt x="464693" y="232347"/>
                  </a:cubicBezTo>
                  <a:close/>
                </a:path>
              </a:pathLst>
            </a:custGeom>
            <a:solidFill>
              <a:srgbClr val="FFB900"/>
            </a:solidFill>
            <a:ln>
              <a:solidFill>
                <a:schemeClr val="bg1">
                  <a:alpha val="25000"/>
                </a:schemeClr>
              </a:solidFill>
              <a:headEnd type="none" w="med" len="med"/>
              <a:tailEnd type="none" w="med" len="med"/>
            </a:ln>
            <a:effectLst>
              <a:outerShdw blurRad="50800" dist="254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17" name="Freeform: Shape 16">
              <a:extLst>
                <a:ext uri="{FF2B5EF4-FFF2-40B4-BE49-F238E27FC236}">
                  <a16:creationId xmlns:a16="http://schemas.microsoft.com/office/drawing/2014/main" id="{4B39EBC1-8578-D163-3ECE-BCAD91552651}"/>
                </a:ext>
              </a:extLst>
            </p:cNvPr>
            <p:cNvSpPr/>
            <p:nvPr/>
          </p:nvSpPr>
          <p:spPr>
            <a:xfrm>
              <a:off x="6714751" y="2075435"/>
              <a:ext cx="991721" cy="991721"/>
            </a:xfrm>
            <a:custGeom>
              <a:avLst/>
              <a:gdLst>
                <a:gd name="connsiteX0" fmla="*/ 379476 w 379475"/>
                <a:gd name="connsiteY0" fmla="*/ 189738 h 379475"/>
                <a:gd name="connsiteX1" fmla="*/ 189738 w 379475"/>
                <a:gd name="connsiteY1" fmla="*/ 379476 h 379475"/>
                <a:gd name="connsiteX2" fmla="*/ 0 w 379475"/>
                <a:gd name="connsiteY2" fmla="*/ 189738 h 379475"/>
                <a:gd name="connsiteX3" fmla="*/ 189738 w 379475"/>
                <a:gd name="connsiteY3" fmla="*/ 0 h 379475"/>
                <a:gd name="connsiteX4" fmla="*/ 379476 w 379475"/>
                <a:gd name="connsiteY4" fmla="*/ 189738 h 379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75" h="379475">
                  <a:moveTo>
                    <a:pt x="379476" y="189738"/>
                  </a:moveTo>
                  <a:cubicBezTo>
                    <a:pt x="379476" y="294527"/>
                    <a:pt x="294527" y="379476"/>
                    <a:pt x="189738" y="379476"/>
                  </a:cubicBezTo>
                  <a:cubicBezTo>
                    <a:pt x="84949" y="379476"/>
                    <a:pt x="0" y="294527"/>
                    <a:pt x="0" y="189738"/>
                  </a:cubicBezTo>
                  <a:cubicBezTo>
                    <a:pt x="0" y="84949"/>
                    <a:pt x="84949" y="0"/>
                    <a:pt x="189738" y="0"/>
                  </a:cubicBezTo>
                  <a:cubicBezTo>
                    <a:pt x="294527" y="0"/>
                    <a:pt x="379476" y="84949"/>
                    <a:pt x="379476" y="189738"/>
                  </a:cubicBezTo>
                  <a:close/>
                </a:path>
              </a:pathLst>
            </a:custGeom>
            <a:solidFill>
              <a:schemeClr val="bg1"/>
            </a:solidFill>
            <a:ln>
              <a:solidFill>
                <a:schemeClr val="bg1">
                  <a:alpha val="25000"/>
                </a:schemeClr>
              </a:solidFill>
              <a:headEnd type="none" w="med" len="med"/>
              <a:tailEnd type="none" w="med" len="med"/>
            </a:ln>
            <a:effectLst>
              <a:outerShdw blurRad="50800" dist="254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18" name="Freeform: Shape 17">
              <a:extLst>
                <a:ext uri="{FF2B5EF4-FFF2-40B4-BE49-F238E27FC236}">
                  <a16:creationId xmlns:a16="http://schemas.microsoft.com/office/drawing/2014/main" id="{5EE16CFF-4C50-95E8-344E-6150B74BBC6F}"/>
                </a:ext>
              </a:extLst>
            </p:cNvPr>
            <p:cNvSpPr/>
            <p:nvPr/>
          </p:nvSpPr>
          <p:spPr>
            <a:xfrm>
              <a:off x="8627385" y="474547"/>
              <a:ext cx="1210449" cy="1210447"/>
            </a:xfrm>
            <a:custGeom>
              <a:avLst/>
              <a:gdLst>
                <a:gd name="connsiteX0" fmla="*/ 464693 w 464693"/>
                <a:gd name="connsiteY0" fmla="*/ 232346 h 464692"/>
                <a:gd name="connsiteX1" fmla="*/ 232346 w 464693"/>
                <a:gd name="connsiteY1" fmla="*/ 464693 h 464692"/>
                <a:gd name="connsiteX2" fmla="*/ 0 w 464693"/>
                <a:gd name="connsiteY2" fmla="*/ 232346 h 464692"/>
                <a:gd name="connsiteX3" fmla="*/ 232346 w 464693"/>
                <a:gd name="connsiteY3" fmla="*/ 0 h 464692"/>
                <a:gd name="connsiteX4" fmla="*/ 464693 w 464693"/>
                <a:gd name="connsiteY4" fmla="*/ 232346 h 464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693" h="464692">
                  <a:moveTo>
                    <a:pt x="464693" y="232346"/>
                  </a:moveTo>
                  <a:cubicBezTo>
                    <a:pt x="464693" y="360668"/>
                    <a:pt x="360668" y="464693"/>
                    <a:pt x="232346" y="464693"/>
                  </a:cubicBezTo>
                  <a:cubicBezTo>
                    <a:pt x="104025" y="464693"/>
                    <a:pt x="0" y="360668"/>
                    <a:pt x="0" y="232346"/>
                  </a:cubicBezTo>
                  <a:cubicBezTo>
                    <a:pt x="0" y="104025"/>
                    <a:pt x="104025" y="0"/>
                    <a:pt x="232346" y="0"/>
                  </a:cubicBezTo>
                  <a:cubicBezTo>
                    <a:pt x="360668" y="0"/>
                    <a:pt x="464693" y="104025"/>
                    <a:pt x="464693" y="232346"/>
                  </a:cubicBezTo>
                  <a:close/>
                </a:path>
              </a:pathLst>
            </a:custGeom>
            <a:solidFill>
              <a:schemeClr val="accent1"/>
            </a:solidFill>
            <a:ln>
              <a:solidFill>
                <a:schemeClr val="bg1">
                  <a:alpha val="25000"/>
                </a:schemeClr>
              </a:solid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19" name="Freeform: Shape 18">
              <a:extLst>
                <a:ext uri="{FF2B5EF4-FFF2-40B4-BE49-F238E27FC236}">
                  <a16:creationId xmlns:a16="http://schemas.microsoft.com/office/drawing/2014/main" id="{7BAA0706-D0FF-D189-099F-3525D34EC0F4}"/>
                </a:ext>
              </a:extLst>
            </p:cNvPr>
            <p:cNvSpPr/>
            <p:nvPr/>
          </p:nvSpPr>
          <p:spPr>
            <a:xfrm>
              <a:off x="8738372" y="585534"/>
              <a:ext cx="988470" cy="988470"/>
            </a:xfrm>
            <a:custGeom>
              <a:avLst/>
              <a:gdLst>
                <a:gd name="connsiteX0" fmla="*/ 379476 w 379475"/>
                <a:gd name="connsiteY0" fmla="*/ 189738 h 379475"/>
                <a:gd name="connsiteX1" fmla="*/ 189738 w 379475"/>
                <a:gd name="connsiteY1" fmla="*/ 379476 h 379475"/>
                <a:gd name="connsiteX2" fmla="*/ 0 w 379475"/>
                <a:gd name="connsiteY2" fmla="*/ 189738 h 379475"/>
                <a:gd name="connsiteX3" fmla="*/ 189738 w 379475"/>
                <a:gd name="connsiteY3" fmla="*/ 0 h 379475"/>
                <a:gd name="connsiteX4" fmla="*/ 379476 w 379475"/>
                <a:gd name="connsiteY4" fmla="*/ 189738 h 379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75" h="379475">
                  <a:moveTo>
                    <a:pt x="379476" y="189738"/>
                  </a:moveTo>
                  <a:cubicBezTo>
                    <a:pt x="379476" y="294527"/>
                    <a:pt x="294527" y="379476"/>
                    <a:pt x="189738" y="379476"/>
                  </a:cubicBezTo>
                  <a:cubicBezTo>
                    <a:pt x="84948" y="379476"/>
                    <a:pt x="0" y="294527"/>
                    <a:pt x="0" y="189738"/>
                  </a:cubicBezTo>
                  <a:cubicBezTo>
                    <a:pt x="0" y="84949"/>
                    <a:pt x="84948" y="0"/>
                    <a:pt x="189738" y="0"/>
                  </a:cubicBezTo>
                  <a:cubicBezTo>
                    <a:pt x="294527" y="0"/>
                    <a:pt x="379476" y="84949"/>
                    <a:pt x="379476" y="189738"/>
                  </a:cubicBezTo>
                  <a:close/>
                </a:path>
              </a:pathLst>
            </a:custGeom>
            <a:solidFill>
              <a:schemeClr val="accent1"/>
            </a:solidFill>
            <a:ln>
              <a:solidFill>
                <a:schemeClr val="bg1">
                  <a:alpha val="25000"/>
                </a:schemeClr>
              </a:solid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20" name="Freeform: Shape 19">
              <a:extLst>
                <a:ext uri="{FF2B5EF4-FFF2-40B4-BE49-F238E27FC236}">
                  <a16:creationId xmlns:a16="http://schemas.microsoft.com/office/drawing/2014/main" id="{64AC3779-CA6F-8C1F-D01B-5D821910227B}"/>
                </a:ext>
              </a:extLst>
            </p:cNvPr>
            <p:cNvSpPr/>
            <p:nvPr/>
          </p:nvSpPr>
          <p:spPr>
            <a:xfrm>
              <a:off x="8502171" y="4791175"/>
              <a:ext cx="988470" cy="988470"/>
            </a:xfrm>
            <a:custGeom>
              <a:avLst/>
              <a:gdLst>
                <a:gd name="connsiteX0" fmla="*/ 379476 w 379475"/>
                <a:gd name="connsiteY0" fmla="*/ 189738 h 379475"/>
                <a:gd name="connsiteX1" fmla="*/ 189738 w 379475"/>
                <a:gd name="connsiteY1" fmla="*/ 379476 h 379475"/>
                <a:gd name="connsiteX2" fmla="*/ 0 w 379475"/>
                <a:gd name="connsiteY2" fmla="*/ 189738 h 379475"/>
                <a:gd name="connsiteX3" fmla="*/ 189738 w 379475"/>
                <a:gd name="connsiteY3" fmla="*/ 0 h 379475"/>
                <a:gd name="connsiteX4" fmla="*/ 379476 w 379475"/>
                <a:gd name="connsiteY4" fmla="*/ 189738 h 379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75" h="379475">
                  <a:moveTo>
                    <a:pt x="379476" y="189738"/>
                  </a:moveTo>
                  <a:cubicBezTo>
                    <a:pt x="379476" y="294527"/>
                    <a:pt x="294527" y="379476"/>
                    <a:pt x="189738" y="379476"/>
                  </a:cubicBezTo>
                  <a:cubicBezTo>
                    <a:pt x="84949" y="379476"/>
                    <a:pt x="0" y="294527"/>
                    <a:pt x="0" y="189738"/>
                  </a:cubicBezTo>
                  <a:cubicBezTo>
                    <a:pt x="0" y="84949"/>
                    <a:pt x="84949" y="0"/>
                    <a:pt x="189738" y="0"/>
                  </a:cubicBezTo>
                  <a:cubicBezTo>
                    <a:pt x="294527" y="0"/>
                    <a:pt x="379476" y="84949"/>
                    <a:pt x="379476" y="189738"/>
                  </a:cubicBezTo>
                  <a:close/>
                </a:path>
              </a:pathLst>
            </a:custGeom>
            <a:solidFill>
              <a:srgbClr val="FFB900"/>
            </a:solidFill>
            <a:ln>
              <a:solidFill>
                <a:schemeClr val="bg1">
                  <a:alpha val="25000"/>
                </a:schemeClr>
              </a:solidFill>
              <a:headEnd type="none" w="med" len="med"/>
              <a:tailEnd type="none" w="med" len="med"/>
            </a:ln>
            <a:effectLst>
              <a:outerShdw blurRad="50800" dist="254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21" name="Freeform: Shape 20">
              <a:extLst>
                <a:ext uri="{FF2B5EF4-FFF2-40B4-BE49-F238E27FC236}">
                  <a16:creationId xmlns:a16="http://schemas.microsoft.com/office/drawing/2014/main" id="{ACC8D4A7-325A-8BEF-D3E0-05DF0433C43F}"/>
                </a:ext>
              </a:extLst>
            </p:cNvPr>
            <p:cNvSpPr/>
            <p:nvPr/>
          </p:nvSpPr>
          <p:spPr>
            <a:xfrm>
              <a:off x="8502171" y="4791175"/>
              <a:ext cx="988473" cy="988473"/>
            </a:xfrm>
            <a:custGeom>
              <a:avLst/>
              <a:gdLst>
                <a:gd name="connsiteX0" fmla="*/ 189738 w 379476"/>
                <a:gd name="connsiteY0" fmla="*/ 7747 h 379476"/>
                <a:gd name="connsiteX1" fmla="*/ 371729 w 379476"/>
                <a:gd name="connsiteY1" fmla="*/ 189738 h 379476"/>
                <a:gd name="connsiteX2" fmla="*/ 189738 w 379476"/>
                <a:gd name="connsiteY2" fmla="*/ 371729 h 379476"/>
                <a:gd name="connsiteX3" fmla="*/ 7747 w 379476"/>
                <a:gd name="connsiteY3" fmla="*/ 189738 h 379476"/>
                <a:gd name="connsiteX4" fmla="*/ 189738 w 379476"/>
                <a:gd name="connsiteY4" fmla="*/ 7747 h 379476"/>
                <a:gd name="connsiteX5" fmla="*/ 189738 w 379476"/>
                <a:gd name="connsiteY5" fmla="*/ 0 h 379476"/>
                <a:gd name="connsiteX6" fmla="*/ 0 w 379476"/>
                <a:gd name="connsiteY6" fmla="*/ 189738 h 379476"/>
                <a:gd name="connsiteX7" fmla="*/ 189738 w 379476"/>
                <a:gd name="connsiteY7" fmla="*/ 379476 h 379476"/>
                <a:gd name="connsiteX8" fmla="*/ 379476 w 379476"/>
                <a:gd name="connsiteY8" fmla="*/ 189738 h 379476"/>
                <a:gd name="connsiteX9" fmla="*/ 189738 w 379476"/>
                <a:gd name="connsiteY9" fmla="*/ 0 h 379476"/>
                <a:gd name="connsiteX10" fmla="*/ 189738 w 379476"/>
                <a:gd name="connsiteY10" fmla="*/ 0 h 379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9476" h="379476">
                  <a:moveTo>
                    <a:pt x="189738" y="7747"/>
                  </a:moveTo>
                  <a:cubicBezTo>
                    <a:pt x="290068" y="7747"/>
                    <a:pt x="371729" y="89408"/>
                    <a:pt x="371729" y="189738"/>
                  </a:cubicBezTo>
                  <a:cubicBezTo>
                    <a:pt x="371729" y="290068"/>
                    <a:pt x="290068" y="371729"/>
                    <a:pt x="189738" y="371729"/>
                  </a:cubicBezTo>
                  <a:cubicBezTo>
                    <a:pt x="89408" y="371729"/>
                    <a:pt x="7747" y="290068"/>
                    <a:pt x="7747" y="189738"/>
                  </a:cubicBezTo>
                  <a:cubicBezTo>
                    <a:pt x="7747" y="89408"/>
                    <a:pt x="89408" y="7747"/>
                    <a:pt x="189738" y="7747"/>
                  </a:cubicBezTo>
                  <a:moveTo>
                    <a:pt x="189738" y="0"/>
                  </a:moveTo>
                  <a:cubicBezTo>
                    <a:pt x="84963" y="0"/>
                    <a:pt x="0" y="84963"/>
                    <a:pt x="0" y="189738"/>
                  </a:cubicBezTo>
                  <a:cubicBezTo>
                    <a:pt x="0" y="294513"/>
                    <a:pt x="84963" y="379476"/>
                    <a:pt x="189738" y="379476"/>
                  </a:cubicBezTo>
                  <a:cubicBezTo>
                    <a:pt x="294513" y="379476"/>
                    <a:pt x="379476" y="294513"/>
                    <a:pt x="379476" y="189738"/>
                  </a:cubicBezTo>
                  <a:cubicBezTo>
                    <a:pt x="379476" y="84963"/>
                    <a:pt x="294513" y="0"/>
                    <a:pt x="189738" y="0"/>
                  </a:cubicBezTo>
                  <a:lnTo>
                    <a:pt x="189738" y="0"/>
                  </a:lnTo>
                  <a:close/>
                </a:path>
              </a:pathLst>
            </a:custGeom>
            <a:solidFill>
              <a:srgbClr val="FFB900"/>
            </a:solidFill>
            <a:ln>
              <a:solidFill>
                <a:schemeClr val="bg1">
                  <a:alpha val="25000"/>
                </a:schemeClr>
              </a:solidFill>
              <a:headEnd type="none" w="med" len="med"/>
              <a:tailEnd type="none" w="med" len="med"/>
            </a:ln>
            <a:effectLst>
              <a:outerShdw blurRad="50800" dist="254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31" name="Freeform: Shape 30">
              <a:extLst>
                <a:ext uri="{FF2B5EF4-FFF2-40B4-BE49-F238E27FC236}">
                  <a16:creationId xmlns:a16="http://schemas.microsoft.com/office/drawing/2014/main" id="{419799C5-813B-3A64-70EB-53F45A371F78}"/>
                </a:ext>
              </a:extLst>
            </p:cNvPr>
            <p:cNvSpPr/>
            <p:nvPr/>
          </p:nvSpPr>
          <p:spPr>
            <a:xfrm>
              <a:off x="9545826" y="0"/>
              <a:ext cx="2646174" cy="4181651"/>
            </a:xfrm>
            <a:custGeom>
              <a:avLst/>
              <a:gdLst>
                <a:gd name="connsiteX0" fmla="*/ 1747913 w 2646174"/>
                <a:gd name="connsiteY0" fmla="*/ 0 h 4181651"/>
                <a:gd name="connsiteX1" fmla="*/ 2646174 w 2646174"/>
                <a:gd name="connsiteY1" fmla="*/ 0 h 4181651"/>
                <a:gd name="connsiteX2" fmla="*/ 2646174 w 2646174"/>
                <a:gd name="connsiteY2" fmla="*/ 856737 h 4181651"/>
                <a:gd name="connsiteX3" fmla="*/ 2457809 w 2646174"/>
                <a:gd name="connsiteY3" fmla="*/ 980394 h 4181651"/>
                <a:gd name="connsiteX4" fmla="*/ 2011745 w 2646174"/>
                <a:gd name="connsiteY4" fmla="*/ 1378332 h 4181651"/>
                <a:gd name="connsiteX5" fmla="*/ 1212662 w 2646174"/>
                <a:gd name="connsiteY5" fmla="*/ 3551945 h 4181651"/>
                <a:gd name="connsiteX6" fmla="*/ 632417 w 2646174"/>
                <a:gd name="connsiteY6" fmla="*/ 4180987 h 4181651"/>
                <a:gd name="connsiteX7" fmla="*/ 607606 w 2646174"/>
                <a:gd name="connsiteY7" fmla="*/ 4181485 h 4181651"/>
                <a:gd name="connsiteX8" fmla="*/ 607770 w 2646174"/>
                <a:gd name="connsiteY8" fmla="*/ 4181651 h 4181651"/>
                <a:gd name="connsiteX9" fmla="*/ 3539 w 2646174"/>
                <a:gd name="connsiteY9" fmla="*/ 3600906 h 4181651"/>
                <a:gd name="connsiteX10" fmla="*/ 1122186 w 2646174"/>
                <a:gd name="connsiteY10" fmla="*/ 557912 h 4181651"/>
                <a:gd name="connsiteX11" fmla="*/ 1746652 w 2646174"/>
                <a:gd name="connsiteY11" fmla="*/ 873 h 4181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46174" h="4181651">
                  <a:moveTo>
                    <a:pt x="1747913" y="0"/>
                  </a:moveTo>
                  <a:lnTo>
                    <a:pt x="2646174" y="0"/>
                  </a:lnTo>
                  <a:lnTo>
                    <a:pt x="2646174" y="856737"/>
                  </a:lnTo>
                  <a:lnTo>
                    <a:pt x="2457809" y="980394"/>
                  </a:lnTo>
                  <a:cubicBezTo>
                    <a:pt x="2298147" y="1096818"/>
                    <a:pt x="2148743" y="1229795"/>
                    <a:pt x="2011745" y="1378332"/>
                  </a:cubicBezTo>
                  <a:cubicBezTo>
                    <a:pt x="1463753" y="1972471"/>
                    <a:pt x="1180078" y="2744428"/>
                    <a:pt x="1212662" y="3551945"/>
                  </a:cubicBezTo>
                  <a:cubicBezTo>
                    <a:pt x="1226226" y="3885903"/>
                    <a:pt x="966372" y="4167590"/>
                    <a:pt x="632417" y="4180987"/>
                  </a:cubicBezTo>
                  <a:cubicBezTo>
                    <a:pt x="624146" y="4181320"/>
                    <a:pt x="615876" y="4181485"/>
                    <a:pt x="607606" y="4181485"/>
                  </a:cubicBezTo>
                  <a:lnTo>
                    <a:pt x="607770" y="4181651"/>
                  </a:lnTo>
                  <a:cubicBezTo>
                    <a:pt x="284731" y="4181651"/>
                    <a:pt x="16772" y="3926591"/>
                    <a:pt x="3539" y="3600906"/>
                  </a:cubicBezTo>
                  <a:cubicBezTo>
                    <a:pt x="-42113" y="2470349"/>
                    <a:pt x="355194" y="1389579"/>
                    <a:pt x="1122186" y="557912"/>
                  </a:cubicBezTo>
                  <a:cubicBezTo>
                    <a:pt x="1313976" y="349996"/>
                    <a:pt x="1523133" y="163851"/>
                    <a:pt x="1746652" y="873"/>
                  </a:cubicBezTo>
                  <a:close/>
                </a:path>
              </a:pathLst>
            </a:custGeom>
            <a:solidFill>
              <a:srgbClr val="FFB900"/>
            </a:solidFill>
            <a:ln>
              <a:solidFill>
                <a:schemeClr val="bg1">
                  <a:alpha val="25000"/>
                </a:schemeClr>
              </a:solidFill>
              <a:headEnd type="none" w="med" len="med"/>
              <a:tailEnd type="none" w="med" len="med"/>
            </a:ln>
            <a:effectLst>
              <a:innerShdw blurRad="101600" dist="50800" dir="11580000">
                <a:prstClr val="black">
                  <a:alpha val="71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29" name="Freeform: Shape 28">
              <a:extLst>
                <a:ext uri="{FF2B5EF4-FFF2-40B4-BE49-F238E27FC236}">
                  <a16:creationId xmlns:a16="http://schemas.microsoft.com/office/drawing/2014/main" id="{A228AF95-ADBE-9CB2-8D17-295028CF96A6}"/>
                </a:ext>
              </a:extLst>
            </p:cNvPr>
            <p:cNvSpPr/>
            <p:nvPr/>
          </p:nvSpPr>
          <p:spPr>
            <a:xfrm>
              <a:off x="10408697" y="1"/>
              <a:ext cx="1783303" cy="1685115"/>
            </a:xfrm>
            <a:custGeom>
              <a:avLst/>
              <a:gdLst>
                <a:gd name="connsiteX0" fmla="*/ 885295 w 1783303"/>
                <a:gd name="connsiteY0" fmla="*/ 0 h 1685115"/>
                <a:gd name="connsiteX1" fmla="*/ 1783303 w 1783303"/>
                <a:gd name="connsiteY1" fmla="*/ 0 h 1685115"/>
                <a:gd name="connsiteX2" fmla="*/ 1783303 w 1783303"/>
                <a:gd name="connsiteY2" fmla="*/ 856237 h 1685115"/>
                <a:gd name="connsiteX3" fmla="*/ 1735840 w 1783303"/>
                <a:gd name="connsiteY3" fmla="*/ 883630 h 1685115"/>
                <a:gd name="connsiteX4" fmla="*/ 1066501 w 1783303"/>
                <a:gd name="connsiteY4" fmla="*/ 1471621 h 1685115"/>
                <a:gd name="connsiteX5" fmla="*/ 213495 w 1783303"/>
                <a:gd name="connsiteY5" fmla="*/ 1541256 h 1685115"/>
                <a:gd name="connsiteX6" fmla="*/ 143860 w 1783303"/>
                <a:gd name="connsiteY6" fmla="*/ 688253 h 1685115"/>
                <a:gd name="connsiteX7" fmla="*/ 744874 w 1783303"/>
                <a:gd name="connsiteY7" fmla="*/ 105988 h 1685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83303" h="1685115">
                  <a:moveTo>
                    <a:pt x="885295" y="0"/>
                  </a:moveTo>
                  <a:lnTo>
                    <a:pt x="1783303" y="0"/>
                  </a:lnTo>
                  <a:lnTo>
                    <a:pt x="1783303" y="856237"/>
                  </a:lnTo>
                  <a:lnTo>
                    <a:pt x="1735840" y="883630"/>
                  </a:lnTo>
                  <a:cubicBezTo>
                    <a:pt x="1488117" y="1043358"/>
                    <a:pt x="1262631" y="1240567"/>
                    <a:pt x="1066501" y="1471621"/>
                  </a:cubicBezTo>
                  <a:cubicBezTo>
                    <a:pt x="850146" y="1726348"/>
                    <a:pt x="468222" y="1757608"/>
                    <a:pt x="213495" y="1541256"/>
                  </a:cubicBezTo>
                  <a:cubicBezTo>
                    <a:pt x="-41232" y="1324903"/>
                    <a:pt x="-72493" y="942980"/>
                    <a:pt x="143860" y="688253"/>
                  </a:cubicBezTo>
                  <a:cubicBezTo>
                    <a:pt x="326924" y="472603"/>
                    <a:pt x="528245" y="278012"/>
                    <a:pt x="744874" y="105988"/>
                  </a:cubicBezTo>
                  <a:close/>
                </a:path>
              </a:pathLst>
            </a:custGeom>
            <a:solidFill>
              <a:schemeClr val="bg1"/>
            </a:solidFill>
            <a:ln>
              <a:solidFill>
                <a:schemeClr val="bg1">
                  <a:alpha val="25000"/>
                </a:schemeClr>
              </a:solidFill>
              <a:headEnd type="none" w="med" len="med"/>
              <a:tailEnd type="none" w="med" len="med"/>
            </a:ln>
            <a:effectLst>
              <a:innerShdw blurRad="63500" dist="50800" dir="13500000">
                <a:prstClr val="black">
                  <a:alpha val="35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24" name="Freeform: Shape 23">
              <a:extLst>
                <a:ext uri="{FF2B5EF4-FFF2-40B4-BE49-F238E27FC236}">
                  <a16:creationId xmlns:a16="http://schemas.microsoft.com/office/drawing/2014/main" id="{CA56208C-9F01-90E6-6A29-30F1C767F546}"/>
                </a:ext>
              </a:extLst>
            </p:cNvPr>
            <p:cNvSpPr/>
            <p:nvPr/>
          </p:nvSpPr>
          <p:spPr>
            <a:xfrm>
              <a:off x="10519807" y="585534"/>
              <a:ext cx="988470" cy="988470"/>
            </a:xfrm>
            <a:custGeom>
              <a:avLst/>
              <a:gdLst>
                <a:gd name="connsiteX0" fmla="*/ 379476 w 379475"/>
                <a:gd name="connsiteY0" fmla="*/ 189738 h 379475"/>
                <a:gd name="connsiteX1" fmla="*/ 189738 w 379475"/>
                <a:gd name="connsiteY1" fmla="*/ 379476 h 379475"/>
                <a:gd name="connsiteX2" fmla="*/ 0 w 379475"/>
                <a:gd name="connsiteY2" fmla="*/ 189738 h 379475"/>
                <a:gd name="connsiteX3" fmla="*/ 189738 w 379475"/>
                <a:gd name="connsiteY3" fmla="*/ 0 h 379475"/>
                <a:gd name="connsiteX4" fmla="*/ 379476 w 379475"/>
                <a:gd name="connsiteY4" fmla="*/ 189738 h 379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75" h="379475">
                  <a:moveTo>
                    <a:pt x="379476" y="189738"/>
                  </a:moveTo>
                  <a:cubicBezTo>
                    <a:pt x="379476" y="294527"/>
                    <a:pt x="294527" y="379476"/>
                    <a:pt x="189738" y="379476"/>
                  </a:cubicBezTo>
                  <a:cubicBezTo>
                    <a:pt x="84949" y="379476"/>
                    <a:pt x="0" y="294527"/>
                    <a:pt x="0" y="189738"/>
                  </a:cubicBezTo>
                  <a:cubicBezTo>
                    <a:pt x="0" y="84949"/>
                    <a:pt x="84949" y="0"/>
                    <a:pt x="189738" y="0"/>
                  </a:cubicBezTo>
                  <a:cubicBezTo>
                    <a:pt x="294527" y="0"/>
                    <a:pt x="379476" y="84949"/>
                    <a:pt x="379476" y="189738"/>
                  </a:cubicBezTo>
                  <a:close/>
                </a:path>
              </a:pathLst>
            </a:custGeom>
            <a:solidFill>
              <a:srgbClr val="FFB900"/>
            </a:solidFill>
            <a:ln>
              <a:solidFill>
                <a:schemeClr val="bg1">
                  <a:alpha val="25000"/>
                </a:schemeClr>
              </a:solidFill>
              <a:headEnd type="none" w="med" len="med"/>
              <a:tailEnd type="none" w="med" len="med"/>
            </a:ln>
            <a:effectLst>
              <a:outerShdw blurRad="50800" dist="254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25" name="Freeform: Shape 24">
              <a:extLst>
                <a:ext uri="{FF2B5EF4-FFF2-40B4-BE49-F238E27FC236}">
                  <a16:creationId xmlns:a16="http://schemas.microsoft.com/office/drawing/2014/main" id="{02D94EA7-A296-A04F-0DCD-9E64E25291F1}"/>
                </a:ext>
              </a:extLst>
            </p:cNvPr>
            <p:cNvSpPr/>
            <p:nvPr/>
          </p:nvSpPr>
          <p:spPr>
            <a:xfrm>
              <a:off x="9576979" y="3003283"/>
              <a:ext cx="1182338" cy="1182338"/>
            </a:xfrm>
            <a:custGeom>
              <a:avLst/>
              <a:gdLst>
                <a:gd name="connsiteX0" fmla="*/ 464693 w 464693"/>
                <a:gd name="connsiteY0" fmla="*/ 232346 h 464693"/>
                <a:gd name="connsiteX1" fmla="*/ 232346 w 464693"/>
                <a:gd name="connsiteY1" fmla="*/ 464693 h 464693"/>
                <a:gd name="connsiteX2" fmla="*/ 0 w 464693"/>
                <a:gd name="connsiteY2" fmla="*/ 232346 h 464693"/>
                <a:gd name="connsiteX3" fmla="*/ 232346 w 464693"/>
                <a:gd name="connsiteY3" fmla="*/ 0 h 464693"/>
                <a:gd name="connsiteX4" fmla="*/ 464693 w 464693"/>
                <a:gd name="connsiteY4" fmla="*/ 232346 h 464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693" h="464693">
                  <a:moveTo>
                    <a:pt x="464693" y="232346"/>
                  </a:moveTo>
                  <a:cubicBezTo>
                    <a:pt x="464693" y="360668"/>
                    <a:pt x="360668" y="464693"/>
                    <a:pt x="232346" y="464693"/>
                  </a:cubicBezTo>
                  <a:cubicBezTo>
                    <a:pt x="104025" y="464693"/>
                    <a:pt x="0" y="360668"/>
                    <a:pt x="0" y="232346"/>
                  </a:cubicBezTo>
                  <a:cubicBezTo>
                    <a:pt x="0" y="104025"/>
                    <a:pt x="104025" y="0"/>
                    <a:pt x="232346" y="0"/>
                  </a:cubicBezTo>
                  <a:cubicBezTo>
                    <a:pt x="360668" y="0"/>
                    <a:pt x="464693" y="104025"/>
                    <a:pt x="464693" y="232346"/>
                  </a:cubicBezTo>
                  <a:close/>
                </a:path>
              </a:pathLst>
            </a:custGeom>
            <a:solidFill>
              <a:srgbClr val="FFB900"/>
            </a:solidFill>
            <a:ln>
              <a:solidFill>
                <a:schemeClr val="bg1">
                  <a:alpha val="25000"/>
                </a:schemeClr>
              </a:solid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26" name="Freeform: Shape 25">
              <a:extLst>
                <a:ext uri="{FF2B5EF4-FFF2-40B4-BE49-F238E27FC236}">
                  <a16:creationId xmlns:a16="http://schemas.microsoft.com/office/drawing/2014/main" id="{0B3AB1A2-D91E-5E69-FC02-58124252B791}"/>
                </a:ext>
              </a:extLst>
            </p:cNvPr>
            <p:cNvSpPr/>
            <p:nvPr/>
          </p:nvSpPr>
          <p:spPr>
            <a:xfrm>
              <a:off x="9685389" y="3111691"/>
              <a:ext cx="965514" cy="965514"/>
            </a:xfrm>
            <a:custGeom>
              <a:avLst/>
              <a:gdLst>
                <a:gd name="connsiteX0" fmla="*/ 379476 w 379475"/>
                <a:gd name="connsiteY0" fmla="*/ 189738 h 379475"/>
                <a:gd name="connsiteX1" fmla="*/ 189738 w 379475"/>
                <a:gd name="connsiteY1" fmla="*/ 379476 h 379475"/>
                <a:gd name="connsiteX2" fmla="*/ 0 w 379475"/>
                <a:gd name="connsiteY2" fmla="*/ 189738 h 379475"/>
                <a:gd name="connsiteX3" fmla="*/ 189738 w 379475"/>
                <a:gd name="connsiteY3" fmla="*/ 0 h 379475"/>
                <a:gd name="connsiteX4" fmla="*/ 379476 w 379475"/>
                <a:gd name="connsiteY4" fmla="*/ 189738 h 379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75" h="379475">
                  <a:moveTo>
                    <a:pt x="379476" y="189738"/>
                  </a:moveTo>
                  <a:cubicBezTo>
                    <a:pt x="379476" y="294527"/>
                    <a:pt x="294527" y="379476"/>
                    <a:pt x="189738" y="379476"/>
                  </a:cubicBezTo>
                  <a:cubicBezTo>
                    <a:pt x="84949" y="379476"/>
                    <a:pt x="0" y="294527"/>
                    <a:pt x="0" y="189738"/>
                  </a:cubicBezTo>
                  <a:cubicBezTo>
                    <a:pt x="0" y="84949"/>
                    <a:pt x="84949" y="0"/>
                    <a:pt x="189738" y="0"/>
                  </a:cubicBezTo>
                  <a:cubicBezTo>
                    <a:pt x="294527" y="0"/>
                    <a:pt x="379476" y="84949"/>
                    <a:pt x="379476" y="189738"/>
                  </a:cubicBezTo>
                  <a:close/>
                </a:path>
              </a:pathLst>
            </a:custGeom>
            <a:solidFill>
              <a:srgbClr val="1E5D2D"/>
            </a:solidFill>
            <a:ln>
              <a:solidFill>
                <a:schemeClr val="bg1">
                  <a:alpha val="25000"/>
                </a:schemeClr>
              </a:solidFill>
              <a:headEnd type="none" w="med" len="med"/>
              <a:tailEnd type="none" w="med" len="med"/>
            </a:ln>
            <a:effectLst>
              <a:outerShdw blurRad="50800" dist="254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grpSp>
    </p:spTree>
    <p:extLst>
      <p:ext uri="{BB962C8B-B14F-4D97-AF65-F5344CB8AC3E}">
        <p14:creationId xmlns:p14="http://schemas.microsoft.com/office/powerpoint/2010/main" val="37624953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4_ Title">
    <p:bg>
      <p:bgRef idx="1001">
        <a:schemeClr val="bg2"/>
      </p:bgRef>
    </p:bg>
    <p:spTree>
      <p:nvGrpSpPr>
        <p:cNvPr id="1" name=""/>
        <p:cNvGrpSpPr/>
        <p:nvPr/>
      </p:nvGrpSpPr>
      <p:grpSpPr>
        <a:xfrm>
          <a:off x="0" y="0"/>
          <a:ext cx="0" cy="0"/>
          <a:chOff x="0" y="0"/>
          <a:chExt cx="0" cy="0"/>
        </a:xfrm>
      </p:grpSpPr>
      <p:pic>
        <p:nvPicPr>
          <p:cNvPr id="2" name="Picture 1" descr="A blue background with a group of circles&#10;&#10;Description automatically generated with medium confidence">
            <a:extLst>
              <a:ext uri="{FF2B5EF4-FFF2-40B4-BE49-F238E27FC236}">
                <a16:creationId xmlns:a16="http://schemas.microsoft.com/office/drawing/2014/main" id="{2C6E1CB7-9594-AF26-C37A-3595B7A7708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1723" t="24567" r="20999" b="20383"/>
          <a:stretch/>
        </p:blipFill>
        <p:spPr>
          <a:xfrm>
            <a:off x="3810001" y="0"/>
            <a:ext cx="8382000" cy="6858000"/>
          </a:xfrm>
          <a:prstGeom prst="rect">
            <a:avLst/>
          </a:prstGeom>
        </p:spPr>
      </p:pic>
      <p:grpSp>
        <p:nvGrpSpPr>
          <p:cNvPr id="3" name="Group 2">
            <a:extLst>
              <a:ext uri="{FF2B5EF4-FFF2-40B4-BE49-F238E27FC236}">
                <a16:creationId xmlns:a16="http://schemas.microsoft.com/office/drawing/2014/main" id="{9EA05C78-E464-0410-13D1-EFC51C4BB3E5}"/>
              </a:ext>
            </a:extLst>
          </p:cNvPr>
          <p:cNvGrpSpPr/>
          <p:nvPr userDrawn="1"/>
        </p:nvGrpSpPr>
        <p:grpSpPr>
          <a:xfrm>
            <a:off x="2" y="0"/>
            <a:ext cx="12191998" cy="6858001"/>
            <a:chOff x="2" y="0"/>
            <a:chExt cx="12191998" cy="6858001"/>
          </a:xfrm>
        </p:grpSpPr>
        <p:pic>
          <p:nvPicPr>
            <p:cNvPr id="4" name="Picture 3" descr="A blue background with a group of circles&#10;&#10;Description automatically generated with medium confidence">
              <a:extLst>
                <a:ext uri="{FF2B5EF4-FFF2-40B4-BE49-F238E27FC236}">
                  <a16:creationId xmlns:a16="http://schemas.microsoft.com/office/drawing/2014/main" id="{8A1905D6-6C1A-53BC-25AA-3CACBF50EE9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98" t="25518" r="21886" b="20898"/>
            <a:stretch/>
          </p:blipFill>
          <p:spPr>
            <a:xfrm>
              <a:off x="2231908" y="0"/>
              <a:ext cx="9960092" cy="6858000"/>
            </a:xfrm>
            <a:prstGeom prst="rect">
              <a:avLst/>
            </a:prstGeom>
          </p:spPr>
        </p:pic>
        <p:pic>
          <p:nvPicPr>
            <p:cNvPr id="9" name="Picture 8" descr="A blue background with a group of circles&#10;&#10;Description automatically generated with medium confidence">
              <a:extLst>
                <a:ext uri="{FF2B5EF4-FFF2-40B4-BE49-F238E27FC236}">
                  <a16:creationId xmlns:a16="http://schemas.microsoft.com/office/drawing/2014/main" id="{941BF89A-A07B-37C7-C519-0393AA4C22F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98" t="25518" r="97001" b="20900"/>
            <a:stretch/>
          </p:blipFill>
          <p:spPr>
            <a:xfrm flipH="1">
              <a:off x="2" y="1"/>
              <a:ext cx="2258798" cy="6858000"/>
            </a:xfrm>
            <a:prstGeom prst="rect">
              <a:avLst/>
            </a:prstGeom>
          </p:spPr>
        </p:pic>
      </p:grpSp>
      <p:sp>
        <p:nvSpPr>
          <p:cNvPr id="6" name="Title 1">
            <a:extLst>
              <a:ext uri="{FF2B5EF4-FFF2-40B4-BE49-F238E27FC236}">
                <a16:creationId xmlns:a16="http://schemas.microsoft.com/office/drawing/2014/main" id="{BDCBE763-DA82-9E03-A6DA-B764D210FDEB}"/>
              </a:ext>
            </a:extLst>
          </p:cNvPr>
          <p:cNvSpPr>
            <a:spLocks noGrp="1"/>
          </p:cNvSpPr>
          <p:nvPr userDrawn="1">
            <p:ph type="title" hasCustomPrompt="1"/>
          </p:nvPr>
        </p:nvSpPr>
        <p:spPr>
          <a:xfrm>
            <a:off x="588263" y="2425541"/>
            <a:ext cx="4167887" cy="1107996"/>
          </a:xfrm>
        </p:spPr>
        <p:txBody>
          <a:bodyPr anchor="b" anchorCtr="0">
            <a:spAutoFit/>
          </a:bodyPr>
          <a:lstStyle>
            <a:lvl1pPr>
              <a:defRPr>
                <a:solidFill>
                  <a:schemeClr val="bg1"/>
                </a:solidFill>
              </a:defRPr>
            </a:lvl1pPr>
          </a:lstStyle>
          <a:p>
            <a:r>
              <a:rPr lang="en-US"/>
              <a:t>Event name or presentation title </a:t>
            </a:r>
          </a:p>
        </p:txBody>
      </p:sp>
      <p:sp>
        <p:nvSpPr>
          <p:cNvPr id="7" name="Text Placeholder 4">
            <a:extLst>
              <a:ext uri="{FF2B5EF4-FFF2-40B4-BE49-F238E27FC236}">
                <a16:creationId xmlns:a16="http://schemas.microsoft.com/office/drawing/2014/main" id="{DD346BF9-2F31-F2F2-24DD-0190334E82A2}"/>
              </a:ext>
            </a:extLst>
          </p:cNvPr>
          <p:cNvSpPr>
            <a:spLocks noGrp="1"/>
          </p:cNvSpPr>
          <p:nvPr userDrawn="1">
            <p:ph type="body" sz="quarter" idx="12" hasCustomPrompt="1"/>
          </p:nvPr>
        </p:nvSpPr>
        <p:spPr>
          <a:xfrm>
            <a:off x="582042" y="3977319"/>
            <a:ext cx="4164583" cy="338554"/>
          </a:xfrm>
          <a:noFill/>
        </p:spPr>
        <p:txBody>
          <a:bodyPr vert="horz" wrap="square" lIns="0" tIns="0" rIns="0" bIns="0" rtlCol="0">
            <a:spAutoFit/>
          </a:bodyPr>
          <a:lstStyle>
            <a:lvl1pPr>
              <a:defRPr kumimoji="0" lang="en-US" sz="2200" u="none" strike="noStrike" cap="none" normalizeH="0" dirty="0">
                <a:ln>
                  <a:noFill/>
                </a:ln>
                <a:solidFill>
                  <a:srgbClr val="FFFFFF"/>
                </a:solidFill>
                <a:effectLst/>
                <a:uLnTx/>
                <a:uFillTx/>
              </a:defRPr>
            </a:lvl1pPr>
          </a:lstStyle>
          <a:p>
            <a:pPr marL="0" lvl="0" indent="0">
              <a:spcBef>
                <a:spcPts val="0"/>
              </a:spcBef>
              <a:buFont typeface="Arial" panose="020B0604020202020204" pitchFamily="34" charset="0"/>
              <a:buNone/>
            </a:pPr>
            <a:r>
              <a:rPr lang="en-US"/>
              <a:t>Speaker name or subtitle</a:t>
            </a:r>
          </a:p>
        </p:txBody>
      </p:sp>
      <p:pic>
        <p:nvPicPr>
          <p:cNvPr id="11" name="Picture 10" descr="A black and white logo&#10;&#10;Description automatically generated">
            <a:extLst>
              <a:ext uri="{FF2B5EF4-FFF2-40B4-BE49-F238E27FC236}">
                <a16:creationId xmlns:a16="http://schemas.microsoft.com/office/drawing/2014/main" id="{9A86A548-C185-1232-C156-01BF72BA4301}"/>
              </a:ext>
            </a:extLst>
          </p:cNvPr>
          <p:cNvPicPr>
            <a:picLocks noChangeAspect="1"/>
          </p:cNvPicPr>
          <p:nvPr userDrawn="1"/>
        </p:nvPicPr>
        <p:blipFill rotWithShape="1">
          <a:blip r:embed="rId3"/>
          <a:srcRect l="9831" t="30470" r="9778" b="31934"/>
          <a:stretch/>
        </p:blipFill>
        <p:spPr>
          <a:xfrm>
            <a:off x="565402" y="560565"/>
            <a:ext cx="2354775" cy="331610"/>
          </a:xfrm>
          <a:prstGeom prst="rect">
            <a:avLst/>
          </a:prstGeom>
        </p:spPr>
      </p:pic>
    </p:spTree>
    <p:extLst>
      <p:ext uri="{BB962C8B-B14F-4D97-AF65-F5344CB8AC3E}">
        <p14:creationId xmlns:p14="http://schemas.microsoft.com/office/powerpoint/2010/main" val="10680375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2_ Title">
    <p:bg>
      <p:bgPr>
        <a:gradFill>
          <a:gsLst>
            <a:gs pos="0">
              <a:schemeClr val="tx1"/>
            </a:gs>
            <a:gs pos="100000">
              <a:srgbClr val="243A5E"/>
            </a:gs>
          </a:gsLst>
          <a:lin ang="5400000" scaled="1"/>
        </a:gradFill>
        <a:effectLst/>
      </p:bgPr>
    </p:bg>
    <p:spTree>
      <p:nvGrpSpPr>
        <p:cNvPr id="1" name=""/>
        <p:cNvGrpSpPr/>
        <p:nvPr/>
      </p:nvGrpSpPr>
      <p:grpSpPr>
        <a:xfrm>
          <a:off x="0" y="0"/>
          <a:ext cx="0" cy="0"/>
          <a:chOff x="0" y="0"/>
          <a:chExt cx="0" cy="0"/>
        </a:xfrm>
      </p:grpSpPr>
      <p:pic>
        <p:nvPicPr>
          <p:cNvPr id="5" name="Picture 4" descr="A blue background with a group of circles&#10;&#10;Description automatically generated with medium confidence">
            <a:extLst>
              <a:ext uri="{FF2B5EF4-FFF2-40B4-BE49-F238E27FC236}">
                <a16:creationId xmlns:a16="http://schemas.microsoft.com/office/drawing/2014/main" id="{BFDC3CF0-5690-B6F1-82BE-BA73140C28B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1635" t="20064" r="21047" b="15449"/>
          <a:stretch/>
        </p:blipFill>
        <p:spPr>
          <a:xfrm>
            <a:off x="6096001" y="0"/>
            <a:ext cx="6095999" cy="6858000"/>
          </a:xfrm>
          <a:prstGeom prst="rect">
            <a:avLst/>
          </a:prstGeom>
        </p:spPr>
      </p:pic>
      <p:grpSp>
        <p:nvGrpSpPr>
          <p:cNvPr id="21" name="Group 20">
            <a:extLst>
              <a:ext uri="{FF2B5EF4-FFF2-40B4-BE49-F238E27FC236}">
                <a16:creationId xmlns:a16="http://schemas.microsoft.com/office/drawing/2014/main" id="{7086C99D-1BCA-BDEE-069F-FC41682698E7}"/>
              </a:ext>
            </a:extLst>
          </p:cNvPr>
          <p:cNvGrpSpPr/>
          <p:nvPr userDrawn="1"/>
        </p:nvGrpSpPr>
        <p:grpSpPr>
          <a:xfrm>
            <a:off x="582613" y="582613"/>
            <a:ext cx="2311401" cy="296862"/>
            <a:chOff x="582613" y="582613"/>
            <a:chExt cx="2311401" cy="296862"/>
          </a:xfrm>
        </p:grpSpPr>
        <p:grpSp>
          <p:nvGrpSpPr>
            <p:cNvPr id="20" name="Group 19">
              <a:extLst>
                <a:ext uri="{FF2B5EF4-FFF2-40B4-BE49-F238E27FC236}">
                  <a16:creationId xmlns:a16="http://schemas.microsoft.com/office/drawing/2014/main" id="{A7B49D88-4043-BF0F-511C-AA6809AF44C9}"/>
                </a:ext>
              </a:extLst>
            </p:cNvPr>
            <p:cNvGrpSpPr/>
            <p:nvPr userDrawn="1"/>
          </p:nvGrpSpPr>
          <p:grpSpPr>
            <a:xfrm>
              <a:off x="963613" y="628650"/>
              <a:ext cx="1930401" cy="246062"/>
              <a:chOff x="963613" y="628650"/>
              <a:chExt cx="1930401" cy="246062"/>
            </a:xfrm>
            <a:solidFill>
              <a:schemeClr val="bg1"/>
            </a:solidFill>
          </p:grpSpPr>
          <p:sp>
            <p:nvSpPr>
              <p:cNvPr id="4" name="Freeform 5">
                <a:extLst>
                  <a:ext uri="{FF2B5EF4-FFF2-40B4-BE49-F238E27FC236}">
                    <a16:creationId xmlns:a16="http://schemas.microsoft.com/office/drawing/2014/main" id="{9C98F93D-052A-47F6-95BE-47934F3DEA4C}"/>
                  </a:ext>
                </a:extLst>
              </p:cNvPr>
              <p:cNvSpPr>
                <a:spLocks/>
              </p:cNvSpPr>
              <p:nvPr userDrawn="1"/>
            </p:nvSpPr>
            <p:spPr bwMode="auto">
              <a:xfrm>
                <a:off x="2027238" y="638175"/>
                <a:ext cx="106363" cy="185737"/>
              </a:xfrm>
              <a:custGeom>
                <a:avLst/>
                <a:gdLst>
                  <a:gd name="T0" fmla="*/ 105 w 352"/>
                  <a:gd name="T1" fmla="*/ 157 h 602"/>
                  <a:gd name="T2" fmla="*/ 105 w 352"/>
                  <a:gd name="T3" fmla="*/ 157 h 602"/>
                  <a:gd name="T4" fmla="*/ 128 w 352"/>
                  <a:gd name="T5" fmla="*/ 212 h 602"/>
                  <a:gd name="T6" fmla="*/ 208 w 352"/>
                  <a:gd name="T7" fmla="*/ 263 h 602"/>
                  <a:gd name="T8" fmla="*/ 319 w 352"/>
                  <a:gd name="T9" fmla="*/ 344 h 602"/>
                  <a:gd name="T10" fmla="*/ 352 w 352"/>
                  <a:gd name="T11" fmla="*/ 437 h 602"/>
                  <a:gd name="T12" fmla="*/ 296 w 352"/>
                  <a:gd name="T13" fmla="*/ 558 h 602"/>
                  <a:gd name="T14" fmla="*/ 153 w 352"/>
                  <a:gd name="T15" fmla="*/ 602 h 602"/>
                  <a:gd name="T16" fmla="*/ 62 w 352"/>
                  <a:gd name="T17" fmla="*/ 592 h 602"/>
                  <a:gd name="T18" fmla="*/ 0 w 352"/>
                  <a:gd name="T19" fmla="*/ 568 h 602"/>
                  <a:gd name="T20" fmla="*/ 0 w 352"/>
                  <a:gd name="T21" fmla="*/ 458 h 602"/>
                  <a:gd name="T22" fmla="*/ 68 w 352"/>
                  <a:gd name="T23" fmla="*/ 498 h 602"/>
                  <a:gd name="T24" fmla="*/ 151 w 352"/>
                  <a:gd name="T25" fmla="*/ 515 h 602"/>
                  <a:gd name="T26" fmla="*/ 221 w 352"/>
                  <a:gd name="T27" fmla="*/ 498 h 602"/>
                  <a:gd name="T28" fmla="*/ 247 w 352"/>
                  <a:gd name="T29" fmla="*/ 447 h 602"/>
                  <a:gd name="T30" fmla="*/ 222 w 352"/>
                  <a:gd name="T31" fmla="*/ 392 h 602"/>
                  <a:gd name="T32" fmla="*/ 130 w 352"/>
                  <a:gd name="T33" fmla="*/ 333 h 602"/>
                  <a:gd name="T34" fmla="*/ 32 w 352"/>
                  <a:gd name="T35" fmla="*/ 259 h 602"/>
                  <a:gd name="T36" fmla="*/ 0 w 352"/>
                  <a:gd name="T37" fmla="*/ 164 h 602"/>
                  <a:gd name="T38" fmla="*/ 56 w 352"/>
                  <a:gd name="T39" fmla="*/ 47 h 602"/>
                  <a:gd name="T40" fmla="*/ 199 w 352"/>
                  <a:gd name="T41" fmla="*/ 0 h 602"/>
                  <a:gd name="T42" fmla="*/ 274 w 352"/>
                  <a:gd name="T43" fmla="*/ 8 h 602"/>
                  <a:gd name="T44" fmla="*/ 327 w 352"/>
                  <a:gd name="T45" fmla="*/ 23 h 602"/>
                  <a:gd name="T46" fmla="*/ 327 w 352"/>
                  <a:gd name="T47" fmla="*/ 129 h 602"/>
                  <a:gd name="T48" fmla="*/ 269 w 352"/>
                  <a:gd name="T49" fmla="*/ 99 h 602"/>
                  <a:gd name="T50" fmla="*/ 201 w 352"/>
                  <a:gd name="T51" fmla="*/ 88 h 602"/>
                  <a:gd name="T52" fmla="*/ 132 w 352"/>
                  <a:gd name="T53" fmla="*/ 107 h 602"/>
                  <a:gd name="T54" fmla="*/ 105 w 352"/>
                  <a:gd name="T55" fmla="*/ 157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2" h="602">
                    <a:moveTo>
                      <a:pt x="105" y="157"/>
                    </a:moveTo>
                    <a:lnTo>
                      <a:pt x="105" y="157"/>
                    </a:lnTo>
                    <a:cubicBezTo>
                      <a:pt x="105" y="179"/>
                      <a:pt x="113" y="197"/>
                      <a:pt x="128" y="212"/>
                    </a:cubicBezTo>
                    <a:cubicBezTo>
                      <a:pt x="143" y="226"/>
                      <a:pt x="169" y="244"/>
                      <a:pt x="208" y="263"/>
                    </a:cubicBezTo>
                    <a:cubicBezTo>
                      <a:pt x="259" y="290"/>
                      <a:pt x="296" y="317"/>
                      <a:pt x="319" y="344"/>
                    </a:cubicBezTo>
                    <a:cubicBezTo>
                      <a:pt x="341" y="371"/>
                      <a:pt x="352" y="402"/>
                      <a:pt x="352" y="437"/>
                    </a:cubicBezTo>
                    <a:cubicBezTo>
                      <a:pt x="352" y="488"/>
                      <a:pt x="334" y="529"/>
                      <a:pt x="296" y="558"/>
                    </a:cubicBezTo>
                    <a:cubicBezTo>
                      <a:pt x="259" y="587"/>
                      <a:pt x="211" y="602"/>
                      <a:pt x="153" y="602"/>
                    </a:cubicBezTo>
                    <a:cubicBezTo>
                      <a:pt x="120" y="602"/>
                      <a:pt x="90" y="598"/>
                      <a:pt x="62" y="592"/>
                    </a:cubicBezTo>
                    <a:cubicBezTo>
                      <a:pt x="34" y="585"/>
                      <a:pt x="14" y="577"/>
                      <a:pt x="0" y="568"/>
                    </a:cubicBezTo>
                    <a:lnTo>
                      <a:pt x="0" y="458"/>
                    </a:lnTo>
                    <a:cubicBezTo>
                      <a:pt x="17" y="474"/>
                      <a:pt x="40" y="488"/>
                      <a:pt x="68" y="498"/>
                    </a:cubicBezTo>
                    <a:cubicBezTo>
                      <a:pt x="96" y="509"/>
                      <a:pt x="124" y="515"/>
                      <a:pt x="151" y="515"/>
                    </a:cubicBezTo>
                    <a:cubicBezTo>
                      <a:pt x="180" y="515"/>
                      <a:pt x="204" y="509"/>
                      <a:pt x="221" y="498"/>
                    </a:cubicBezTo>
                    <a:cubicBezTo>
                      <a:pt x="238" y="486"/>
                      <a:pt x="247" y="469"/>
                      <a:pt x="247" y="447"/>
                    </a:cubicBezTo>
                    <a:cubicBezTo>
                      <a:pt x="247" y="427"/>
                      <a:pt x="239" y="408"/>
                      <a:pt x="222" y="392"/>
                    </a:cubicBezTo>
                    <a:cubicBezTo>
                      <a:pt x="205" y="376"/>
                      <a:pt x="175" y="356"/>
                      <a:pt x="130" y="333"/>
                    </a:cubicBezTo>
                    <a:cubicBezTo>
                      <a:pt x="86" y="310"/>
                      <a:pt x="54" y="285"/>
                      <a:pt x="32" y="259"/>
                    </a:cubicBezTo>
                    <a:cubicBezTo>
                      <a:pt x="11" y="232"/>
                      <a:pt x="0" y="201"/>
                      <a:pt x="0" y="164"/>
                    </a:cubicBezTo>
                    <a:cubicBezTo>
                      <a:pt x="0" y="116"/>
                      <a:pt x="19" y="77"/>
                      <a:pt x="56" y="47"/>
                    </a:cubicBezTo>
                    <a:cubicBezTo>
                      <a:pt x="93" y="16"/>
                      <a:pt x="141" y="0"/>
                      <a:pt x="199" y="0"/>
                    </a:cubicBezTo>
                    <a:cubicBezTo>
                      <a:pt x="225" y="0"/>
                      <a:pt x="250" y="3"/>
                      <a:pt x="274" y="8"/>
                    </a:cubicBezTo>
                    <a:cubicBezTo>
                      <a:pt x="298" y="12"/>
                      <a:pt x="316" y="17"/>
                      <a:pt x="327" y="23"/>
                    </a:cubicBezTo>
                    <a:lnTo>
                      <a:pt x="327" y="129"/>
                    </a:lnTo>
                    <a:cubicBezTo>
                      <a:pt x="311" y="116"/>
                      <a:pt x="292" y="106"/>
                      <a:pt x="269" y="99"/>
                    </a:cubicBezTo>
                    <a:cubicBezTo>
                      <a:pt x="247" y="91"/>
                      <a:pt x="224" y="88"/>
                      <a:pt x="201" y="88"/>
                    </a:cubicBezTo>
                    <a:cubicBezTo>
                      <a:pt x="172" y="88"/>
                      <a:pt x="149" y="94"/>
                      <a:pt x="132" y="107"/>
                    </a:cubicBezTo>
                    <a:cubicBezTo>
                      <a:pt x="114" y="119"/>
                      <a:pt x="105" y="136"/>
                      <a:pt x="105" y="15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Freeform 6">
                <a:extLst>
                  <a:ext uri="{FF2B5EF4-FFF2-40B4-BE49-F238E27FC236}">
                    <a16:creationId xmlns:a16="http://schemas.microsoft.com/office/drawing/2014/main" id="{B0699FFD-A3E4-6F8A-62A5-422E48CF9CA4}"/>
                  </a:ext>
                </a:extLst>
              </p:cNvPr>
              <p:cNvSpPr>
                <a:spLocks noEditPoints="1"/>
              </p:cNvSpPr>
              <p:nvPr userDrawn="1"/>
            </p:nvSpPr>
            <p:spPr bwMode="auto">
              <a:xfrm>
                <a:off x="2147888" y="688975"/>
                <a:ext cx="115888" cy="134937"/>
              </a:xfrm>
              <a:custGeom>
                <a:avLst/>
                <a:gdLst>
                  <a:gd name="T0" fmla="*/ 286 w 383"/>
                  <a:gd name="T1" fmla="*/ 175 h 436"/>
                  <a:gd name="T2" fmla="*/ 286 w 383"/>
                  <a:gd name="T3" fmla="*/ 175 h 436"/>
                  <a:gd name="T4" fmla="*/ 264 w 383"/>
                  <a:gd name="T5" fmla="*/ 101 h 436"/>
                  <a:gd name="T6" fmla="*/ 200 w 383"/>
                  <a:gd name="T7" fmla="*/ 75 h 436"/>
                  <a:gd name="T8" fmla="*/ 137 w 383"/>
                  <a:gd name="T9" fmla="*/ 101 h 436"/>
                  <a:gd name="T10" fmla="*/ 100 w 383"/>
                  <a:gd name="T11" fmla="*/ 175 h 436"/>
                  <a:gd name="T12" fmla="*/ 286 w 383"/>
                  <a:gd name="T13" fmla="*/ 175 h 436"/>
                  <a:gd name="T14" fmla="*/ 349 w 383"/>
                  <a:gd name="T15" fmla="*/ 321 h 436"/>
                  <a:gd name="T16" fmla="*/ 349 w 383"/>
                  <a:gd name="T17" fmla="*/ 321 h 436"/>
                  <a:gd name="T18" fmla="*/ 349 w 383"/>
                  <a:gd name="T19" fmla="*/ 401 h 436"/>
                  <a:gd name="T20" fmla="*/ 285 w 383"/>
                  <a:gd name="T21" fmla="*/ 426 h 436"/>
                  <a:gd name="T22" fmla="*/ 201 w 383"/>
                  <a:gd name="T23" fmla="*/ 436 h 436"/>
                  <a:gd name="T24" fmla="*/ 53 w 383"/>
                  <a:gd name="T25" fmla="*/ 380 h 436"/>
                  <a:gd name="T26" fmla="*/ 0 w 383"/>
                  <a:gd name="T27" fmla="*/ 223 h 436"/>
                  <a:gd name="T28" fmla="*/ 57 w 383"/>
                  <a:gd name="T29" fmla="*/ 63 h 436"/>
                  <a:gd name="T30" fmla="*/ 200 w 383"/>
                  <a:gd name="T31" fmla="*/ 0 h 436"/>
                  <a:gd name="T32" fmla="*/ 335 w 383"/>
                  <a:gd name="T33" fmla="*/ 53 h 436"/>
                  <a:gd name="T34" fmla="*/ 383 w 383"/>
                  <a:gd name="T35" fmla="*/ 199 h 436"/>
                  <a:gd name="T36" fmla="*/ 383 w 383"/>
                  <a:gd name="T37" fmla="*/ 247 h 436"/>
                  <a:gd name="T38" fmla="*/ 97 w 383"/>
                  <a:gd name="T39" fmla="*/ 247 h 436"/>
                  <a:gd name="T40" fmla="*/ 137 w 383"/>
                  <a:gd name="T41" fmla="*/ 335 h 436"/>
                  <a:gd name="T42" fmla="*/ 225 w 383"/>
                  <a:gd name="T43" fmla="*/ 360 h 436"/>
                  <a:gd name="T44" fmla="*/ 292 w 383"/>
                  <a:gd name="T45" fmla="*/ 349 h 436"/>
                  <a:gd name="T46" fmla="*/ 349 w 383"/>
                  <a:gd name="T47" fmla="*/ 321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3" h="436">
                    <a:moveTo>
                      <a:pt x="286" y="175"/>
                    </a:moveTo>
                    <a:lnTo>
                      <a:pt x="286" y="175"/>
                    </a:lnTo>
                    <a:cubicBezTo>
                      <a:pt x="286" y="143"/>
                      <a:pt x="279" y="118"/>
                      <a:pt x="264" y="101"/>
                    </a:cubicBezTo>
                    <a:cubicBezTo>
                      <a:pt x="249" y="84"/>
                      <a:pt x="227" y="75"/>
                      <a:pt x="200" y="75"/>
                    </a:cubicBezTo>
                    <a:cubicBezTo>
                      <a:pt x="177" y="75"/>
                      <a:pt x="155" y="84"/>
                      <a:pt x="137" y="101"/>
                    </a:cubicBezTo>
                    <a:cubicBezTo>
                      <a:pt x="118" y="118"/>
                      <a:pt x="106" y="142"/>
                      <a:pt x="100" y="175"/>
                    </a:cubicBezTo>
                    <a:lnTo>
                      <a:pt x="286" y="175"/>
                    </a:lnTo>
                    <a:close/>
                    <a:moveTo>
                      <a:pt x="349" y="321"/>
                    </a:moveTo>
                    <a:lnTo>
                      <a:pt x="349" y="321"/>
                    </a:lnTo>
                    <a:lnTo>
                      <a:pt x="349" y="401"/>
                    </a:lnTo>
                    <a:cubicBezTo>
                      <a:pt x="333" y="412"/>
                      <a:pt x="311" y="420"/>
                      <a:pt x="285" y="426"/>
                    </a:cubicBezTo>
                    <a:cubicBezTo>
                      <a:pt x="259" y="433"/>
                      <a:pt x="231" y="436"/>
                      <a:pt x="201" y="436"/>
                    </a:cubicBezTo>
                    <a:cubicBezTo>
                      <a:pt x="138" y="436"/>
                      <a:pt x="88" y="417"/>
                      <a:pt x="53" y="380"/>
                    </a:cubicBezTo>
                    <a:cubicBezTo>
                      <a:pt x="18" y="342"/>
                      <a:pt x="0" y="290"/>
                      <a:pt x="0" y="223"/>
                    </a:cubicBezTo>
                    <a:cubicBezTo>
                      <a:pt x="0" y="158"/>
                      <a:pt x="19" y="105"/>
                      <a:pt x="57" y="63"/>
                    </a:cubicBezTo>
                    <a:cubicBezTo>
                      <a:pt x="94" y="21"/>
                      <a:pt x="142" y="0"/>
                      <a:pt x="200" y="0"/>
                    </a:cubicBezTo>
                    <a:cubicBezTo>
                      <a:pt x="258" y="0"/>
                      <a:pt x="302" y="18"/>
                      <a:pt x="335" y="53"/>
                    </a:cubicBezTo>
                    <a:cubicBezTo>
                      <a:pt x="367" y="89"/>
                      <a:pt x="383" y="137"/>
                      <a:pt x="383" y="199"/>
                    </a:cubicBezTo>
                    <a:lnTo>
                      <a:pt x="383" y="247"/>
                    </a:lnTo>
                    <a:lnTo>
                      <a:pt x="97" y="247"/>
                    </a:lnTo>
                    <a:cubicBezTo>
                      <a:pt x="101" y="289"/>
                      <a:pt x="115" y="318"/>
                      <a:pt x="137" y="335"/>
                    </a:cubicBezTo>
                    <a:cubicBezTo>
                      <a:pt x="160" y="351"/>
                      <a:pt x="189" y="360"/>
                      <a:pt x="225" y="360"/>
                    </a:cubicBezTo>
                    <a:cubicBezTo>
                      <a:pt x="248" y="360"/>
                      <a:pt x="271" y="356"/>
                      <a:pt x="292" y="349"/>
                    </a:cubicBezTo>
                    <a:cubicBezTo>
                      <a:pt x="313" y="342"/>
                      <a:pt x="332" y="332"/>
                      <a:pt x="349" y="32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7">
                <a:extLst>
                  <a:ext uri="{FF2B5EF4-FFF2-40B4-BE49-F238E27FC236}">
                    <a16:creationId xmlns:a16="http://schemas.microsoft.com/office/drawing/2014/main" id="{16FD2293-AED9-B92A-6E3B-B265D2925610}"/>
                  </a:ext>
                </a:extLst>
              </p:cNvPr>
              <p:cNvSpPr>
                <a:spLocks/>
              </p:cNvSpPr>
              <p:nvPr userDrawn="1"/>
            </p:nvSpPr>
            <p:spPr bwMode="auto">
              <a:xfrm>
                <a:off x="2279651" y="688975"/>
                <a:ext cx="98425" cy="134937"/>
              </a:xfrm>
              <a:custGeom>
                <a:avLst/>
                <a:gdLst>
                  <a:gd name="T0" fmla="*/ 229 w 326"/>
                  <a:gd name="T1" fmla="*/ 356 h 438"/>
                  <a:gd name="T2" fmla="*/ 229 w 326"/>
                  <a:gd name="T3" fmla="*/ 356 h 438"/>
                  <a:gd name="T4" fmla="*/ 277 w 326"/>
                  <a:gd name="T5" fmla="*/ 346 h 438"/>
                  <a:gd name="T6" fmla="*/ 326 w 326"/>
                  <a:gd name="T7" fmla="*/ 319 h 438"/>
                  <a:gd name="T8" fmla="*/ 326 w 326"/>
                  <a:gd name="T9" fmla="*/ 411 h 438"/>
                  <a:gd name="T10" fmla="*/ 273 w 326"/>
                  <a:gd name="T11" fmla="*/ 431 h 438"/>
                  <a:gd name="T12" fmla="*/ 207 w 326"/>
                  <a:gd name="T13" fmla="*/ 438 h 438"/>
                  <a:gd name="T14" fmla="*/ 57 w 326"/>
                  <a:gd name="T15" fmla="*/ 380 h 438"/>
                  <a:gd name="T16" fmla="*/ 0 w 326"/>
                  <a:gd name="T17" fmla="*/ 231 h 438"/>
                  <a:gd name="T18" fmla="*/ 59 w 326"/>
                  <a:gd name="T19" fmla="*/ 65 h 438"/>
                  <a:gd name="T20" fmla="*/ 225 w 326"/>
                  <a:gd name="T21" fmla="*/ 0 h 438"/>
                  <a:gd name="T22" fmla="*/ 281 w 326"/>
                  <a:gd name="T23" fmla="*/ 7 h 438"/>
                  <a:gd name="T24" fmla="*/ 326 w 326"/>
                  <a:gd name="T25" fmla="*/ 24 h 438"/>
                  <a:gd name="T26" fmla="*/ 326 w 326"/>
                  <a:gd name="T27" fmla="*/ 118 h 438"/>
                  <a:gd name="T28" fmla="*/ 279 w 326"/>
                  <a:gd name="T29" fmla="*/ 92 h 438"/>
                  <a:gd name="T30" fmla="*/ 231 w 326"/>
                  <a:gd name="T31" fmla="*/ 83 h 438"/>
                  <a:gd name="T32" fmla="*/ 137 w 326"/>
                  <a:gd name="T33" fmla="*/ 121 h 438"/>
                  <a:gd name="T34" fmla="*/ 102 w 326"/>
                  <a:gd name="T35" fmla="*/ 223 h 438"/>
                  <a:gd name="T36" fmla="*/ 136 w 326"/>
                  <a:gd name="T37" fmla="*/ 321 h 438"/>
                  <a:gd name="T38" fmla="*/ 229 w 326"/>
                  <a:gd name="T39" fmla="*/ 356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6" h="438">
                    <a:moveTo>
                      <a:pt x="229" y="356"/>
                    </a:moveTo>
                    <a:lnTo>
                      <a:pt x="229" y="356"/>
                    </a:lnTo>
                    <a:cubicBezTo>
                      <a:pt x="244" y="356"/>
                      <a:pt x="260" y="353"/>
                      <a:pt x="277" y="346"/>
                    </a:cubicBezTo>
                    <a:cubicBezTo>
                      <a:pt x="295" y="339"/>
                      <a:pt x="311" y="331"/>
                      <a:pt x="326" y="319"/>
                    </a:cubicBezTo>
                    <a:lnTo>
                      <a:pt x="326" y="411"/>
                    </a:lnTo>
                    <a:cubicBezTo>
                      <a:pt x="310" y="420"/>
                      <a:pt x="292" y="426"/>
                      <a:pt x="273" y="431"/>
                    </a:cubicBezTo>
                    <a:cubicBezTo>
                      <a:pt x="253" y="436"/>
                      <a:pt x="231" y="438"/>
                      <a:pt x="207" y="438"/>
                    </a:cubicBezTo>
                    <a:cubicBezTo>
                      <a:pt x="146" y="438"/>
                      <a:pt x="96" y="418"/>
                      <a:pt x="57" y="380"/>
                    </a:cubicBezTo>
                    <a:cubicBezTo>
                      <a:pt x="19" y="341"/>
                      <a:pt x="0" y="291"/>
                      <a:pt x="0" y="231"/>
                    </a:cubicBezTo>
                    <a:cubicBezTo>
                      <a:pt x="0" y="164"/>
                      <a:pt x="19" y="109"/>
                      <a:pt x="59" y="65"/>
                    </a:cubicBezTo>
                    <a:cubicBezTo>
                      <a:pt x="98" y="22"/>
                      <a:pt x="153" y="0"/>
                      <a:pt x="225" y="0"/>
                    </a:cubicBezTo>
                    <a:cubicBezTo>
                      <a:pt x="244" y="0"/>
                      <a:pt x="262" y="3"/>
                      <a:pt x="281" y="7"/>
                    </a:cubicBezTo>
                    <a:cubicBezTo>
                      <a:pt x="300" y="12"/>
                      <a:pt x="315" y="18"/>
                      <a:pt x="326" y="24"/>
                    </a:cubicBezTo>
                    <a:lnTo>
                      <a:pt x="326" y="118"/>
                    </a:lnTo>
                    <a:cubicBezTo>
                      <a:pt x="311" y="107"/>
                      <a:pt x="295" y="98"/>
                      <a:pt x="279" y="92"/>
                    </a:cubicBezTo>
                    <a:cubicBezTo>
                      <a:pt x="264" y="86"/>
                      <a:pt x="247" y="83"/>
                      <a:pt x="231" y="83"/>
                    </a:cubicBezTo>
                    <a:cubicBezTo>
                      <a:pt x="192" y="83"/>
                      <a:pt x="161" y="96"/>
                      <a:pt x="137" y="121"/>
                    </a:cubicBezTo>
                    <a:cubicBezTo>
                      <a:pt x="114" y="146"/>
                      <a:pt x="102" y="180"/>
                      <a:pt x="102" y="223"/>
                    </a:cubicBezTo>
                    <a:cubicBezTo>
                      <a:pt x="102" y="265"/>
                      <a:pt x="113" y="298"/>
                      <a:pt x="136" y="321"/>
                    </a:cubicBezTo>
                    <a:cubicBezTo>
                      <a:pt x="159" y="345"/>
                      <a:pt x="190" y="356"/>
                      <a:pt x="229" y="35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8">
                <a:extLst>
                  <a:ext uri="{FF2B5EF4-FFF2-40B4-BE49-F238E27FC236}">
                    <a16:creationId xmlns:a16="http://schemas.microsoft.com/office/drawing/2014/main" id="{8558E4EC-F16F-3087-5C69-8C1EFCAD05E9}"/>
                  </a:ext>
                </a:extLst>
              </p:cNvPr>
              <p:cNvSpPr>
                <a:spLocks/>
              </p:cNvSpPr>
              <p:nvPr userDrawn="1"/>
            </p:nvSpPr>
            <p:spPr bwMode="auto">
              <a:xfrm>
                <a:off x="2398713" y="692150"/>
                <a:ext cx="114300" cy="130175"/>
              </a:xfrm>
              <a:custGeom>
                <a:avLst/>
                <a:gdLst>
                  <a:gd name="T0" fmla="*/ 374 w 374"/>
                  <a:gd name="T1" fmla="*/ 0 h 422"/>
                  <a:gd name="T2" fmla="*/ 374 w 374"/>
                  <a:gd name="T3" fmla="*/ 0 h 422"/>
                  <a:gd name="T4" fmla="*/ 374 w 374"/>
                  <a:gd name="T5" fmla="*/ 417 h 422"/>
                  <a:gd name="T6" fmla="*/ 275 w 374"/>
                  <a:gd name="T7" fmla="*/ 417 h 422"/>
                  <a:gd name="T8" fmla="*/ 275 w 374"/>
                  <a:gd name="T9" fmla="*/ 362 h 422"/>
                  <a:gd name="T10" fmla="*/ 274 w 374"/>
                  <a:gd name="T11" fmla="*/ 362 h 422"/>
                  <a:gd name="T12" fmla="*/ 222 w 374"/>
                  <a:gd name="T13" fmla="*/ 406 h 422"/>
                  <a:gd name="T14" fmla="*/ 148 w 374"/>
                  <a:gd name="T15" fmla="*/ 422 h 422"/>
                  <a:gd name="T16" fmla="*/ 38 w 374"/>
                  <a:gd name="T17" fmla="*/ 381 h 422"/>
                  <a:gd name="T18" fmla="*/ 0 w 374"/>
                  <a:gd name="T19" fmla="*/ 253 h 422"/>
                  <a:gd name="T20" fmla="*/ 0 w 374"/>
                  <a:gd name="T21" fmla="*/ 0 h 422"/>
                  <a:gd name="T22" fmla="*/ 99 w 374"/>
                  <a:gd name="T23" fmla="*/ 0 h 422"/>
                  <a:gd name="T24" fmla="*/ 99 w 374"/>
                  <a:gd name="T25" fmla="*/ 242 h 422"/>
                  <a:gd name="T26" fmla="*/ 120 w 374"/>
                  <a:gd name="T27" fmla="*/ 321 h 422"/>
                  <a:gd name="T28" fmla="*/ 183 w 374"/>
                  <a:gd name="T29" fmla="*/ 347 h 422"/>
                  <a:gd name="T30" fmla="*/ 250 w 374"/>
                  <a:gd name="T31" fmla="*/ 318 h 422"/>
                  <a:gd name="T32" fmla="*/ 275 w 374"/>
                  <a:gd name="T33" fmla="*/ 241 h 422"/>
                  <a:gd name="T34" fmla="*/ 275 w 374"/>
                  <a:gd name="T35" fmla="*/ 0 h 422"/>
                  <a:gd name="T36" fmla="*/ 374 w 374"/>
                  <a:gd name="T37"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4" h="422">
                    <a:moveTo>
                      <a:pt x="374" y="0"/>
                    </a:moveTo>
                    <a:lnTo>
                      <a:pt x="374" y="0"/>
                    </a:lnTo>
                    <a:lnTo>
                      <a:pt x="374" y="417"/>
                    </a:lnTo>
                    <a:lnTo>
                      <a:pt x="275" y="417"/>
                    </a:lnTo>
                    <a:lnTo>
                      <a:pt x="275" y="362"/>
                    </a:lnTo>
                    <a:lnTo>
                      <a:pt x="274" y="362"/>
                    </a:lnTo>
                    <a:cubicBezTo>
                      <a:pt x="261" y="381"/>
                      <a:pt x="243" y="396"/>
                      <a:pt x="222" y="406"/>
                    </a:cubicBezTo>
                    <a:cubicBezTo>
                      <a:pt x="200" y="417"/>
                      <a:pt x="176" y="422"/>
                      <a:pt x="148" y="422"/>
                    </a:cubicBezTo>
                    <a:cubicBezTo>
                      <a:pt x="100" y="422"/>
                      <a:pt x="63" y="409"/>
                      <a:pt x="38" y="381"/>
                    </a:cubicBezTo>
                    <a:cubicBezTo>
                      <a:pt x="13" y="354"/>
                      <a:pt x="0" y="311"/>
                      <a:pt x="0" y="253"/>
                    </a:cubicBezTo>
                    <a:lnTo>
                      <a:pt x="0" y="0"/>
                    </a:lnTo>
                    <a:lnTo>
                      <a:pt x="99" y="0"/>
                    </a:lnTo>
                    <a:lnTo>
                      <a:pt x="99" y="242"/>
                    </a:lnTo>
                    <a:cubicBezTo>
                      <a:pt x="99" y="277"/>
                      <a:pt x="106" y="303"/>
                      <a:pt x="120" y="321"/>
                    </a:cubicBezTo>
                    <a:cubicBezTo>
                      <a:pt x="134" y="339"/>
                      <a:pt x="155" y="347"/>
                      <a:pt x="183" y="347"/>
                    </a:cubicBezTo>
                    <a:cubicBezTo>
                      <a:pt x="211" y="347"/>
                      <a:pt x="234" y="338"/>
                      <a:pt x="250" y="318"/>
                    </a:cubicBezTo>
                    <a:cubicBezTo>
                      <a:pt x="267" y="298"/>
                      <a:pt x="275" y="273"/>
                      <a:pt x="275" y="241"/>
                    </a:cubicBezTo>
                    <a:lnTo>
                      <a:pt x="275" y="0"/>
                    </a:lnTo>
                    <a:lnTo>
                      <a:pt x="37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9">
                <a:extLst>
                  <a:ext uri="{FF2B5EF4-FFF2-40B4-BE49-F238E27FC236}">
                    <a16:creationId xmlns:a16="http://schemas.microsoft.com/office/drawing/2014/main" id="{DF51DE08-486E-0403-A233-934ADCAF42F6}"/>
                  </a:ext>
                </a:extLst>
              </p:cNvPr>
              <p:cNvSpPr>
                <a:spLocks/>
              </p:cNvSpPr>
              <p:nvPr userDrawn="1"/>
            </p:nvSpPr>
            <p:spPr bwMode="auto">
              <a:xfrm>
                <a:off x="2540001" y="690563"/>
                <a:ext cx="73025" cy="130175"/>
              </a:xfrm>
              <a:custGeom>
                <a:avLst/>
                <a:gdLst>
                  <a:gd name="T0" fmla="*/ 205 w 242"/>
                  <a:gd name="T1" fmla="*/ 0 h 424"/>
                  <a:gd name="T2" fmla="*/ 205 w 242"/>
                  <a:gd name="T3" fmla="*/ 0 h 424"/>
                  <a:gd name="T4" fmla="*/ 226 w 242"/>
                  <a:gd name="T5" fmla="*/ 2 h 424"/>
                  <a:gd name="T6" fmla="*/ 242 w 242"/>
                  <a:gd name="T7" fmla="*/ 6 h 424"/>
                  <a:gd name="T8" fmla="*/ 242 w 242"/>
                  <a:gd name="T9" fmla="*/ 105 h 424"/>
                  <a:gd name="T10" fmla="*/ 220 w 242"/>
                  <a:gd name="T11" fmla="*/ 94 h 424"/>
                  <a:gd name="T12" fmla="*/ 184 w 242"/>
                  <a:gd name="T13" fmla="*/ 89 h 424"/>
                  <a:gd name="T14" fmla="*/ 123 w 242"/>
                  <a:gd name="T15" fmla="*/ 120 h 424"/>
                  <a:gd name="T16" fmla="*/ 98 w 242"/>
                  <a:gd name="T17" fmla="*/ 213 h 424"/>
                  <a:gd name="T18" fmla="*/ 98 w 242"/>
                  <a:gd name="T19" fmla="*/ 424 h 424"/>
                  <a:gd name="T20" fmla="*/ 0 w 242"/>
                  <a:gd name="T21" fmla="*/ 424 h 424"/>
                  <a:gd name="T22" fmla="*/ 0 w 242"/>
                  <a:gd name="T23" fmla="*/ 7 h 424"/>
                  <a:gd name="T24" fmla="*/ 98 w 242"/>
                  <a:gd name="T25" fmla="*/ 7 h 424"/>
                  <a:gd name="T26" fmla="*/ 98 w 242"/>
                  <a:gd name="T27" fmla="*/ 73 h 424"/>
                  <a:gd name="T28" fmla="*/ 99 w 242"/>
                  <a:gd name="T29" fmla="*/ 73 h 424"/>
                  <a:gd name="T30" fmla="*/ 140 w 242"/>
                  <a:gd name="T31" fmla="*/ 19 h 424"/>
                  <a:gd name="T32" fmla="*/ 205 w 242"/>
                  <a:gd name="T33" fmla="*/ 0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2" h="424">
                    <a:moveTo>
                      <a:pt x="205" y="0"/>
                    </a:moveTo>
                    <a:lnTo>
                      <a:pt x="205" y="0"/>
                    </a:lnTo>
                    <a:cubicBezTo>
                      <a:pt x="213" y="0"/>
                      <a:pt x="220" y="1"/>
                      <a:pt x="226" y="2"/>
                    </a:cubicBezTo>
                    <a:cubicBezTo>
                      <a:pt x="232" y="3"/>
                      <a:pt x="238" y="4"/>
                      <a:pt x="242" y="6"/>
                    </a:cubicBezTo>
                    <a:lnTo>
                      <a:pt x="242" y="105"/>
                    </a:lnTo>
                    <a:cubicBezTo>
                      <a:pt x="237" y="101"/>
                      <a:pt x="229" y="98"/>
                      <a:pt x="220" y="94"/>
                    </a:cubicBezTo>
                    <a:cubicBezTo>
                      <a:pt x="210" y="91"/>
                      <a:pt x="198" y="89"/>
                      <a:pt x="184" y="89"/>
                    </a:cubicBezTo>
                    <a:cubicBezTo>
                      <a:pt x="160" y="89"/>
                      <a:pt x="139" y="99"/>
                      <a:pt x="123" y="120"/>
                    </a:cubicBezTo>
                    <a:cubicBezTo>
                      <a:pt x="106" y="140"/>
                      <a:pt x="98" y="171"/>
                      <a:pt x="98" y="213"/>
                    </a:cubicBezTo>
                    <a:lnTo>
                      <a:pt x="98" y="424"/>
                    </a:lnTo>
                    <a:lnTo>
                      <a:pt x="0" y="424"/>
                    </a:lnTo>
                    <a:lnTo>
                      <a:pt x="0" y="7"/>
                    </a:lnTo>
                    <a:lnTo>
                      <a:pt x="98" y="7"/>
                    </a:lnTo>
                    <a:lnTo>
                      <a:pt x="98" y="73"/>
                    </a:lnTo>
                    <a:lnTo>
                      <a:pt x="99" y="73"/>
                    </a:lnTo>
                    <a:cubicBezTo>
                      <a:pt x="108" y="50"/>
                      <a:pt x="122" y="32"/>
                      <a:pt x="140" y="19"/>
                    </a:cubicBezTo>
                    <a:cubicBezTo>
                      <a:pt x="158" y="6"/>
                      <a:pt x="180" y="0"/>
                      <a:pt x="20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10">
                <a:extLst>
                  <a:ext uri="{FF2B5EF4-FFF2-40B4-BE49-F238E27FC236}">
                    <a16:creationId xmlns:a16="http://schemas.microsoft.com/office/drawing/2014/main" id="{F80D6FA4-3E80-0BCE-ABF1-9448A805144A}"/>
                  </a:ext>
                </a:extLst>
              </p:cNvPr>
              <p:cNvSpPr>
                <a:spLocks noEditPoints="1"/>
              </p:cNvSpPr>
              <p:nvPr userDrawn="1"/>
            </p:nvSpPr>
            <p:spPr bwMode="auto">
              <a:xfrm>
                <a:off x="2625726" y="638175"/>
                <a:ext cx="36513" cy="182562"/>
              </a:xfrm>
              <a:custGeom>
                <a:avLst/>
                <a:gdLst>
                  <a:gd name="T0" fmla="*/ 108 w 119"/>
                  <a:gd name="T1" fmla="*/ 595 h 595"/>
                  <a:gd name="T2" fmla="*/ 108 w 119"/>
                  <a:gd name="T3" fmla="*/ 595 h 595"/>
                  <a:gd name="T4" fmla="*/ 10 w 119"/>
                  <a:gd name="T5" fmla="*/ 595 h 595"/>
                  <a:gd name="T6" fmla="*/ 10 w 119"/>
                  <a:gd name="T7" fmla="*/ 178 h 595"/>
                  <a:gd name="T8" fmla="*/ 108 w 119"/>
                  <a:gd name="T9" fmla="*/ 178 h 595"/>
                  <a:gd name="T10" fmla="*/ 108 w 119"/>
                  <a:gd name="T11" fmla="*/ 595 h 595"/>
                  <a:gd name="T12" fmla="*/ 0 w 119"/>
                  <a:gd name="T13" fmla="*/ 57 h 595"/>
                  <a:gd name="T14" fmla="*/ 0 w 119"/>
                  <a:gd name="T15" fmla="*/ 57 h 595"/>
                  <a:gd name="T16" fmla="*/ 17 w 119"/>
                  <a:gd name="T17" fmla="*/ 17 h 595"/>
                  <a:gd name="T18" fmla="*/ 59 w 119"/>
                  <a:gd name="T19" fmla="*/ 0 h 595"/>
                  <a:gd name="T20" fmla="*/ 102 w 119"/>
                  <a:gd name="T21" fmla="*/ 17 h 595"/>
                  <a:gd name="T22" fmla="*/ 119 w 119"/>
                  <a:gd name="T23" fmla="*/ 57 h 595"/>
                  <a:gd name="T24" fmla="*/ 102 w 119"/>
                  <a:gd name="T25" fmla="*/ 98 h 595"/>
                  <a:gd name="T26" fmla="*/ 59 w 119"/>
                  <a:gd name="T27" fmla="*/ 114 h 595"/>
                  <a:gd name="T28" fmla="*/ 17 w 119"/>
                  <a:gd name="T29" fmla="*/ 97 h 595"/>
                  <a:gd name="T30" fmla="*/ 0 w 119"/>
                  <a:gd name="T31" fmla="*/ 57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595">
                    <a:moveTo>
                      <a:pt x="108" y="595"/>
                    </a:moveTo>
                    <a:lnTo>
                      <a:pt x="108" y="595"/>
                    </a:lnTo>
                    <a:lnTo>
                      <a:pt x="10" y="595"/>
                    </a:lnTo>
                    <a:lnTo>
                      <a:pt x="10" y="178"/>
                    </a:lnTo>
                    <a:lnTo>
                      <a:pt x="108" y="178"/>
                    </a:lnTo>
                    <a:lnTo>
                      <a:pt x="108" y="595"/>
                    </a:lnTo>
                    <a:close/>
                    <a:moveTo>
                      <a:pt x="0" y="57"/>
                    </a:moveTo>
                    <a:lnTo>
                      <a:pt x="0" y="57"/>
                    </a:lnTo>
                    <a:cubicBezTo>
                      <a:pt x="0" y="41"/>
                      <a:pt x="5" y="28"/>
                      <a:pt x="17" y="17"/>
                    </a:cubicBezTo>
                    <a:cubicBezTo>
                      <a:pt x="29" y="6"/>
                      <a:pt x="43" y="0"/>
                      <a:pt x="59" y="0"/>
                    </a:cubicBezTo>
                    <a:cubicBezTo>
                      <a:pt x="76" y="0"/>
                      <a:pt x="91" y="6"/>
                      <a:pt x="102" y="17"/>
                    </a:cubicBezTo>
                    <a:cubicBezTo>
                      <a:pt x="113" y="28"/>
                      <a:pt x="119" y="42"/>
                      <a:pt x="119" y="57"/>
                    </a:cubicBezTo>
                    <a:cubicBezTo>
                      <a:pt x="119" y="73"/>
                      <a:pt x="113" y="87"/>
                      <a:pt x="102" y="98"/>
                    </a:cubicBezTo>
                    <a:cubicBezTo>
                      <a:pt x="90" y="108"/>
                      <a:pt x="76" y="114"/>
                      <a:pt x="59" y="114"/>
                    </a:cubicBezTo>
                    <a:cubicBezTo>
                      <a:pt x="42" y="114"/>
                      <a:pt x="28" y="108"/>
                      <a:pt x="17" y="97"/>
                    </a:cubicBezTo>
                    <a:cubicBezTo>
                      <a:pt x="5" y="86"/>
                      <a:pt x="0" y="73"/>
                      <a:pt x="0" y="5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11">
                <a:extLst>
                  <a:ext uri="{FF2B5EF4-FFF2-40B4-BE49-F238E27FC236}">
                    <a16:creationId xmlns:a16="http://schemas.microsoft.com/office/drawing/2014/main" id="{9CA7D47A-8C8A-07A2-0CF4-1BBBA1477A8D}"/>
                  </a:ext>
                </a:extLst>
              </p:cNvPr>
              <p:cNvSpPr>
                <a:spLocks/>
              </p:cNvSpPr>
              <p:nvPr userDrawn="1"/>
            </p:nvSpPr>
            <p:spPr bwMode="auto">
              <a:xfrm>
                <a:off x="2674938" y="654050"/>
                <a:ext cx="80963" cy="169862"/>
              </a:xfrm>
              <a:custGeom>
                <a:avLst/>
                <a:gdLst>
                  <a:gd name="T0" fmla="*/ 225 w 266"/>
                  <a:gd name="T1" fmla="*/ 469 h 551"/>
                  <a:gd name="T2" fmla="*/ 225 w 266"/>
                  <a:gd name="T3" fmla="*/ 469 h 551"/>
                  <a:gd name="T4" fmla="*/ 246 w 266"/>
                  <a:gd name="T5" fmla="*/ 465 h 551"/>
                  <a:gd name="T6" fmla="*/ 266 w 266"/>
                  <a:gd name="T7" fmla="*/ 456 h 551"/>
                  <a:gd name="T8" fmla="*/ 266 w 266"/>
                  <a:gd name="T9" fmla="*/ 537 h 551"/>
                  <a:gd name="T10" fmla="*/ 235 w 266"/>
                  <a:gd name="T11" fmla="*/ 546 h 551"/>
                  <a:gd name="T12" fmla="*/ 193 w 266"/>
                  <a:gd name="T13" fmla="*/ 551 h 551"/>
                  <a:gd name="T14" fmla="*/ 100 w 266"/>
                  <a:gd name="T15" fmla="*/ 518 h 551"/>
                  <a:gd name="T16" fmla="*/ 69 w 266"/>
                  <a:gd name="T17" fmla="*/ 418 h 551"/>
                  <a:gd name="T18" fmla="*/ 69 w 266"/>
                  <a:gd name="T19" fmla="*/ 204 h 551"/>
                  <a:gd name="T20" fmla="*/ 0 w 266"/>
                  <a:gd name="T21" fmla="*/ 204 h 551"/>
                  <a:gd name="T22" fmla="*/ 0 w 266"/>
                  <a:gd name="T23" fmla="*/ 124 h 551"/>
                  <a:gd name="T24" fmla="*/ 69 w 266"/>
                  <a:gd name="T25" fmla="*/ 124 h 551"/>
                  <a:gd name="T26" fmla="*/ 69 w 266"/>
                  <a:gd name="T27" fmla="*/ 30 h 551"/>
                  <a:gd name="T28" fmla="*/ 167 w 266"/>
                  <a:gd name="T29" fmla="*/ 0 h 551"/>
                  <a:gd name="T30" fmla="*/ 167 w 266"/>
                  <a:gd name="T31" fmla="*/ 124 h 551"/>
                  <a:gd name="T32" fmla="*/ 266 w 266"/>
                  <a:gd name="T33" fmla="*/ 124 h 551"/>
                  <a:gd name="T34" fmla="*/ 266 w 266"/>
                  <a:gd name="T35" fmla="*/ 204 h 551"/>
                  <a:gd name="T36" fmla="*/ 167 w 266"/>
                  <a:gd name="T37" fmla="*/ 204 h 551"/>
                  <a:gd name="T38" fmla="*/ 167 w 266"/>
                  <a:gd name="T39" fmla="*/ 399 h 551"/>
                  <a:gd name="T40" fmla="*/ 181 w 266"/>
                  <a:gd name="T41" fmla="*/ 454 h 551"/>
                  <a:gd name="T42" fmla="*/ 225 w 266"/>
                  <a:gd name="T43" fmla="*/ 469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6" h="551">
                    <a:moveTo>
                      <a:pt x="225" y="469"/>
                    </a:moveTo>
                    <a:lnTo>
                      <a:pt x="225" y="469"/>
                    </a:lnTo>
                    <a:cubicBezTo>
                      <a:pt x="231" y="469"/>
                      <a:pt x="238" y="468"/>
                      <a:pt x="246" y="465"/>
                    </a:cubicBezTo>
                    <a:cubicBezTo>
                      <a:pt x="254" y="463"/>
                      <a:pt x="260" y="459"/>
                      <a:pt x="266" y="456"/>
                    </a:cubicBezTo>
                    <a:lnTo>
                      <a:pt x="266" y="537"/>
                    </a:lnTo>
                    <a:cubicBezTo>
                      <a:pt x="260" y="540"/>
                      <a:pt x="250" y="543"/>
                      <a:pt x="235" y="546"/>
                    </a:cubicBezTo>
                    <a:cubicBezTo>
                      <a:pt x="221" y="549"/>
                      <a:pt x="207" y="551"/>
                      <a:pt x="193" y="551"/>
                    </a:cubicBezTo>
                    <a:cubicBezTo>
                      <a:pt x="151" y="551"/>
                      <a:pt x="120" y="540"/>
                      <a:pt x="100" y="518"/>
                    </a:cubicBezTo>
                    <a:cubicBezTo>
                      <a:pt x="79" y="496"/>
                      <a:pt x="69" y="463"/>
                      <a:pt x="69" y="418"/>
                    </a:cubicBezTo>
                    <a:lnTo>
                      <a:pt x="69" y="204"/>
                    </a:lnTo>
                    <a:lnTo>
                      <a:pt x="0" y="204"/>
                    </a:lnTo>
                    <a:lnTo>
                      <a:pt x="0" y="124"/>
                    </a:lnTo>
                    <a:lnTo>
                      <a:pt x="69" y="124"/>
                    </a:lnTo>
                    <a:lnTo>
                      <a:pt x="69" y="30"/>
                    </a:lnTo>
                    <a:lnTo>
                      <a:pt x="167" y="0"/>
                    </a:lnTo>
                    <a:lnTo>
                      <a:pt x="167" y="124"/>
                    </a:lnTo>
                    <a:lnTo>
                      <a:pt x="266" y="124"/>
                    </a:lnTo>
                    <a:lnTo>
                      <a:pt x="266" y="204"/>
                    </a:lnTo>
                    <a:lnTo>
                      <a:pt x="167" y="204"/>
                    </a:lnTo>
                    <a:lnTo>
                      <a:pt x="167" y="399"/>
                    </a:lnTo>
                    <a:cubicBezTo>
                      <a:pt x="167" y="425"/>
                      <a:pt x="172" y="443"/>
                      <a:pt x="181" y="454"/>
                    </a:cubicBezTo>
                    <a:cubicBezTo>
                      <a:pt x="190" y="464"/>
                      <a:pt x="205" y="469"/>
                      <a:pt x="225" y="46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12">
                <a:extLst>
                  <a:ext uri="{FF2B5EF4-FFF2-40B4-BE49-F238E27FC236}">
                    <a16:creationId xmlns:a16="http://schemas.microsoft.com/office/drawing/2014/main" id="{D7F4E5D1-7998-EBA4-9534-9E4A4ED8E0C4}"/>
                  </a:ext>
                </a:extLst>
              </p:cNvPr>
              <p:cNvSpPr>
                <a:spLocks/>
              </p:cNvSpPr>
              <p:nvPr userDrawn="1"/>
            </p:nvSpPr>
            <p:spPr bwMode="auto">
              <a:xfrm>
                <a:off x="2765426" y="692150"/>
                <a:ext cx="128588" cy="182562"/>
              </a:xfrm>
              <a:custGeom>
                <a:avLst/>
                <a:gdLst>
                  <a:gd name="T0" fmla="*/ 216 w 423"/>
                  <a:gd name="T1" fmla="*/ 322 h 595"/>
                  <a:gd name="T2" fmla="*/ 216 w 423"/>
                  <a:gd name="T3" fmla="*/ 322 h 595"/>
                  <a:gd name="T4" fmla="*/ 324 w 423"/>
                  <a:gd name="T5" fmla="*/ 0 h 595"/>
                  <a:gd name="T6" fmla="*/ 423 w 423"/>
                  <a:gd name="T7" fmla="*/ 0 h 595"/>
                  <a:gd name="T8" fmla="*/ 252 w 423"/>
                  <a:gd name="T9" fmla="*/ 448 h 595"/>
                  <a:gd name="T10" fmla="*/ 182 w 423"/>
                  <a:gd name="T11" fmla="*/ 559 h 595"/>
                  <a:gd name="T12" fmla="*/ 87 w 423"/>
                  <a:gd name="T13" fmla="*/ 595 h 595"/>
                  <a:gd name="T14" fmla="*/ 54 w 423"/>
                  <a:gd name="T15" fmla="*/ 593 h 595"/>
                  <a:gd name="T16" fmla="*/ 26 w 423"/>
                  <a:gd name="T17" fmla="*/ 588 h 595"/>
                  <a:gd name="T18" fmla="*/ 26 w 423"/>
                  <a:gd name="T19" fmla="*/ 506 h 595"/>
                  <a:gd name="T20" fmla="*/ 50 w 423"/>
                  <a:gd name="T21" fmla="*/ 513 h 595"/>
                  <a:gd name="T22" fmla="*/ 74 w 423"/>
                  <a:gd name="T23" fmla="*/ 516 h 595"/>
                  <a:gd name="T24" fmla="*/ 117 w 423"/>
                  <a:gd name="T25" fmla="*/ 503 h 595"/>
                  <a:gd name="T26" fmla="*/ 146 w 423"/>
                  <a:gd name="T27" fmla="*/ 464 h 595"/>
                  <a:gd name="T28" fmla="*/ 167 w 423"/>
                  <a:gd name="T29" fmla="*/ 417 h 595"/>
                  <a:gd name="T30" fmla="*/ 0 w 423"/>
                  <a:gd name="T31" fmla="*/ 0 h 595"/>
                  <a:gd name="T32" fmla="*/ 110 w 423"/>
                  <a:gd name="T33" fmla="*/ 0 h 595"/>
                  <a:gd name="T34" fmla="*/ 214 w 423"/>
                  <a:gd name="T35" fmla="*/ 322 h 595"/>
                  <a:gd name="T36" fmla="*/ 216 w 423"/>
                  <a:gd name="T37" fmla="*/ 322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3" h="595">
                    <a:moveTo>
                      <a:pt x="216" y="322"/>
                    </a:moveTo>
                    <a:lnTo>
                      <a:pt x="216" y="322"/>
                    </a:lnTo>
                    <a:lnTo>
                      <a:pt x="324" y="0"/>
                    </a:lnTo>
                    <a:lnTo>
                      <a:pt x="423" y="0"/>
                    </a:lnTo>
                    <a:lnTo>
                      <a:pt x="252" y="448"/>
                    </a:lnTo>
                    <a:cubicBezTo>
                      <a:pt x="232" y="499"/>
                      <a:pt x="209" y="536"/>
                      <a:pt x="182" y="559"/>
                    </a:cubicBezTo>
                    <a:cubicBezTo>
                      <a:pt x="154" y="583"/>
                      <a:pt x="123" y="595"/>
                      <a:pt x="87" y="595"/>
                    </a:cubicBezTo>
                    <a:cubicBezTo>
                      <a:pt x="75" y="595"/>
                      <a:pt x="64" y="595"/>
                      <a:pt x="54" y="593"/>
                    </a:cubicBezTo>
                    <a:cubicBezTo>
                      <a:pt x="44" y="592"/>
                      <a:pt x="35" y="590"/>
                      <a:pt x="26" y="588"/>
                    </a:cubicBezTo>
                    <a:lnTo>
                      <a:pt x="26" y="506"/>
                    </a:lnTo>
                    <a:cubicBezTo>
                      <a:pt x="34" y="509"/>
                      <a:pt x="42" y="512"/>
                      <a:pt x="50" y="513"/>
                    </a:cubicBezTo>
                    <a:cubicBezTo>
                      <a:pt x="57" y="515"/>
                      <a:pt x="65" y="516"/>
                      <a:pt x="74" y="516"/>
                    </a:cubicBezTo>
                    <a:cubicBezTo>
                      <a:pt x="90" y="516"/>
                      <a:pt x="105" y="512"/>
                      <a:pt x="117" y="503"/>
                    </a:cubicBezTo>
                    <a:cubicBezTo>
                      <a:pt x="129" y="494"/>
                      <a:pt x="139" y="481"/>
                      <a:pt x="146" y="464"/>
                    </a:cubicBezTo>
                    <a:lnTo>
                      <a:pt x="167" y="417"/>
                    </a:lnTo>
                    <a:lnTo>
                      <a:pt x="0" y="0"/>
                    </a:lnTo>
                    <a:lnTo>
                      <a:pt x="110" y="0"/>
                    </a:lnTo>
                    <a:lnTo>
                      <a:pt x="214" y="322"/>
                    </a:lnTo>
                    <a:lnTo>
                      <a:pt x="216" y="32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13">
                <a:extLst>
                  <a:ext uri="{FF2B5EF4-FFF2-40B4-BE49-F238E27FC236}">
                    <a16:creationId xmlns:a16="http://schemas.microsoft.com/office/drawing/2014/main" id="{2C506053-D184-C451-8F39-AF2AED371C98}"/>
                  </a:ext>
                </a:extLst>
              </p:cNvPr>
              <p:cNvSpPr>
                <a:spLocks noEditPoints="1"/>
              </p:cNvSpPr>
              <p:nvPr userDrawn="1"/>
            </p:nvSpPr>
            <p:spPr bwMode="auto">
              <a:xfrm>
                <a:off x="963613" y="628650"/>
                <a:ext cx="993775" cy="195262"/>
              </a:xfrm>
              <a:custGeom>
                <a:avLst/>
                <a:gdLst>
                  <a:gd name="T0" fmla="*/ 2941 w 3285"/>
                  <a:gd name="T1" fmla="*/ 288 h 635"/>
                  <a:gd name="T2" fmla="*/ 2842 w 3285"/>
                  <a:gd name="T3" fmla="*/ 288 h 635"/>
                  <a:gd name="T4" fmla="*/ 2842 w 3285"/>
                  <a:gd name="T5" fmla="*/ 208 h 635"/>
                  <a:gd name="T6" fmla="*/ 2994 w 3285"/>
                  <a:gd name="T7" fmla="*/ 0 h 635"/>
                  <a:gd name="T8" fmla="*/ 3050 w 3285"/>
                  <a:gd name="T9" fmla="*/ 92 h 635"/>
                  <a:gd name="T10" fmla="*/ 2958 w 3285"/>
                  <a:gd name="T11" fmla="*/ 101 h 635"/>
                  <a:gd name="T12" fmla="*/ 3088 w 3285"/>
                  <a:gd name="T13" fmla="*/ 208 h 635"/>
                  <a:gd name="T14" fmla="*/ 3186 w 3285"/>
                  <a:gd name="T15" fmla="*/ 208 h 635"/>
                  <a:gd name="T16" fmla="*/ 3186 w 3285"/>
                  <a:gd name="T17" fmla="*/ 288 h 635"/>
                  <a:gd name="T18" fmla="*/ 3244 w 3285"/>
                  <a:gd name="T19" fmla="*/ 553 h 635"/>
                  <a:gd name="T20" fmla="*/ 3285 w 3285"/>
                  <a:gd name="T21" fmla="*/ 621 h 635"/>
                  <a:gd name="T22" fmla="*/ 3119 w 3285"/>
                  <a:gd name="T23" fmla="*/ 602 h 635"/>
                  <a:gd name="T24" fmla="*/ 2436 w 3285"/>
                  <a:gd name="T25" fmla="*/ 419 h 635"/>
                  <a:gd name="T26" fmla="*/ 2550 w 3285"/>
                  <a:gd name="T27" fmla="*/ 553 h 635"/>
                  <a:gd name="T28" fmla="*/ 2631 w 3285"/>
                  <a:gd name="T29" fmla="*/ 315 h 635"/>
                  <a:gd name="T30" fmla="*/ 2436 w 3285"/>
                  <a:gd name="T31" fmla="*/ 419 h 635"/>
                  <a:gd name="T32" fmla="*/ 2392 w 3285"/>
                  <a:gd name="T33" fmla="*/ 259 h 635"/>
                  <a:gd name="T34" fmla="*/ 2762 w 3285"/>
                  <a:gd name="T35" fmla="*/ 413 h 635"/>
                  <a:gd name="T36" fmla="*/ 2391 w 3285"/>
                  <a:gd name="T37" fmla="*/ 578 h 635"/>
                  <a:gd name="T38" fmla="*/ 2113 w 3285"/>
                  <a:gd name="T39" fmla="*/ 317 h 635"/>
                  <a:gd name="T40" fmla="*/ 2268 w 3285"/>
                  <a:gd name="T41" fmla="*/ 433 h 635"/>
                  <a:gd name="T42" fmla="*/ 2124 w 3285"/>
                  <a:gd name="T43" fmla="*/ 635 h 635"/>
                  <a:gd name="T44" fmla="*/ 2013 w 3285"/>
                  <a:gd name="T45" fmla="*/ 516 h 635"/>
                  <a:gd name="T46" fmla="*/ 2176 w 3285"/>
                  <a:gd name="T47" fmla="*/ 547 h 635"/>
                  <a:gd name="T48" fmla="*/ 2113 w 3285"/>
                  <a:gd name="T49" fmla="*/ 449 h 635"/>
                  <a:gd name="T50" fmla="*/ 2058 w 3285"/>
                  <a:gd name="T51" fmla="*/ 234 h 635"/>
                  <a:gd name="T52" fmla="*/ 2269 w 3285"/>
                  <a:gd name="T53" fmla="*/ 215 h 635"/>
                  <a:gd name="T54" fmla="*/ 2172 w 3285"/>
                  <a:gd name="T55" fmla="*/ 276 h 635"/>
                  <a:gd name="T56" fmla="*/ 1641 w 3285"/>
                  <a:gd name="T57" fmla="*/ 419 h 635"/>
                  <a:gd name="T58" fmla="*/ 1755 w 3285"/>
                  <a:gd name="T59" fmla="*/ 553 h 635"/>
                  <a:gd name="T60" fmla="*/ 1836 w 3285"/>
                  <a:gd name="T61" fmla="*/ 315 h 635"/>
                  <a:gd name="T62" fmla="*/ 1641 w 3285"/>
                  <a:gd name="T63" fmla="*/ 419 h 635"/>
                  <a:gd name="T64" fmla="*/ 1597 w 3285"/>
                  <a:gd name="T65" fmla="*/ 259 h 635"/>
                  <a:gd name="T66" fmla="*/ 1967 w 3285"/>
                  <a:gd name="T67" fmla="*/ 413 h 635"/>
                  <a:gd name="T68" fmla="*/ 1596 w 3285"/>
                  <a:gd name="T69" fmla="*/ 578 h 635"/>
                  <a:gd name="T70" fmla="*/ 1496 w 3285"/>
                  <a:gd name="T71" fmla="*/ 201 h 635"/>
                  <a:gd name="T72" fmla="*/ 1533 w 3285"/>
                  <a:gd name="T73" fmla="*/ 306 h 635"/>
                  <a:gd name="T74" fmla="*/ 1414 w 3285"/>
                  <a:gd name="T75" fmla="*/ 321 h 635"/>
                  <a:gd name="T76" fmla="*/ 1291 w 3285"/>
                  <a:gd name="T77" fmla="*/ 625 h 635"/>
                  <a:gd name="T78" fmla="*/ 1389 w 3285"/>
                  <a:gd name="T79" fmla="*/ 274 h 635"/>
                  <a:gd name="T80" fmla="*/ 1496 w 3285"/>
                  <a:gd name="T81" fmla="*/ 201 h 635"/>
                  <a:gd name="T82" fmla="*/ 1168 w 3285"/>
                  <a:gd name="T83" fmla="*/ 543 h 635"/>
                  <a:gd name="T84" fmla="*/ 1164 w 3285"/>
                  <a:gd name="T85" fmla="*/ 628 h 635"/>
                  <a:gd name="T86" fmla="*/ 891 w 3285"/>
                  <a:gd name="T87" fmla="*/ 428 h 635"/>
                  <a:gd name="T88" fmla="*/ 1172 w 3285"/>
                  <a:gd name="T89" fmla="*/ 204 h 635"/>
                  <a:gd name="T90" fmla="*/ 1171 w 3285"/>
                  <a:gd name="T91" fmla="*/ 289 h 635"/>
                  <a:gd name="T92" fmla="*/ 993 w 3285"/>
                  <a:gd name="T93" fmla="*/ 419 h 635"/>
                  <a:gd name="T94" fmla="*/ 822 w 3285"/>
                  <a:gd name="T95" fmla="*/ 625 h 635"/>
                  <a:gd name="T96" fmla="*/ 724 w 3285"/>
                  <a:gd name="T97" fmla="*/ 208 h 635"/>
                  <a:gd name="T98" fmla="*/ 714 w 3285"/>
                  <a:gd name="T99" fmla="*/ 87 h 635"/>
                  <a:gd name="T100" fmla="*/ 774 w 3285"/>
                  <a:gd name="T101" fmla="*/ 30 h 635"/>
                  <a:gd name="T102" fmla="*/ 816 w 3285"/>
                  <a:gd name="T103" fmla="*/ 128 h 635"/>
                  <a:gd name="T104" fmla="*/ 714 w 3285"/>
                  <a:gd name="T105" fmla="*/ 87 h 635"/>
                  <a:gd name="T106" fmla="*/ 630 w 3285"/>
                  <a:gd name="T107" fmla="*/ 625 h 635"/>
                  <a:gd name="T108" fmla="*/ 527 w 3285"/>
                  <a:gd name="T109" fmla="*/ 169 h 635"/>
                  <a:gd name="T110" fmla="*/ 95 w 3285"/>
                  <a:gd name="T111" fmla="*/ 169 h 635"/>
                  <a:gd name="T112" fmla="*/ 0 w 3285"/>
                  <a:gd name="T113" fmla="*/ 625 h 635"/>
                  <a:gd name="T114" fmla="*/ 312 w 3285"/>
                  <a:gd name="T115" fmla="*/ 474 h 635"/>
                  <a:gd name="T116" fmla="*/ 630 w 3285"/>
                  <a:gd name="T117" fmla="*/ 43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85" h="635">
                    <a:moveTo>
                      <a:pt x="3088" y="288"/>
                    </a:moveTo>
                    <a:lnTo>
                      <a:pt x="3088" y="288"/>
                    </a:lnTo>
                    <a:lnTo>
                      <a:pt x="2941" y="288"/>
                    </a:lnTo>
                    <a:lnTo>
                      <a:pt x="2941" y="625"/>
                    </a:lnTo>
                    <a:lnTo>
                      <a:pt x="2842" y="625"/>
                    </a:lnTo>
                    <a:lnTo>
                      <a:pt x="2842" y="288"/>
                    </a:lnTo>
                    <a:lnTo>
                      <a:pt x="2772" y="288"/>
                    </a:lnTo>
                    <a:lnTo>
                      <a:pt x="2772" y="208"/>
                    </a:lnTo>
                    <a:lnTo>
                      <a:pt x="2842" y="208"/>
                    </a:lnTo>
                    <a:lnTo>
                      <a:pt x="2842" y="150"/>
                    </a:lnTo>
                    <a:cubicBezTo>
                      <a:pt x="2842" y="106"/>
                      <a:pt x="2856" y="70"/>
                      <a:pt x="2885" y="42"/>
                    </a:cubicBezTo>
                    <a:cubicBezTo>
                      <a:pt x="2913" y="14"/>
                      <a:pt x="2950" y="0"/>
                      <a:pt x="2994" y="0"/>
                    </a:cubicBezTo>
                    <a:cubicBezTo>
                      <a:pt x="3006" y="0"/>
                      <a:pt x="3017" y="1"/>
                      <a:pt x="3026" y="2"/>
                    </a:cubicBezTo>
                    <a:cubicBezTo>
                      <a:pt x="3035" y="3"/>
                      <a:pt x="3043" y="5"/>
                      <a:pt x="3050" y="7"/>
                    </a:cubicBezTo>
                    <a:lnTo>
                      <a:pt x="3050" y="92"/>
                    </a:lnTo>
                    <a:cubicBezTo>
                      <a:pt x="3047" y="90"/>
                      <a:pt x="3042" y="88"/>
                      <a:pt x="3033" y="85"/>
                    </a:cubicBezTo>
                    <a:cubicBezTo>
                      <a:pt x="3025" y="83"/>
                      <a:pt x="3016" y="81"/>
                      <a:pt x="3005" y="81"/>
                    </a:cubicBezTo>
                    <a:cubicBezTo>
                      <a:pt x="2985" y="81"/>
                      <a:pt x="2969" y="88"/>
                      <a:pt x="2958" y="101"/>
                    </a:cubicBezTo>
                    <a:cubicBezTo>
                      <a:pt x="2947" y="113"/>
                      <a:pt x="2941" y="132"/>
                      <a:pt x="2941" y="158"/>
                    </a:cubicBezTo>
                    <a:lnTo>
                      <a:pt x="2941" y="208"/>
                    </a:lnTo>
                    <a:lnTo>
                      <a:pt x="3088" y="208"/>
                    </a:lnTo>
                    <a:lnTo>
                      <a:pt x="3088" y="114"/>
                    </a:lnTo>
                    <a:lnTo>
                      <a:pt x="3186" y="84"/>
                    </a:lnTo>
                    <a:lnTo>
                      <a:pt x="3186" y="208"/>
                    </a:lnTo>
                    <a:lnTo>
                      <a:pt x="3285" y="208"/>
                    </a:lnTo>
                    <a:lnTo>
                      <a:pt x="3285" y="288"/>
                    </a:lnTo>
                    <a:lnTo>
                      <a:pt x="3186" y="288"/>
                    </a:lnTo>
                    <a:lnTo>
                      <a:pt x="3186" y="483"/>
                    </a:lnTo>
                    <a:cubicBezTo>
                      <a:pt x="3186" y="509"/>
                      <a:pt x="3191" y="527"/>
                      <a:pt x="3200" y="537"/>
                    </a:cubicBezTo>
                    <a:cubicBezTo>
                      <a:pt x="3209" y="548"/>
                      <a:pt x="3224" y="553"/>
                      <a:pt x="3244" y="553"/>
                    </a:cubicBezTo>
                    <a:cubicBezTo>
                      <a:pt x="3250" y="553"/>
                      <a:pt x="3257" y="552"/>
                      <a:pt x="3265" y="549"/>
                    </a:cubicBezTo>
                    <a:cubicBezTo>
                      <a:pt x="3273" y="547"/>
                      <a:pt x="3279" y="543"/>
                      <a:pt x="3285" y="540"/>
                    </a:cubicBezTo>
                    <a:lnTo>
                      <a:pt x="3285" y="621"/>
                    </a:lnTo>
                    <a:cubicBezTo>
                      <a:pt x="3279" y="624"/>
                      <a:pt x="3269" y="627"/>
                      <a:pt x="3254" y="630"/>
                    </a:cubicBezTo>
                    <a:cubicBezTo>
                      <a:pt x="3240" y="633"/>
                      <a:pt x="3226" y="635"/>
                      <a:pt x="3212" y="635"/>
                    </a:cubicBezTo>
                    <a:cubicBezTo>
                      <a:pt x="3170" y="635"/>
                      <a:pt x="3139" y="624"/>
                      <a:pt x="3119" y="602"/>
                    </a:cubicBezTo>
                    <a:cubicBezTo>
                      <a:pt x="3098" y="580"/>
                      <a:pt x="3088" y="547"/>
                      <a:pt x="3088" y="502"/>
                    </a:cubicBezTo>
                    <a:lnTo>
                      <a:pt x="3088" y="288"/>
                    </a:lnTo>
                    <a:close/>
                    <a:moveTo>
                      <a:pt x="2436" y="419"/>
                    </a:moveTo>
                    <a:lnTo>
                      <a:pt x="2436" y="419"/>
                    </a:lnTo>
                    <a:cubicBezTo>
                      <a:pt x="2436" y="463"/>
                      <a:pt x="2446" y="496"/>
                      <a:pt x="2466" y="519"/>
                    </a:cubicBezTo>
                    <a:cubicBezTo>
                      <a:pt x="2485" y="542"/>
                      <a:pt x="2514" y="553"/>
                      <a:pt x="2550" y="553"/>
                    </a:cubicBezTo>
                    <a:cubicBezTo>
                      <a:pt x="2586" y="553"/>
                      <a:pt x="2613" y="542"/>
                      <a:pt x="2632" y="519"/>
                    </a:cubicBezTo>
                    <a:cubicBezTo>
                      <a:pt x="2650" y="496"/>
                      <a:pt x="2660" y="462"/>
                      <a:pt x="2660" y="417"/>
                    </a:cubicBezTo>
                    <a:cubicBezTo>
                      <a:pt x="2660" y="372"/>
                      <a:pt x="2650" y="338"/>
                      <a:pt x="2631" y="315"/>
                    </a:cubicBezTo>
                    <a:cubicBezTo>
                      <a:pt x="2611" y="292"/>
                      <a:pt x="2584" y="281"/>
                      <a:pt x="2549" y="281"/>
                    </a:cubicBezTo>
                    <a:cubicBezTo>
                      <a:pt x="2514" y="281"/>
                      <a:pt x="2486" y="293"/>
                      <a:pt x="2466" y="317"/>
                    </a:cubicBezTo>
                    <a:cubicBezTo>
                      <a:pt x="2446" y="341"/>
                      <a:pt x="2436" y="375"/>
                      <a:pt x="2436" y="419"/>
                    </a:cubicBezTo>
                    <a:close/>
                    <a:moveTo>
                      <a:pt x="2334" y="422"/>
                    </a:moveTo>
                    <a:lnTo>
                      <a:pt x="2334" y="422"/>
                    </a:lnTo>
                    <a:cubicBezTo>
                      <a:pt x="2334" y="353"/>
                      <a:pt x="2353" y="299"/>
                      <a:pt x="2392" y="259"/>
                    </a:cubicBezTo>
                    <a:cubicBezTo>
                      <a:pt x="2431" y="218"/>
                      <a:pt x="2485" y="198"/>
                      <a:pt x="2554" y="198"/>
                    </a:cubicBezTo>
                    <a:cubicBezTo>
                      <a:pt x="2620" y="198"/>
                      <a:pt x="2670" y="217"/>
                      <a:pt x="2707" y="256"/>
                    </a:cubicBezTo>
                    <a:cubicBezTo>
                      <a:pt x="2744" y="295"/>
                      <a:pt x="2762" y="347"/>
                      <a:pt x="2762" y="413"/>
                    </a:cubicBezTo>
                    <a:cubicBezTo>
                      <a:pt x="2762" y="481"/>
                      <a:pt x="2743" y="535"/>
                      <a:pt x="2704" y="575"/>
                    </a:cubicBezTo>
                    <a:cubicBezTo>
                      <a:pt x="2665" y="615"/>
                      <a:pt x="2612" y="635"/>
                      <a:pt x="2545" y="635"/>
                    </a:cubicBezTo>
                    <a:cubicBezTo>
                      <a:pt x="2480" y="635"/>
                      <a:pt x="2429" y="616"/>
                      <a:pt x="2391" y="578"/>
                    </a:cubicBezTo>
                    <a:cubicBezTo>
                      <a:pt x="2353" y="540"/>
                      <a:pt x="2334" y="488"/>
                      <a:pt x="2334" y="422"/>
                    </a:cubicBezTo>
                    <a:close/>
                    <a:moveTo>
                      <a:pt x="2113" y="317"/>
                    </a:moveTo>
                    <a:lnTo>
                      <a:pt x="2113" y="317"/>
                    </a:lnTo>
                    <a:cubicBezTo>
                      <a:pt x="2113" y="331"/>
                      <a:pt x="2117" y="342"/>
                      <a:pt x="2126" y="350"/>
                    </a:cubicBezTo>
                    <a:cubicBezTo>
                      <a:pt x="2135" y="358"/>
                      <a:pt x="2155" y="368"/>
                      <a:pt x="2185" y="381"/>
                    </a:cubicBezTo>
                    <a:cubicBezTo>
                      <a:pt x="2225" y="396"/>
                      <a:pt x="2252" y="414"/>
                      <a:pt x="2268" y="433"/>
                    </a:cubicBezTo>
                    <a:cubicBezTo>
                      <a:pt x="2284" y="453"/>
                      <a:pt x="2292" y="477"/>
                      <a:pt x="2292" y="505"/>
                    </a:cubicBezTo>
                    <a:cubicBezTo>
                      <a:pt x="2292" y="544"/>
                      <a:pt x="2277" y="575"/>
                      <a:pt x="2246" y="599"/>
                    </a:cubicBezTo>
                    <a:cubicBezTo>
                      <a:pt x="2216" y="623"/>
                      <a:pt x="2175" y="635"/>
                      <a:pt x="2124" y="635"/>
                    </a:cubicBezTo>
                    <a:cubicBezTo>
                      <a:pt x="2107" y="635"/>
                      <a:pt x="2088" y="633"/>
                      <a:pt x="2067" y="629"/>
                    </a:cubicBezTo>
                    <a:cubicBezTo>
                      <a:pt x="2046" y="624"/>
                      <a:pt x="2028" y="619"/>
                      <a:pt x="2013" y="613"/>
                    </a:cubicBezTo>
                    <a:lnTo>
                      <a:pt x="2013" y="516"/>
                    </a:lnTo>
                    <a:cubicBezTo>
                      <a:pt x="2031" y="528"/>
                      <a:pt x="2050" y="538"/>
                      <a:pt x="2071" y="546"/>
                    </a:cubicBezTo>
                    <a:cubicBezTo>
                      <a:pt x="2092" y="553"/>
                      <a:pt x="2110" y="557"/>
                      <a:pt x="2127" y="557"/>
                    </a:cubicBezTo>
                    <a:cubicBezTo>
                      <a:pt x="2149" y="557"/>
                      <a:pt x="2165" y="553"/>
                      <a:pt x="2176" y="547"/>
                    </a:cubicBezTo>
                    <a:cubicBezTo>
                      <a:pt x="2187" y="541"/>
                      <a:pt x="2192" y="531"/>
                      <a:pt x="2192" y="516"/>
                    </a:cubicBezTo>
                    <a:cubicBezTo>
                      <a:pt x="2192" y="502"/>
                      <a:pt x="2186" y="491"/>
                      <a:pt x="2175" y="482"/>
                    </a:cubicBezTo>
                    <a:cubicBezTo>
                      <a:pt x="2164" y="472"/>
                      <a:pt x="2144" y="462"/>
                      <a:pt x="2113" y="449"/>
                    </a:cubicBezTo>
                    <a:cubicBezTo>
                      <a:pt x="2077" y="434"/>
                      <a:pt x="2051" y="417"/>
                      <a:pt x="2036" y="398"/>
                    </a:cubicBezTo>
                    <a:cubicBezTo>
                      <a:pt x="2021" y="379"/>
                      <a:pt x="2013" y="355"/>
                      <a:pt x="2013" y="326"/>
                    </a:cubicBezTo>
                    <a:cubicBezTo>
                      <a:pt x="2013" y="289"/>
                      <a:pt x="2028" y="258"/>
                      <a:pt x="2058" y="234"/>
                    </a:cubicBezTo>
                    <a:cubicBezTo>
                      <a:pt x="2088" y="209"/>
                      <a:pt x="2127" y="197"/>
                      <a:pt x="2174" y="197"/>
                    </a:cubicBezTo>
                    <a:cubicBezTo>
                      <a:pt x="2189" y="197"/>
                      <a:pt x="2205" y="199"/>
                      <a:pt x="2223" y="202"/>
                    </a:cubicBezTo>
                    <a:cubicBezTo>
                      <a:pt x="2242" y="205"/>
                      <a:pt x="2257" y="210"/>
                      <a:pt x="2269" y="215"/>
                    </a:cubicBezTo>
                    <a:lnTo>
                      <a:pt x="2269" y="308"/>
                    </a:lnTo>
                    <a:cubicBezTo>
                      <a:pt x="2256" y="299"/>
                      <a:pt x="2241" y="292"/>
                      <a:pt x="2223" y="286"/>
                    </a:cubicBezTo>
                    <a:cubicBezTo>
                      <a:pt x="2206" y="279"/>
                      <a:pt x="2189" y="276"/>
                      <a:pt x="2172" y="276"/>
                    </a:cubicBezTo>
                    <a:cubicBezTo>
                      <a:pt x="2153" y="276"/>
                      <a:pt x="2139" y="280"/>
                      <a:pt x="2128" y="287"/>
                    </a:cubicBezTo>
                    <a:cubicBezTo>
                      <a:pt x="2118" y="295"/>
                      <a:pt x="2113" y="305"/>
                      <a:pt x="2113" y="317"/>
                    </a:cubicBezTo>
                    <a:close/>
                    <a:moveTo>
                      <a:pt x="1641" y="419"/>
                    </a:moveTo>
                    <a:lnTo>
                      <a:pt x="1641" y="419"/>
                    </a:lnTo>
                    <a:cubicBezTo>
                      <a:pt x="1641" y="463"/>
                      <a:pt x="1651" y="496"/>
                      <a:pt x="1670" y="519"/>
                    </a:cubicBezTo>
                    <a:cubicBezTo>
                      <a:pt x="1690" y="542"/>
                      <a:pt x="1718" y="553"/>
                      <a:pt x="1755" y="553"/>
                    </a:cubicBezTo>
                    <a:cubicBezTo>
                      <a:pt x="1791" y="553"/>
                      <a:pt x="1818" y="542"/>
                      <a:pt x="1837" y="519"/>
                    </a:cubicBezTo>
                    <a:cubicBezTo>
                      <a:pt x="1855" y="496"/>
                      <a:pt x="1865" y="462"/>
                      <a:pt x="1865" y="417"/>
                    </a:cubicBezTo>
                    <a:cubicBezTo>
                      <a:pt x="1865" y="372"/>
                      <a:pt x="1855" y="338"/>
                      <a:pt x="1836" y="315"/>
                    </a:cubicBezTo>
                    <a:cubicBezTo>
                      <a:pt x="1816" y="292"/>
                      <a:pt x="1789" y="281"/>
                      <a:pt x="1754" y="281"/>
                    </a:cubicBezTo>
                    <a:cubicBezTo>
                      <a:pt x="1718" y="281"/>
                      <a:pt x="1690" y="293"/>
                      <a:pt x="1671" y="317"/>
                    </a:cubicBezTo>
                    <a:cubicBezTo>
                      <a:pt x="1651" y="341"/>
                      <a:pt x="1641" y="375"/>
                      <a:pt x="1641" y="419"/>
                    </a:cubicBezTo>
                    <a:close/>
                    <a:moveTo>
                      <a:pt x="1539" y="422"/>
                    </a:moveTo>
                    <a:lnTo>
                      <a:pt x="1539" y="422"/>
                    </a:lnTo>
                    <a:cubicBezTo>
                      <a:pt x="1539" y="353"/>
                      <a:pt x="1558" y="299"/>
                      <a:pt x="1597" y="259"/>
                    </a:cubicBezTo>
                    <a:cubicBezTo>
                      <a:pt x="1636" y="218"/>
                      <a:pt x="1690" y="198"/>
                      <a:pt x="1759" y="198"/>
                    </a:cubicBezTo>
                    <a:cubicBezTo>
                      <a:pt x="1824" y="198"/>
                      <a:pt x="1875" y="217"/>
                      <a:pt x="1912" y="256"/>
                    </a:cubicBezTo>
                    <a:cubicBezTo>
                      <a:pt x="1948" y="295"/>
                      <a:pt x="1967" y="347"/>
                      <a:pt x="1967" y="413"/>
                    </a:cubicBezTo>
                    <a:cubicBezTo>
                      <a:pt x="1967" y="481"/>
                      <a:pt x="1947" y="535"/>
                      <a:pt x="1908" y="575"/>
                    </a:cubicBezTo>
                    <a:cubicBezTo>
                      <a:pt x="1869" y="615"/>
                      <a:pt x="1816" y="635"/>
                      <a:pt x="1749" y="635"/>
                    </a:cubicBezTo>
                    <a:cubicBezTo>
                      <a:pt x="1685" y="635"/>
                      <a:pt x="1634" y="616"/>
                      <a:pt x="1596" y="578"/>
                    </a:cubicBezTo>
                    <a:cubicBezTo>
                      <a:pt x="1558" y="540"/>
                      <a:pt x="1539" y="488"/>
                      <a:pt x="1539" y="422"/>
                    </a:cubicBezTo>
                    <a:close/>
                    <a:moveTo>
                      <a:pt x="1496" y="201"/>
                    </a:moveTo>
                    <a:lnTo>
                      <a:pt x="1496" y="201"/>
                    </a:lnTo>
                    <a:cubicBezTo>
                      <a:pt x="1504" y="201"/>
                      <a:pt x="1511" y="201"/>
                      <a:pt x="1517" y="203"/>
                    </a:cubicBezTo>
                    <a:cubicBezTo>
                      <a:pt x="1524" y="204"/>
                      <a:pt x="1529" y="205"/>
                      <a:pt x="1533" y="207"/>
                    </a:cubicBezTo>
                    <a:lnTo>
                      <a:pt x="1533" y="306"/>
                    </a:lnTo>
                    <a:cubicBezTo>
                      <a:pt x="1528" y="302"/>
                      <a:pt x="1521" y="299"/>
                      <a:pt x="1511" y="295"/>
                    </a:cubicBezTo>
                    <a:cubicBezTo>
                      <a:pt x="1501" y="292"/>
                      <a:pt x="1489" y="290"/>
                      <a:pt x="1475" y="290"/>
                    </a:cubicBezTo>
                    <a:cubicBezTo>
                      <a:pt x="1451" y="290"/>
                      <a:pt x="1430" y="300"/>
                      <a:pt x="1414" y="321"/>
                    </a:cubicBezTo>
                    <a:cubicBezTo>
                      <a:pt x="1397" y="341"/>
                      <a:pt x="1389" y="372"/>
                      <a:pt x="1389" y="414"/>
                    </a:cubicBezTo>
                    <a:lnTo>
                      <a:pt x="1389" y="625"/>
                    </a:lnTo>
                    <a:lnTo>
                      <a:pt x="1291" y="625"/>
                    </a:lnTo>
                    <a:lnTo>
                      <a:pt x="1291" y="208"/>
                    </a:lnTo>
                    <a:lnTo>
                      <a:pt x="1389" y="208"/>
                    </a:lnTo>
                    <a:lnTo>
                      <a:pt x="1389" y="274"/>
                    </a:lnTo>
                    <a:lnTo>
                      <a:pt x="1391" y="274"/>
                    </a:lnTo>
                    <a:cubicBezTo>
                      <a:pt x="1399" y="251"/>
                      <a:pt x="1413" y="233"/>
                      <a:pt x="1431" y="220"/>
                    </a:cubicBezTo>
                    <a:cubicBezTo>
                      <a:pt x="1449" y="207"/>
                      <a:pt x="1471" y="201"/>
                      <a:pt x="1496" y="201"/>
                    </a:cubicBezTo>
                    <a:close/>
                    <a:moveTo>
                      <a:pt x="1120" y="553"/>
                    </a:moveTo>
                    <a:lnTo>
                      <a:pt x="1120" y="553"/>
                    </a:lnTo>
                    <a:cubicBezTo>
                      <a:pt x="1135" y="553"/>
                      <a:pt x="1151" y="550"/>
                      <a:pt x="1168" y="543"/>
                    </a:cubicBezTo>
                    <a:cubicBezTo>
                      <a:pt x="1186" y="536"/>
                      <a:pt x="1202" y="527"/>
                      <a:pt x="1217" y="516"/>
                    </a:cubicBezTo>
                    <a:lnTo>
                      <a:pt x="1217" y="608"/>
                    </a:lnTo>
                    <a:cubicBezTo>
                      <a:pt x="1201" y="617"/>
                      <a:pt x="1184" y="623"/>
                      <a:pt x="1164" y="628"/>
                    </a:cubicBezTo>
                    <a:cubicBezTo>
                      <a:pt x="1144" y="633"/>
                      <a:pt x="1122" y="635"/>
                      <a:pt x="1098" y="635"/>
                    </a:cubicBezTo>
                    <a:cubicBezTo>
                      <a:pt x="1037" y="635"/>
                      <a:pt x="987" y="615"/>
                      <a:pt x="949" y="577"/>
                    </a:cubicBezTo>
                    <a:cubicBezTo>
                      <a:pt x="910" y="538"/>
                      <a:pt x="891" y="488"/>
                      <a:pt x="891" y="428"/>
                    </a:cubicBezTo>
                    <a:cubicBezTo>
                      <a:pt x="891" y="361"/>
                      <a:pt x="911" y="306"/>
                      <a:pt x="950" y="262"/>
                    </a:cubicBezTo>
                    <a:cubicBezTo>
                      <a:pt x="989" y="219"/>
                      <a:pt x="1044" y="197"/>
                      <a:pt x="1116" y="197"/>
                    </a:cubicBezTo>
                    <a:cubicBezTo>
                      <a:pt x="1135" y="197"/>
                      <a:pt x="1153" y="200"/>
                      <a:pt x="1172" y="204"/>
                    </a:cubicBezTo>
                    <a:cubicBezTo>
                      <a:pt x="1191" y="209"/>
                      <a:pt x="1206" y="215"/>
                      <a:pt x="1217" y="221"/>
                    </a:cubicBezTo>
                    <a:lnTo>
                      <a:pt x="1217" y="315"/>
                    </a:lnTo>
                    <a:cubicBezTo>
                      <a:pt x="1202" y="304"/>
                      <a:pt x="1186" y="295"/>
                      <a:pt x="1171" y="289"/>
                    </a:cubicBezTo>
                    <a:cubicBezTo>
                      <a:pt x="1155" y="283"/>
                      <a:pt x="1139" y="280"/>
                      <a:pt x="1122" y="280"/>
                    </a:cubicBezTo>
                    <a:cubicBezTo>
                      <a:pt x="1083" y="280"/>
                      <a:pt x="1052" y="293"/>
                      <a:pt x="1028" y="318"/>
                    </a:cubicBezTo>
                    <a:cubicBezTo>
                      <a:pt x="1005" y="343"/>
                      <a:pt x="993" y="377"/>
                      <a:pt x="993" y="419"/>
                    </a:cubicBezTo>
                    <a:cubicBezTo>
                      <a:pt x="993" y="462"/>
                      <a:pt x="1004" y="495"/>
                      <a:pt x="1027" y="518"/>
                    </a:cubicBezTo>
                    <a:cubicBezTo>
                      <a:pt x="1050" y="542"/>
                      <a:pt x="1081" y="553"/>
                      <a:pt x="1120" y="553"/>
                    </a:cubicBezTo>
                    <a:close/>
                    <a:moveTo>
                      <a:pt x="822" y="625"/>
                    </a:moveTo>
                    <a:lnTo>
                      <a:pt x="822" y="625"/>
                    </a:lnTo>
                    <a:lnTo>
                      <a:pt x="724" y="625"/>
                    </a:lnTo>
                    <a:lnTo>
                      <a:pt x="724" y="208"/>
                    </a:lnTo>
                    <a:lnTo>
                      <a:pt x="822" y="208"/>
                    </a:lnTo>
                    <a:lnTo>
                      <a:pt x="822" y="625"/>
                    </a:lnTo>
                    <a:close/>
                    <a:moveTo>
                      <a:pt x="714" y="87"/>
                    </a:moveTo>
                    <a:lnTo>
                      <a:pt x="714" y="87"/>
                    </a:lnTo>
                    <a:cubicBezTo>
                      <a:pt x="714" y="71"/>
                      <a:pt x="720" y="58"/>
                      <a:pt x="732" y="47"/>
                    </a:cubicBezTo>
                    <a:cubicBezTo>
                      <a:pt x="744" y="36"/>
                      <a:pt x="758" y="30"/>
                      <a:pt x="774" y="30"/>
                    </a:cubicBezTo>
                    <a:cubicBezTo>
                      <a:pt x="791" y="30"/>
                      <a:pt x="805" y="36"/>
                      <a:pt x="817" y="47"/>
                    </a:cubicBezTo>
                    <a:cubicBezTo>
                      <a:pt x="828" y="58"/>
                      <a:pt x="834" y="72"/>
                      <a:pt x="834" y="87"/>
                    </a:cubicBezTo>
                    <a:cubicBezTo>
                      <a:pt x="834" y="103"/>
                      <a:pt x="828" y="117"/>
                      <a:pt x="816" y="128"/>
                    </a:cubicBezTo>
                    <a:cubicBezTo>
                      <a:pt x="805" y="138"/>
                      <a:pt x="791" y="144"/>
                      <a:pt x="774" y="144"/>
                    </a:cubicBezTo>
                    <a:cubicBezTo>
                      <a:pt x="757" y="144"/>
                      <a:pt x="743" y="138"/>
                      <a:pt x="731" y="127"/>
                    </a:cubicBezTo>
                    <a:cubicBezTo>
                      <a:pt x="720" y="116"/>
                      <a:pt x="714" y="103"/>
                      <a:pt x="714" y="87"/>
                    </a:cubicBezTo>
                    <a:close/>
                    <a:moveTo>
                      <a:pt x="630" y="43"/>
                    </a:moveTo>
                    <a:lnTo>
                      <a:pt x="630" y="43"/>
                    </a:lnTo>
                    <a:lnTo>
                      <a:pt x="630" y="625"/>
                    </a:lnTo>
                    <a:lnTo>
                      <a:pt x="529" y="625"/>
                    </a:lnTo>
                    <a:lnTo>
                      <a:pt x="529" y="169"/>
                    </a:lnTo>
                    <a:lnTo>
                      <a:pt x="527" y="169"/>
                    </a:lnTo>
                    <a:lnTo>
                      <a:pt x="347" y="625"/>
                    </a:lnTo>
                    <a:lnTo>
                      <a:pt x="280" y="625"/>
                    </a:lnTo>
                    <a:lnTo>
                      <a:pt x="95" y="169"/>
                    </a:lnTo>
                    <a:lnTo>
                      <a:pt x="94" y="169"/>
                    </a:lnTo>
                    <a:lnTo>
                      <a:pt x="94" y="625"/>
                    </a:lnTo>
                    <a:lnTo>
                      <a:pt x="0" y="625"/>
                    </a:lnTo>
                    <a:lnTo>
                      <a:pt x="0" y="43"/>
                    </a:lnTo>
                    <a:lnTo>
                      <a:pt x="145" y="43"/>
                    </a:lnTo>
                    <a:lnTo>
                      <a:pt x="312" y="474"/>
                    </a:lnTo>
                    <a:lnTo>
                      <a:pt x="315" y="474"/>
                    </a:lnTo>
                    <a:lnTo>
                      <a:pt x="491" y="43"/>
                    </a:lnTo>
                    <a:lnTo>
                      <a:pt x="630" y="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6" name="Freeform 14">
              <a:extLst>
                <a:ext uri="{FF2B5EF4-FFF2-40B4-BE49-F238E27FC236}">
                  <a16:creationId xmlns:a16="http://schemas.microsoft.com/office/drawing/2014/main" id="{FED0244D-B1B7-5AFE-A314-80E1D7E9F451}"/>
                </a:ext>
              </a:extLst>
            </p:cNvPr>
            <p:cNvSpPr>
              <a:spLocks/>
            </p:cNvSpPr>
            <p:nvPr userDrawn="1"/>
          </p:nvSpPr>
          <p:spPr bwMode="auto">
            <a:xfrm>
              <a:off x="582613" y="582613"/>
              <a:ext cx="139700" cy="141287"/>
            </a:xfrm>
            <a:custGeom>
              <a:avLst/>
              <a:gdLst>
                <a:gd name="T0" fmla="*/ 460 w 460"/>
                <a:gd name="T1" fmla="*/ 460 h 460"/>
                <a:gd name="T2" fmla="*/ 460 w 460"/>
                <a:gd name="T3" fmla="*/ 460 h 460"/>
                <a:gd name="T4" fmla="*/ 0 w 460"/>
                <a:gd name="T5" fmla="*/ 460 h 460"/>
                <a:gd name="T6" fmla="*/ 0 w 460"/>
                <a:gd name="T7" fmla="*/ 0 h 460"/>
                <a:gd name="T8" fmla="*/ 460 w 460"/>
                <a:gd name="T9" fmla="*/ 0 h 460"/>
                <a:gd name="T10" fmla="*/ 460 w 460"/>
                <a:gd name="T11" fmla="*/ 460 h 460"/>
              </a:gdLst>
              <a:ahLst/>
              <a:cxnLst>
                <a:cxn ang="0">
                  <a:pos x="T0" y="T1"/>
                </a:cxn>
                <a:cxn ang="0">
                  <a:pos x="T2" y="T3"/>
                </a:cxn>
                <a:cxn ang="0">
                  <a:pos x="T4" y="T5"/>
                </a:cxn>
                <a:cxn ang="0">
                  <a:pos x="T6" y="T7"/>
                </a:cxn>
                <a:cxn ang="0">
                  <a:pos x="T8" y="T9"/>
                </a:cxn>
                <a:cxn ang="0">
                  <a:pos x="T10" y="T11"/>
                </a:cxn>
              </a:cxnLst>
              <a:rect l="0" t="0" r="r" b="b"/>
              <a:pathLst>
                <a:path w="460" h="460">
                  <a:moveTo>
                    <a:pt x="460" y="460"/>
                  </a:moveTo>
                  <a:lnTo>
                    <a:pt x="460" y="460"/>
                  </a:lnTo>
                  <a:lnTo>
                    <a:pt x="0" y="460"/>
                  </a:lnTo>
                  <a:lnTo>
                    <a:pt x="0" y="0"/>
                  </a:lnTo>
                  <a:lnTo>
                    <a:pt x="460" y="0"/>
                  </a:lnTo>
                  <a:lnTo>
                    <a:pt x="460" y="460"/>
                  </a:lnTo>
                  <a:close/>
                </a:path>
              </a:pathLst>
            </a:custGeom>
            <a:solidFill>
              <a:srgbClr val="F2502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5">
              <a:extLst>
                <a:ext uri="{FF2B5EF4-FFF2-40B4-BE49-F238E27FC236}">
                  <a16:creationId xmlns:a16="http://schemas.microsoft.com/office/drawing/2014/main" id="{A95E7B05-F0A8-4B64-3943-4457E0FD4AA3}"/>
                </a:ext>
              </a:extLst>
            </p:cNvPr>
            <p:cNvSpPr>
              <a:spLocks/>
            </p:cNvSpPr>
            <p:nvPr userDrawn="1"/>
          </p:nvSpPr>
          <p:spPr bwMode="auto">
            <a:xfrm>
              <a:off x="736601" y="582613"/>
              <a:ext cx="139700" cy="141287"/>
            </a:xfrm>
            <a:custGeom>
              <a:avLst/>
              <a:gdLst>
                <a:gd name="T0" fmla="*/ 461 w 461"/>
                <a:gd name="T1" fmla="*/ 460 h 460"/>
                <a:gd name="T2" fmla="*/ 461 w 461"/>
                <a:gd name="T3" fmla="*/ 460 h 460"/>
                <a:gd name="T4" fmla="*/ 0 w 461"/>
                <a:gd name="T5" fmla="*/ 460 h 460"/>
                <a:gd name="T6" fmla="*/ 0 w 461"/>
                <a:gd name="T7" fmla="*/ 0 h 460"/>
                <a:gd name="T8" fmla="*/ 461 w 461"/>
                <a:gd name="T9" fmla="*/ 0 h 460"/>
                <a:gd name="T10" fmla="*/ 461 w 461"/>
                <a:gd name="T11" fmla="*/ 460 h 460"/>
              </a:gdLst>
              <a:ahLst/>
              <a:cxnLst>
                <a:cxn ang="0">
                  <a:pos x="T0" y="T1"/>
                </a:cxn>
                <a:cxn ang="0">
                  <a:pos x="T2" y="T3"/>
                </a:cxn>
                <a:cxn ang="0">
                  <a:pos x="T4" y="T5"/>
                </a:cxn>
                <a:cxn ang="0">
                  <a:pos x="T6" y="T7"/>
                </a:cxn>
                <a:cxn ang="0">
                  <a:pos x="T8" y="T9"/>
                </a:cxn>
                <a:cxn ang="0">
                  <a:pos x="T10" y="T11"/>
                </a:cxn>
              </a:cxnLst>
              <a:rect l="0" t="0" r="r" b="b"/>
              <a:pathLst>
                <a:path w="461" h="460">
                  <a:moveTo>
                    <a:pt x="461" y="460"/>
                  </a:moveTo>
                  <a:lnTo>
                    <a:pt x="461" y="460"/>
                  </a:lnTo>
                  <a:lnTo>
                    <a:pt x="0" y="460"/>
                  </a:lnTo>
                  <a:lnTo>
                    <a:pt x="0" y="0"/>
                  </a:lnTo>
                  <a:lnTo>
                    <a:pt x="461" y="0"/>
                  </a:lnTo>
                  <a:lnTo>
                    <a:pt x="461" y="460"/>
                  </a:lnTo>
                  <a:close/>
                </a:path>
              </a:pathLst>
            </a:custGeom>
            <a:solidFill>
              <a:srgbClr val="7FBA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6">
              <a:extLst>
                <a:ext uri="{FF2B5EF4-FFF2-40B4-BE49-F238E27FC236}">
                  <a16:creationId xmlns:a16="http://schemas.microsoft.com/office/drawing/2014/main" id="{4AD75282-B95B-4ECC-2755-114A6AA1638E}"/>
                </a:ext>
              </a:extLst>
            </p:cNvPr>
            <p:cNvSpPr>
              <a:spLocks/>
            </p:cNvSpPr>
            <p:nvPr userDrawn="1"/>
          </p:nvSpPr>
          <p:spPr bwMode="auto">
            <a:xfrm>
              <a:off x="582613" y="738188"/>
              <a:ext cx="139700" cy="141287"/>
            </a:xfrm>
            <a:custGeom>
              <a:avLst/>
              <a:gdLst>
                <a:gd name="T0" fmla="*/ 460 w 460"/>
                <a:gd name="T1" fmla="*/ 461 h 461"/>
                <a:gd name="T2" fmla="*/ 460 w 460"/>
                <a:gd name="T3" fmla="*/ 461 h 461"/>
                <a:gd name="T4" fmla="*/ 0 w 460"/>
                <a:gd name="T5" fmla="*/ 461 h 461"/>
                <a:gd name="T6" fmla="*/ 0 w 460"/>
                <a:gd name="T7" fmla="*/ 0 h 461"/>
                <a:gd name="T8" fmla="*/ 460 w 460"/>
                <a:gd name="T9" fmla="*/ 0 h 461"/>
                <a:gd name="T10" fmla="*/ 460 w 460"/>
                <a:gd name="T11" fmla="*/ 461 h 461"/>
              </a:gdLst>
              <a:ahLst/>
              <a:cxnLst>
                <a:cxn ang="0">
                  <a:pos x="T0" y="T1"/>
                </a:cxn>
                <a:cxn ang="0">
                  <a:pos x="T2" y="T3"/>
                </a:cxn>
                <a:cxn ang="0">
                  <a:pos x="T4" y="T5"/>
                </a:cxn>
                <a:cxn ang="0">
                  <a:pos x="T6" y="T7"/>
                </a:cxn>
                <a:cxn ang="0">
                  <a:pos x="T8" y="T9"/>
                </a:cxn>
                <a:cxn ang="0">
                  <a:pos x="T10" y="T11"/>
                </a:cxn>
              </a:cxnLst>
              <a:rect l="0" t="0" r="r" b="b"/>
              <a:pathLst>
                <a:path w="460" h="461">
                  <a:moveTo>
                    <a:pt x="460" y="461"/>
                  </a:moveTo>
                  <a:lnTo>
                    <a:pt x="460" y="461"/>
                  </a:lnTo>
                  <a:lnTo>
                    <a:pt x="0" y="461"/>
                  </a:lnTo>
                  <a:lnTo>
                    <a:pt x="0" y="0"/>
                  </a:lnTo>
                  <a:lnTo>
                    <a:pt x="460" y="0"/>
                  </a:lnTo>
                  <a:lnTo>
                    <a:pt x="460" y="461"/>
                  </a:lnTo>
                  <a:close/>
                </a:path>
              </a:pathLst>
            </a:custGeom>
            <a:solidFill>
              <a:srgbClr val="00A4E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7">
              <a:extLst>
                <a:ext uri="{FF2B5EF4-FFF2-40B4-BE49-F238E27FC236}">
                  <a16:creationId xmlns:a16="http://schemas.microsoft.com/office/drawing/2014/main" id="{9DA6FA63-54F5-C51C-BDBD-0CEEC16ABA7C}"/>
                </a:ext>
              </a:extLst>
            </p:cNvPr>
            <p:cNvSpPr>
              <a:spLocks/>
            </p:cNvSpPr>
            <p:nvPr userDrawn="1"/>
          </p:nvSpPr>
          <p:spPr bwMode="auto">
            <a:xfrm>
              <a:off x="736601" y="738188"/>
              <a:ext cx="139700" cy="141287"/>
            </a:xfrm>
            <a:custGeom>
              <a:avLst/>
              <a:gdLst>
                <a:gd name="T0" fmla="*/ 461 w 461"/>
                <a:gd name="T1" fmla="*/ 461 h 461"/>
                <a:gd name="T2" fmla="*/ 461 w 461"/>
                <a:gd name="T3" fmla="*/ 461 h 461"/>
                <a:gd name="T4" fmla="*/ 0 w 461"/>
                <a:gd name="T5" fmla="*/ 461 h 461"/>
                <a:gd name="T6" fmla="*/ 0 w 461"/>
                <a:gd name="T7" fmla="*/ 0 h 461"/>
                <a:gd name="T8" fmla="*/ 461 w 461"/>
                <a:gd name="T9" fmla="*/ 0 h 461"/>
                <a:gd name="T10" fmla="*/ 461 w 461"/>
                <a:gd name="T11" fmla="*/ 461 h 461"/>
              </a:gdLst>
              <a:ahLst/>
              <a:cxnLst>
                <a:cxn ang="0">
                  <a:pos x="T0" y="T1"/>
                </a:cxn>
                <a:cxn ang="0">
                  <a:pos x="T2" y="T3"/>
                </a:cxn>
                <a:cxn ang="0">
                  <a:pos x="T4" y="T5"/>
                </a:cxn>
                <a:cxn ang="0">
                  <a:pos x="T6" y="T7"/>
                </a:cxn>
                <a:cxn ang="0">
                  <a:pos x="T8" y="T9"/>
                </a:cxn>
                <a:cxn ang="0">
                  <a:pos x="T10" y="T11"/>
                </a:cxn>
              </a:cxnLst>
              <a:rect l="0" t="0" r="r" b="b"/>
              <a:pathLst>
                <a:path w="461" h="461">
                  <a:moveTo>
                    <a:pt x="461" y="461"/>
                  </a:moveTo>
                  <a:lnTo>
                    <a:pt x="461" y="461"/>
                  </a:lnTo>
                  <a:lnTo>
                    <a:pt x="0" y="461"/>
                  </a:lnTo>
                  <a:lnTo>
                    <a:pt x="0" y="0"/>
                  </a:lnTo>
                  <a:lnTo>
                    <a:pt x="461" y="0"/>
                  </a:lnTo>
                  <a:lnTo>
                    <a:pt x="461" y="461"/>
                  </a:lnTo>
                  <a:close/>
                </a:path>
              </a:pathLst>
            </a:custGeom>
            <a:solidFill>
              <a:srgbClr val="FFB9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2" name="Title 1">
            <a:extLst>
              <a:ext uri="{FF2B5EF4-FFF2-40B4-BE49-F238E27FC236}">
                <a16:creationId xmlns:a16="http://schemas.microsoft.com/office/drawing/2014/main" id="{C5529180-C309-BA71-3AA1-0303F6B30EE6}"/>
              </a:ext>
            </a:extLst>
          </p:cNvPr>
          <p:cNvSpPr>
            <a:spLocks noGrp="1"/>
          </p:cNvSpPr>
          <p:nvPr>
            <p:ph type="title" hasCustomPrompt="1"/>
          </p:nvPr>
        </p:nvSpPr>
        <p:spPr>
          <a:xfrm>
            <a:off x="588263" y="2425541"/>
            <a:ext cx="4167887" cy="1107996"/>
          </a:xfrm>
        </p:spPr>
        <p:txBody>
          <a:bodyPr anchor="b" anchorCtr="0">
            <a:spAutoFit/>
          </a:bodyPr>
          <a:lstStyle>
            <a:lvl1pPr>
              <a:defRPr>
                <a:gradFill>
                  <a:gsLst>
                    <a:gs pos="0">
                      <a:schemeClr val="bg1"/>
                    </a:gs>
                    <a:gs pos="100000">
                      <a:schemeClr val="bg1"/>
                    </a:gs>
                  </a:gsLst>
                  <a:lin ang="5400000" scaled="1"/>
                </a:gradFill>
              </a:defRPr>
            </a:lvl1pPr>
          </a:lstStyle>
          <a:p>
            <a:r>
              <a:rPr lang="en-US"/>
              <a:t>Event name or presentation title </a:t>
            </a:r>
          </a:p>
        </p:txBody>
      </p:sp>
      <p:sp>
        <p:nvSpPr>
          <p:cNvPr id="23" name="Text Placeholder 4">
            <a:extLst>
              <a:ext uri="{FF2B5EF4-FFF2-40B4-BE49-F238E27FC236}">
                <a16:creationId xmlns:a16="http://schemas.microsoft.com/office/drawing/2014/main" id="{A0740970-5879-818A-863B-47858A0A8E9B}"/>
              </a:ext>
            </a:extLst>
          </p:cNvPr>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b="0" i="0" spc="0" baseline="0">
                <a:gradFill>
                  <a:gsLst>
                    <a:gs pos="0">
                      <a:schemeClr val="bg1"/>
                    </a:gs>
                    <a:gs pos="100000">
                      <a:schemeClr val="bg1"/>
                    </a:gs>
                  </a:gsLst>
                  <a:lin ang="5400000" scaled="1"/>
                </a:gradFill>
                <a:latin typeface="Segoe Sans Display" pitchFamily="2" charset="0"/>
                <a:cs typeface="Segoe Sans Display" pitchFamily="2" charset="0"/>
              </a:defRPr>
            </a:lvl1pPr>
          </a:lstStyle>
          <a:p>
            <a:pPr lvl="0"/>
            <a:r>
              <a:rPr lang="en-US"/>
              <a:t>Subtitle or speaker name</a:t>
            </a:r>
          </a:p>
        </p:txBody>
      </p:sp>
    </p:spTree>
    <p:extLst>
      <p:ext uri="{BB962C8B-B14F-4D97-AF65-F5344CB8AC3E}">
        <p14:creationId xmlns:p14="http://schemas.microsoft.com/office/powerpoint/2010/main" val="25596330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Pr>
        <a:gradFill>
          <a:gsLst>
            <a:gs pos="0">
              <a:schemeClr val="tx1"/>
            </a:gs>
            <a:gs pos="100000">
              <a:srgbClr val="243A5E"/>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gradFill>
                  <a:gsLst>
                    <a:gs pos="0">
                      <a:schemeClr val="bg1"/>
                    </a:gs>
                    <a:gs pos="100000">
                      <a:schemeClr val="bg1"/>
                    </a:gs>
                  </a:gsLst>
                  <a:lin ang="5400000" scaled="1"/>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b="0" i="0" spc="0" baseline="0">
                <a:gradFill>
                  <a:gsLst>
                    <a:gs pos="0">
                      <a:schemeClr val="bg1"/>
                    </a:gs>
                    <a:gs pos="100000">
                      <a:schemeClr val="bg1"/>
                    </a:gs>
                  </a:gsLst>
                  <a:lin ang="5400000" scaled="1"/>
                </a:gradFill>
                <a:latin typeface="Segoe Sans Display" pitchFamily="2" charset="0"/>
                <a:cs typeface="Segoe Sans Display" pitchFamily="2" charset="0"/>
              </a:defRPr>
            </a:lvl1pPr>
          </a:lstStyle>
          <a:p>
            <a:pPr lvl="0"/>
            <a:r>
              <a:rPr lang="en-US"/>
              <a:t>Subtitle or speaker name</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F02FDD66-3D8C-21B6-2566-643C5C82E414}"/>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0" i="0">
                <a:solidFill>
                  <a:srgbClr val="000000"/>
                </a:solidFill>
                <a:latin typeface="Segoe Sans Display" pitchFamily="2" charset="0"/>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3" name="Picture 2" descr="A black and white logo&#10;&#10;Description automatically generated">
            <a:extLst>
              <a:ext uri="{FF2B5EF4-FFF2-40B4-BE49-F238E27FC236}">
                <a16:creationId xmlns:a16="http://schemas.microsoft.com/office/drawing/2014/main" id="{AF03C58C-E373-9214-310F-591BA4CD6197}"/>
              </a:ext>
            </a:extLst>
          </p:cNvPr>
          <p:cNvPicPr>
            <a:picLocks noChangeAspect="1"/>
          </p:cNvPicPr>
          <p:nvPr userDrawn="1"/>
        </p:nvPicPr>
        <p:blipFill rotWithShape="1">
          <a:blip r:embed="rId3"/>
          <a:srcRect l="9831" t="30470" r="9778" b="31934"/>
          <a:stretch/>
        </p:blipFill>
        <p:spPr>
          <a:xfrm>
            <a:off x="565402" y="560565"/>
            <a:ext cx="2354775" cy="331610"/>
          </a:xfrm>
          <a:prstGeom prst="rect">
            <a:avLst/>
          </a:prstGeom>
        </p:spPr>
      </p:pic>
    </p:spTree>
    <p:extLst>
      <p:ext uri="{BB962C8B-B14F-4D97-AF65-F5344CB8AC3E}">
        <p14:creationId xmlns:p14="http://schemas.microsoft.com/office/powerpoint/2010/main" val="27164577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Square Photo placeholder Dk Blu">
    <p:bg>
      <p:bgPr>
        <a:gradFill>
          <a:gsLst>
            <a:gs pos="0">
              <a:schemeClr val="bg1"/>
            </a:gs>
            <a:gs pos="100000">
              <a:srgbClr val="243A5E"/>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b="0" i="0" spc="0" baseline="0">
                <a:solidFill>
                  <a:schemeClr val="tx1"/>
                </a:solidFill>
                <a:latin typeface="Segoe Sans Display" pitchFamily="2" charset="0"/>
                <a:cs typeface="Segoe Sans Display" pitchFamily="2" charset="0"/>
              </a:defRPr>
            </a:lvl1pPr>
          </a:lstStyle>
          <a:p>
            <a:pPr lvl="0"/>
            <a:r>
              <a:rPr lang="en-US"/>
              <a:t>Speaker name or subtitle</a:t>
            </a:r>
          </a:p>
        </p:txBody>
      </p:sp>
      <p:pic>
        <p:nvPicPr>
          <p:cNvPr id="3" name="Picture 2" descr="A black and white logo&#10;&#10;Description automatically generated">
            <a:extLst>
              <a:ext uri="{FF2B5EF4-FFF2-40B4-BE49-F238E27FC236}">
                <a16:creationId xmlns:a16="http://schemas.microsoft.com/office/drawing/2014/main" id="{A3312014-DB83-423D-8BCB-61F878CD1B3C}"/>
              </a:ext>
            </a:extLst>
          </p:cNvPr>
          <p:cNvPicPr>
            <a:picLocks noChangeAspect="1"/>
          </p:cNvPicPr>
          <p:nvPr userDrawn="1"/>
        </p:nvPicPr>
        <p:blipFill rotWithShape="1">
          <a:blip r:embed="rId2"/>
          <a:srcRect l="9831" t="30470" r="9778" b="31934"/>
          <a:stretch/>
        </p:blipFill>
        <p:spPr>
          <a:xfrm>
            <a:off x="565402" y="560565"/>
            <a:ext cx="2354775" cy="331610"/>
          </a:xfrm>
          <a:prstGeom prst="rect">
            <a:avLst/>
          </a:prstGeom>
        </p:spPr>
      </p:pic>
    </p:spTree>
    <p:extLst>
      <p:ext uri="{BB962C8B-B14F-4D97-AF65-F5344CB8AC3E}">
        <p14:creationId xmlns:p14="http://schemas.microsoft.com/office/powerpoint/2010/main" val="39209870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Slide gray">
    <p:bg>
      <p:bgPr>
        <a:gradFill>
          <a:gsLst>
            <a:gs pos="0">
              <a:schemeClr val="tx1"/>
            </a:gs>
            <a:gs pos="100000">
              <a:srgbClr val="243A5E"/>
            </a:gs>
          </a:gsLst>
          <a:lin ang="5400000" scaled="1"/>
        </a:gra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b="1" i="0" spc="-50" baseline="0">
                <a:gradFill>
                  <a:gsLst>
                    <a:gs pos="0">
                      <a:schemeClr val="bg1"/>
                    </a:gs>
                    <a:gs pos="99000">
                      <a:schemeClr val="bg1"/>
                    </a:gs>
                  </a:gsLst>
                  <a:lin ang="5400000" scaled="1"/>
                </a:gradFill>
                <a:latin typeface="Segoe Sans Display Semibold" pitchFamily="2" charset="0"/>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b="0" i="0" spc="0" baseline="0">
                <a:gradFill>
                  <a:gsLst>
                    <a:gs pos="0">
                      <a:schemeClr val="bg1"/>
                    </a:gs>
                    <a:gs pos="99000">
                      <a:schemeClr val="bg1"/>
                    </a:gs>
                  </a:gsLst>
                  <a:lin ang="5400000" scaled="1"/>
                </a:gradFill>
                <a:latin typeface="Segoe Sans Display" pitchFamily="2" charset="0"/>
                <a:cs typeface="Segoe Sans Display" pitchFamily="2" charset="0"/>
              </a:defRPr>
            </a:lvl1pPr>
          </a:lstStyle>
          <a:p>
            <a:pPr lvl="0"/>
            <a:r>
              <a:rPr lang="en-US"/>
              <a:t>Speaker name or subtitle text</a:t>
            </a:r>
          </a:p>
        </p:txBody>
      </p:sp>
      <p:pic>
        <p:nvPicPr>
          <p:cNvPr id="2" name="Picture 1" descr="A black and white logo&#10;&#10;Description automatically generated">
            <a:extLst>
              <a:ext uri="{FF2B5EF4-FFF2-40B4-BE49-F238E27FC236}">
                <a16:creationId xmlns:a16="http://schemas.microsoft.com/office/drawing/2014/main" id="{3B1DFA40-680F-7C69-7D8D-3CA73C4BB930}"/>
              </a:ext>
            </a:extLst>
          </p:cNvPr>
          <p:cNvPicPr>
            <a:picLocks noChangeAspect="1"/>
          </p:cNvPicPr>
          <p:nvPr userDrawn="1"/>
        </p:nvPicPr>
        <p:blipFill rotWithShape="1">
          <a:blip r:embed="rId2"/>
          <a:srcRect l="9831" t="30470" r="9778" b="31934"/>
          <a:stretch/>
        </p:blipFill>
        <p:spPr>
          <a:xfrm>
            <a:off x="565402" y="560565"/>
            <a:ext cx="2354775" cy="331610"/>
          </a:xfrm>
          <a:prstGeom prst="rect">
            <a:avLst/>
          </a:prstGeom>
        </p:spPr>
      </p:pic>
    </p:spTree>
    <p:extLst>
      <p:ext uri="{BB962C8B-B14F-4D97-AF65-F5344CB8AC3E}">
        <p14:creationId xmlns:p14="http://schemas.microsoft.com/office/powerpoint/2010/main" val="25651476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title page">
    <p:bg>
      <p:bgPr>
        <a:gradFill>
          <a:gsLst>
            <a:gs pos="2000">
              <a:srgbClr val="0179D4"/>
            </a:gs>
            <a:gs pos="32000">
              <a:srgbClr val="2CB6FF"/>
            </a:gs>
            <a:gs pos="44000">
              <a:srgbClr val="2DB6FF"/>
            </a:gs>
            <a:gs pos="81000">
              <a:srgbClr val="D962FA"/>
            </a:gs>
            <a:gs pos="96000">
              <a:srgbClr val="F69991"/>
            </a:gs>
          </a:gsLst>
          <a:lin ang="3600000" scaled="0"/>
        </a:gradFill>
        <a:effectLst/>
      </p:bgPr>
    </p:bg>
    <p:spTree>
      <p:nvGrpSpPr>
        <p:cNvPr id="1" name=""/>
        <p:cNvGrpSpPr/>
        <p:nvPr/>
      </p:nvGrpSpPr>
      <p:grpSpPr>
        <a:xfrm>
          <a:off x="0" y="0"/>
          <a:ext cx="0" cy="0"/>
          <a:chOff x="0" y="0"/>
          <a:chExt cx="0" cy="0"/>
        </a:xfrm>
      </p:grpSpPr>
      <p:sp>
        <p:nvSpPr>
          <p:cNvPr id="19" name="Rectangle: Rounded Corners 18">
            <a:extLst>
              <a:ext uri="{FF2B5EF4-FFF2-40B4-BE49-F238E27FC236}">
                <a16:creationId xmlns:a16="http://schemas.microsoft.com/office/drawing/2014/main" id="{307E9F14-6022-5697-DFF4-86FA3A50C41A}"/>
              </a:ext>
            </a:extLst>
          </p:cNvPr>
          <p:cNvSpPr/>
          <p:nvPr userDrawn="1"/>
        </p:nvSpPr>
        <p:spPr>
          <a:xfrm>
            <a:off x="322521" y="283028"/>
            <a:ext cx="11546958" cy="6291943"/>
          </a:xfrm>
          <a:prstGeom prst="roundRect">
            <a:avLst>
              <a:gd name="adj" fmla="val 3511"/>
            </a:avLst>
          </a:prstGeom>
          <a:solidFill>
            <a:srgbClr val="091F2C">
              <a:alpha val="8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0" name="Title 1">
            <a:extLst>
              <a:ext uri="{FF2B5EF4-FFF2-40B4-BE49-F238E27FC236}">
                <a16:creationId xmlns:a16="http://schemas.microsoft.com/office/drawing/2014/main" id="{47B7B485-6FB1-1F40-9F6C-8E7C22564D7B}"/>
              </a:ext>
            </a:extLst>
          </p:cNvPr>
          <p:cNvSpPr>
            <a:spLocks noGrp="1"/>
          </p:cNvSpPr>
          <p:nvPr>
            <p:ph type="title" hasCustomPrompt="1"/>
          </p:nvPr>
        </p:nvSpPr>
        <p:spPr>
          <a:xfrm>
            <a:off x="758597" y="2922191"/>
            <a:ext cx="8193024" cy="1495794"/>
          </a:xfrm>
          <a:noFill/>
        </p:spPr>
        <p:txBody>
          <a:bodyPr wrap="square" lIns="0" tIns="0" rIns="0" bIns="0" anchor="b" anchorCtr="0">
            <a:spAutoFit/>
          </a:bodyPr>
          <a:lstStyle>
            <a:lvl1pPr algn="l">
              <a:defRPr sz="5400" b="1" i="0" spc="-50" baseline="0">
                <a:gradFill>
                  <a:gsLst>
                    <a:gs pos="2000">
                      <a:srgbClr val="0179D4"/>
                    </a:gs>
                    <a:gs pos="32000">
                      <a:srgbClr val="2CB6FF"/>
                    </a:gs>
                    <a:gs pos="44000">
                      <a:srgbClr val="2DB6FF"/>
                    </a:gs>
                    <a:gs pos="81000">
                      <a:srgbClr val="D962FA"/>
                    </a:gs>
                    <a:gs pos="96000">
                      <a:srgbClr val="F69991"/>
                    </a:gs>
                  </a:gsLst>
                  <a:lin ang="3600000" scaled="0"/>
                </a:gradFill>
                <a:latin typeface="Segoe UI" panose="020B0502040204020203" pitchFamily="34" charset="0"/>
                <a:cs typeface="Segoe UI" panose="020B0502040204020203" pitchFamily="34" charset="0"/>
              </a:defRPr>
            </a:lvl1pPr>
          </a:lstStyle>
          <a:p>
            <a:r>
              <a:rPr lang="en-US" dirty="0"/>
              <a:t>Event name or </a:t>
            </a:r>
            <a:br>
              <a:rPr lang="en-US" dirty="0"/>
            </a:br>
            <a:r>
              <a:rPr lang="en-US" dirty="0"/>
              <a:t>presentation title </a:t>
            </a:r>
          </a:p>
        </p:txBody>
      </p:sp>
      <p:pic>
        <p:nvPicPr>
          <p:cNvPr id="21" name="MS logo gray - EMF">
            <a:extLst>
              <a:ext uri="{FF2B5EF4-FFF2-40B4-BE49-F238E27FC236}">
                <a16:creationId xmlns:a16="http://schemas.microsoft.com/office/drawing/2014/main" id="{64A4DF9F-2B1C-CAA8-9FB0-804BF4B06E89}"/>
              </a:ext>
            </a:extLst>
          </p:cNvPr>
          <p:cNvPicPr>
            <a:picLocks noChangeAspect="1"/>
          </p:cNvPicPr>
          <p:nvPr userDrawn="1"/>
        </p:nvPicPr>
        <p:blipFill>
          <a:blip r:embed="rId2">
            <a:extLst>
              <a:ext uri="{28A0092B-C50C-407E-A947-70E740481C1C}">
                <a14:useLocalDpi xmlns:a14="http://schemas.microsoft.com/office/drawing/2010/main" val="0"/>
              </a:ext>
            </a:extLst>
          </a:blip>
          <a:srcRect l="12679" t="30223" r="10306" b="29367"/>
          <a:stretch/>
        </p:blipFill>
        <p:spPr bwMode="black">
          <a:xfrm>
            <a:off x="10104777" y="6035405"/>
            <a:ext cx="1501911" cy="353217"/>
          </a:xfrm>
          <a:prstGeom prst="rect">
            <a:avLst/>
          </a:prstGeom>
        </p:spPr>
      </p:pic>
    </p:spTree>
    <p:extLst>
      <p:ext uri="{BB962C8B-B14F-4D97-AF65-F5344CB8AC3E}">
        <p14:creationId xmlns:p14="http://schemas.microsoft.com/office/powerpoint/2010/main" val="23939393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Agenda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sz="2000"/>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557121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1_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i="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39864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0" i="0">
              <a:solidFill>
                <a:srgbClr val="FFFFFF"/>
              </a:solidFill>
              <a:latin typeface="Segoe Sans Display" pitchFamily="2" charset="0"/>
              <a:ea typeface="Segoe UI" pitchFamily="34" charset="0"/>
              <a:cs typeface="Segoe Sans Display" pitchFamily="2"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lang="en-US" sz="2000" b="1" i="0" kern="1200" spc="0" baseline="0" dirty="0">
                <a:gradFill>
                  <a:gsLst>
                    <a:gs pos="0">
                      <a:schemeClr val="bg1"/>
                    </a:gs>
                    <a:gs pos="100000">
                      <a:schemeClr val="bg1"/>
                    </a:gs>
                  </a:gsLst>
                  <a:lin ang="5400000" scaled="1"/>
                </a:gradFill>
                <a:latin typeface="Segoe Sans Display Semibold" pitchFamily="2" charset="0"/>
                <a:ea typeface="+mn-ea"/>
                <a:cs typeface="Segoe Sans Display" pitchFamily="2" charset="0"/>
              </a:defRPr>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pPr>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lang="en-US" sz="2000" b="1" i="0" kern="1200" spc="0" baseline="0" dirty="0">
                <a:gradFill>
                  <a:gsLst>
                    <a:gs pos="0">
                      <a:schemeClr val="bg1"/>
                    </a:gs>
                    <a:gs pos="100000">
                      <a:schemeClr val="bg1"/>
                    </a:gs>
                  </a:gsLst>
                  <a:lin ang="5400000" scaled="1"/>
                </a:gradFill>
                <a:latin typeface="Segoe Sans Display Semibold" pitchFamily="2" charset="0"/>
                <a:ea typeface="+mn-ea"/>
                <a:cs typeface="Segoe Sans Display" pitchFamily="2" charset="0"/>
              </a:defRPr>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pPr>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lang="en-US" sz="2000" b="1" i="0" kern="1200" spc="0" baseline="0" dirty="0">
                <a:gradFill>
                  <a:gsLst>
                    <a:gs pos="0">
                      <a:schemeClr val="bg1"/>
                    </a:gs>
                    <a:gs pos="100000">
                      <a:schemeClr val="bg1"/>
                    </a:gs>
                  </a:gsLst>
                  <a:lin ang="5400000" scaled="1"/>
                </a:gradFill>
                <a:latin typeface="Segoe Sans Display Semibold" pitchFamily="2" charset="0"/>
                <a:ea typeface="+mn-ea"/>
                <a:cs typeface="Segoe Sans Display" pitchFamily="2" charset="0"/>
              </a:defRPr>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pPr>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lang="en-US" sz="2000" b="1" i="0" kern="1200" spc="0" baseline="0" dirty="0">
                <a:gradFill>
                  <a:gsLst>
                    <a:gs pos="0">
                      <a:schemeClr val="bg1"/>
                    </a:gs>
                    <a:gs pos="100000">
                      <a:schemeClr val="bg1"/>
                    </a:gs>
                  </a:gsLst>
                  <a:lin ang="5400000" scaled="1"/>
                </a:gradFill>
                <a:latin typeface="Segoe Sans Display Semibold" pitchFamily="2" charset="0"/>
                <a:ea typeface="+mn-ea"/>
                <a:cs typeface="Segoe Sans Display" pitchFamily="2" charset="0"/>
              </a:defRPr>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pPr>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444336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1_Agenda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lang="en-US" sz="2000" b="1" i="0" kern="1200" spc="0" baseline="0" dirty="0">
                <a:gradFill>
                  <a:gsLst>
                    <a:gs pos="0">
                      <a:schemeClr val="bg1"/>
                    </a:gs>
                    <a:gs pos="100000">
                      <a:schemeClr val="bg1"/>
                    </a:gs>
                  </a:gsLst>
                  <a:lin ang="5400000" scaled="1"/>
                </a:gradFill>
                <a:latin typeface="Segoe Sans Display Semibold" pitchFamily="2" charset="0"/>
                <a:ea typeface="+mn-ea"/>
                <a:cs typeface="Segoe Sans Display" pitchFamily="2" charset="0"/>
              </a:defRPr>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pPr>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b="1" i="0">
                <a:gradFill>
                  <a:gsLst>
                    <a:gs pos="0">
                      <a:schemeClr val="bg1"/>
                    </a:gs>
                    <a:gs pos="100000">
                      <a:schemeClr val="bg1"/>
                    </a:gs>
                  </a:gsLst>
                  <a:lin ang="5400000" scaled="1"/>
                </a:gradFill>
                <a:latin typeface="Segoe Sans Display Semibold" pitchFamily="2" charset="0"/>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b="1" i="0">
                <a:gradFill>
                  <a:gsLst>
                    <a:gs pos="0">
                      <a:schemeClr val="bg1"/>
                    </a:gs>
                    <a:gs pos="100000">
                      <a:schemeClr val="bg1"/>
                    </a:gs>
                  </a:gsLst>
                  <a:lin ang="5400000" scaled="1"/>
                </a:gradFill>
                <a:latin typeface="Segoe Sans Display Semibold" pitchFamily="2" charset="0"/>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b="1" i="0">
                <a:gradFill>
                  <a:gsLst>
                    <a:gs pos="0">
                      <a:schemeClr val="bg1"/>
                    </a:gs>
                    <a:gs pos="100000">
                      <a:schemeClr val="bg1"/>
                    </a:gs>
                  </a:gsLst>
                  <a:lin ang="5400000" scaled="1"/>
                </a:gradFill>
                <a:latin typeface="Segoe Sans Display Semibold" pitchFamily="2" charset="0"/>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278402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gradFill>
                  <a:gsLst>
                    <a:gs pos="0">
                      <a:schemeClr val="bg1"/>
                    </a:gs>
                    <a:gs pos="100000">
                      <a:schemeClr val="bg1"/>
                    </a:gs>
                  </a:gsLst>
                  <a:lin ang="5400000" scaled="1"/>
                </a:gra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a:defRPr>
                <a:gradFill>
                  <a:gsLst>
                    <a:gs pos="0">
                      <a:schemeClr val="bg1"/>
                    </a:gs>
                    <a:gs pos="100000">
                      <a:schemeClr val="bg1"/>
                    </a:gs>
                  </a:gsLst>
                  <a:lin ang="5400000" scaled="1"/>
                </a:gradFill>
              </a:defRPr>
            </a:lvl1pPr>
            <a:lvl2pPr>
              <a:defRPr>
                <a:gradFill>
                  <a:gsLst>
                    <a:gs pos="0">
                      <a:schemeClr val="bg1"/>
                    </a:gs>
                    <a:gs pos="100000">
                      <a:schemeClr val="bg1"/>
                    </a:gs>
                  </a:gsLst>
                  <a:lin ang="5400000" scaled="1"/>
                </a:gradFill>
              </a:defRPr>
            </a:lvl2pPr>
            <a:lvl3pPr>
              <a:defRPr>
                <a:gradFill>
                  <a:gsLst>
                    <a:gs pos="0">
                      <a:schemeClr val="bg1"/>
                    </a:gs>
                    <a:gs pos="100000">
                      <a:schemeClr val="bg1"/>
                    </a:gs>
                  </a:gsLst>
                  <a:lin ang="5400000" scaled="1"/>
                </a:gradFill>
              </a:defRPr>
            </a:lvl3pPr>
            <a:lvl4pPr>
              <a:defRPr>
                <a:gradFill>
                  <a:gsLst>
                    <a:gs pos="0">
                      <a:schemeClr val="bg1"/>
                    </a:gs>
                    <a:gs pos="100000">
                      <a:schemeClr val="bg1"/>
                    </a:gs>
                  </a:gsLst>
                  <a:lin ang="5400000" scaled="1"/>
                </a:gradFill>
              </a:defRPr>
            </a:lvl4pPr>
            <a:lvl5pPr>
              <a:defRPr>
                <a:gradFill>
                  <a:gsLst>
                    <a:gs pos="0">
                      <a:schemeClr val="bg1"/>
                    </a:gs>
                    <a:gs pos="100000">
                      <a:schemeClr val="bg1"/>
                    </a:gs>
                  </a:gsLst>
                  <a:lin ang="5400000" scaled="1"/>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b="0" i="0">
                <a:solidFill>
                  <a:srgbClr val="A3A3A3"/>
                </a:solidFill>
                <a:latin typeface="Segoe Sans Display" pitchFamily="2" charset="0"/>
              </a:rPr>
              <a:t>ELT layout</a:t>
            </a:r>
          </a:p>
        </p:txBody>
      </p:sp>
    </p:spTree>
    <p:extLst>
      <p:ext uri="{BB962C8B-B14F-4D97-AF65-F5344CB8AC3E}">
        <p14:creationId xmlns:p14="http://schemas.microsoft.com/office/powerpoint/2010/main" val="219183183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53180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b="0" i="0">
                <a:solidFill>
                  <a:srgbClr val="A3A3A3"/>
                </a:solidFill>
                <a:latin typeface="Segoe Sans Display" pitchFamily="2" charset="0"/>
              </a:rPr>
              <a:t>ELT layout</a:t>
            </a:r>
          </a:p>
        </p:txBody>
      </p:sp>
    </p:spTree>
    <p:extLst>
      <p:ext uri="{BB962C8B-B14F-4D97-AF65-F5344CB8AC3E}">
        <p14:creationId xmlns:p14="http://schemas.microsoft.com/office/powerpoint/2010/main" val="15641052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i="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i="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62249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i="0">
                <a:gradFill>
                  <a:gsLst>
                    <a:gs pos="0">
                      <a:schemeClr val="bg1"/>
                    </a:gs>
                    <a:gs pos="100000">
                      <a:schemeClr val="bg1"/>
                    </a:gs>
                  </a:gsLst>
                  <a:lin ang="5400000" scaled="1"/>
                </a:gradFill>
                <a:latin typeface="Segoe Sans Display Semibold" pitchFamily="2" charset="0"/>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i="0">
                <a:gradFill>
                  <a:gsLst>
                    <a:gs pos="0">
                      <a:schemeClr val="bg1"/>
                    </a:gs>
                    <a:gs pos="100000">
                      <a:schemeClr val="bg1"/>
                    </a:gs>
                  </a:gsLst>
                  <a:lin ang="5400000" scaled="1"/>
                </a:gradFill>
                <a:latin typeface="Segoe Sans Display Semibold" pitchFamily="2"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76161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i="0">
                <a:gradFill>
                  <a:gsLst>
                    <a:gs pos="0">
                      <a:schemeClr val="bg1"/>
                    </a:gs>
                    <a:gs pos="99000">
                      <a:schemeClr val="bg1"/>
                    </a:gs>
                  </a:gsLst>
                  <a:lin ang="5400000" scaled="1"/>
                </a:gradFill>
                <a:latin typeface="Segoe Sans Display Semibold" pitchFamily="2" charset="0"/>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i="0">
                <a:gradFill>
                  <a:gsLst>
                    <a:gs pos="0">
                      <a:schemeClr val="bg1"/>
                    </a:gs>
                    <a:gs pos="99000">
                      <a:schemeClr val="bg1"/>
                    </a:gs>
                  </a:gsLst>
                  <a:lin ang="5400000" scaled="1"/>
                </a:gradFill>
                <a:latin typeface="Segoe Sans Display Semibold" pitchFamily="2" charset="0"/>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05557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b="1" i="0">
                <a:gradFill>
                  <a:gsLst>
                    <a:gs pos="0">
                      <a:schemeClr val="bg1"/>
                    </a:gs>
                    <a:gs pos="100000">
                      <a:schemeClr val="bg1"/>
                    </a:gs>
                  </a:gsLst>
                  <a:lin ang="5400000" scaled="1"/>
                </a:gradFill>
                <a:latin typeface="Segoe Sans Display Semibold" pitchFamily="2" charset="0"/>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b="1" i="0">
                <a:gradFill>
                  <a:gsLst>
                    <a:gs pos="0">
                      <a:schemeClr val="bg1"/>
                    </a:gs>
                    <a:gs pos="100000">
                      <a:schemeClr val="bg1"/>
                    </a:gs>
                  </a:gsLst>
                  <a:lin ang="5400000" scaled="1"/>
                </a:gradFill>
                <a:latin typeface="Segoe Sans Display Semibold" pitchFamily="2" charset="0"/>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b="1" i="0">
                <a:gradFill>
                  <a:gsLst>
                    <a:gs pos="0">
                      <a:schemeClr val="bg1"/>
                    </a:gs>
                    <a:gs pos="100000">
                      <a:schemeClr val="bg1"/>
                    </a:gs>
                  </a:gsLst>
                  <a:lin ang="5400000" scaled="1"/>
                </a:gradFill>
                <a:latin typeface="Segoe Sans Display Semibold" pitchFamily="2" charset="0"/>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5164421"/>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489639"/>
          </a:xfrm>
        </p:spPr>
        <p:txBody>
          <a:bodyPr wrap="square">
            <a:spAutoFit/>
          </a:bodyPr>
          <a:lstStyle>
            <a:lvl1pPr marL="0" indent="0">
              <a:buNone/>
              <a:defRPr sz="2000"/>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09570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b="1" i="0">
                <a:gradFill>
                  <a:gsLst>
                    <a:gs pos="0">
                      <a:schemeClr val="bg1"/>
                    </a:gs>
                    <a:gs pos="100000">
                      <a:schemeClr val="bg1"/>
                    </a:gs>
                  </a:gsLst>
                  <a:lin ang="5400000" scaled="1"/>
                </a:gradFill>
                <a:latin typeface="Segoe Sans Display Semibold" pitchFamily="2" charset="0"/>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b="1" i="0">
                <a:gradFill>
                  <a:gsLst>
                    <a:gs pos="0">
                      <a:schemeClr val="bg1"/>
                    </a:gs>
                    <a:gs pos="100000">
                      <a:schemeClr val="bg1"/>
                    </a:gs>
                  </a:gsLst>
                  <a:lin ang="5400000" scaled="1"/>
                </a:gradFill>
                <a:latin typeface="Segoe Sans Display Semibold" pitchFamily="2" charset="0"/>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b="1" i="0">
                <a:gradFill>
                  <a:gsLst>
                    <a:gs pos="0">
                      <a:schemeClr val="bg1"/>
                    </a:gs>
                    <a:gs pos="100000">
                      <a:schemeClr val="bg1"/>
                    </a:gs>
                  </a:gsLst>
                  <a:lin ang="5400000" scaled="1"/>
                </a:gradFill>
                <a:latin typeface="Segoe Sans Display Semibold" pitchFamily="2" charset="0"/>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b="1" i="0">
                <a:gradFill>
                  <a:gsLst>
                    <a:gs pos="0">
                      <a:schemeClr val="bg1"/>
                    </a:gs>
                    <a:gs pos="100000">
                      <a:schemeClr val="bg1"/>
                    </a:gs>
                  </a:gsLst>
                  <a:lin ang="5400000" scaled="1"/>
                </a:gradFill>
                <a:latin typeface="Segoe Sans Display Semibold" pitchFamily="2" charset="0"/>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551541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b="1" i="0">
                <a:gradFill>
                  <a:gsLst>
                    <a:gs pos="0">
                      <a:schemeClr val="bg1"/>
                    </a:gs>
                    <a:gs pos="100000">
                      <a:schemeClr val="bg1"/>
                    </a:gs>
                  </a:gsLst>
                  <a:lin ang="5400000" scaled="1"/>
                </a:gradFill>
                <a:latin typeface="Segoe Sans Display Semibold" pitchFamily="2" charset="0"/>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b="1" i="0">
                <a:gradFill>
                  <a:gsLst>
                    <a:gs pos="0">
                      <a:schemeClr val="bg1"/>
                    </a:gs>
                    <a:gs pos="100000">
                      <a:schemeClr val="bg1"/>
                    </a:gs>
                  </a:gsLst>
                  <a:lin ang="5400000" scaled="1"/>
                </a:gradFill>
                <a:latin typeface="Segoe Sans Display Semibold" pitchFamily="2" charset="0"/>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b="1" i="0">
                <a:gradFill>
                  <a:gsLst>
                    <a:gs pos="0">
                      <a:schemeClr val="bg1"/>
                    </a:gs>
                    <a:gs pos="100000">
                      <a:schemeClr val="bg1"/>
                    </a:gs>
                  </a:gsLst>
                  <a:lin ang="5400000" scaled="1"/>
                </a:gradFill>
                <a:latin typeface="Segoe Sans Display Semibold" pitchFamily="2" charset="0"/>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b="1" i="0">
                <a:gradFill>
                  <a:gsLst>
                    <a:gs pos="0">
                      <a:schemeClr val="bg1"/>
                    </a:gs>
                    <a:gs pos="100000">
                      <a:schemeClr val="bg1"/>
                    </a:gs>
                  </a:gsLst>
                  <a:lin ang="5400000" scaled="1"/>
                </a:gradFill>
                <a:latin typeface="Segoe Sans Display Semibold" pitchFamily="2" charset="0"/>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b="1" i="0">
                <a:gradFill>
                  <a:gsLst>
                    <a:gs pos="0">
                      <a:schemeClr val="bg1"/>
                    </a:gs>
                    <a:gs pos="100000">
                      <a:schemeClr val="bg1"/>
                    </a:gs>
                  </a:gsLst>
                  <a:lin ang="5400000" scaled="1"/>
                </a:gradFill>
                <a:latin typeface="Segoe Sans Display Semibold" pitchFamily="2" charset="0"/>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000253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13037650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b="1" i="0" spc="0">
                <a:latin typeface="Segoe Sans Display Semibold" pitchFamily="2" charset="0"/>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14569652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338554"/>
          </a:xfrm>
        </p:spPr>
        <p:txBody>
          <a:bodyPr/>
          <a:lstStyle>
            <a:lvl1pPr marL="0" indent="0">
              <a:buNone/>
              <a:defRPr sz="2200" b="0" i="0">
                <a:latin typeface="Segoe Sans Display" pitchFamily="2"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0" i="0">
                <a:solidFill>
                  <a:srgbClr val="000000"/>
                </a:solidFill>
                <a:latin typeface="Segoe Sans Display" pitchFamily="2" charset="0"/>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b="0" i="0">
                <a:solidFill>
                  <a:srgbClr val="A3A3A3"/>
                </a:solidFill>
                <a:latin typeface="Segoe Sans Display" pitchFamily="2" charset="0"/>
              </a:rPr>
              <a:t>ELT layout</a:t>
            </a:r>
          </a:p>
        </p:txBody>
      </p:sp>
    </p:spTree>
    <p:extLst>
      <p:ext uri="{BB962C8B-B14F-4D97-AF65-F5344CB8AC3E}">
        <p14:creationId xmlns:p14="http://schemas.microsoft.com/office/powerpoint/2010/main" val="32721293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0" i="0">
                <a:solidFill>
                  <a:srgbClr val="000000"/>
                </a:solidFill>
                <a:latin typeface="Segoe Sans Display" pitchFamily="2" charset="0"/>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b="0" i="0">
                <a:solidFill>
                  <a:srgbClr val="A3A3A3"/>
                </a:solidFill>
                <a:latin typeface="Segoe Sans Display" pitchFamily="2" charset="0"/>
              </a:rPr>
              <a:t>ELT layout</a:t>
            </a:r>
          </a:p>
        </p:txBody>
      </p:sp>
    </p:spTree>
    <p:extLst>
      <p:ext uri="{BB962C8B-B14F-4D97-AF65-F5344CB8AC3E}">
        <p14:creationId xmlns:p14="http://schemas.microsoft.com/office/powerpoint/2010/main" val="57969491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0" i="0">
                <a:solidFill>
                  <a:srgbClr val="000000"/>
                </a:solidFill>
                <a:latin typeface="Segoe Sans Display" pitchFamily="2" charset="0"/>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b="0" i="0">
                <a:solidFill>
                  <a:srgbClr val="A3A3A3"/>
                </a:solidFill>
                <a:latin typeface="Segoe Sans Display" pitchFamily="2" charset="0"/>
              </a:rPr>
              <a:t>ELT layout</a:t>
            </a:r>
          </a:p>
        </p:txBody>
      </p:sp>
    </p:spTree>
    <p:extLst>
      <p:ext uri="{BB962C8B-B14F-4D97-AF65-F5344CB8AC3E}">
        <p14:creationId xmlns:p14="http://schemas.microsoft.com/office/powerpoint/2010/main" val="385215645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b="0" i="0">
                <a:solidFill>
                  <a:srgbClr val="A3A3A3"/>
                </a:solidFill>
                <a:latin typeface="Segoe Sans Display" pitchFamily="2" charset="0"/>
              </a:rPr>
              <a:t>ELT layout</a:t>
            </a:r>
          </a:p>
        </p:txBody>
      </p:sp>
    </p:spTree>
    <p:extLst>
      <p:ext uri="{BB962C8B-B14F-4D97-AF65-F5344CB8AC3E}">
        <p14:creationId xmlns:p14="http://schemas.microsoft.com/office/powerpoint/2010/main" val="3537383217"/>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b="0" i="0">
                <a:solidFill>
                  <a:srgbClr val="A3A3A3"/>
                </a:solidFill>
                <a:latin typeface="Segoe Sans Display" pitchFamily="2" charset="0"/>
              </a:rPr>
              <a:t>ELT layout</a:t>
            </a:r>
          </a:p>
        </p:txBody>
      </p:sp>
    </p:spTree>
    <p:extLst>
      <p:ext uri="{BB962C8B-B14F-4D97-AF65-F5344CB8AC3E}">
        <p14:creationId xmlns:p14="http://schemas.microsoft.com/office/powerpoint/2010/main" val="323079185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b="0" i="0">
                <a:solidFill>
                  <a:srgbClr val="A3A3A3"/>
                </a:solidFill>
                <a:latin typeface="Segoe Sans Display" pitchFamily="2" charset="0"/>
              </a:rPr>
              <a:t>ELT layout</a:t>
            </a:r>
          </a:p>
        </p:txBody>
      </p:sp>
    </p:spTree>
    <p:extLst>
      <p:ext uri="{BB962C8B-B14F-4D97-AF65-F5344CB8AC3E}">
        <p14:creationId xmlns:p14="http://schemas.microsoft.com/office/powerpoint/2010/main" val="253728327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489639"/>
          </a:xfrm>
        </p:spPr>
        <p:txBody>
          <a:bodyPr/>
          <a:lstStyle>
            <a:lvl1pPr>
              <a:defRPr sz="20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Tree>
    <p:extLst>
      <p:ext uri="{BB962C8B-B14F-4D97-AF65-F5344CB8AC3E}">
        <p14:creationId xmlns:p14="http://schemas.microsoft.com/office/powerpoint/2010/main" val="342853059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b="1" i="0">
                <a:latin typeface="Segoe Sans Display Semibold" pitchFamily="2" charset="0"/>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b="1" i="0">
                <a:latin typeface="Segoe Sans Display Semibold" pitchFamily="2" charset="0"/>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b="0" i="0">
                <a:solidFill>
                  <a:srgbClr val="A3A3A3"/>
                </a:solidFill>
                <a:latin typeface="Segoe Sans Display" pitchFamily="2" charset="0"/>
              </a:rPr>
              <a:t>ELT layout</a:t>
            </a:r>
          </a:p>
        </p:txBody>
      </p:sp>
    </p:spTree>
    <p:extLst>
      <p:ext uri="{BB962C8B-B14F-4D97-AF65-F5344CB8AC3E}">
        <p14:creationId xmlns:p14="http://schemas.microsoft.com/office/powerpoint/2010/main" val="268849286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276999"/>
          </a:xfrm>
        </p:spPr>
        <p:txBody>
          <a:bodyPr/>
          <a:lstStyle>
            <a:lvl1pPr marL="0" indent="0" algn="l">
              <a:spcBef>
                <a:spcPts val="0"/>
              </a:spcBef>
              <a:buNone/>
              <a:defRPr sz="1800" b="1" i="0">
                <a:latin typeface="Segoe Sans Display Semibold" pitchFamily="2" charset="0"/>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0" i="0">
                <a:solidFill>
                  <a:srgbClr val="000000"/>
                </a:solidFill>
                <a:latin typeface="Segoe Sans Display" pitchFamily="2" charset="0"/>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276999"/>
          </a:xfrm>
        </p:spPr>
        <p:txBody>
          <a:bodyPr/>
          <a:lstStyle>
            <a:lvl1pPr marL="0" indent="0" algn="l">
              <a:spcBef>
                <a:spcPts val="0"/>
              </a:spcBef>
              <a:buNone/>
              <a:defRPr sz="1800" b="1" i="0">
                <a:latin typeface="Segoe Sans Display Semibold" pitchFamily="2" charset="0"/>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0" i="0">
                <a:solidFill>
                  <a:srgbClr val="000000"/>
                </a:solidFill>
                <a:latin typeface="Segoe Sans Display" pitchFamily="2" charset="0"/>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276999"/>
          </a:xfrm>
        </p:spPr>
        <p:txBody>
          <a:bodyPr/>
          <a:lstStyle>
            <a:lvl1pPr marL="0" indent="0" algn="l">
              <a:spcBef>
                <a:spcPts val="0"/>
              </a:spcBef>
              <a:buNone/>
              <a:defRPr sz="1800" b="1" i="0">
                <a:latin typeface="Segoe Sans Display Semibold" pitchFamily="2" charset="0"/>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0" i="0">
                <a:solidFill>
                  <a:srgbClr val="000000"/>
                </a:solidFill>
                <a:latin typeface="Segoe Sans Display" pitchFamily="2" charset="0"/>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b="0" i="0">
                <a:solidFill>
                  <a:srgbClr val="A3A3A3"/>
                </a:solidFill>
                <a:latin typeface="Segoe Sans Display" pitchFamily="2" charset="0"/>
              </a:rPr>
              <a:t>ELT layout</a:t>
            </a:r>
          </a:p>
        </p:txBody>
      </p:sp>
    </p:spTree>
    <p:extLst>
      <p:ext uri="{BB962C8B-B14F-4D97-AF65-F5344CB8AC3E}">
        <p14:creationId xmlns:p14="http://schemas.microsoft.com/office/powerpoint/2010/main" val="16321598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8"/>
          </a:xfrm>
        </p:spPr>
        <p:txBody>
          <a:bodyPr/>
          <a:lstStyle>
            <a:lvl1pPr marL="0" indent="0" algn="l">
              <a:spcBef>
                <a:spcPts val="0"/>
              </a:spcBef>
              <a:buNone/>
              <a:defRPr sz="1800" b="1" i="0">
                <a:latin typeface="Segoe Sans Display Semibold" pitchFamily="2" charset="0"/>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0" i="0">
                <a:solidFill>
                  <a:srgbClr val="000000"/>
                </a:solidFill>
                <a:latin typeface="Segoe Sans Display" pitchFamily="2" charset="0"/>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8"/>
          </a:xfrm>
        </p:spPr>
        <p:txBody>
          <a:bodyPr/>
          <a:lstStyle>
            <a:lvl1pPr marL="0" indent="0" algn="l">
              <a:spcBef>
                <a:spcPts val="0"/>
              </a:spcBef>
              <a:buNone/>
              <a:defRPr sz="1800" b="1" i="0">
                <a:latin typeface="Segoe Sans Display Semibold" pitchFamily="2" charset="0"/>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0" i="0">
                <a:solidFill>
                  <a:srgbClr val="000000"/>
                </a:solidFill>
                <a:latin typeface="Segoe Sans Display" pitchFamily="2" charset="0"/>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8"/>
          </a:xfrm>
        </p:spPr>
        <p:txBody>
          <a:bodyPr/>
          <a:lstStyle>
            <a:lvl1pPr marL="0" indent="0" algn="l">
              <a:spcBef>
                <a:spcPts val="0"/>
              </a:spcBef>
              <a:buNone/>
              <a:defRPr sz="1800" b="1" i="0">
                <a:latin typeface="Segoe Sans Display Semibold" pitchFamily="2" charset="0"/>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0" i="0">
                <a:solidFill>
                  <a:srgbClr val="000000"/>
                </a:solidFill>
                <a:latin typeface="Segoe Sans Display" pitchFamily="2" charset="0"/>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8"/>
          </a:xfrm>
        </p:spPr>
        <p:txBody>
          <a:bodyPr/>
          <a:lstStyle>
            <a:lvl1pPr marL="0" indent="0" algn="l">
              <a:spcBef>
                <a:spcPts val="0"/>
              </a:spcBef>
              <a:buNone/>
              <a:defRPr sz="1800" b="1" i="0">
                <a:latin typeface="Segoe Sans Display Semibold" pitchFamily="2" charset="0"/>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0" i="0">
                <a:solidFill>
                  <a:srgbClr val="000000"/>
                </a:solidFill>
                <a:latin typeface="Segoe Sans Display" pitchFamily="2" charset="0"/>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b="0" i="0">
                <a:solidFill>
                  <a:srgbClr val="A3A3A3"/>
                </a:solidFill>
                <a:latin typeface="Segoe Sans Display" pitchFamily="2" charset="0"/>
              </a:rPr>
              <a:t>ELT layout</a:t>
            </a:r>
          </a:p>
        </p:txBody>
      </p:sp>
    </p:spTree>
    <p:extLst>
      <p:ext uri="{BB962C8B-B14F-4D97-AF65-F5344CB8AC3E}">
        <p14:creationId xmlns:p14="http://schemas.microsoft.com/office/powerpoint/2010/main" val="156956248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276999"/>
          </a:xfrm>
        </p:spPr>
        <p:txBody>
          <a:bodyPr/>
          <a:lstStyle>
            <a:lvl1pPr marL="0" indent="0" algn="ctr">
              <a:spcBef>
                <a:spcPts val="0"/>
              </a:spcBef>
              <a:buNone/>
              <a:defRPr sz="1800" b="1" i="0">
                <a:latin typeface="Segoe Sans Display Semibold" pitchFamily="2" charset="0"/>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0" i="0">
                <a:solidFill>
                  <a:srgbClr val="000000"/>
                </a:solidFill>
                <a:latin typeface="Segoe Sans Display" pitchFamily="2" charset="0"/>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276999"/>
          </a:xfrm>
        </p:spPr>
        <p:txBody>
          <a:bodyPr/>
          <a:lstStyle>
            <a:lvl1pPr marL="0" indent="0" algn="ctr">
              <a:spcBef>
                <a:spcPts val="0"/>
              </a:spcBef>
              <a:buNone/>
              <a:defRPr sz="1800" b="1" i="0">
                <a:latin typeface="Segoe Sans Display Semibold" pitchFamily="2" charset="0"/>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0" i="0">
                <a:solidFill>
                  <a:srgbClr val="000000"/>
                </a:solidFill>
                <a:latin typeface="Segoe Sans Display" pitchFamily="2" charset="0"/>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b="0" i="0">
                <a:solidFill>
                  <a:srgbClr val="A3A3A3"/>
                </a:solidFill>
                <a:latin typeface="Segoe Sans Display" pitchFamily="2" charset="0"/>
              </a:rPr>
              <a:t>ELT layout</a:t>
            </a:r>
          </a:p>
        </p:txBody>
      </p:sp>
    </p:spTree>
    <p:extLst>
      <p:ext uri="{BB962C8B-B14F-4D97-AF65-F5344CB8AC3E}">
        <p14:creationId xmlns:p14="http://schemas.microsoft.com/office/powerpoint/2010/main" val="10469008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553998"/>
          </a:xfrm>
        </p:spPr>
        <p:txBody>
          <a:bodyPr/>
          <a:lstStyle>
            <a:lvl1pPr marL="0" indent="0" algn="ctr">
              <a:spcBef>
                <a:spcPts val="0"/>
              </a:spcBef>
              <a:buNone/>
              <a:defRPr sz="1800" b="1" i="0">
                <a:latin typeface="Segoe Sans Display Semibold" pitchFamily="2" charset="0"/>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0" i="0">
                <a:solidFill>
                  <a:srgbClr val="000000"/>
                </a:solidFill>
                <a:latin typeface="Segoe Sans Display" pitchFamily="2" charset="0"/>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553998"/>
          </a:xfrm>
        </p:spPr>
        <p:txBody>
          <a:bodyPr/>
          <a:lstStyle>
            <a:lvl1pPr marL="0" indent="0" algn="ctr">
              <a:spcBef>
                <a:spcPts val="0"/>
              </a:spcBef>
              <a:buNone/>
              <a:defRPr sz="1800" b="1" i="0">
                <a:latin typeface="Segoe Sans Display Semibold" pitchFamily="2" charset="0"/>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0" i="0">
                <a:solidFill>
                  <a:srgbClr val="000000"/>
                </a:solidFill>
                <a:latin typeface="Segoe Sans Display" pitchFamily="2" charset="0"/>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553998"/>
          </a:xfrm>
        </p:spPr>
        <p:txBody>
          <a:bodyPr/>
          <a:lstStyle>
            <a:lvl1pPr marL="0" indent="0" algn="ctr">
              <a:spcBef>
                <a:spcPts val="0"/>
              </a:spcBef>
              <a:buNone/>
              <a:defRPr sz="1800" b="1" i="0">
                <a:latin typeface="Segoe Sans Display Semibold" pitchFamily="2" charset="0"/>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0" i="0">
                <a:solidFill>
                  <a:srgbClr val="000000"/>
                </a:solidFill>
                <a:latin typeface="Segoe Sans Display" pitchFamily="2" charset="0"/>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b="0" i="0">
                <a:solidFill>
                  <a:srgbClr val="A3A3A3"/>
                </a:solidFill>
                <a:latin typeface="Segoe Sans Display" pitchFamily="2" charset="0"/>
              </a:rPr>
              <a:t>ELT layout</a:t>
            </a:r>
          </a:p>
        </p:txBody>
      </p:sp>
    </p:spTree>
    <p:extLst>
      <p:ext uri="{BB962C8B-B14F-4D97-AF65-F5344CB8AC3E}">
        <p14:creationId xmlns:p14="http://schemas.microsoft.com/office/powerpoint/2010/main" val="89751902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830997"/>
          </a:xfrm>
        </p:spPr>
        <p:txBody>
          <a:bodyPr/>
          <a:lstStyle>
            <a:lvl1pPr marL="0" indent="0" algn="ctr">
              <a:spcBef>
                <a:spcPts val="0"/>
              </a:spcBef>
              <a:buNone/>
              <a:defRPr sz="1800" b="1" i="0">
                <a:latin typeface="Segoe Sans Display Semibold" pitchFamily="2" charset="0"/>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0" i="0">
                <a:solidFill>
                  <a:srgbClr val="000000"/>
                </a:solidFill>
                <a:latin typeface="Segoe Sans Display" pitchFamily="2" charset="0"/>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830997"/>
          </a:xfrm>
        </p:spPr>
        <p:txBody>
          <a:bodyPr/>
          <a:lstStyle>
            <a:lvl1pPr marL="0" indent="0" algn="ctr">
              <a:spcBef>
                <a:spcPts val="0"/>
              </a:spcBef>
              <a:buNone/>
              <a:defRPr sz="1800" b="1" i="0">
                <a:latin typeface="Segoe Sans Display Semibold" pitchFamily="2" charset="0"/>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0" i="0">
                <a:solidFill>
                  <a:srgbClr val="000000"/>
                </a:solidFill>
                <a:latin typeface="Segoe Sans Display" pitchFamily="2" charset="0"/>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830997"/>
          </a:xfrm>
        </p:spPr>
        <p:txBody>
          <a:bodyPr/>
          <a:lstStyle>
            <a:lvl1pPr marL="0" indent="0" algn="ctr">
              <a:spcBef>
                <a:spcPts val="0"/>
              </a:spcBef>
              <a:buNone/>
              <a:defRPr sz="1800" b="1" i="0">
                <a:latin typeface="Segoe Sans Display Semibold" pitchFamily="2" charset="0"/>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0" i="0">
                <a:solidFill>
                  <a:srgbClr val="000000"/>
                </a:solidFill>
                <a:latin typeface="Segoe Sans Display" pitchFamily="2" charset="0"/>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830997"/>
          </a:xfrm>
        </p:spPr>
        <p:txBody>
          <a:bodyPr/>
          <a:lstStyle>
            <a:lvl1pPr marL="0" indent="0" algn="ctr">
              <a:spcBef>
                <a:spcPts val="0"/>
              </a:spcBef>
              <a:buNone/>
              <a:defRPr sz="1800" b="1" i="0">
                <a:latin typeface="Segoe Sans Display Semibold" pitchFamily="2" charset="0"/>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0" i="0">
                <a:solidFill>
                  <a:srgbClr val="000000"/>
                </a:solidFill>
                <a:latin typeface="Segoe Sans Display" pitchFamily="2" charset="0"/>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b="0" i="0">
                <a:solidFill>
                  <a:srgbClr val="A3A3A3"/>
                </a:solidFill>
                <a:latin typeface="Segoe Sans Display" pitchFamily="2" charset="0"/>
              </a:rPr>
              <a:t>ELT layout</a:t>
            </a:r>
          </a:p>
        </p:txBody>
      </p:sp>
    </p:spTree>
    <p:extLst>
      <p:ext uri="{BB962C8B-B14F-4D97-AF65-F5344CB8AC3E}">
        <p14:creationId xmlns:p14="http://schemas.microsoft.com/office/powerpoint/2010/main" val="249746036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830997"/>
          </a:xfrm>
        </p:spPr>
        <p:txBody>
          <a:bodyPr/>
          <a:lstStyle>
            <a:lvl1pPr marL="0" indent="0" algn="ctr">
              <a:spcBef>
                <a:spcPts val="0"/>
              </a:spcBef>
              <a:buNone/>
              <a:defRPr sz="1800" b="1" i="0">
                <a:latin typeface="Segoe Sans Display Semibold" pitchFamily="2" charset="0"/>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0" i="0">
                <a:solidFill>
                  <a:srgbClr val="000000"/>
                </a:solidFill>
                <a:latin typeface="Segoe Sans Display" pitchFamily="2" charset="0"/>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830997"/>
          </a:xfrm>
        </p:spPr>
        <p:txBody>
          <a:bodyPr/>
          <a:lstStyle>
            <a:lvl1pPr marL="0" indent="0" algn="ctr">
              <a:spcBef>
                <a:spcPts val="0"/>
              </a:spcBef>
              <a:buNone/>
              <a:defRPr sz="1800" b="1" i="0">
                <a:latin typeface="Segoe Sans Display Semibold" pitchFamily="2" charset="0"/>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0" i="0">
                <a:solidFill>
                  <a:srgbClr val="000000"/>
                </a:solidFill>
                <a:latin typeface="Segoe Sans Display" pitchFamily="2" charset="0"/>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830997"/>
          </a:xfrm>
        </p:spPr>
        <p:txBody>
          <a:bodyPr/>
          <a:lstStyle>
            <a:lvl1pPr marL="0" indent="0" algn="ctr">
              <a:spcBef>
                <a:spcPts val="0"/>
              </a:spcBef>
              <a:buNone/>
              <a:defRPr sz="1800" b="1" i="0">
                <a:latin typeface="Segoe Sans Display Semibold" pitchFamily="2" charset="0"/>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0" i="0">
                <a:solidFill>
                  <a:srgbClr val="000000"/>
                </a:solidFill>
                <a:latin typeface="Segoe Sans Display" pitchFamily="2" charset="0"/>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830997"/>
          </a:xfrm>
        </p:spPr>
        <p:txBody>
          <a:bodyPr/>
          <a:lstStyle>
            <a:lvl1pPr marL="0" indent="0" algn="ctr">
              <a:spcBef>
                <a:spcPts val="0"/>
              </a:spcBef>
              <a:buNone/>
              <a:defRPr sz="1800" b="1" i="0">
                <a:latin typeface="Segoe Sans Display Semibold" pitchFamily="2" charset="0"/>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0" i="0">
                <a:solidFill>
                  <a:srgbClr val="000000"/>
                </a:solidFill>
                <a:latin typeface="Segoe Sans Display" pitchFamily="2" charset="0"/>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830997"/>
          </a:xfrm>
        </p:spPr>
        <p:txBody>
          <a:bodyPr/>
          <a:lstStyle>
            <a:lvl1pPr marL="0" indent="0" algn="ctr">
              <a:spcBef>
                <a:spcPts val="0"/>
              </a:spcBef>
              <a:buNone/>
              <a:defRPr sz="1800" b="1" i="0">
                <a:latin typeface="Segoe Sans Display Semibold" pitchFamily="2" charset="0"/>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0" i="0">
                <a:solidFill>
                  <a:srgbClr val="000000"/>
                </a:solidFill>
                <a:latin typeface="Segoe Sans Display" pitchFamily="2" charset="0"/>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b="0" i="0">
                <a:solidFill>
                  <a:srgbClr val="A3A3A3"/>
                </a:solidFill>
                <a:latin typeface="Segoe Sans Display" pitchFamily="2" charset="0"/>
              </a:rPr>
              <a:t>ELT layout</a:t>
            </a:r>
          </a:p>
        </p:txBody>
      </p:sp>
    </p:spTree>
    <p:extLst>
      <p:ext uri="{BB962C8B-B14F-4D97-AF65-F5344CB8AC3E}">
        <p14:creationId xmlns:p14="http://schemas.microsoft.com/office/powerpoint/2010/main" val="29754841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0" i="0">
                <a:solidFill>
                  <a:srgbClr val="000000"/>
                </a:solidFill>
                <a:latin typeface="Segoe Sans Display" pitchFamily="2" charset="0"/>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553998"/>
          </a:xfrm>
        </p:spPr>
        <p:txBody>
          <a:bodyPr/>
          <a:lstStyle>
            <a:lvl1pPr marL="0" indent="0" algn="ctr">
              <a:spcBef>
                <a:spcPts val="0"/>
              </a:spcBef>
              <a:buNone/>
              <a:defRPr sz="1800" b="1" i="0">
                <a:latin typeface="Segoe Sans Display Semibold" pitchFamily="2" charset="0"/>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0" i="0">
                <a:solidFill>
                  <a:srgbClr val="000000"/>
                </a:solidFill>
                <a:latin typeface="Segoe Sans Display" pitchFamily="2" charset="0"/>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553998"/>
          </a:xfrm>
        </p:spPr>
        <p:txBody>
          <a:bodyPr/>
          <a:lstStyle>
            <a:lvl1pPr marL="0" indent="0" algn="ctr">
              <a:spcBef>
                <a:spcPts val="0"/>
              </a:spcBef>
              <a:buNone/>
              <a:defRPr sz="1800" b="1" i="0">
                <a:latin typeface="Segoe Sans Display Semibold" pitchFamily="2" charset="0"/>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0" i="0">
                <a:solidFill>
                  <a:srgbClr val="000000"/>
                </a:solidFill>
                <a:latin typeface="Segoe Sans Display" pitchFamily="2" charset="0"/>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553998"/>
          </a:xfrm>
        </p:spPr>
        <p:txBody>
          <a:bodyPr/>
          <a:lstStyle>
            <a:lvl1pPr marL="0" indent="0" algn="ctr">
              <a:spcBef>
                <a:spcPts val="0"/>
              </a:spcBef>
              <a:buNone/>
              <a:defRPr sz="1800" b="1" i="0">
                <a:latin typeface="Segoe Sans Display Semibold" pitchFamily="2" charset="0"/>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b="0" i="0">
                <a:solidFill>
                  <a:srgbClr val="A3A3A3"/>
                </a:solidFill>
                <a:latin typeface="Segoe Sans Display" pitchFamily="2" charset="0"/>
              </a:rPr>
              <a:t>ELT layout</a:t>
            </a:r>
          </a:p>
        </p:txBody>
      </p:sp>
    </p:spTree>
    <p:extLst>
      <p:ext uri="{BB962C8B-B14F-4D97-AF65-F5344CB8AC3E}">
        <p14:creationId xmlns:p14="http://schemas.microsoft.com/office/powerpoint/2010/main" val="395649736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0" i="0">
                <a:solidFill>
                  <a:srgbClr val="000000"/>
                </a:solidFill>
                <a:latin typeface="Segoe Sans Display" pitchFamily="2" charset="0"/>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553998"/>
          </a:xfrm>
        </p:spPr>
        <p:txBody>
          <a:bodyPr/>
          <a:lstStyle>
            <a:lvl1pPr marL="0" indent="0" algn="ctr">
              <a:spcBef>
                <a:spcPts val="0"/>
              </a:spcBef>
              <a:buNone/>
              <a:defRPr sz="1800" b="1" i="0">
                <a:latin typeface="Segoe Sans Display Semibold" pitchFamily="2" charset="0"/>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0" i="0">
                <a:solidFill>
                  <a:srgbClr val="000000"/>
                </a:solidFill>
                <a:latin typeface="Segoe Sans Display" pitchFamily="2" charset="0"/>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553998"/>
          </a:xfrm>
        </p:spPr>
        <p:txBody>
          <a:bodyPr/>
          <a:lstStyle>
            <a:lvl1pPr marL="0" indent="0" algn="ctr">
              <a:spcBef>
                <a:spcPts val="0"/>
              </a:spcBef>
              <a:buNone/>
              <a:defRPr sz="1800" b="1" i="0">
                <a:latin typeface="Segoe Sans Display Semibold" pitchFamily="2" charset="0"/>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0" i="0">
                <a:solidFill>
                  <a:srgbClr val="000000"/>
                </a:solidFill>
                <a:latin typeface="Segoe Sans Display" pitchFamily="2" charset="0"/>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553998"/>
          </a:xfrm>
        </p:spPr>
        <p:txBody>
          <a:bodyPr/>
          <a:lstStyle>
            <a:lvl1pPr marL="0" indent="0" algn="ctr">
              <a:spcBef>
                <a:spcPts val="0"/>
              </a:spcBef>
              <a:buNone/>
              <a:defRPr sz="1800" b="1" i="0">
                <a:latin typeface="Segoe Sans Display Semibold" pitchFamily="2" charset="0"/>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0" i="0">
                <a:solidFill>
                  <a:srgbClr val="000000"/>
                </a:solidFill>
                <a:latin typeface="Segoe Sans Display" pitchFamily="2" charset="0"/>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553998"/>
          </a:xfrm>
        </p:spPr>
        <p:txBody>
          <a:bodyPr/>
          <a:lstStyle>
            <a:lvl1pPr marL="0" indent="0" algn="ctr">
              <a:spcBef>
                <a:spcPts val="0"/>
              </a:spcBef>
              <a:buNone/>
              <a:defRPr sz="1800" b="1" i="0">
                <a:latin typeface="Segoe Sans Display Semibold" pitchFamily="2" charset="0"/>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b="0" i="0">
                <a:solidFill>
                  <a:srgbClr val="A3A3A3"/>
                </a:solidFill>
                <a:latin typeface="Segoe Sans Display" pitchFamily="2" charset="0"/>
              </a:rPr>
              <a:t>ELT layout</a:t>
            </a:r>
          </a:p>
        </p:txBody>
      </p:sp>
    </p:spTree>
    <p:extLst>
      <p:ext uri="{BB962C8B-B14F-4D97-AF65-F5344CB8AC3E}">
        <p14:creationId xmlns:p14="http://schemas.microsoft.com/office/powerpoint/2010/main" val="157868848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0" i="0">
                <a:solidFill>
                  <a:srgbClr val="000000"/>
                </a:solidFill>
                <a:latin typeface="Segoe Sans Display" pitchFamily="2" charset="0"/>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830997"/>
          </a:xfrm>
        </p:spPr>
        <p:txBody>
          <a:bodyPr/>
          <a:lstStyle>
            <a:lvl1pPr marL="0" indent="0" algn="ctr">
              <a:spcBef>
                <a:spcPts val="0"/>
              </a:spcBef>
              <a:buNone/>
              <a:defRPr sz="1800" b="1" i="0">
                <a:latin typeface="Segoe Sans Display Semibold" pitchFamily="2" charset="0"/>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0" i="0">
                <a:solidFill>
                  <a:srgbClr val="000000"/>
                </a:solidFill>
                <a:latin typeface="Segoe Sans Display" pitchFamily="2" charset="0"/>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830997"/>
          </a:xfrm>
        </p:spPr>
        <p:txBody>
          <a:bodyPr/>
          <a:lstStyle>
            <a:lvl1pPr marL="0" indent="0" algn="ctr">
              <a:spcBef>
                <a:spcPts val="0"/>
              </a:spcBef>
              <a:buNone/>
              <a:defRPr sz="1800" b="1" i="0">
                <a:latin typeface="Segoe Sans Display Semibold" pitchFamily="2" charset="0"/>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0" i="0">
                <a:solidFill>
                  <a:srgbClr val="000000"/>
                </a:solidFill>
                <a:latin typeface="Segoe Sans Display" pitchFamily="2" charset="0"/>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830997"/>
          </a:xfrm>
        </p:spPr>
        <p:txBody>
          <a:bodyPr/>
          <a:lstStyle>
            <a:lvl1pPr marL="0" indent="0" algn="ctr">
              <a:spcBef>
                <a:spcPts val="0"/>
              </a:spcBef>
              <a:buNone/>
              <a:defRPr sz="1800" b="1" i="0">
                <a:latin typeface="Segoe Sans Display Semibold" pitchFamily="2" charset="0"/>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0" i="0">
                <a:solidFill>
                  <a:srgbClr val="000000"/>
                </a:solidFill>
                <a:latin typeface="Segoe Sans Display" pitchFamily="2" charset="0"/>
                <a:cs typeface="Segoe Sans Display"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830997"/>
          </a:xfrm>
        </p:spPr>
        <p:txBody>
          <a:bodyPr/>
          <a:lstStyle>
            <a:lvl1pPr marL="0" indent="0" algn="ctr">
              <a:spcBef>
                <a:spcPts val="0"/>
              </a:spcBef>
              <a:buNone/>
              <a:defRPr sz="1800" b="1" i="0">
                <a:latin typeface="Segoe Sans Display Semibold" pitchFamily="2" charset="0"/>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0" i="0">
                <a:solidFill>
                  <a:srgbClr val="000000"/>
                </a:solidFill>
                <a:latin typeface="Segoe Sans Display" pitchFamily="2" charset="0"/>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830997"/>
          </a:xfrm>
        </p:spPr>
        <p:txBody>
          <a:bodyPr/>
          <a:lstStyle>
            <a:lvl1pPr marL="0" indent="0" algn="ctr">
              <a:spcBef>
                <a:spcPts val="0"/>
              </a:spcBef>
              <a:buNone/>
              <a:defRPr sz="1800" b="1" i="0">
                <a:latin typeface="Segoe Sans Display Semibold" pitchFamily="2" charset="0"/>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b="0" i="0">
                <a:solidFill>
                  <a:srgbClr val="A3A3A3"/>
                </a:solidFill>
                <a:latin typeface="Segoe Sans Display" pitchFamily="2" charset="0"/>
              </a:rPr>
              <a:t>ELT layout</a:t>
            </a:r>
          </a:p>
        </p:txBody>
      </p:sp>
    </p:spTree>
    <p:extLst>
      <p:ext uri="{BB962C8B-B14F-4D97-AF65-F5344CB8AC3E}">
        <p14:creationId xmlns:p14="http://schemas.microsoft.com/office/powerpoint/2010/main" val="321863835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307777"/>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489639"/>
          </a:xfrm>
        </p:spPr>
        <p:txBody>
          <a:bodyPr>
            <a:spAutoFit/>
          </a:bodyPr>
          <a:lstStyle>
            <a:lvl1pPr marL="171450" indent="-171450">
              <a:defRPr lang="en-US" sz="20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307777"/>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489639"/>
          </a:xfrm>
        </p:spPr>
        <p:txBody>
          <a:bodyPr>
            <a:spAutoFit/>
          </a:bodyPr>
          <a:lstStyle>
            <a:lvl1pPr marL="171450" indent="-171450">
              <a:defRPr lang="en-US" sz="20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29709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553998"/>
          </a:xfrm>
        </p:spPr>
        <p:txBody>
          <a:bodyPr anchor="t"/>
          <a:lstStyle>
            <a:lvl1pPr>
              <a:defRPr>
                <a:gradFill>
                  <a:gsLst>
                    <a:gs pos="0">
                      <a:schemeClr val="bg1"/>
                    </a:gs>
                    <a:gs pos="100000">
                      <a:schemeClr val="bg1"/>
                    </a:gs>
                  </a:gsLst>
                  <a:lin ang="5400000" scaled="1"/>
                </a:gra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b="0" i="0">
                <a:solidFill>
                  <a:srgbClr val="A3A3A3"/>
                </a:solidFill>
                <a:latin typeface="Segoe Sans Display" pitchFamily="2" charset="0"/>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89642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1" i="0" kern="1200" cap="none" spc="-50" baseline="0" dirty="0">
                <a:ln w="3175">
                  <a:noFill/>
                </a:ln>
                <a:solidFill>
                  <a:schemeClr val="tx1"/>
                </a:solidFill>
                <a:effectLst/>
                <a:latin typeface="Segoe Sans Display Semibold" pitchFamily="2" charset="0"/>
                <a:ea typeface="+mn-ea"/>
                <a:cs typeface="Segoe Sans Display" pitchFamily="2" charset="0"/>
              </a:defRPr>
            </a:lvl1pPr>
          </a:lstStyle>
          <a:p>
            <a:r>
              <a:rPr lang="en-US"/>
              <a:t>Quote text</a:t>
            </a:r>
          </a:p>
        </p:txBody>
      </p:sp>
      <p:pic>
        <p:nvPicPr>
          <p:cNvPr id="3" name="Picture 2">
            <a:extLst>
              <a:ext uri="{FF2B5EF4-FFF2-40B4-BE49-F238E27FC236}">
                <a16:creationId xmlns:a16="http://schemas.microsoft.com/office/drawing/2014/main" id="{90B593D8-57CB-C7C1-1624-2158FE2E1BB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99241" y="887946"/>
            <a:ext cx="2436641" cy="2436641"/>
          </a:xfrm>
          <a:prstGeom prst="rect">
            <a:avLst/>
          </a:prstGeom>
        </p:spPr>
      </p:pic>
      <p:sp>
        <p:nvSpPr>
          <p:cNvPr id="8" name="Text Placeholder 4">
            <a:extLst>
              <a:ext uri="{FF2B5EF4-FFF2-40B4-BE49-F238E27FC236}">
                <a16:creationId xmlns:a16="http://schemas.microsoft.com/office/drawing/2014/main" id="{82253BFE-5C87-9C68-2451-4E49B515628A}"/>
              </a:ext>
            </a:extLst>
          </p:cNvPr>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b="0" i="0" spc="0" baseline="0">
                <a:solidFill>
                  <a:schemeClr val="tx1"/>
                </a:solidFill>
                <a:latin typeface="Segoe Sans Display" pitchFamily="2" charset="0"/>
              </a:defRPr>
            </a:lvl1pPr>
          </a:lstStyle>
          <a:p>
            <a:pPr lvl="0"/>
            <a:r>
              <a:rPr lang="en-US"/>
              <a:t>Name</a:t>
            </a:r>
          </a:p>
        </p:txBody>
      </p:sp>
      <p:sp>
        <p:nvSpPr>
          <p:cNvPr id="9" name="Text Placeholder 4">
            <a:extLst>
              <a:ext uri="{FF2B5EF4-FFF2-40B4-BE49-F238E27FC236}">
                <a16:creationId xmlns:a16="http://schemas.microsoft.com/office/drawing/2014/main" id="{10EA6312-1D9B-E40A-006E-C53955783F3E}"/>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b="0" i="0" spc="0" baseline="0">
                <a:solidFill>
                  <a:schemeClr val="tx1"/>
                </a:solidFill>
                <a:latin typeface="Segoe Sans Display" pitchFamily="2" charset="0"/>
              </a:defRPr>
            </a:lvl1pPr>
          </a:lstStyle>
          <a:p>
            <a:pPr lvl="0"/>
            <a:r>
              <a:rPr lang="en-US"/>
              <a:t>Company or position</a:t>
            </a:r>
          </a:p>
        </p:txBody>
      </p:sp>
    </p:spTree>
    <p:extLst>
      <p:ext uri="{BB962C8B-B14F-4D97-AF65-F5344CB8AC3E}">
        <p14:creationId xmlns:p14="http://schemas.microsoft.com/office/powerpoint/2010/main" val="1854757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Quote yellow">
    <p:bg>
      <p:bgPr>
        <a:gradFill>
          <a:gsLst>
            <a:gs pos="0">
              <a:schemeClr val="tx1"/>
            </a:gs>
            <a:gs pos="100000">
              <a:srgbClr val="243A5E"/>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1" i="0" kern="1200" cap="none" spc="-50" baseline="0" dirty="0">
                <a:ln w="3175">
                  <a:noFill/>
                </a:ln>
                <a:solidFill>
                  <a:schemeClr val="bg1"/>
                </a:solidFill>
                <a:effectLst/>
                <a:latin typeface="Segoe Sans Display Semibold" pitchFamily="2" charset="0"/>
                <a:ea typeface="+mn-ea"/>
                <a:cs typeface="Segoe Sans Display" pitchFamily="2"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b="0" i="0" spc="0" baseline="0">
                <a:solidFill>
                  <a:schemeClr val="bg1"/>
                </a:solidFill>
                <a:latin typeface="Segoe Sans Display" pitchFamily="2" charset="0"/>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b="0" i="0" spc="0" baseline="0">
                <a:solidFill>
                  <a:schemeClr val="bg1"/>
                </a:solidFill>
                <a:latin typeface="Segoe Sans Display" pitchFamily="2" charset="0"/>
              </a:defRPr>
            </a:lvl1pPr>
          </a:lstStyle>
          <a:p>
            <a:pPr lvl="0"/>
            <a:r>
              <a:rPr lang="en-US"/>
              <a:t>Company or position</a:t>
            </a:r>
          </a:p>
        </p:txBody>
      </p:sp>
      <p:pic>
        <p:nvPicPr>
          <p:cNvPr id="6" name="Picture 5">
            <a:extLst>
              <a:ext uri="{FF2B5EF4-FFF2-40B4-BE49-F238E27FC236}">
                <a16:creationId xmlns:a16="http://schemas.microsoft.com/office/drawing/2014/main" id="{800AFF50-469D-1485-4D2A-CC0B5BD9ADA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99241" y="887946"/>
            <a:ext cx="2436641" cy="2436641"/>
          </a:xfrm>
          <a:prstGeom prst="rect">
            <a:avLst/>
          </a:prstGeom>
        </p:spPr>
      </p:pic>
    </p:spTree>
    <p:extLst>
      <p:ext uri="{BB962C8B-B14F-4D97-AF65-F5344CB8AC3E}">
        <p14:creationId xmlns:p14="http://schemas.microsoft.com/office/powerpoint/2010/main" val="37030927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1" i="0" kern="1200" cap="none" spc="-50" baseline="0" dirty="0">
                <a:ln w="3175">
                  <a:noFill/>
                </a:ln>
                <a:solidFill>
                  <a:schemeClr val="tx1"/>
                </a:solidFill>
                <a:effectLst/>
                <a:latin typeface="Segoe Sans Display Semibold" pitchFamily="2" charset="0"/>
                <a:ea typeface="+mn-ea"/>
                <a:cs typeface="Segoe Sans Display" pitchFamily="2"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b="0" i="0" spc="0" baseline="0">
                <a:solidFill>
                  <a:schemeClr val="tx1"/>
                </a:solidFill>
                <a:latin typeface="Segoe Sans Display" pitchFamily="2" charset="0"/>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b="0" i="0" spc="0" baseline="0">
                <a:solidFill>
                  <a:schemeClr val="tx1"/>
                </a:solidFill>
                <a:latin typeface="Segoe Sans Display" pitchFamily="2" charset="0"/>
              </a:defRPr>
            </a:lvl1pPr>
          </a:lstStyle>
          <a:p>
            <a:pPr lvl="0"/>
            <a:r>
              <a:rPr lang="en-US"/>
              <a:t>Company or position</a:t>
            </a:r>
          </a:p>
        </p:txBody>
      </p:sp>
      <p:pic>
        <p:nvPicPr>
          <p:cNvPr id="3" name="Picture 2">
            <a:extLst>
              <a:ext uri="{FF2B5EF4-FFF2-40B4-BE49-F238E27FC236}">
                <a16:creationId xmlns:a16="http://schemas.microsoft.com/office/drawing/2014/main" id="{D91F024A-4B1A-0F84-369B-B5FCAE8151E3}"/>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99241" y="887946"/>
            <a:ext cx="2436641" cy="2436641"/>
          </a:xfrm>
          <a:prstGeom prst="rect">
            <a:avLst/>
          </a:prstGeom>
        </p:spPr>
      </p:pic>
    </p:spTree>
    <p:extLst>
      <p:ext uri="{BB962C8B-B14F-4D97-AF65-F5344CB8AC3E}">
        <p14:creationId xmlns:p14="http://schemas.microsoft.com/office/powerpoint/2010/main" val="3390446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i="0" kern="1200" cap="none" spc="-50" baseline="0" dirty="0">
                <a:ln w="3175">
                  <a:noFill/>
                </a:ln>
                <a:solidFill>
                  <a:schemeClr val="tx1"/>
                </a:solidFill>
                <a:effectLst/>
                <a:latin typeface="Segoe Sans Display Semibold" pitchFamily="2" charset="0"/>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b="0" i="0" spc="0" baseline="0">
                <a:solidFill>
                  <a:schemeClr val="tx1"/>
                </a:solidFill>
                <a:latin typeface="Segoe Sans Display" pitchFamily="2" charset="0"/>
              </a:defRPr>
            </a:lvl1pPr>
          </a:lstStyle>
          <a:p>
            <a:pPr lvl="0"/>
            <a:r>
              <a:rPr lang="en-US"/>
              <a:t>Speaker name</a:t>
            </a:r>
          </a:p>
        </p:txBody>
      </p:sp>
    </p:spTree>
    <p:extLst>
      <p:ext uri="{BB962C8B-B14F-4D97-AF65-F5344CB8AC3E}">
        <p14:creationId xmlns:p14="http://schemas.microsoft.com/office/powerpoint/2010/main" val="8713390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i="0" kern="1200" cap="none" spc="-50" baseline="0" dirty="0">
                <a:ln w="3175">
                  <a:noFill/>
                </a:ln>
                <a:solidFill>
                  <a:schemeClr val="tx1"/>
                </a:solidFill>
                <a:effectLst/>
                <a:latin typeface="Segoe Sans Display Semibold" pitchFamily="2" charset="0"/>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b="0" i="0" spc="0" baseline="0">
                <a:solidFill>
                  <a:schemeClr val="tx1"/>
                </a:solidFill>
                <a:latin typeface="Segoe Sans Display" pitchFamily="2" charset="0"/>
              </a:defRPr>
            </a:lvl1pPr>
          </a:lstStyle>
          <a:p>
            <a:pPr lvl="0"/>
            <a:r>
              <a:rPr lang="en-US"/>
              <a:t>Speaker name</a:t>
            </a:r>
          </a:p>
        </p:txBody>
      </p:sp>
    </p:spTree>
    <p:extLst>
      <p:ext uri="{BB962C8B-B14F-4D97-AF65-F5344CB8AC3E}">
        <p14:creationId xmlns:p14="http://schemas.microsoft.com/office/powerpoint/2010/main" val="3492905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i="0" kern="1200" cap="none" spc="-50" baseline="0" dirty="0">
                <a:ln w="3175">
                  <a:noFill/>
                </a:ln>
                <a:solidFill>
                  <a:schemeClr val="tx1"/>
                </a:solidFill>
                <a:effectLst/>
                <a:latin typeface="Segoe Sans Display Semibold" pitchFamily="2" charset="0"/>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b="0" i="0" spc="0" baseline="0">
                <a:solidFill>
                  <a:schemeClr val="tx1"/>
                </a:solidFill>
                <a:latin typeface="Segoe Sans Display" pitchFamily="2" charset="0"/>
              </a:defRPr>
            </a:lvl1pPr>
          </a:lstStyle>
          <a:p>
            <a:pPr lvl="0"/>
            <a:r>
              <a:rPr lang="en-US"/>
              <a:t>Speaker name</a:t>
            </a:r>
          </a:p>
        </p:txBody>
      </p:sp>
    </p:spTree>
    <p:extLst>
      <p:ext uri="{BB962C8B-B14F-4D97-AF65-F5344CB8AC3E}">
        <p14:creationId xmlns:p14="http://schemas.microsoft.com/office/powerpoint/2010/main" val="200688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Demo slide Dk Blue">
    <p:bg>
      <p:bgPr>
        <a:gradFill>
          <a:gsLst>
            <a:gs pos="0">
              <a:schemeClr val="bg1"/>
            </a:gs>
            <a:gs pos="100000">
              <a:srgbClr val="243A5E"/>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i="0" kern="1200" cap="none" spc="-50" baseline="0" dirty="0">
                <a:ln w="3175">
                  <a:noFill/>
                </a:ln>
                <a:solidFill>
                  <a:schemeClr val="tx1"/>
                </a:solidFill>
                <a:effectLst/>
                <a:latin typeface="Segoe Sans Display Semibold" pitchFamily="2" charset="0"/>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b="0" i="0" spc="0" baseline="0">
                <a:solidFill>
                  <a:schemeClr val="tx1"/>
                </a:solidFill>
                <a:latin typeface="Segoe Sans Display" pitchFamily="2" charset="0"/>
              </a:defRPr>
            </a:lvl1pPr>
          </a:lstStyle>
          <a:p>
            <a:pPr lvl="0"/>
            <a:r>
              <a:rPr lang="en-US"/>
              <a:t>Speaker name</a:t>
            </a:r>
          </a:p>
        </p:txBody>
      </p:sp>
    </p:spTree>
    <p:extLst>
      <p:ext uri="{BB962C8B-B14F-4D97-AF65-F5344CB8AC3E}">
        <p14:creationId xmlns:p14="http://schemas.microsoft.com/office/powerpoint/2010/main" val="25512837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2_Demo slid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i="0" kern="1200" cap="none" spc="-50" baseline="0" dirty="0">
                <a:ln w="3175">
                  <a:noFill/>
                </a:ln>
                <a:solidFill>
                  <a:schemeClr val="tx1"/>
                </a:solidFill>
                <a:effectLst/>
                <a:latin typeface="Segoe Sans Display Semibold" pitchFamily="2" charset="0"/>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b="0" i="0" spc="0" baseline="0">
                <a:solidFill>
                  <a:schemeClr val="tx1"/>
                </a:solidFill>
                <a:latin typeface="Segoe Sans Display" pitchFamily="2" charset="0"/>
              </a:defRPr>
            </a:lvl1pPr>
          </a:lstStyle>
          <a:p>
            <a:pPr lvl="0"/>
            <a:r>
              <a:rPr lang="en-US"/>
              <a:t>Speaker name</a:t>
            </a:r>
          </a:p>
        </p:txBody>
      </p:sp>
    </p:spTree>
    <p:extLst>
      <p:ext uri="{BB962C8B-B14F-4D97-AF65-F5344CB8AC3E}">
        <p14:creationId xmlns:p14="http://schemas.microsoft.com/office/powerpoint/2010/main" val="10590191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i="0" kern="1200" cap="none" spc="-50" baseline="0" dirty="0">
                <a:ln w="3175">
                  <a:noFill/>
                </a:ln>
                <a:solidFill>
                  <a:schemeClr val="tx1"/>
                </a:solidFill>
                <a:effectLst/>
                <a:latin typeface="Segoe Sans Display Semibold" pitchFamily="2" charset="0"/>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39670295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1734030"/>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i="0" kern="1200" cap="none" spc="-50" baseline="0" dirty="0">
                <a:ln w="3175">
                  <a:noFill/>
                </a:ln>
                <a:solidFill>
                  <a:schemeClr val="tx1"/>
                </a:solidFill>
                <a:effectLst/>
                <a:latin typeface="Segoe Sans Display Semibold" pitchFamily="2" charset="0"/>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39681941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i="0" kern="1200" cap="none" spc="-50" baseline="0" dirty="0">
                <a:ln w="3175">
                  <a:noFill/>
                </a:ln>
                <a:solidFill>
                  <a:schemeClr val="bg1"/>
                </a:solidFill>
                <a:effectLst/>
                <a:latin typeface="Segoe Sans Display Semibold" pitchFamily="2" charset="0"/>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30986941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1_Section Title DkBlue">
    <p:bg>
      <p:bgPr>
        <a:gradFill>
          <a:gsLst>
            <a:gs pos="0">
              <a:schemeClr val="tx1"/>
            </a:gs>
            <a:gs pos="100000">
              <a:srgbClr val="243A5E"/>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i="0" kern="1200" cap="none" spc="-50" baseline="0" dirty="0">
                <a:ln w="3175">
                  <a:noFill/>
                </a:ln>
                <a:solidFill>
                  <a:schemeClr val="bg1"/>
                </a:solidFill>
                <a:effectLst/>
                <a:latin typeface="Segoe Sans Display Semibold" pitchFamily="2" charset="0"/>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40477357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2_Section Titl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i="0" kern="1200" cap="none" spc="-50" baseline="0" dirty="0">
                <a:ln w="3175">
                  <a:noFill/>
                </a:ln>
                <a:solidFill>
                  <a:schemeClr val="bg1"/>
                </a:solidFill>
                <a:effectLst/>
                <a:latin typeface="Segoe Sans Display Semibold" pitchFamily="2" charset="0"/>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2393458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55FD8CE-1D3D-26CB-8A7A-78E0A4715F89}"/>
              </a:ext>
            </a:extLst>
          </p:cNvPr>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i="0" kern="1200" cap="none" spc="-50" baseline="0" dirty="0">
                <a:ln w="3175">
                  <a:noFill/>
                </a:ln>
                <a:gradFill>
                  <a:gsLst>
                    <a:gs pos="0">
                      <a:schemeClr val="bg1"/>
                    </a:gs>
                    <a:gs pos="100000">
                      <a:schemeClr val="bg1"/>
                    </a:gs>
                  </a:gsLst>
                  <a:lin ang="5400000" scaled="1"/>
                </a:gradFill>
                <a:effectLst/>
                <a:latin typeface="Segoe Sans Display Semibold" pitchFamily="2" charset="0"/>
                <a:ea typeface="+mn-ea"/>
                <a:cs typeface="Segoe Sans Display" pitchFamily="2" charset="0"/>
              </a:defRPr>
            </a:lvl1pPr>
          </a:lstStyle>
          <a:p>
            <a:r>
              <a:rPr lang="en-US"/>
              <a:t>Section title</a:t>
            </a:r>
          </a:p>
        </p:txBody>
      </p:sp>
      <p:grpSp>
        <p:nvGrpSpPr>
          <p:cNvPr id="2" name="Group 1">
            <a:extLst>
              <a:ext uri="{FF2B5EF4-FFF2-40B4-BE49-F238E27FC236}">
                <a16:creationId xmlns:a16="http://schemas.microsoft.com/office/drawing/2014/main" id="{3D59F9E4-6D6E-F62A-C31A-D07BF6B7BD4A}"/>
              </a:ext>
            </a:extLst>
          </p:cNvPr>
          <p:cNvGrpSpPr/>
          <p:nvPr userDrawn="1"/>
        </p:nvGrpSpPr>
        <p:grpSpPr>
          <a:xfrm>
            <a:off x="3238768" y="0"/>
            <a:ext cx="10616911" cy="6858000"/>
            <a:chOff x="3238768" y="0"/>
            <a:chExt cx="10616911" cy="6858000"/>
          </a:xfrm>
        </p:grpSpPr>
        <p:sp>
          <p:nvSpPr>
            <p:cNvPr id="3" name="Freeform: Shape 2">
              <a:extLst>
                <a:ext uri="{FF2B5EF4-FFF2-40B4-BE49-F238E27FC236}">
                  <a16:creationId xmlns:a16="http://schemas.microsoft.com/office/drawing/2014/main" id="{821A41AD-DF6E-2B24-FB58-A3D3AD8C56B2}"/>
                </a:ext>
              </a:extLst>
            </p:cNvPr>
            <p:cNvSpPr/>
            <p:nvPr/>
          </p:nvSpPr>
          <p:spPr>
            <a:xfrm rot="18900000">
              <a:off x="3238768" y="3018520"/>
              <a:ext cx="10388708" cy="1137054"/>
            </a:xfrm>
            <a:custGeom>
              <a:avLst/>
              <a:gdLst>
                <a:gd name="connsiteX0" fmla="*/ 9698677 w 10388708"/>
                <a:gd name="connsiteY0" fmla="*/ 0 h 1137054"/>
                <a:gd name="connsiteX1" fmla="*/ 10388708 w 10388708"/>
                <a:gd name="connsiteY1" fmla="*/ 690031 h 1137054"/>
                <a:gd name="connsiteX2" fmla="*/ 9941684 w 10388708"/>
                <a:gd name="connsiteY2" fmla="*/ 1137054 h 1137054"/>
                <a:gd name="connsiteX3" fmla="*/ 1137055 w 10388708"/>
                <a:gd name="connsiteY3" fmla="*/ 1137054 h 1137054"/>
                <a:gd name="connsiteX4" fmla="*/ 0 w 10388708"/>
                <a:gd name="connsiteY4" fmla="*/ 0 h 1137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708" h="1137054">
                  <a:moveTo>
                    <a:pt x="9698677" y="0"/>
                  </a:moveTo>
                  <a:lnTo>
                    <a:pt x="10388708" y="690031"/>
                  </a:lnTo>
                  <a:lnTo>
                    <a:pt x="9941684" y="1137054"/>
                  </a:lnTo>
                  <a:lnTo>
                    <a:pt x="1137055" y="1137054"/>
                  </a:lnTo>
                  <a:lnTo>
                    <a:pt x="0" y="0"/>
                  </a:lnTo>
                  <a:close/>
                </a:path>
              </a:pathLst>
            </a:custGeom>
            <a:solidFill>
              <a:schemeClr val="bg2"/>
            </a:solidFill>
            <a:ln>
              <a:solidFill>
                <a:schemeClr val="tx1">
                  <a:alpha val="25000"/>
                </a:schemeClr>
              </a:solidFill>
              <a:headEnd type="none" w="med" len="med"/>
              <a:tailEnd type="none" w="med" len="med"/>
            </a:ln>
            <a:effectLst>
              <a:innerShdw blurRad="63500" dist="50800" dir="13500000">
                <a:prstClr val="black">
                  <a:alpha val="35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5" name="Freeform: Shape 4">
              <a:extLst>
                <a:ext uri="{FF2B5EF4-FFF2-40B4-BE49-F238E27FC236}">
                  <a16:creationId xmlns:a16="http://schemas.microsoft.com/office/drawing/2014/main" id="{601791D4-8BBE-BD12-E9DB-7D57498795AC}"/>
                </a:ext>
              </a:extLst>
            </p:cNvPr>
            <p:cNvSpPr/>
            <p:nvPr/>
          </p:nvSpPr>
          <p:spPr>
            <a:xfrm rot="18900000">
              <a:off x="5240472" y="3645545"/>
              <a:ext cx="8615207" cy="1137055"/>
            </a:xfrm>
            <a:custGeom>
              <a:avLst/>
              <a:gdLst>
                <a:gd name="connsiteX0" fmla="*/ 8615207 w 8615207"/>
                <a:gd name="connsiteY0" fmla="*/ 0 h 1137055"/>
                <a:gd name="connsiteX1" fmla="*/ 7478152 w 8615207"/>
                <a:gd name="connsiteY1" fmla="*/ 1137055 h 1137055"/>
                <a:gd name="connsiteX2" fmla="*/ 1137055 w 8615207"/>
                <a:gd name="connsiteY2" fmla="*/ 1137055 h 1137055"/>
                <a:gd name="connsiteX3" fmla="*/ 0 w 8615207"/>
                <a:gd name="connsiteY3" fmla="*/ 0 h 1137055"/>
              </a:gdLst>
              <a:ahLst/>
              <a:cxnLst>
                <a:cxn ang="0">
                  <a:pos x="connsiteX0" y="connsiteY0"/>
                </a:cxn>
                <a:cxn ang="0">
                  <a:pos x="connsiteX1" y="connsiteY1"/>
                </a:cxn>
                <a:cxn ang="0">
                  <a:pos x="connsiteX2" y="connsiteY2"/>
                </a:cxn>
                <a:cxn ang="0">
                  <a:pos x="connsiteX3" y="connsiteY3"/>
                </a:cxn>
              </a:cxnLst>
              <a:rect l="l" t="t" r="r" b="b"/>
              <a:pathLst>
                <a:path w="8615207" h="1137055">
                  <a:moveTo>
                    <a:pt x="8615207" y="0"/>
                  </a:moveTo>
                  <a:lnTo>
                    <a:pt x="7478152" y="1137055"/>
                  </a:lnTo>
                  <a:lnTo>
                    <a:pt x="1137055" y="1137055"/>
                  </a:lnTo>
                  <a:lnTo>
                    <a:pt x="0" y="0"/>
                  </a:lnTo>
                  <a:close/>
                </a:path>
              </a:pathLst>
            </a:custGeom>
            <a:solidFill>
              <a:schemeClr val="bg1"/>
            </a:solidFill>
            <a:ln>
              <a:solidFill>
                <a:schemeClr val="bg1">
                  <a:alpha val="25000"/>
                </a:schemeClr>
              </a:solidFill>
              <a:headEnd type="none" w="med" len="med"/>
              <a:tailEnd type="none" w="med" len="med"/>
            </a:ln>
            <a:effectLst>
              <a:innerShdw blurRad="63500" dist="50800" dir="13500000">
                <a:prstClr val="black">
                  <a:alpha val="35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6" name="Freeform: Shape 5">
              <a:extLst>
                <a:ext uri="{FF2B5EF4-FFF2-40B4-BE49-F238E27FC236}">
                  <a16:creationId xmlns:a16="http://schemas.microsoft.com/office/drawing/2014/main" id="{B395E6F5-BC76-E955-611F-E57272C6AB05}"/>
                </a:ext>
              </a:extLst>
            </p:cNvPr>
            <p:cNvSpPr/>
            <p:nvPr/>
          </p:nvSpPr>
          <p:spPr>
            <a:xfrm rot="18900000">
              <a:off x="5240472" y="3645545"/>
              <a:ext cx="8615207" cy="1137055"/>
            </a:xfrm>
            <a:custGeom>
              <a:avLst/>
              <a:gdLst>
                <a:gd name="connsiteX0" fmla="*/ 8615207 w 8615207"/>
                <a:gd name="connsiteY0" fmla="*/ 0 h 1137055"/>
                <a:gd name="connsiteX1" fmla="*/ 7478152 w 8615207"/>
                <a:gd name="connsiteY1" fmla="*/ 1137055 h 1137055"/>
                <a:gd name="connsiteX2" fmla="*/ 1137055 w 8615207"/>
                <a:gd name="connsiteY2" fmla="*/ 1137055 h 1137055"/>
                <a:gd name="connsiteX3" fmla="*/ 0 w 8615207"/>
                <a:gd name="connsiteY3" fmla="*/ 0 h 1137055"/>
              </a:gdLst>
              <a:ahLst/>
              <a:cxnLst>
                <a:cxn ang="0">
                  <a:pos x="connsiteX0" y="connsiteY0"/>
                </a:cxn>
                <a:cxn ang="0">
                  <a:pos x="connsiteX1" y="connsiteY1"/>
                </a:cxn>
                <a:cxn ang="0">
                  <a:pos x="connsiteX2" y="connsiteY2"/>
                </a:cxn>
                <a:cxn ang="0">
                  <a:pos x="connsiteX3" y="connsiteY3"/>
                </a:cxn>
              </a:cxnLst>
              <a:rect l="l" t="t" r="r" b="b"/>
              <a:pathLst>
                <a:path w="8615207" h="1137055">
                  <a:moveTo>
                    <a:pt x="8615207" y="0"/>
                  </a:moveTo>
                  <a:lnTo>
                    <a:pt x="7478152" y="1137055"/>
                  </a:lnTo>
                  <a:lnTo>
                    <a:pt x="1137055" y="1137055"/>
                  </a:lnTo>
                  <a:lnTo>
                    <a:pt x="0" y="0"/>
                  </a:lnTo>
                  <a:close/>
                </a:path>
              </a:pathLst>
            </a:custGeom>
            <a:solidFill>
              <a:schemeClr val="accent4"/>
            </a:solidFill>
            <a:ln>
              <a:solidFill>
                <a:schemeClr val="bg1">
                  <a:alpha val="25000"/>
                </a:schemeClr>
              </a:solidFill>
              <a:headEnd type="none" w="med" len="med"/>
              <a:tailEnd type="none" w="med" len="med"/>
            </a:ln>
            <a:effectLst>
              <a:innerShdw blurRad="63500" dist="50800" dir="13500000">
                <a:prstClr val="black">
                  <a:alpha val="35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7" name="Freeform: Shape 6">
              <a:extLst>
                <a:ext uri="{FF2B5EF4-FFF2-40B4-BE49-F238E27FC236}">
                  <a16:creationId xmlns:a16="http://schemas.microsoft.com/office/drawing/2014/main" id="{DF4CDC7E-CD66-CF0A-C3A5-DBFEAB5C9015}"/>
                </a:ext>
              </a:extLst>
            </p:cNvPr>
            <p:cNvSpPr/>
            <p:nvPr/>
          </p:nvSpPr>
          <p:spPr>
            <a:xfrm rot="18900000">
              <a:off x="7343338" y="4516581"/>
              <a:ext cx="6151545" cy="1137058"/>
            </a:xfrm>
            <a:custGeom>
              <a:avLst/>
              <a:gdLst>
                <a:gd name="connsiteX0" fmla="*/ 6151545 w 6151545"/>
                <a:gd name="connsiteY0" fmla="*/ 0 h 1137058"/>
                <a:gd name="connsiteX1" fmla="*/ 5014487 w 6151545"/>
                <a:gd name="connsiteY1" fmla="*/ 1137058 h 1137058"/>
                <a:gd name="connsiteX2" fmla="*/ 1137057 w 6151545"/>
                <a:gd name="connsiteY2" fmla="*/ 1137058 h 1137058"/>
                <a:gd name="connsiteX3" fmla="*/ 0 w 6151545"/>
                <a:gd name="connsiteY3" fmla="*/ 0 h 1137058"/>
              </a:gdLst>
              <a:ahLst/>
              <a:cxnLst>
                <a:cxn ang="0">
                  <a:pos x="connsiteX0" y="connsiteY0"/>
                </a:cxn>
                <a:cxn ang="0">
                  <a:pos x="connsiteX1" y="connsiteY1"/>
                </a:cxn>
                <a:cxn ang="0">
                  <a:pos x="connsiteX2" y="connsiteY2"/>
                </a:cxn>
                <a:cxn ang="0">
                  <a:pos x="connsiteX3" y="connsiteY3"/>
                </a:cxn>
              </a:cxnLst>
              <a:rect l="l" t="t" r="r" b="b"/>
              <a:pathLst>
                <a:path w="6151545" h="1137058">
                  <a:moveTo>
                    <a:pt x="6151545" y="0"/>
                  </a:moveTo>
                  <a:lnTo>
                    <a:pt x="5014487" y="1137058"/>
                  </a:lnTo>
                  <a:lnTo>
                    <a:pt x="1137057" y="1137058"/>
                  </a:lnTo>
                  <a:lnTo>
                    <a:pt x="0" y="0"/>
                  </a:lnTo>
                  <a:close/>
                </a:path>
              </a:pathLst>
            </a:custGeom>
            <a:solidFill>
              <a:schemeClr val="bg1">
                <a:lumMod val="95000"/>
              </a:schemeClr>
            </a:solidFill>
            <a:ln>
              <a:solidFill>
                <a:schemeClr val="tx1">
                  <a:alpha val="25000"/>
                </a:schemeClr>
              </a:solidFill>
              <a:headEnd type="none" w="med" len="med"/>
              <a:tailEnd type="none" w="med" len="med"/>
            </a:ln>
            <a:effectLst>
              <a:innerShdw blurRad="63500" dist="50800" dir="13500000">
                <a:prstClr val="black">
                  <a:alpha val="35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8" name="Freeform: Shape 7">
              <a:extLst>
                <a:ext uri="{FF2B5EF4-FFF2-40B4-BE49-F238E27FC236}">
                  <a16:creationId xmlns:a16="http://schemas.microsoft.com/office/drawing/2014/main" id="{8868FDF8-C912-12AD-8F51-B6CE666AC851}"/>
                </a:ext>
              </a:extLst>
            </p:cNvPr>
            <p:cNvSpPr/>
            <p:nvPr/>
          </p:nvSpPr>
          <p:spPr>
            <a:xfrm>
              <a:off x="4357679" y="1485280"/>
              <a:ext cx="6176793" cy="5372720"/>
            </a:xfrm>
            <a:custGeom>
              <a:avLst/>
              <a:gdLst>
                <a:gd name="connsiteX0" fmla="*/ 5608250 w 6176793"/>
                <a:gd name="connsiteY0" fmla="*/ 0 h 5372720"/>
                <a:gd name="connsiteX1" fmla="*/ 6010263 w 6176793"/>
                <a:gd name="connsiteY1" fmla="*/ 166532 h 5372720"/>
                <a:gd name="connsiteX2" fmla="*/ 6010263 w 6176793"/>
                <a:gd name="connsiteY2" fmla="*/ 970557 h 5372720"/>
                <a:gd name="connsiteX3" fmla="*/ 1608057 w 6176793"/>
                <a:gd name="connsiteY3" fmla="*/ 5372720 h 5372720"/>
                <a:gd name="connsiteX4" fmla="*/ 0 w 6176793"/>
                <a:gd name="connsiteY4" fmla="*/ 5372720 h 5372720"/>
                <a:gd name="connsiteX5" fmla="*/ 5206237 w 6176793"/>
                <a:gd name="connsiteY5" fmla="*/ 166532 h 5372720"/>
                <a:gd name="connsiteX6" fmla="*/ 5608250 w 6176793"/>
                <a:gd name="connsiteY6" fmla="*/ 0 h 5372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76793" h="5372720">
                  <a:moveTo>
                    <a:pt x="5608250" y="0"/>
                  </a:moveTo>
                  <a:cubicBezTo>
                    <a:pt x="5753746" y="0"/>
                    <a:pt x="5899242" y="55510"/>
                    <a:pt x="6010263" y="166532"/>
                  </a:cubicBezTo>
                  <a:cubicBezTo>
                    <a:pt x="6232303" y="388574"/>
                    <a:pt x="6232303" y="748515"/>
                    <a:pt x="6010263" y="970557"/>
                  </a:cubicBezTo>
                  <a:lnTo>
                    <a:pt x="1608057" y="5372720"/>
                  </a:lnTo>
                  <a:lnTo>
                    <a:pt x="0" y="5372720"/>
                  </a:lnTo>
                  <a:lnTo>
                    <a:pt x="5206237" y="166532"/>
                  </a:lnTo>
                  <a:cubicBezTo>
                    <a:pt x="5317259" y="55510"/>
                    <a:pt x="5462755" y="0"/>
                    <a:pt x="5608250" y="0"/>
                  </a:cubicBezTo>
                  <a:close/>
                </a:path>
              </a:pathLst>
            </a:custGeom>
            <a:solidFill>
              <a:srgbClr val="FFB900"/>
            </a:solidFill>
            <a:ln>
              <a:solidFill>
                <a:schemeClr val="bg1">
                  <a:alpha val="25000"/>
                </a:schemeClr>
              </a:solidFill>
              <a:headEnd type="none" w="med" len="med"/>
              <a:tailEnd type="none" w="med" len="med"/>
            </a:ln>
            <a:effectLst>
              <a:innerShdw blurRad="63500" dist="50800" dir="13500000">
                <a:prstClr val="black">
                  <a:alpha val="35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9" name="Freeform: Shape 8">
              <a:extLst>
                <a:ext uri="{FF2B5EF4-FFF2-40B4-BE49-F238E27FC236}">
                  <a16:creationId xmlns:a16="http://schemas.microsoft.com/office/drawing/2014/main" id="{FBA3B253-0256-9272-64A1-03BC48B6FA65}"/>
                </a:ext>
              </a:extLst>
            </p:cNvPr>
            <p:cNvSpPr/>
            <p:nvPr/>
          </p:nvSpPr>
          <p:spPr>
            <a:xfrm>
              <a:off x="10237620" y="0"/>
              <a:ext cx="1954380" cy="1782194"/>
            </a:xfrm>
            <a:custGeom>
              <a:avLst/>
              <a:gdLst>
                <a:gd name="connsiteX0" fmla="*/ 991499 w 1954380"/>
                <a:gd name="connsiteY0" fmla="*/ 0 h 1782194"/>
                <a:gd name="connsiteX1" fmla="*/ 1954380 w 1954380"/>
                <a:gd name="connsiteY1" fmla="*/ 0 h 1782194"/>
                <a:gd name="connsiteX2" fmla="*/ 1954380 w 1954380"/>
                <a:gd name="connsiteY2" fmla="*/ 618384 h 1782194"/>
                <a:gd name="connsiteX3" fmla="*/ 954306 w 1954380"/>
                <a:gd name="connsiteY3" fmla="*/ 1618458 h 1782194"/>
                <a:gd name="connsiteX4" fmla="*/ 558990 w 1954380"/>
                <a:gd name="connsiteY4" fmla="*/ 1782194 h 1782194"/>
                <a:gd name="connsiteX5" fmla="*/ 559052 w 1954380"/>
                <a:gd name="connsiteY5" fmla="*/ 1782130 h 1782194"/>
                <a:gd name="connsiteX6" fmla="*/ 163737 w 1954380"/>
                <a:gd name="connsiteY6" fmla="*/ 1618394 h 1782194"/>
                <a:gd name="connsiteX7" fmla="*/ 163737 w 1954380"/>
                <a:gd name="connsiteY7" fmla="*/ 827763 h 1782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380" h="1782194">
                  <a:moveTo>
                    <a:pt x="991499" y="0"/>
                  </a:moveTo>
                  <a:lnTo>
                    <a:pt x="1954380" y="0"/>
                  </a:lnTo>
                  <a:lnTo>
                    <a:pt x="1954380" y="618384"/>
                  </a:lnTo>
                  <a:lnTo>
                    <a:pt x="954306" y="1618458"/>
                  </a:lnTo>
                  <a:cubicBezTo>
                    <a:pt x="845149" y="1727614"/>
                    <a:pt x="702070" y="1782194"/>
                    <a:pt x="558990" y="1782194"/>
                  </a:cubicBezTo>
                  <a:lnTo>
                    <a:pt x="559052" y="1782130"/>
                  </a:lnTo>
                  <a:cubicBezTo>
                    <a:pt x="415973" y="1782130"/>
                    <a:pt x="272893" y="1727552"/>
                    <a:pt x="163737" y="1618394"/>
                  </a:cubicBezTo>
                  <a:cubicBezTo>
                    <a:pt x="-54578" y="1400079"/>
                    <a:pt x="-54578" y="1046078"/>
                    <a:pt x="163737" y="827763"/>
                  </a:cubicBezTo>
                  <a:close/>
                </a:path>
              </a:pathLst>
            </a:custGeom>
            <a:solidFill>
              <a:schemeClr val="bg1"/>
            </a:solidFill>
            <a:ln>
              <a:solidFill>
                <a:schemeClr val="bg1">
                  <a:alpha val="25000"/>
                </a:schemeClr>
              </a:solidFill>
              <a:headEnd type="none" w="med" len="med"/>
              <a:tailEnd type="none" w="med" len="med"/>
            </a:ln>
            <a:effectLst>
              <a:outerShdw blurRad="50800" dist="254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10" name="Freeform: Shape 9">
              <a:extLst>
                <a:ext uri="{FF2B5EF4-FFF2-40B4-BE49-F238E27FC236}">
                  <a16:creationId xmlns:a16="http://schemas.microsoft.com/office/drawing/2014/main" id="{8E10399C-1AE8-8D76-D057-4C712E3759DE}"/>
                </a:ext>
              </a:extLst>
            </p:cNvPr>
            <p:cNvSpPr/>
            <p:nvPr/>
          </p:nvSpPr>
          <p:spPr>
            <a:xfrm>
              <a:off x="10223596" y="779339"/>
              <a:ext cx="1968404" cy="2759037"/>
            </a:xfrm>
            <a:custGeom>
              <a:avLst/>
              <a:gdLst>
                <a:gd name="connsiteX0" fmla="*/ 1968404 w 1968404"/>
                <a:gd name="connsiteY0" fmla="*/ 0 h 2759037"/>
                <a:gd name="connsiteX1" fmla="*/ 1968404 w 1968404"/>
                <a:gd name="connsiteY1" fmla="*/ 1581264 h 2759037"/>
                <a:gd name="connsiteX2" fmla="*/ 954367 w 1968404"/>
                <a:gd name="connsiteY2" fmla="*/ 2595301 h 2759037"/>
                <a:gd name="connsiteX3" fmla="*/ 559052 w 1968404"/>
                <a:gd name="connsiteY3" fmla="*/ 2759037 h 2759037"/>
                <a:gd name="connsiteX4" fmla="*/ 163737 w 1968404"/>
                <a:gd name="connsiteY4" fmla="*/ 2595301 h 2759037"/>
                <a:gd name="connsiteX5" fmla="*/ 163737 w 1968404"/>
                <a:gd name="connsiteY5" fmla="*/ 1804668 h 2759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8404" h="2759037">
                  <a:moveTo>
                    <a:pt x="1968404" y="0"/>
                  </a:moveTo>
                  <a:lnTo>
                    <a:pt x="1968404" y="1581264"/>
                  </a:lnTo>
                  <a:lnTo>
                    <a:pt x="954367" y="2595301"/>
                  </a:lnTo>
                  <a:cubicBezTo>
                    <a:pt x="845211" y="2704459"/>
                    <a:pt x="702132" y="2759037"/>
                    <a:pt x="559052" y="2759037"/>
                  </a:cubicBezTo>
                  <a:cubicBezTo>
                    <a:pt x="415972" y="2759037"/>
                    <a:pt x="272893" y="2704459"/>
                    <a:pt x="163737" y="2595301"/>
                  </a:cubicBezTo>
                  <a:cubicBezTo>
                    <a:pt x="-54578" y="2376986"/>
                    <a:pt x="-54578" y="2022983"/>
                    <a:pt x="163737" y="1804668"/>
                  </a:cubicBezTo>
                  <a:close/>
                </a:path>
              </a:pathLst>
            </a:custGeom>
            <a:solidFill>
              <a:schemeClr val="accent1"/>
            </a:solidFill>
            <a:ln>
              <a:solidFill>
                <a:schemeClr val="bg1">
                  <a:alpha val="25000"/>
                </a:schemeClr>
              </a:solidFill>
              <a:headEnd type="none" w="med" len="med"/>
              <a:tailEnd type="none" w="med" len="med"/>
            </a:ln>
            <a:effectLst>
              <a:innerShdw blurRad="63500" dist="50800" dir="13500000">
                <a:prstClr val="black">
                  <a:alpha val="35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11" name="Freeform: Shape 10">
              <a:extLst>
                <a:ext uri="{FF2B5EF4-FFF2-40B4-BE49-F238E27FC236}">
                  <a16:creationId xmlns:a16="http://schemas.microsoft.com/office/drawing/2014/main" id="{2DDDB37E-FF7A-0B55-5978-6FC74EE7B389}"/>
                </a:ext>
              </a:extLst>
            </p:cNvPr>
            <p:cNvSpPr/>
            <p:nvPr/>
          </p:nvSpPr>
          <p:spPr>
            <a:xfrm>
              <a:off x="10214106" y="765950"/>
              <a:ext cx="1977894" cy="2781902"/>
            </a:xfrm>
            <a:custGeom>
              <a:avLst/>
              <a:gdLst>
                <a:gd name="connsiteX0" fmla="*/ 1977894 w 1977894"/>
                <a:gd name="connsiteY0" fmla="*/ 0 h 2781902"/>
                <a:gd name="connsiteX1" fmla="*/ 1977894 w 1977894"/>
                <a:gd name="connsiteY1" fmla="*/ 1608049 h 2781902"/>
                <a:gd name="connsiteX2" fmla="*/ 970557 w 1977894"/>
                <a:gd name="connsiteY2" fmla="*/ 2615387 h 2781902"/>
                <a:gd name="connsiteX3" fmla="*/ 568544 w 1977894"/>
                <a:gd name="connsiteY3" fmla="*/ 2781902 h 2781902"/>
                <a:gd name="connsiteX4" fmla="*/ 166531 w 1977894"/>
                <a:gd name="connsiteY4" fmla="*/ 2615387 h 2781902"/>
                <a:gd name="connsiteX5" fmla="*/ 166531 w 1977894"/>
                <a:gd name="connsiteY5" fmla="*/ 1811363 h 2781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7894" h="2781902">
                  <a:moveTo>
                    <a:pt x="1977894" y="0"/>
                  </a:moveTo>
                  <a:lnTo>
                    <a:pt x="1977894" y="1608049"/>
                  </a:lnTo>
                  <a:lnTo>
                    <a:pt x="970557" y="2615387"/>
                  </a:lnTo>
                  <a:cubicBezTo>
                    <a:pt x="859565" y="2726376"/>
                    <a:pt x="714024" y="2781902"/>
                    <a:pt x="568544" y="2781902"/>
                  </a:cubicBezTo>
                  <a:cubicBezTo>
                    <a:pt x="423064" y="2781902"/>
                    <a:pt x="277520" y="2726376"/>
                    <a:pt x="166531" y="2615387"/>
                  </a:cubicBezTo>
                  <a:cubicBezTo>
                    <a:pt x="-55511" y="2393346"/>
                    <a:pt x="-55511" y="2033404"/>
                    <a:pt x="166531" y="1811363"/>
                  </a:cubicBezTo>
                  <a:close/>
                </a:path>
              </a:pathLst>
            </a:custGeom>
            <a:solidFill>
              <a:schemeClr val="accent1"/>
            </a:solidFill>
            <a:ln>
              <a:solidFill>
                <a:schemeClr val="bg1">
                  <a:alpha val="25000"/>
                </a:schemeClr>
              </a:solidFill>
              <a:headEnd type="none" w="med" len="med"/>
              <a:tailEnd type="none" w="med" len="med"/>
            </a:ln>
            <a:effectLst>
              <a:innerShdw blurRad="63500" dist="50800" dir="13500000">
                <a:prstClr val="black">
                  <a:alpha val="35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12" name="Freeform: Shape 11">
              <a:extLst>
                <a:ext uri="{FF2B5EF4-FFF2-40B4-BE49-F238E27FC236}">
                  <a16:creationId xmlns:a16="http://schemas.microsoft.com/office/drawing/2014/main" id="{3DFF3E71-651C-0D94-F19E-2C38A8F0EA1C}"/>
                </a:ext>
              </a:extLst>
            </p:cNvPr>
            <p:cNvSpPr/>
            <p:nvPr/>
          </p:nvSpPr>
          <p:spPr>
            <a:xfrm>
              <a:off x="10214106" y="765950"/>
              <a:ext cx="1977894" cy="2781902"/>
            </a:xfrm>
            <a:custGeom>
              <a:avLst/>
              <a:gdLst>
                <a:gd name="connsiteX0" fmla="*/ 1977894 w 1977894"/>
                <a:gd name="connsiteY0" fmla="*/ 0 h 2781902"/>
                <a:gd name="connsiteX1" fmla="*/ 1977894 w 1977894"/>
                <a:gd name="connsiteY1" fmla="*/ 1608049 h 2781902"/>
                <a:gd name="connsiteX2" fmla="*/ 970557 w 1977894"/>
                <a:gd name="connsiteY2" fmla="*/ 2615387 h 2781902"/>
                <a:gd name="connsiteX3" fmla="*/ 568544 w 1977894"/>
                <a:gd name="connsiteY3" fmla="*/ 2781902 h 2781902"/>
                <a:gd name="connsiteX4" fmla="*/ 166531 w 1977894"/>
                <a:gd name="connsiteY4" fmla="*/ 2615387 h 2781902"/>
                <a:gd name="connsiteX5" fmla="*/ 166531 w 1977894"/>
                <a:gd name="connsiteY5" fmla="*/ 1811363 h 2781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7894" h="2781902">
                  <a:moveTo>
                    <a:pt x="1977894" y="0"/>
                  </a:moveTo>
                  <a:lnTo>
                    <a:pt x="1977894" y="1608049"/>
                  </a:lnTo>
                  <a:lnTo>
                    <a:pt x="970557" y="2615387"/>
                  </a:lnTo>
                  <a:cubicBezTo>
                    <a:pt x="859565" y="2726376"/>
                    <a:pt x="714024" y="2781902"/>
                    <a:pt x="568544" y="2781902"/>
                  </a:cubicBezTo>
                  <a:cubicBezTo>
                    <a:pt x="423064" y="2781902"/>
                    <a:pt x="277520" y="2726376"/>
                    <a:pt x="166531" y="2615387"/>
                  </a:cubicBezTo>
                  <a:cubicBezTo>
                    <a:pt x="-55511" y="2393346"/>
                    <a:pt x="-55511" y="2033404"/>
                    <a:pt x="166531" y="1811363"/>
                  </a:cubicBezTo>
                  <a:close/>
                </a:path>
              </a:pathLst>
            </a:custGeom>
            <a:solidFill>
              <a:schemeClr val="accent1"/>
            </a:solidFill>
            <a:ln>
              <a:solidFill>
                <a:schemeClr val="bg1">
                  <a:alpha val="25000"/>
                </a:schemeClr>
              </a:solidFill>
              <a:headEnd type="none" w="med" len="med"/>
              <a:tailEnd type="none" w="med" len="med"/>
            </a:ln>
            <a:effectLst>
              <a:innerShdw blurRad="63500" dist="50800" dir="13500000">
                <a:prstClr val="black">
                  <a:alpha val="35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13" name="Freeform: Shape 12">
              <a:extLst>
                <a:ext uri="{FF2B5EF4-FFF2-40B4-BE49-F238E27FC236}">
                  <a16:creationId xmlns:a16="http://schemas.microsoft.com/office/drawing/2014/main" id="{2E086E48-A4D5-165F-1BB1-B379C339BC48}"/>
                </a:ext>
              </a:extLst>
            </p:cNvPr>
            <p:cNvSpPr/>
            <p:nvPr/>
          </p:nvSpPr>
          <p:spPr>
            <a:xfrm>
              <a:off x="10791494" y="2521374"/>
              <a:ext cx="1400507" cy="2191139"/>
            </a:xfrm>
            <a:custGeom>
              <a:avLst/>
              <a:gdLst>
                <a:gd name="connsiteX0" fmla="*/ 1400507 w 1400507"/>
                <a:gd name="connsiteY0" fmla="*/ 0 h 2191139"/>
                <a:gd name="connsiteX1" fmla="*/ 1400507 w 1400507"/>
                <a:gd name="connsiteY1" fmla="*/ 1581264 h 2191139"/>
                <a:gd name="connsiteX2" fmla="*/ 954368 w 1400507"/>
                <a:gd name="connsiteY2" fmla="*/ 2027403 h 2191139"/>
                <a:gd name="connsiteX3" fmla="*/ 559052 w 1400507"/>
                <a:gd name="connsiteY3" fmla="*/ 2191139 h 2191139"/>
                <a:gd name="connsiteX4" fmla="*/ 163737 w 1400507"/>
                <a:gd name="connsiteY4" fmla="*/ 2027403 h 2191139"/>
                <a:gd name="connsiteX5" fmla="*/ 163737 w 1400507"/>
                <a:gd name="connsiteY5" fmla="*/ 1236770 h 2191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0507" h="2191139">
                  <a:moveTo>
                    <a:pt x="1400507" y="0"/>
                  </a:moveTo>
                  <a:lnTo>
                    <a:pt x="1400507" y="1581264"/>
                  </a:lnTo>
                  <a:lnTo>
                    <a:pt x="954368" y="2027403"/>
                  </a:lnTo>
                  <a:cubicBezTo>
                    <a:pt x="845211" y="2136561"/>
                    <a:pt x="702132" y="2191139"/>
                    <a:pt x="559052" y="2191139"/>
                  </a:cubicBezTo>
                  <a:cubicBezTo>
                    <a:pt x="415973" y="2191139"/>
                    <a:pt x="272893" y="2136561"/>
                    <a:pt x="163737" y="2027403"/>
                  </a:cubicBezTo>
                  <a:cubicBezTo>
                    <a:pt x="-54578" y="1809088"/>
                    <a:pt x="-54578" y="1455084"/>
                    <a:pt x="163737" y="1236770"/>
                  </a:cubicBezTo>
                  <a:close/>
                </a:path>
              </a:pathLst>
            </a:custGeom>
            <a:solidFill>
              <a:schemeClr val="bg1"/>
            </a:solidFill>
            <a:ln>
              <a:solidFill>
                <a:schemeClr val="bg1">
                  <a:alpha val="25000"/>
                </a:schemeClr>
              </a:solidFill>
              <a:headEnd type="none" w="med" len="med"/>
              <a:tailEnd type="none" w="med" len="med"/>
            </a:ln>
            <a:effectLst>
              <a:innerShdw blurRad="63500" dist="50800" dir="13500000">
                <a:prstClr val="black">
                  <a:alpha val="35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14" name="Freeform: Shape 13">
              <a:extLst>
                <a:ext uri="{FF2B5EF4-FFF2-40B4-BE49-F238E27FC236}">
                  <a16:creationId xmlns:a16="http://schemas.microsoft.com/office/drawing/2014/main" id="{0239B260-51B8-1DD4-3103-9566DF10120B}"/>
                </a:ext>
              </a:extLst>
            </p:cNvPr>
            <p:cNvSpPr/>
            <p:nvPr/>
          </p:nvSpPr>
          <p:spPr>
            <a:xfrm>
              <a:off x="10782001" y="2507982"/>
              <a:ext cx="1409999" cy="2214007"/>
            </a:xfrm>
            <a:custGeom>
              <a:avLst/>
              <a:gdLst>
                <a:gd name="connsiteX0" fmla="*/ 1409999 w 1409999"/>
                <a:gd name="connsiteY0" fmla="*/ 0 h 2214007"/>
                <a:gd name="connsiteX1" fmla="*/ 1409999 w 1409999"/>
                <a:gd name="connsiteY1" fmla="*/ 1608050 h 2214007"/>
                <a:gd name="connsiteX2" fmla="*/ 970557 w 1409999"/>
                <a:gd name="connsiteY2" fmla="*/ 2047492 h 2214007"/>
                <a:gd name="connsiteX3" fmla="*/ 568544 w 1409999"/>
                <a:gd name="connsiteY3" fmla="*/ 2214007 h 2214007"/>
                <a:gd name="connsiteX4" fmla="*/ 166531 w 1409999"/>
                <a:gd name="connsiteY4" fmla="*/ 2047492 h 2214007"/>
                <a:gd name="connsiteX5" fmla="*/ 166531 w 1409999"/>
                <a:gd name="connsiteY5" fmla="*/ 1243468 h 2214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9999" h="2214007">
                  <a:moveTo>
                    <a:pt x="1409999" y="0"/>
                  </a:moveTo>
                  <a:lnTo>
                    <a:pt x="1409999" y="1608050"/>
                  </a:lnTo>
                  <a:lnTo>
                    <a:pt x="970557" y="2047492"/>
                  </a:lnTo>
                  <a:cubicBezTo>
                    <a:pt x="859565" y="2158481"/>
                    <a:pt x="714024" y="2214007"/>
                    <a:pt x="568544" y="2214007"/>
                  </a:cubicBezTo>
                  <a:cubicBezTo>
                    <a:pt x="423064" y="2214007"/>
                    <a:pt x="277520" y="2158481"/>
                    <a:pt x="166531" y="2047492"/>
                  </a:cubicBezTo>
                  <a:cubicBezTo>
                    <a:pt x="-55511" y="1825451"/>
                    <a:pt x="-55511" y="1465509"/>
                    <a:pt x="166531" y="1243468"/>
                  </a:cubicBezTo>
                  <a:close/>
                </a:path>
              </a:pathLst>
            </a:custGeom>
            <a:solidFill>
              <a:schemeClr val="bg1"/>
            </a:solidFill>
            <a:ln>
              <a:solidFill>
                <a:schemeClr val="bg1">
                  <a:alpha val="25000"/>
                </a:schemeClr>
              </a:solidFill>
              <a:headEnd type="none" w="med" len="med"/>
              <a:tailEnd type="none" w="med" len="med"/>
            </a:ln>
            <a:effectLst>
              <a:innerShdw blurRad="63500" dist="50800" dir="13500000">
                <a:prstClr val="black">
                  <a:alpha val="35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15" name="Freeform: Shape 14">
              <a:extLst>
                <a:ext uri="{FF2B5EF4-FFF2-40B4-BE49-F238E27FC236}">
                  <a16:creationId xmlns:a16="http://schemas.microsoft.com/office/drawing/2014/main" id="{95531E8D-B3EA-AAA7-2812-CAD2D5354E02}"/>
                </a:ext>
              </a:extLst>
            </p:cNvPr>
            <p:cNvSpPr/>
            <p:nvPr/>
          </p:nvSpPr>
          <p:spPr>
            <a:xfrm>
              <a:off x="10782001" y="2507982"/>
              <a:ext cx="1409999" cy="2214007"/>
            </a:xfrm>
            <a:custGeom>
              <a:avLst/>
              <a:gdLst>
                <a:gd name="connsiteX0" fmla="*/ 1409999 w 1409999"/>
                <a:gd name="connsiteY0" fmla="*/ 0 h 2214007"/>
                <a:gd name="connsiteX1" fmla="*/ 1409999 w 1409999"/>
                <a:gd name="connsiteY1" fmla="*/ 1608050 h 2214007"/>
                <a:gd name="connsiteX2" fmla="*/ 970557 w 1409999"/>
                <a:gd name="connsiteY2" fmla="*/ 2047492 h 2214007"/>
                <a:gd name="connsiteX3" fmla="*/ 568544 w 1409999"/>
                <a:gd name="connsiteY3" fmla="*/ 2214007 h 2214007"/>
                <a:gd name="connsiteX4" fmla="*/ 166531 w 1409999"/>
                <a:gd name="connsiteY4" fmla="*/ 2047492 h 2214007"/>
                <a:gd name="connsiteX5" fmla="*/ 166531 w 1409999"/>
                <a:gd name="connsiteY5" fmla="*/ 1243468 h 2214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9999" h="2214007">
                  <a:moveTo>
                    <a:pt x="1409999" y="0"/>
                  </a:moveTo>
                  <a:lnTo>
                    <a:pt x="1409999" y="1608050"/>
                  </a:lnTo>
                  <a:lnTo>
                    <a:pt x="970557" y="2047492"/>
                  </a:lnTo>
                  <a:cubicBezTo>
                    <a:pt x="859565" y="2158481"/>
                    <a:pt x="714024" y="2214007"/>
                    <a:pt x="568544" y="2214007"/>
                  </a:cubicBezTo>
                  <a:cubicBezTo>
                    <a:pt x="423064" y="2214007"/>
                    <a:pt x="277520" y="2158481"/>
                    <a:pt x="166531" y="2047492"/>
                  </a:cubicBezTo>
                  <a:cubicBezTo>
                    <a:pt x="-55511" y="1825451"/>
                    <a:pt x="-55511" y="1465509"/>
                    <a:pt x="166531" y="1243468"/>
                  </a:cubicBezTo>
                  <a:close/>
                </a:path>
              </a:pathLst>
            </a:custGeom>
            <a:solidFill>
              <a:srgbClr val="095E09"/>
            </a:solidFill>
            <a:ln>
              <a:solidFill>
                <a:schemeClr val="bg1">
                  <a:alpha val="25000"/>
                </a:schemeClr>
              </a:solidFill>
              <a:headEnd type="none" w="med" len="med"/>
              <a:tailEnd type="none" w="med" len="med"/>
            </a:ln>
            <a:effectLst>
              <a:innerShdw blurRad="63500" dist="50800" dir="13500000">
                <a:prstClr val="black">
                  <a:alpha val="35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16" name="Freeform: Shape 15">
              <a:extLst>
                <a:ext uri="{FF2B5EF4-FFF2-40B4-BE49-F238E27FC236}">
                  <a16:creationId xmlns:a16="http://schemas.microsoft.com/office/drawing/2014/main" id="{B96CA29F-B361-FD58-19D3-161601D0520A}"/>
                </a:ext>
              </a:extLst>
            </p:cNvPr>
            <p:cNvSpPr/>
            <p:nvPr/>
          </p:nvSpPr>
          <p:spPr>
            <a:xfrm>
              <a:off x="7855373" y="5553744"/>
              <a:ext cx="2094889" cy="1304256"/>
            </a:xfrm>
            <a:custGeom>
              <a:avLst/>
              <a:gdLst>
                <a:gd name="connsiteX0" fmla="*/ 1535836 w 2094889"/>
                <a:gd name="connsiteY0" fmla="*/ 0 h 1304256"/>
                <a:gd name="connsiteX1" fmla="*/ 1931152 w 2094889"/>
                <a:gd name="connsiteY1" fmla="*/ 163736 h 1304256"/>
                <a:gd name="connsiteX2" fmla="*/ 1931152 w 2094889"/>
                <a:gd name="connsiteY2" fmla="*/ 954367 h 1304256"/>
                <a:gd name="connsiteX3" fmla="*/ 1581263 w 2094889"/>
                <a:gd name="connsiteY3" fmla="*/ 1304256 h 1304256"/>
                <a:gd name="connsiteX4" fmla="*/ 0 w 2094889"/>
                <a:gd name="connsiteY4" fmla="*/ 1304256 h 1304256"/>
                <a:gd name="connsiteX5" fmla="*/ 1140520 w 2094889"/>
                <a:gd name="connsiteY5" fmla="*/ 163736 h 1304256"/>
                <a:gd name="connsiteX6" fmla="*/ 1535836 w 2094889"/>
                <a:gd name="connsiteY6" fmla="*/ 0 h 1304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4889" h="1304256">
                  <a:moveTo>
                    <a:pt x="1535836" y="0"/>
                  </a:moveTo>
                  <a:cubicBezTo>
                    <a:pt x="1678915" y="0"/>
                    <a:pt x="1821995" y="54579"/>
                    <a:pt x="1931152" y="163736"/>
                  </a:cubicBezTo>
                  <a:cubicBezTo>
                    <a:pt x="2149468" y="382051"/>
                    <a:pt x="2149468" y="736052"/>
                    <a:pt x="1931152" y="954367"/>
                  </a:cubicBezTo>
                  <a:lnTo>
                    <a:pt x="1581263" y="1304256"/>
                  </a:lnTo>
                  <a:lnTo>
                    <a:pt x="0" y="1304256"/>
                  </a:lnTo>
                  <a:lnTo>
                    <a:pt x="1140520" y="163736"/>
                  </a:lnTo>
                  <a:cubicBezTo>
                    <a:pt x="1249677" y="54579"/>
                    <a:pt x="1392756" y="0"/>
                    <a:pt x="1535836" y="0"/>
                  </a:cubicBezTo>
                  <a:close/>
                </a:path>
              </a:pathLst>
            </a:custGeom>
            <a:solidFill>
              <a:srgbClr val="FFB900"/>
            </a:solidFill>
            <a:ln>
              <a:solidFill>
                <a:schemeClr val="bg1">
                  <a:alpha val="25000"/>
                </a:schemeClr>
              </a:solidFill>
              <a:headEnd type="none" w="med" len="med"/>
              <a:tailEnd type="none" w="med" len="med"/>
            </a:ln>
            <a:effectLst>
              <a:innerShdw blurRad="63500" dist="50800" dir="13500000">
                <a:prstClr val="black">
                  <a:alpha val="35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17" name="Freeform: Shape 16">
              <a:extLst>
                <a:ext uri="{FF2B5EF4-FFF2-40B4-BE49-F238E27FC236}">
                  <a16:creationId xmlns:a16="http://schemas.microsoft.com/office/drawing/2014/main" id="{F81DCB33-AF59-C805-3D6B-6D06FF538657}"/>
                </a:ext>
              </a:extLst>
            </p:cNvPr>
            <p:cNvSpPr/>
            <p:nvPr/>
          </p:nvSpPr>
          <p:spPr>
            <a:xfrm>
              <a:off x="7841981" y="5544253"/>
              <a:ext cx="2117772" cy="1313747"/>
            </a:xfrm>
            <a:custGeom>
              <a:avLst/>
              <a:gdLst>
                <a:gd name="connsiteX0" fmla="*/ 1549228 w 2117772"/>
                <a:gd name="connsiteY0" fmla="*/ 0 h 1313747"/>
                <a:gd name="connsiteX1" fmla="*/ 1951241 w 2117772"/>
                <a:gd name="connsiteY1" fmla="*/ 166532 h 1313747"/>
                <a:gd name="connsiteX2" fmla="*/ 1951241 w 2117772"/>
                <a:gd name="connsiteY2" fmla="*/ 970557 h 1313747"/>
                <a:gd name="connsiteX3" fmla="*/ 1608051 w 2117772"/>
                <a:gd name="connsiteY3" fmla="*/ 1313747 h 1313747"/>
                <a:gd name="connsiteX4" fmla="*/ 0 w 2117772"/>
                <a:gd name="connsiteY4" fmla="*/ 1313747 h 1313747"/>
                <a:gd name="connsiteX5" fmla="*/ 1147215 w 2117772"/>
                <a:gd name="connsiteY5" fmla="*/ 166532 h 1313747"/>
                <a:gd name="connsiteX6" fmla="*/ 1549228 w 2117772"/>
                <a:gd name="connsiteY6" fmla="*/ 0 h 1313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17772" h="1313747">
                  <a:moveTo>
                    <a:pt x="1549228" y="0"/>
                  </a:moveTo>
                  <a:cubicBezTo>
                    <a:pt x="1694724" y="0"/>
                    <a:pt x="1840220" y="55511"/>
                    <a:pt x="1951241" y="166532"/>
                  </a:cubicBezTo>
                  <a:cubicBezTo>
                    <a:pt x="2173283" y="388574"/>
                    <a:pt x="2173283" y="748515"/>
                    <a:pt x="1951241" y="970557"/>
                  </a:cubicBezTo>
                  <a:lnTo>
                    <a:pt x="1608051" y="1313747"/>
                  </a:lnTo>
                  <a:lnTo>
                    <a:pt x="0" y="1313747"/>
                  </a:lnTo>
                  <a:lnTo>
                    <a:pt x="1147215" y="166532"/>
                  </a:lnTo>
                  <a:cubicBezTo>
                    <a:pt x="1258237" y="55511"/>
                    <a:pt x="1403732" y="0"/>
                    <a:pt x="1549228" y="0"/>
                  </a:cubicBezTo>
                  <a:close/>
                </a:path>
              </a:pathLst>
            </a:custGeom>
            <a:solidFill>
              <a:srgbClr val="FFB900"/>
            </a:solidFill>
            <a:ln>
              <a:solidFill>
                <a:schemeClr val="bg1">
                  <a:alpha val="25000"/>
                </a:schemeClr>
              </a:solidFill>
              <a:headEnd type="none" w="med" len="med"/>
              <a:tailEnd type="none" w="med" len="med"/>
            </a:ln>
            <a:effectLst>
              <a:innerShdw blurRad="63500" dist="50800" dir="13500000">
                <a:prstClr val="black">
                  <a:alpha val="35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18" name="Freeform: Shape 17">
              <a:extLst>
                <a:ext uri="{FF2B5EF4-FFF2-40B4-BE49-F238E27FC236}">
                  <a16:creationId xmlns:a16="http://schemas.microsoft.com/office/drawing/2014/main" id="{574BF9EA-B97F-A5D1-DFB8-59EB561D2929}"/>
                </a:ext>
              </a:extLst>
            </p:cNvPr>
            <p:cNvSpPr/>
            <p:nvPr/>
          </p:nvSpPr>
          <p:spPr>
            <a:xfrm>
              <a:off x="7841981" y="5544253"/>
              <a:ext cx="2117772" cy="1313747"/>
            </a:xfrm>
            <a:custGeom>
              <a:avLst/>
              <a:gdLst>
                <a:gd name="connsiteX0" fmla="*/ 1549228 w 2117772"/>
                <a:gd name="connsiteY0" fmla="*/ 0 h 1313747"/>
                <a:gd name="connsiteX1" fmla="*/ 1951241 w 2117772"/>
                <a:gd name="connsiteY1" fmla="*/ 166532 h 1313747"/>
                <a:gd name="connsiteX2" fmla="*/ 1951241 w 2117772"/>
                <a:gd name="connsiteY2" fmla="*/ 970557 h 1313747"/>
                <a:gd name="connsiteX3" fmla="*/ 1608051 w 2117772"/>
                <a:gd name="connsiteY3" fmla="*/ 1313747 h 1313747"/>
                <a:gd name="connsiteX4" fmla="*/ 0 w 2117772"/>
                <a:gd name="connsiteY4" fmla="*/ 1313747 h 1313747"/>
                <a:gd name="connsiteX5" fmla="*/ 1147215 w 2117772"/>
                <a:gd name="connsiteY5" fmla="*/ 166532 h 1313747"/>
                <a:gd name="connsiteX6" fmla="*/ 1549228 w 2117772"/>
                <a:gd name="connsiteY6" fmla="*/ 0 h 1313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17772" h="1313747">
                  <a:moveTo>
                    <a:pt x="1549228" y="0"/>
                  </a:moveTo>
                  <a:cubicBezTo>
                    <a:pt x="1694724" y="0"/>
                    <a:pt x="1840220" y="55511"/>
                    <a:pt x="1951241" y="166532"/>
                  </a:cubicBezTo>
                  <a:cubicBezTo>
                    <a:pt x="2173283" y="388574"/>
                    <a:pt x="2173283" y="748515"/>
                    <a:pt x="1951241" y="970557"/>
                  </a:cubicBezTo>
                  <a:lnTo>
                    <a:pt x="1608051" y="1313747"/>
                  </a:lnTo>
                  <a:lnTo>
                    <a:pt x="0" y="1313747"/>
                  </a:lnTo>
                  <a:lnTo>
                    <a:pt x="1147215" y="166532"/>
                  </a:lnTo>
                  <a:cubicBezTo>
                    <a:pt x="1258237" y="55511"/>
                    <a:pt x="1403732" y="0"/>
                    <a:pt x="1549228" y="0"/>
                  </a:cubicBezTo>
                  <a:close/>
                </a:path>
              </a:pathLst>
            </a:custGeom>
            <a:solidFill>
              <a:srgbClr val="FFB900"/>
            </a:solidFill>
            <a:ln>
              <a:solidFill>
                <a:schemeClr val="bg1">
                  <a:alpha val="25000"/>
                </a:schemeClr>
              </a:solidFill>
              <a:headEnd type="none" w="med" len="med"/>
              <a:tailEnd type="none" w="med" len="med"/>
            </a:ln>
            <a:effectLst>
              <a:innerShdw blurRad="63500" dist="50800" dir="13500000">
                <a:prstClr val="black">
                  <a:alpha val="35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19" name="Freeform: Shape 18">
              <a:extLst>
                <a:ext uri="{FF2B5EF4-FFF2-40B4-BE49-F238E27FC236}">
                  <a16:creationId xmlns:a16="http://schemas.microsoft.com/office/drawing/2014/main" id="{77F59FAF-761E-0D6E-BE3A-57174150764A}"/>
                </a:ext>
              </a:extLst>
            </p:cNvPr>
            <p:cNvSpPr/>
            <p:nvPr/>
          </p:nvSpPr>
          <p:spPr>
            <a:xfrm>
              <a:off x="10332375" y="758779"/>
              <a:ext cx="928593" cy="928593"/>
            </a:xfrm>
            <a:custGeom>
              <a:avLst/>
              <a:gdLst>
                <a:gd name="connsiteX0" fmla="*/ 419005 w 419004"/>
                <a:gd name="connsiteY0" fmla="*/ 209502 h 419004"/>
                <a:gd name="connsiteX1" fmla="*/ 209502 w 419004"/>
                <a:gd name="connsiteY1" fmla="*/ 419005 h 419004"/>
                <a:gd name="connsiteX2" fmla="*/ 0 w 419004"/>
                <a:gd name="connsiteY2" fmla="*/ 209502 h 419004"/>
                <a:gd name="connsiteX3" fmla="*/ 209502 w 419004"/>
                <a:gd name="connsiteY3" fmla="*/ 0 h 419004"/>
                <a:gd name="connsiteX4" fmla="*/ 419005 w 419004"/>
                <a:gd name="connsiteY4" fmla="*/ 209502 h 419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004" h="419004">
                  <a:moveTo>
                    <a:pt x="419005" y="209502"/>
                  </a:moveTo>
                  <a:cubicBezTo>
                    <a:pt x="419005" y="325208"/>
                    <a:pt x="325207" y="419005"/>
                    <a:pt x="209502" y="419005"/>
                  </a:cubicBezTo>
                  <a:cubicBezTo>
                    <a:pt x="93798" y="419005"/>
                    <a:pt x="0" y="325208"/>
                    <a:pt x="0" y="209502"/>
                  </a:cubicBezTo>
                  <a:cubicBezTo>
                    <a:pt x="0" y="93797"/>
                    <a:pt x="93798" y="0"/>
                    <a:pt x="209502" y="0"/>
                  </a:cubicBezTo>
                  <a:cubicBezTo>
                    <a:pt x="325207" y="0"/>
                    <a:pt x="419005" y="93797"/>
                    <a:pt x="419005" y="209502"/>
                  </a:cubicBezTo>
                  <a:close/>
                </a:path>
              </a:pathLst>
            </a:custGeom>
            <a:solidFill>
              <a:srgbClr val="FFB900"/>
            </a:solidFill>
            <a:ln>
              <a:gradFill flip="none" rotWithShape="1">
                <a:gsLst>
                  <a:gs pos="0">
                    <a:schemeClr val="bg1">
                      <a:alpha val="75000"/>
                    </a:schemeClr>
                  </a:gs>
                  <a:gs pos="75000">
                    <a:schemeClr val="bg1">
                      <a:alpha val="25000"/>
                    </a:schemeClr>
                  </a:gs>
                </a:gsLst>
                <a:lin ang="2700000" scaled="1"/>
                <a:tileRect/>
              </a:gradFill>
              <a:headEnd type="none" w="med" len="med"/>
              <a:tailEnd type="none" w="med" len="med"/>
            </a:ln>
            <a:effectLst>
              <a:outerShdw blurRad="50800" dist="254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20" name="Freeform: Shape 19">
              <a:extLst>
                <a:ext uri="{FF2B5EF4-FFF2-40B4-BE49-F238E27FC236}">
                  <a16:creationId xmlns:a16="http://schemas.microsoft.com/office/drawing/2014/main" id="{7A7A4FE4-1B56-183D-5FE0-1E35DD6C60E0}"/>
                </a:ext>
              </a:extLst>
            </p:cNvPr>
            <p:cNvSpPr/>
            <p:nvPr/>
          </p:nvSpPr>
          <p:spPr>
            <a:xfrm>
              <a:off x="10332375" y="758779"/>
              <a:ext cx="928593" cy="928593"/>
            </a:xfrm>
            <a:custGeom>
              <a:avLst/>
              <a:gdLst>
                <a:gd name="connsiteX0" fmla="*/ 209502 w 419004"/>
                <a:gd name="connsiteY0" fmla="*/ 8551 h 419004"/>
                <a:gd name="connsiteX1" fmla="*/ 209502 w 419004"/>
                <a:gd name="connsiteY1" fmla="*/ 8551 h 419004"/>
                <a:gd name="connsiteX2" fmla="*/ 410454 w 419004"/>
                <a:gd name="connsiteY2" fmla="*/ 209503 h 419004"/>
                <a:gd name="connsiteX3" fmla="*/ 209502 w 419004"/>
                <a:gd name="connsiteY3" fmla="*/ 410454 h 419004"/>
                <a:gd name="connsiteX4" fmla="*/ 8551 w 419004"/>
                <a:gd name="connsiteY4" fmla="*/ 209503 h 419004"/>
                <a:gd name="connsiteX5" fmla="*/ 209502 w 419004"/>
                <a:gd name="connsiteY5" fmla="*/ 8551 h 419004"/>
                <a:gd name="connsiteX6" fmla="*/ 209502 w 419004"/>
                <a:gd name="connsiteY6" fmla="*/ 0 h 419004"/>
                <a:gd name="connsiteX7" fmla="*/ 0 w 419004"/>
                <a:gd name="connsiteY7" fmla="*/ 209503 h 419004"/>
                <a:gd name="connsiteX8" fmla="*/ 209502 w 419004"/>
                <a:gd name="connsiteY8" fmla="*/ 419005 h 419004"/>
                <a:gd name="connsiteX9" fmla="*/ 419005 w 419004"/>
                <a:gd name="connsiteY9" fmla="*/ 209503 h 419004"/>
                <a:gd name="connsiteX10" fmla="*/ 209502 w 419004"/>
                <a:gd name="connsiteY10" fmla="*/ 0 h 419004"/>
                <a:gd name="connsiteX11" fmla="*/ 209502 w 419004"/>
                <a:gd name="connsiteY11" fmla="*/ 0 h 419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9004" h="419004">
                  <a:moveTo>
                    <a:pt x="209502" y="8551"/>
                  </a:moveTo>
                  <a:lnTo>
                    <a:pt x="209502" y="8551"/>
                  </a:lnTo>
                  <a:cubicBezTo>
                    <a:pt x="320297" y="8551"/>
                    <a:pt x="410454" y="98708"/>
                    <a:pt x="410454" y="209503"/>
                  </a:cubicBezTo>
                  <a:cubicBezTo>
                    <a:pt x="410454" y="320297"/>
                    <a:pt x="320297" y="410454"/>
                    <a:pt x="209502" y="410454"/>
                  </a:cubicBezTo>
                  <a:cubicBezTo>
                    <a:pt x="98708" y="410454"/>
                    <a:pt x="8551" y="320297"/>
                    <a:pt x="8551" y="209503"/>
                  </a:cubicBezTo>
                  <a:cubicBezTo>
                    <a:pt x="8551" y="98708"/>
                    <a:pt x="98708" y="8551"/>
                    <a:pt x="209502" y="8551"/>
                  </a:cubicBezTo>
                  <a:moveTo>
                    <a:pt x="209502" y="0"/>
                  </a:moveTo>
                  <a:cubicBezTo>
                    <a:pt x="93806" y="0"/>
                    <a:pt x="0" y="93806"/>
                    <a:pt x="0" y="209503"/>
                  </a:cubicBezTo>
                  <a:cubicBezTo>
                    <a:pt x="0" y="325199"/>
                    <a:pt x="93806" y="419005"/>
                    <a:pt x="209502" y="419005"/>
                  </a:cubicBezTo>
                  <a:cubicBezTo>
                    <a:pt x="325199" y="419005"/>
                    <a:pt x="419005" y="325199"/>
                    <a:pt x="419005" y="209503"/>
                  </a:cubicBezTo>
                  <a:cubicBezTo>
                    <a:pt x="419005" y="93806"/>
                    <a:pt x="325199" y="0"/>
                    <a:pt x="209502" y="0"/>
                  </a:cubicBezTo>
                  <a:lnTo>
                    <a:pt x="209502" y="0"/>
                  </a:lnTo>
                  <a:close/>
                </a:path>
              </a:pathLst>
            </a:custGeom>
            <a:gradFill>
              <a:gsLst>
                <a:gs pos="0">
                  <a:srgbClr val="FFFFFF"/>
                </a:gs>
                <a:gs pos="17000">
                  <a:srgbClr val="FCFCFC">
                    <a:alpha val="98824"/>
                  </a:srgbClr>
                </a:gs>
                <a:gs pos="30000">
                  <a:srgbClr val="F3F3F3">
                    <a:alpha val="95686"/>
                  </a:srgbClr>
                </a:gs>
                <a:gs pos="42000">
                  <a:srgbClr val="E4E4E4">
                    <a:alpha val="90980"/>
                  </a:srgbClr>
                </a:gs>
                <a:gs pos="54000">
                  <a:srgbClr val="D0D0D0">
                    <a:alpha val="83922"/>
                  </a:srgbClr>
                </a:gs>
                <a:gs pos="65000">
                  <a:srgbClr val="B5B5B5">
                    <a:alpha val="74902"/>
                  </a:srgbClr>
                </a:gs>
                <a:gs pos="76000">
                  <a:srgbClr val="959595">
                    <a:alpha val="63922"/>
                  </a:srgbClr>
                </a:gs>
                <a:gs pos="86000">
                  <a:srgbClr val="6E6E6E">
                    <a:alpha val="50980"/>
                  </a:srgbClr>
                </a:gs>
                <a:gs pos="96000">
                  <a:srgbClr val="424242">
                    <a:alpha val="36863"/>
                  </a:srgbClr>
                </a:gs>
                <a:gs pos="100000">
                  <a:srgbClr val="2F2F2F">
                    <a:alpha val="29804"/>
                  </a:srgbClr>
                </a:gs>
              </a:gsLst>
              <a:lin ang="2700000" scaled="1"/>
            </a:gradFill>
            <a:ln w="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CC7EFC78-714F-62A2-65AD-47A4A85B4985}"/>
                </a:ext>
              </a:extLst>
            </p:cNvPr>
            <p:cNvSpPr/>
            <p:nvPr/>
          </p:nvSpPr>
          <p:spPr>
            <a:xfrm>
              <a:off x="10214122" y="2410798"/>
              <a:ext cx="1137055" cy="1137055"/>
            </a:xfrm>
            <a:custGeom>
              <a:avLst/>
              <a:gdLst>
                <a:gd name="connsiteX0" fmla="*/ 513067 w 513067"/>
                <a:gd name="connsiteY0" fmla="*/ 256534 h 513067"/>
                <a:gd name="connsiteX1" fmla="*/ 256534 w 513067"/>
                <a:gd name="connsiteY1" fmla="*/ 513067 h 513067"/>
                <a:gd name="connsiteX2" fmla="*/ 0 w 513067"/>
                <a:gd name="connsiteY2" fmla="*/ 256534 h 513067"/>
                <a:gd name="connsiteX3" fmla="*/ 256534 w 513067"/>
                <a:gd name="connsiteY3" fmla="*/ 0 h 513067"/>
                <a:gd name="connsiteX4" fmla="*/ 513067 w 513067"/>
                <a:gd name="connsiteY4" fmla="*/ 256534 h 5130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3067" h="513067">
                  <a:moveTo>
                    <a:pt x="513067" y="256534"/>
                  </a:moveTo>
                  <a:cubicBezTo>
                    <a:pt x="513067" y="398214"/>
                    <a:pt x="398214" y="513067"/>
                    <a:pt x="256534" y="513067"/>
                  </a:cubicBezTo>
                  <a:cubicBezTo>
                    <a:pt x="114854" y="513067"/>
                    <a:pt x="0" y="398214"/>
                    <a:pt x="0" y="256534"/>
                  </a:cubicBezTo>
                  <a:cubicBezTo>
                    <a:pt x="0" y="114854"/>
                    <a:pt x="114854" y="0"/>
                    <a:pt x="256534" y="0"/>
                  </a:cubicBezTo>
                  <a:cubicBezTo>
                    <a:pt x="398214" y="0"/>
                    <a:pt x="513067" y="114854"/>
                    <a:pt x="513067" y="256534"/>
                  </a:cubicBezTo>
                  <a:close/>
                </a:path>
              </a:pathLst>
            </a:custGeom>
            <a:solidFill>
              <a:schemeClr val="accent1"/>
            </a:solidFill>
            <a:ln w="25400">
              <a:gradFill flip="none" rotWithShape="1">
                <a:gsLst>
                  <a:gs pos="0">
                    <a:schemeClr val="bg1">
                      <a:alpha val="75000"/>
                    </a:schemeClr>
                  </a:gs>
                  <a:gs pos="75000">
                    <a:schemeClr val="bg1">
                      <a:alpha val="15000"/>
                    </a:schemeClr>
                  </a:gs>
                </a:gsLst>
                <a:lin ang="2700000" scaled="1"/>
                <a:tileRect/>
              </a:gradFill>
              <a:headEnd type="none" w="med" len="med"/>
              <a:tailEnd type="none" w="med" len="med"/>
            </a:ln>
            <a:effectLst>
              <a:outerShdw blurRad="50800" dist="254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22" name="Freeform: Shape 21">
              <a:extLst>
                <a:ext uri="{FF2B5EF4-FFF2-40B4-BE49-F238E27FC236}">
                  <a16:creationId xmlns:a16="http://schemas.microsoft.com/office/drawing/2014/main" id="{1752509E-5118-1AE7-0D2C-FCBB9B202F91}"/>
                </a:ext>
              </a:extLst>
            </p:cNvPr>
            <p:cNvSpPr/>
            <p:nvPr/>
          </p:nvSpPr>
          <p:spPr>
            <a:xfrm>
              <a:off x="10318347" y="2515023"/>
              <a:ext cx="928593" cy="928593"/>
            </a:xfrm>
            <a:custGeom>
              <a:avLst/>
              <a:gdLst>
                <a:gd name="connsiteX0" fmla="*/ 419005 w 419004"/>
                <a:gd name="connsiteY0" fmla="*/ 209503 h 419004"/>
                <a:gd name="connsiteX1" fmla="*/ 209503 w 419004"/>
                <a:gd name="connsiteY1" fmla="*/ 419005 h 419004"/>
                <a:gd name="connsiteX2" fmla="*/ 0 w 419004"/>
                <a:gd name="connsiteY2" fmla="*/ 209503 h 419004"/>
                <a:gd name="connsiteX3" fmla="*/ 209503 w 419004"/>
                <a:gd name="connsiteY3" fmla="*/ 0 h 419004"/>
                <a:gd name="connsiteX4" fmla="*/ 419005 w 419004"/>
                <a:gd name="connsiteY4" fmla="*/ 209503 h 419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004" h="419004">
                  <a:moveTo>
                    <a:pt x="419005" y="209503"/>
                  </a:moveTo>
                  <a:cubicBezTo>
                    <a:pt x="419005" y="325207"/>
                    <a:pt x="325207" y="419005"/>
                    <a:pt x="209503" y="419005"/>
                  </a:cubicBezTo>
                  <a:cubicBezTo>
                    <a:pt x="93798" y="419005"/>
                    <a:pt x="0" y="325207"/>
                    <a:pt x="0" y="209503"/>
                  </a:cubicBezTo>
                  <a:cubicBezTo>
                    <a:pt x="0" y="93798"/>
                    <a:pt x="93798" y="0"/>
                    <a:pt x="209503" y="0"/>
                  </a:cubicBezTo>
                  <a:cubicBezTo>
                    <a:pt x="325207" y="0"/>
                    <a:pt x="419005" y="93798"/>
                    <a:pt x="419005" y="209503"/>
                  </a:cubicBezTo>
                  <a:close/>
                </a:path>
              </a:pathLst>
            </a:custGeom>
            <a:solidFill>
              <a:schemeClr val="accent1"/>
            </a:solidFill>
            <a:ln w="25400">
              <a:gradFill flip="none" rotWithShape="1">
                <a:gsLst>
                  <a:gs pos="0">
                    <a:schemeClr val="bg1">
                      <a:alpha val="75000"/>
                    </a:schemeClr>
                  </a:gs>
                  <a:gs pos="75000">
                    <a:schemeClr val="bg1">
                      <a:alpha val="15000"/>
                    </a:schemeClr>
                  </a:gs>
                </a:gsLst>
                <a:lin ang="2700000" scaled="1"/>
                <a:tileRect/>
              </a:gradFill>
              <a:headEnd type="none" w="med" len="med"/>
              <a:tailEnd type="none" w="med" len="med"/>
            </a:ln>
            <a:effectLst>
              <a:outerShdw blurRad="50800" dist="254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23" name="Freeform: Shape 22">
              <a:extLst>
                <a:ext uri="{FF2B5EF4-FFF2-40B4-BE49-F238E27FC236}">
                  <a16:creationId xmlns:a16="http://schemas.microsoft.com/office/drawing/2014/main" id="{122EF070-649F-87F5-743E-767E1BF8CE64}"/>
                </a:ext>
              </a:extLst>
            </p:cNvPr>
            <p:cNvSpPr/>
            <p:nvPr/>
          </p:nvSpPr>
          <p:spPr>
            <a:xfrm>
              <a:off x="8926911" y="5648563"/>
              <a:ext cx="928593" cy="928593"/>
            </a:xfrm>
            <a:custGeom>
              <a:avLst/>
              <a:gdLst>
                <a:gd name="connsiteX0" fmla="*/ 419005 w 419004"/>
                <a:gd name="connsiteY0" fmla="*/ 209503 h 419004"/>
                <a:gd name="connsiteX1" fmla="*/ 209502 w 419004"/>
                <a:gd name="connsiteY1" fmla="*/ 419005 h 419004"/>
                <a:gd name="connsiteX2" fmla="*/ 0 w 419004"/>
                <a:gd name="connsiteY2" fmla="*/ 209503 h 419004"/>
                <a:gd name="connsiteX3" fmla="*/ 209502 w 419004"/>
                <a:gd name="connsiteY3" fmla="*/ 0 h 419004"/>
                <a:gd name="connsiteX4" fmla="*/ 419005 w 419004"/>
                <a:gd name="connsiteY4" fmla="*/ 209503 h 419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004" h="419004">
                  <a:moveTo>
                    <a:pt x="419005" y="209503"/>
                  </a:moveTo>
                  <a:cubicBezTo>
                    <a:pt x="419005" y="325208"/>
                    <a:pt x="325207" y="419005"/>
                    <a:pt x="209502" y="419005"/>
                  </a:cubicBezTo>
                  <a:cubicBezTo>
                    <a:pt x="93798" y="419005"/>
                    <a:pt x="0" y="325208"/>
                    <a:pt x="0" y="209503"/>
                  </a:cubicBezTo>
                  <a:cubicBezTo>
                    <a:pt x="0" y="93798"/>
                    <a:pt x="93798" y="0"/>
                    <a:pt x="209502" y="0"/>
                  </a:cubicBezTo>
                  <a:cubicBezTo>
                    <a:pt x="325207" y="0"/>
                    <a:pt x="419005" y="93798"/>
                    <a:pt x="419005" y="209503"/>
                  </a:cubicBezTo>
                  <a:close/>
                </a:path>
              </a:pathLst>
            </a:custGeom>
            <a:solidFill>
              <a:schemeClr val="bg1"/>
            </a:solidFill>
            <a:ln>
              <a:solidFill>
                <a:schemeClr val="bg1">
                  <a:alpha val="25000"/>
                </a:schemeClr>
              </a:solidFill>
              <a:headEnd type="none" w="med" len="med"/>
              <a:tailEnd type="none" w="med" len="med"/>
            </a:ln>
            <a:effectLst>
              <a:outerShdw blurRad="50800" dist="254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24" name="Freeform: Shape 23">
              <a:extLst>
                <a:ext uri="{FF2B5EF4-FFF2-40B4-BE49-F238E27FC236}">
                  <a16:creationId xmlns:a16="http://schemas.microsoft.com/office/drawing/2014/main" id="{77DC6A8E-81EC-E676-57E9-A69A075E4764}"/>
                </a:ext>
              </a:extLst>
            </p:cNvPr>
            <p:cNvSpPr/>
            <p:nvPr/>
          </p:nvSpPr>
          <p:spPr>
            <a:xfrm>
              <a:off x="8926911" y="5648563"/>
              <a:ext cx="928593" cy="928593"/>
            </a:xfrm>
            <a:custGeom>
              <a:avLst/>
              <a:gdLst>
                <a:gd name="connsiteX0" fmla="*/ 209502 w 419004"/>
                <a:gd name="connsiteY0" fmla="*/ 8551 h 419004"/>
                <a:gd name="connsiteX1" fmla="*/ 209502 w 419004"/>
                <a:gd name="connsiteY1" fmla="*/ 8551 h 419004"/>
                <a:gd name="connsiteX2" fmla="*/ 410454 w 419004"/>
                <a:gd name="connsiteY2" fmla="*/ 209503 h 419004"/>
                <a:gd name="connsiteX3" fmla="*/ 351594 w 419004"/>
                <a:gd name="connsiteY3" fmla="*/ 351594 h 419004"/>
                <a:gd name="connsiteX4" fmla="*/ 209502 w 419004"/>
                <a:gd name="connsiteY4" fmla="*/ 410454 h 419004"/>
                <a:gd name="connsiteX5" fmla="*/ 8551 w 419004"/>
                <a:gd name="connsiteY5" fmla="*/ 209503 h 419004"/>
                <a:gd name="connsiteX6" fmla="*/ 209502 w 419004"/>
                <a:gd name="connsiteY6" fmla="*/ 8551 h 419004"/>
                <a:gd name="connsiteX7" fmla="*/ 209502 w 419004"/>
                <a:gd name="connsiteY7" fmla="*/ 0 h 419004"/>
                <a:gd name="connsiteX8" fmla="*/ 0 w 419004"/>
                <a:gd name="connsiteY8" fmla="*/ 209503 h 419004"/>
                <a:gd name="connsiteX9" fmla="*/ 209502 w 419004"/>
                <a:gd name="connsiteY9" fmla="*/ 419005 h 419004"/>
                <a:gd name="connsiteX10" fmla="*/ 419005 w 419004"/>
                <a:gd name="connsiteY10" fmla="*/ 209503 h 419004"/>
                <a:gd name="connsiteX11" fmla="*/ 209502 w 419004"/>
                <a:gd name="connsiteY11" fmla="*/ 0 h 419004"/>
                <a:gd name="connsiteX12" fmla="*/ 209502 w 419004"/>
                <a:gd name="connsiteY12" fmla="*/ 0 h 419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9004" h="419004">
                  <a:moveTo>
                    <a:pt x="209502" y="8551"/>
                  </a:moveTo>
                  <a:lnTo>
                    <a:pt x="209502" y="8551"/>
                  </a:lnTo>
                  <a:cubicBezTo>
                    <a:pt x="320297" y="8551"/>
                    <a:pt x="410454" y="98708"/>
                    <a:pt x="410454" y="209503"/>
                  </a:cubicBezTo>
                  <a:cubicBezTo>
                    <a:pt x="410454" y="263175"/>
                    <a:pt x="389561" y="313655"/>
                    <a:pt x="351594" y="351594"/>
                  </a:cubicBezTo>
                  <a:cubicBezTo>
                    <a:pt x="313627" y="389560"/>
                    <a:pt x="263175" y="410454"/>
                    <a:pt x="209502" y="410454"/>
                  </a:cubicBezTo>
                  <a:cubicBezTo>
                    <a:pt x="98708" y="410454"/>
                    <a:pt x="8551" y="320297"/>
                    <a:pt x="8551" y="209503"/>
                  </a:cubicBezTo>
                  <a:cubicBezTo>
                    <a:pt x="8551" y="98708"/>
                    <a:pt x="98708" y="8551"/>
                    <a:pt x="209502" y="8551"/>
                  </a:cubicBezTo>
                  <a:moveTo>
                    <a:pt x="209502" y="0"/>
                  </a:moveTo>
                  <a:cubicBezTo>
                    <a:pt x="93806" y="0"/>
                    <a:pt x="0" y="93806"/>
                    <a:pt x="0" y="209503"/>
                  </a:cubicBezTo>
                  <a:cubicBezTo>
                    <a:pt x="0" y="325199"/>
                    <a:pt x="93806" y="419005"/>
                    <a:pt x="209502" y="419005"/>
                  </a:cubicBezTo>
                  <a:cubicBezTo>
                    <a:pt x="325199" y="419005"/>
                    <a:pt x="419005" y="325199"/>
                    <a:pt x="419005" y="209503"/>
                  </a:cubicBezTo>
                  <a:cubicBezTo>
                    <a:pt x="419005" y="93806"/>
                    <a:pt x="325199" y="0"/>
                    <a:pt x="209502" y="0"/>
                  </a:cubicBezTo>
                  <a:lnTo>
                    <a:pt x="209502" y="0"/>
                  </a:lnTo>
                  <a:close/>
                </a:path>
              </a:pathLst>
            </a:custGeom>
            <a:gradFill>
              <a:gsLst>
                <a:gs pos="0">
                  <a:srgbClr val="FFFFFF"/>
                </a:gs>
                <a:gs pos="17000">
                  <a:srgbClr val="FCFCFC">
                    <a:alpha val="98824"/>
                  </a:srgbClr>
                </a:gs>
                <a:gs pos="30000">
                  <a:srgbClr val="F3F3F3">
                    <a:alpha val="95686"/>
                  </a:srgbClr>
                </a:gs>
                <a:gs pos="42000">
                  <a:srgbClr val="E4E4E4">
                    <a:alpha val="90980"/>
                  </a:srgbClr>
                </a:gs>
                <a:gs pos="54000">
                  <a:srgbClr val="D0D0D0">
                    <a:alpha val="83922"/>
                  </a:srgbClr>
                </a:gs>
                <a:gs pos="65000">
                  <a:srgbClr val="B5B5B5">
                    <a:alpha val="74902"/>
                  </a:srgbClr>
                </a:gs>
                <a:gs pos="76000">
                  <a:srgbClr val="959595">
                    <a:alpha val="63922"/>
                  </a:srgbClr>
                </a:gs>
                <a:gs pos="86000">
                  <a:srgbClr val="6E6E6E">
                    <a:alpha val="50980"/>
                  </a:srgbClr>
                </a:gs>
                <a:gs pos="96000">
                  <a:srgbClr val="424242">
                    <a:alpha val="36863"/>
                  </a:srgbClr>
                </a:gs>
                <a:gs pos="100000">
                  <a:srgbClr val="2F2F2F">
                    <a:alpha val="29804"/>
                  </a:srgbClr>
                </a:gs>
              </a:gsLst>
              <a:lin ang="2880159" scaled="1"/>
            </a:gradFill>
            <a:ln w="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69DA5939-C33A-B890-2D85-2D57E20F455D}"/>
                </a:ext>
              </a:extLst>
            </p:cNvPr>
            <p:cNvSpPr/>
            <p:nvPr/>
          </p:nvSpPr>
          <p:spPr>
            <a:xfrm>
              <a:off x="10782016" y="3584931"/>
              <a:ext cx="1137055" cy="1137055"/>
            </a:xfrm>
            <a:custGeom>
              <a:avLst/>
              <a:gdLst>
                <a:gd name="connsiteX0" fmla="*/ 513067 w 513067"/>
                <a:gd name="connsiteY0" fmla="*/ 256534 h 513067"/>
                <a:gd name="connsiteX1" fmla="*/ 256534 w 513067"/>
                <a:gd name="connsiteY1" fmla="*/ 513067 h 513067"/>
                <a:gd name="connsiteX2" fmla="*/ 0 w 513067"/>
                <a:gd name="connsiteY2" fmla="*/ 256534 h 513067"/>
                <a:gd name="connsiteX3" fmla="*/ 256534 w 513067"/>
                <a:gd name="connsiteY3" fmla="*/ 0 h 513067"/>
                <a:gd name="connsiteX4" fmla="*/ 513067 w 513067"/>
                <a:gd name="connsiteY4" fmla="*/ 256534 h 5130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3067" h="513067">
                  <a:moveTo>
                    <a:pt x="513067" y="256534"/>
                  </a:moveTo>
                  <a:cubicBezTo>
                    <a:pt x="513067" y="398213"/>
                    <a:pt x="398214" y="513067"/>
                    <a:pt x="256534" y="513067"/>
                  </a:cubicBezTo>
                  <a:cubicBezTo>
                    <a:pt x="114854" y="513067"/>
                    <a:pt x="0" y="398213"/>
                    <a:pt x="0" y="256534"/>
                  </a:cubicBezTo>
                  <a:cubicBezTo>
                    <a:pt x="0" y="114854"/>
                    <a:pt x="114854" y="0"/>
                    <a:pt x="256534" y="0"/>
                  </a:cubicBezTo>
                  <a:cubicBezTo>
                    <a:pt x="398214" y="0"/>
                    <a:pt x="513067" y="114854"/>
                    <a:pt x="513067" y="256534"/>
                  </a:cubicBezTo>
                  <a:close/>
                </a:path>
              </a:pathLst>
            </a:custGeom>
            <a:solidFill>
              <a:srgbClr val="095E09"/>
            </a:solidFill>
            <a:ln>
              <a:gradFill flip="none" rotWithShape="1">
                <a:gsLst>
                  <a:gs pos="0">
                    <a:schemeClr val="bg1">
                      <a:alpha val="75000"/>
                    </a:schemeClr>
                  </a:gs>
                  <a:gs pos="75000">
                    <a:schemeClr val="bg1">
                      <a:alpha val="25000"/>
                    </a:schemeClr>
                  </a:gs>
                </a:gsLst>
                <a:lin ang="2700000" scaled="1"/>
                <a:tileRect/>
              </a:gradFill>
              <a:headEnd type="none" w="med" len="med"/>
              <a:tailEnd type="none" w="med" len="med"/>
            </a:ln>
            <a:effectLst>
              <a:outerShdw blurRad="50800" dist="254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26" name="Freeform: Shape 25">
              <a:extLst>
                <a:ext uri="{FF2B5EF4-FFF2-40B4-BE49-F238E27FC236}">
                  <a16:creationId xmlns:a16="http://schemas.microsoft.com/office/drawing/2014/main" id="{EDE4AC5C-F6FD-CE48-A9CC-E9970A345D64}"/>
                </a:ext>
              </a:extLst>
            </p:cNvPr>
            <p:cNvSpPr/>
            <p:nvPr/>
          </p:nvSpPr>
          <p:spPr>
            <a:xfrm>
              <a:off x="10886248" y="3689163"/>
              <a:ext cx="928594" cy="928593"/>
            </a:xfrm>
            <a:custGeom>
              <a:avLst/>
              <a:gdLst>
                <a:gd name="connsiteX0" fmla="*/ 419005 w 419004"/>
                <a:gd name="connsiteY0" fmla="*/ 209503 h 419004"/>
                <a:gd name="connsiteX1" fmla="*/ 209503 w 419004"/>
                <a:gd name="connsiteY1" fmla="*/ 419005 h 419004"/>
                <a:gd name="connsiteX2" fmla="*/ 0 w 419004"/>
                <a:gd name="connsiteY2" fmla="*/ 209503 h 419004"/>
                <a:gd name="connsiteX3" fmla="*/ 209503 w 419004"/>
                <a:gd name="connsiteY3" fmla="*/ 0 h 419004"/>
                <a:gd name="connsiteX4" fmla="*/ 419005 w 419004"/>
                <a:gd name="connsiteY4" fmla="*/ 209503 h 419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004" h="419004">
                  <a:moveTo>
                    <a:pt x="419005" y="209503"/>
                  </a:moveTo>
                  <a:cubicBezTo>
                    <a:pt x="419005" y="325207"/>
                    <a:pt x="325208" y="419005"/>
                    <a:pt x="209503" y="419005"/>
                  </a:cubicBezTo>
                  <a:cubicBezTo>
                    <a:pt x="93798" y="419005"/>
                    <a:pt x="0" y="325207"/>
                    <a:pt x="0" y="209503"/>
                  </a:cubicBezTo>
                  <a:cubicBezTo>
                    <a:pt x="0" y="93798"/>
                    <a:pt x="93798" y="0"/>
                    <a:pt x="209503" y="0"/>
                  </a:cubicBezTo>
                  <a:cubicBezTo>
                    <a:pt x="325208" y="0"/>
                    <a:pt x="419005" y="93798"/>
                    <a:pt x="419005" y="209503"/>
                  </a:cubicBezTo>
                  <a:close/>
                </a:path>
              </a:pathLst>
            </a:custGeom>
            <a:solidFill>
              <a:schemeClr val="bg1"/>
            </a:solidFill>
            <a:ln>
              <a:solidFill>
                <a:schemeClr val="bg1">
                  <a:alpha val="25000"/>
                </a:schemeClr>
              </a:solidFill>
              <a:headEnd type="none" w="med" len="med"/>
              <a:tailEnd type="none" w="med" len="med"/>
            </a:ln>
            <a:effectLst>
              <a:outerShdw blurRad="50800" dist="254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27" name="Freeform: Shape 26">
              <a:extLst>
                <a:ext uri="{FF2B5EF4-FFF2-40B4-BE49-F238E27FC236}">
                  <a16:creationId xmlns:a16="http://schemas.microsoft.com/office/drawing/2014/main" id="{9870F669-5C4A-D953-CA31-9447B269DE65}"/>
                </a:ext>
              </a:extLst>
            </p:cNvPr>
            <p:cNvSpPr/>
            <p:nvPr/>
          </p:nvSpPr>
          <p:spPr>
            <a:xfrm>
              <a:off x="10886248" y="3689163"/>
              <a:ext cx="928594" cy="928593"/>
            </a:xfrm>
            <a:custGeom>
              <a:avLst/>
              <a:gdLst>
                <a:gd name="connsiteX0" fmla="*/ 209502 w 419004"/>
                <a:gd name="connsiteY0" fmla="*/ 8551 h 419004"/>
                <a:gd name="connsiteX1" fmla="*/ 410454 w 419004"/>
                <a:gd name="connsiteY1" fmla="*/ 209503 h 419004"/>
                <a:gd name="connsiteX2" fmla="*/ 209502 w 419004"/>
                <a:gd name="connsiteY2" fmla="*/ 410454 h 419004"/>
                <a:gd name="connsiteX3" fmla="*/ 8551 w 419004"/>
                <a:gd name="connsiteY3" fmla="*/ 209503 h 419004"/>
                <a:gd name="connsiteX4" fmla="*/ 209502 w 419004"/>
                <a:gd name="connsiteY4" fmla="*/ 8551 h 419004"/>
                <a:gd name="connsiteX5" fmla="*/ 209502 w 419004"/>
                <a:gd name="connsiteY5" fmla="*/ 0 h 419004"/>
                <a:gd name="connsiteX6" fmla="*/ 0 w 419004"/>
                <a:gd name="connsiteY6" fmla="*/ 209503 h 419004"/>
                <a:gd name="connsiteX7" fmla="*/ 209502 w 419004"/>
                <a:gd name="connsiteY7" fmla="*/ 419005 h 419004"/>
                <a:gd name="connsiteX8" fmla="*/ 419005 w 419004"/>
                <a:gd name="connsiteY8" fmla="*/ 209503 h 419004"/>
                <a:gd name="connsiteX9" fmla="*/ 209502 w 419004"/>
                <a:gd name="connsiteY9" fmla="*/ 0 h 419004"/>
                <a:gd name="connsiteX10" fmla="*/ 209502 w 419004"/>
                <a:gd name="connsiteY10" fmla="*/ 0 h 419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9004" h="419004">
                  <a:moveTo>
                    <a:pt x="209502" y="8551"/>
                  </a:moveTo>
                  <a:cubicBezTo>
                    <a:pt x="320297" y="8551"/>
                    <a:pt x="410454" y="98708"/>
                    <a:pt x="410454" y="209503"/>
                  </a:cubicBezTo>
                  <a:cubicBezTo>
                    <a:pt x="410454" y="320297"/>
                    <a:pt x="320297" y="410454"/>
                    <a:pt x="209502" y="410454"/>
                  </a:cubicBezTo>
                  <a:cubicBezTo>
                    <a:pt x="98708" y="410454"/>
                    <a:pt x="8551" y="320297"/>
                    <a:pt x="8551" y="209503"/>
                  </a:cubicBezTo>
                  <a:cubicBezTo>
                    <a:pt x="8551" y="98708"/>
                    <a:pt x="98708" y="8551"/>
                    <a:pt x="209502" y="8551"/>
                  </a:cubicBezTo>
                  <a:moveTo>
                    <a:pt x="209502" y="0"/>
                  </a:moveTo>
                  <a:cubicBezTo>
                    <a:pt x="93806" y="0"/>
                    <a:pt x="0" y="93806"/>
                    <a:pt x="0" y="209503"/>
                  </a:cubicBezTo>
                  <a:cubicBezTo>
                    <a:pt x="0" y="325199"/>
                    <a:pt x="93806" y="419005"/>
                    <a:pt x="209502" y="419005"/>
                  </a:cubicBezTo>
                  <a:cubicBezTo>
                    <a:pt x="325199" y="419005"/>
                    <a:pt x="419005" y="325199"/>
                    <a:pt x="419005" y="209503"/>
                  </a:cubicBezTo>
                  <a:cubicBezTo>
                    <a:pt x="419005" y="93806"/>
                    <a:pt x="325199" y="0"/>
                    <a:pt x="209502" y="0"/>
                  </a:cubicBezTo>
                  <a:lnTo>
                    <a:pt x="209502" y="0"/>
                  </a:lnTo>
                  <a:close/>
                </a:path>
              </a:pathLst>
            </a:custGeom>
            <a:gradFill>
              <a:gsLst>
                <a:gs pos="0">
                  <a:srgbClr val="FFFFFF"/>
                </a:gs>
                <a:gs pos="50000">
                  <a:srgbClr val="979797"/>
                </a:gs>
                <a:gs pos="100000">
                  <a:srgbClr val="2F2F2F"/>
                </a:gs>
              </a:gsLst>
              <a:lin ang="2699835" scaled="1"/>
            </a:gradFill>
            <a:ln w="0" cap="flat">
              <a:noFill/>
              <a:prstDash val="solid"/>
              <a:miter/>
            </a:ln>
          </p:spPr>
          <p:txBody>
            <a:bodyPr rtlCol="0" anchor="ctr"/>
            <a:lstStyle/>
            <a:p>
              <a:endParaRPr lang="en-US"/>
            </a:p>
          </p:txBody>
        </p:sp>
      </p:grpSp>
    </p:spTree>
    <p:extLst>
      <p:ext uri="{BB962C8B-B14F-4D97-AF65-F5344CB8AC3E}">
        <p14:creationId xmlns:p14="http://schemas.microsoft.com/office/powerpoint/2010/main" val="35814811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8FF46595-A86D-1081-544B-236CBE98A749}"/>
              </a:ext>
            </a:extLst>
          </p:cNvPr>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i="0" kern="1200" cap="none" spc="-50" baseline="0" dirty="0">
                <a:ln w="3175">
                  <a:noFill/>
                </a:ln>
                <a:gradFill>
                  <a:gsLst>
                    <a:gs pos="0">
                      <a:schemeClr val="bg1"/>
                    </a:gs>
                    <a:gs pos="100000">
                      <a:schemeClr val="bg1"/>
                    </a:gs>
                  </a:gsLst>
                  <a:lin ang="5400000" scaled="1"/>
                </a:gradFill>
                <a:effectLst/>
                <a:latin typeface="Segoe Sans Display Semibold" pitchFamily="2" charset="0"/>
                <a:ea typeface="+mn-ea"/>
                <a:cs typeface="Segoe Sans Display" pitchFamily="2" charset="0"/>
              </a:defRPr>
            </a:lvl1pPr>
          </a:lstStyle>
          <a:p>
            <a:r>
              <a:rPr lang="en-US"/>
              <a:t>Section title</a:t>
            </a:r>
          </a:p>
        </p:txBody>
      </p:sp>
      <p:grpSp>
        <p:nvGrpSpPr>
          <p:cNvPr id="2" name="Group 1">
            <a:extLst>
              <a:ext uri="{FF2B5EF4-FFF2-40B4-BE49-F238E27FC236}">
                <a16:creationId xmlns:a16="http://schemas.microsoft.com/office/drawing/2014/main" id="{87A72645-2024-ACFE-5685-099C637C5309}"/>
              </a:ext>
            </a:extLst>
          </p:cNvPr>
          <p:cNvGrpSpPr/>
          <p:nvPr userDrawn="1"/>
        </p:nvGrpSpPr>
        <p:grpSpPr>
          <a:xfrm>
            <a:off x="6532012" y="0"/>
            <a:ext cx="5659988" cy="6858001"/>
            <a:chOff x="6532012" y="0"/>
            <a:chExt cx="5659988" cy="6858001"/>
          </a:xfrm>
        </p:grpSpPr>
        <p:sp>
          <p:nvSpPr>
            <p:cNvPr id="3" name="Freeform: Shape 2">
              <a:extLst>
                <a:ext uri="{FF2B5EF4-FFF2-40B4-BE49-F238E27FC236}">
                  <a16:creationId xmlns:a16="http://schemas.microsoft.com/office/drawing/2014/main" id="{920A4CC9-9C94-4630-A39D-1F732BA59342}"/>
                </a:ext>
              </a:extLst>
            </p:cNvPr>
            <p:cNvSpPr/>
            <p:nvPr userDrawn="1"/>
          </p:nvSpPr>
          <p:spPr>
            <a:xfrm>
              <a:off x="6532012" y="0"/>
              <a:ext cx="2284349" cy="6858000"/>
            </a:xfrm>
            <a:custGeom>
              <a:avLst/>
              <a:gdLst>
                <a:gd name="connsiteX0" fmla="*/ 862374 w 2284349"/>
                <a:gd name="connsiteY0" fmla="*/ 0 h 6858000"/>
                <a:gd name="connsiteX1" fmla="*/ 2284349 w 2284349"/>
                <a:gd name="connsiteY1" fmla="*/ 0 h 6858000"/>
                <a:gd name="connsiteX2" fmla="*/ 2241718 w 2284349"/>
                <a:gd name="connsiteY2" fmla="*/ 59906 h 6858000"/>
                <a:gd name="connsiteX3" fmla="*/ 1210283 w 2284349"/>
                <a:gd name="connsiteY3" fmla="*/ 3429706 h 6858000"/>
                <a:gd name="connsiteX4" fmla="*/ 2241718 w 2284349"/>
                <a:gd name="connsiteY4" fmla="*/ 6799506 h 6858000"/>
                <a:gd name="connsiteX5" fmla="*/ 2283345 w 2284349"/>
                <a:gd name="connsiteY5" fmla="*/ 6858000 h 6858000"/>
                <a:gd name="connsiteX6" fmla="*/ 861653 w 2284349"/>
                <a:gd name="connsiteY6" fmla="*/ 6858000 h 6858000"/>
                <a:gd name="connsiteX7" fmla="*/ 713448 w 2284349"/>
                <a:gd name="connsiteY7" fmla="*/ 6567812 h 6858000"/>
                <a:gd name="connsiteX8" fmla="*/ 569331 w 2284349"/>
                <a:gd name="connsiteY8" fmla="*/ 6248573 h 6858000"/>
                <a:gd name="connsiteX9" fmla="*/ 0 w 2284349"/>
                <a:gd name="connsiteY9" fmla="*/ 3429706 h 6858000"/>
                <a:gd name="connsiteX10" fmla="*/ 569331 w 2284349"/>
                <a:gd name="connsiteY10" fmla="*/ 610838 h 6858000"/>
                <a:gd name="connsiteX11" fmla="*/ 713448 w 2284349"/>
                <a:gd name="connsiteY11" fmla="*/ 2916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84349" h="6858000">
                  <a:moveTo>
                    <a:pt x="862374" y="0"/>
                  </a:moveTo>
                  <a:lnTo>
                    <a:pt x="2284349" y="0"/>
                  </a:lnTo>
                  <a:lnTo>
                    <a:pt x="2241718" y="59906"/>
                  </a:lnTo>
                  <a:cubicBezTo>
                    <a:pt x="1590753" y="1022653"/>
                    <a:pt x="1210283" y="2182578"/>
                    <a:pt x="1210283" y="3429706"/>
                  </a:cubicBezTo>
                  <a:cubicBezTo>
                    <a:pt x="1210283" y="4676834"/>
                    <a:pt x="1590753" y="5836759"/>
                    <a:pt x="2241718" y="6799506"/>
                  </a:cubicBezTo>
                  <a:lnTo>
                    <a:pt x="2283345" y="6858000"/>
                  </a:lnTo>
                  <a:lnTo>
                    <a:pt x="861653" y="6858000"/>
                  </a:lnTo>
                  <a:lnTo>
                    <a:pt x="713448" y="6567812"/>
                  </a:lnTo>
                  <a:cubicBezTo>
                    <a:pt x="662970" y="6462804"/>
                    <a:pt x="614922" y="6356377"/>
                    <a:pt x="569331" y="6248573"/>
                  </a:cubicBezTo>
                  <a:cubicBezTo>
                    <a:pt x="191542" y="5355375"/>
                    <a:pt x="0" y="4406931"/>
                    <a:pt x="0" y="3429706"/>
                  </a:cubicBezTo>
                  <a:cubicBezTo>
                    <a:pt x="0" y="2452481"/>
                    <a:pt x="191542" y="1503872"/>
                    <a:pt x="569331" y="610838"/>
                  </a:cubicBezTo>
                  <a:cubicBezTo>
                    <a:pt x="614922" y="503034"/>
                    <a:pt x="662970" y="396608"/>
                    <a:pt x="713448" y="291600"/>
                  </a:cubicBezTo>
                  <a:close/>
                </a:path>
              </a:pathLst>
            </a:custGeom>
            <a:solidFill>
              <a:schemeClr val="bg1"/>
            </a:solidFill>
            <a:ln>
              <a:solidFill>
                <a:schemeClr val="bg1">
                  <a:alpha val="25000"/>
                </a:schemeClr>
              </a:solidFill>
              <a:headEnd type="none" w="med" len="med"/>
              <a:tailEnd type="none" w="med" len="med"/>
            </a:ln>
            <a:effectLst>
              <a:innerShdw blurRad="101600" dist="50800" dir="11580000">
                <a:prstClr val="black">
                  <a:alpha val="71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4" name="Freeform: Shape 3">
              <a:extLst>
                <a:ext uri="{FF2B5EF4-FFF2-40B4-BE49-F238E27FC236}">
                  <a16:creationId xmlns:a16="http://schemas.microsoft.com/office/drawing/2014/main" id="{F21934A5-0AA5-1D1C-7912-1ADDB56FE106}"/>
                </a:ext>
              </a:extLst>
            </p:cNvPr>
            <p:cNvSpPr/>
            <p:nvPr userDrawn="1"/>
          </p:nvSpPr>
          <p:spPr>
            <a:xfrm>
              <a:off x="6586859" y="0"/>
              <a:ext cx="2222401" cy="3172810"/>
            </a:xfrm>
            <a:custGeom>
              <a:avLst/>
              <a:gdLst>
                <a:gd name="connsiteX0" fmla="*/ 807285 w 2222401"/>
                <a:gd name="connsiteY0" fmla="*/ 0 h 3172810"/>
                <a:gd name="connsiteX1" fmla="*/ 2222401 w 2222401"/>
                <a:gd name="connsiteY1" fmla="*/ 0 h 3172810"/>
                <a:gd name="connsiteX2" fmla="*/ 2110058 w 2222401"/>
                <a:gd name="connsiteY2" fmla="*/ 165328 h 3172810"/>
                <a:gd name="connsiteX3" fmla="*/ 1205242 w 2222401"/>
                <a:gd name="connsiteY3" fmla="*/ 2646234 h 3172810"/>
                <a:gd name="connsiteX4" fmla="*/ 526576 w 2222401"/>
                <a:gd name="connsiteY4" fmla="*/ 3167597 h 3172810"/>
                <a:gd name="connsiteX5" fmla="*/ 5213 w 2222401"/>
                <a:gd name="connsiteY5" fmla="*/ 2488933 h 3172810"/>
                <a:gd name="connsiteX6" fmla="*/ 760155 w 2222401"/>
                <a:gd name="connsiteY6" fmla="*/ 85150 h 3172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2401" h="3172810">
                  <a:moveTo>
                    <a:pt x="807285" y="0"/>
                  </a:moveTo>
                  <a:lnTo>
                    <a:pt x="2222401" y="0"/>
                  </a:lnTo>
                  <a:lnTo>
                    <a:pt x="2110058" y="165328"/>
                  </a:lnTo>
                  <a:cubicBezTo>
                    <a:pt x="1633494" y="905229"/>
                    <a:pt x="1322939" y="1747731"/>
                    <a:pt x="1205242" y="2646234"/>
                  </a:cubicBezTo>
                  <a:cubicBezTo>
                    <a:pt x="1161906" y="2977546"/>
                    <a:pt x="858051" y="3211100"/>
                    <a:pt x="526576" y="3167597"/>
                  </a:cubicBezTo>
                  <a:cubicBezTo>
                    <a:pt x="195267" y="3124260"/>
                    <a:pt x="-38289" y="2820409"/>
                    <a:pt x="5213" y="2488933"/>
                  </a:cubicBezTo>
                  <a:cubicBezTo>
                    <a:pt x="116223" y="1640951"/>
                    <a:pt x="369827" y="834003"/>
                    <a:pt x="760155" y="85150"/>
                  </a:cubicBezTo>
                  <a:close/>
                </a:path>
              </a:pathLst>
            </a:custGeom>
            <a:gradFill>
              <a:gsLst>
                <a:gs pos="43000">
                  <a:srgbClr val="FFB900"/>
                </a:gs>
                <a:gs pos="100000">
                  <a:srgbClr val="FF8F00"/>
                </a:gs>
              </a:gsLst>
              <a:lin ang="18900000" scaled="1"/>
            </a:gradFill>
            <a:ln>
              <a:solidFill>
                <a:schemeClr val="bg1">
                  <a:alpha val="25000"/>
                </a:schemeClr>
              </a:solidFill>
              <a:headEnd type="none" w="med" len="med"/>
              <a:tailEnd type="none" w="med" len="med"/>
            </a:ln>
            <a:effectLst>
              <a:innerShdw blurRad="101600" dist="50800" dir="11580000">
                <a:prstClr val="black">
                  <a:alpha val="71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7" name="Freeform: Shape 6">
              <a:extLst>
                <a:ext uri="{FF2B5EF4-FFF2-40B4-BE49-F238E27FC236}">
                  <a16:creationId xmlns:a16="http://schemas.microsoft.com/office/drawing/2014/main" id="{4724D380-C274-D4C6-F0EE-ABDC6540FDF4}"/>
                </a:ext>
              </a:extLst>
            </p:cNvPr>
            <p:cNvSpPr/>
            <p:nvPr userDrawn="1"/>
          </p:nvSpPr>
          <p:spPr>
            <a:xfrm>
              <a:off x="8056398" y="0"/>
              <a:ext cx="2796646" cy="6858000"/>
            </a:xfrm>
            <a:custGeom>
              <a:avLst/>
              <a:gdLst>
                <a:gd name="connsiteX0" fmla="*/ 1140444 w 2796646"/>
                <a:gd name="connsiteY0" fmla="*/ 0 h 6858000"/>
                <a:gd name="connsiteX1" fmla="*/ 2796646 w 2796646"/>
                <a:gd name="connsiteY1" fmla="*/ 0 h 6858000"/>
                <a:gd name="connsiteX2" fmla="*/ 2534265 w 2796646"/>
                <a:gd name="connsiteY2" fmla="*/ 238512 h 6858000"/>
                <a:gd name="connsiteX3" fmla="*/ 1210285 w 2796646"/>
                <a:gd name="connsiteY3" fmla="*/ 3429710 h 6858000"/>
                <a:gd name="connsiteX4" fmla="*/ 2534203 w 2796646"/>
                <a:gd name="connsiteY4" fmla="*/ 6620909 h 6858000"/>
                <a:gd name="connsiteX5" fmla="*/ 2795016 w 2796646"/>
                <a:gd name="connsiteY5" fmla="*/ 6858000 h 6858000"/>
                <a:gd name="connsiteX6" fmla="*/ 1139386 w 2796646"/>
                <a:gd name="connsiteY6" fmla="*/ 6858000 h 6858000"/>
                <a:gd name="connsiteX7" fmla="*/ 1133945 w 2796646"/>
                <a:gd name="connsiteY7" fmla="*/ 6851071 h 6858000"/>
                <a:gd name="connsiteX8" fmla="*/ 450238 w 2796646"/>
                <a:gd name="connsiteY8" fmla="*/ 5658405 h 6858000"/>
                <a:gd name="connsiteX9" fmla="*/ 0 w 2796646"/>
                <a:gd name="connsiteY9" fmla="*/ 3429710 h 6858000"/>
                <a:gd name="connsiteX10" fmla="*/ 450238 w 2796646"/>
                <a:gd name="connsiteY10" fmla="*/ 1201015 h 6858000"/>
                <a:gd name="connsiteX11" fmla="*/ 1133945 w 2796646"/>
                <a:gd name="connsiteY11" fmla="*/ 827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96646" h="6858000">
                  <a:moveTo>
                    <a:pt x="1140444" y="0"/>
                  </a:moveTo>
                  <a:lnTo>
                    <a:pt x="2796646" y="0"/>
                  </a:lnTo>
                  <a:lnTo>
                    <a:pt x="2534265" y="238512"/>
                  </a:lnTo>
                  <a:cubicBezTo>
                    <a:pt x="1716679" y="1056077"/>
                    <a:pt x="1210285" y="2184856"/>
                    <a:pt x="1210285" y="3429710"/>
                  </a:cubicBezTo>
                  <a:cubicBezTo>
                    <a:pt x="1210285" y="4674564"/>
                    <a:pt x="1716637" y="5803343"/>
                    <a:pt x="2534203" y="6620909"/>
                  </a:cubicBezTo>
                  <a:lnTo>
                    <a:pt x="2795016" y="6858000"/>
                  </a:lnTo>
                  <a:lnTo>
                    <a:pt x="1139386" y="6858000"/>
                  </a:lnTo>
                  <a:lnTo>
                    <a:pt x="1133945" y="6851071"/>
                  </a:lnTo>
                  <a:cubicBezTo>
                    <a:pt x="859349" y="6483463"/>
                    <a:pt x="630532" y="6084535"/>
                    <a:pt x="450238" y="5658405"/>
                  </a:cubicBezTo>
                  <a:cubicBezTo>
                    <a:pt x="151513" y="4952117"/>
                    <a:pt x="0" y="4202328"/>
                    <a:pt x="0" y="3429710"/>
                  </a:cubicBezTo>
                  <a:cubicBezTo>
                    <a:pt x="0" y="2657095"/>
                    <a:pt x="151513" y="1907139"/>
                    <a:pt x="450238" y="1201015"/>
                  </a:cubicBezTo>
                  <a:cubicBezTo>
                    <a:pt x="630532" y="774885"/>
                    <a:pt x="859349" y="375892"/>
                    <a:pt x="1133945" y="8277"/>
                  </a:cubicBezTo>
                  <a:close/>
                </a:path>
              </a:pathLst>
            </a:custGeom>
            <a:solidFill>
              <a:schemeClr val="accent4"/>
            </a:solidFill>
            <a:ln>
              <a:solidFill>
                <a:schemeClr val="bg1">
                  <a:alpha val="25000"/>
                </a:schemeClr>
              </a:solidFill>
              <a:headEnd type="none" w="med" len="med"/>
              <a:tailEnd type="none" w="med" len="med"/>
            </a:ln>
            <a:effectLst>
              <a:innerShdw blurRad="114300">
                <a:prstClr val="black"/>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8" name="Freeform: Shape 7">
              <a:extLst>
                <a:ext uri="{FF2B5EF4-FFF2-40B4-BE49-F238E27FC236}">
                  <a16:creationId xmlns:a16="http://schemas.microsoft.com/office/drawing/2014/main" id="{6362BD96-17AC-4980-1CE3-451B8C298C01}"/>
                </a:ext>
              </a:extLst>
            </p:cNvPr>
            <p:cNvSpPr/>
            <p:nvPr userDrawn="1"/>
          </p:nvSpPr>
          <p:spPr>
            <a:xfrm>
              <a:off x="6586859" y="0"/>
              <a:ext cx="2222401" cy="3172810"/>
            </a:xfrm>
            <a:custGeom>
              <a:avLst/>
              <a:gdLst>
                <a:gd name="connsiteX0" fmla="*/ 807285 w 2222401"/>
                <a:gd name="connsiteY0" fmla="*/ 0 h 3172810"/>
                <a:gd name="connsiteX1" fmla="*/ 2222401 w 2222401"/>
                <a:gd name="connsiteY1" fmla="*/ 0 h 3172810"/>
                <a:gd name="connsiteX2" fmla="*/ 2110058 w 2222401"/>
                <a:gd name="connsiteY2" fmla="*/ 165328 h 3172810"/>
                <a:gd name="connsiteX3" fmla="*/ 1205242 w 2222401"/>
                <a:gd name="connsiteY3" fmla="*/ 2646234 h 3172810"/>
                <a:gd name="connsiteX4" fmla="*/ 526576 w 2222401"/>
                <a:gd name="connsiteY4" fmla="*/ 3167597 h 3172810"/>
                <a:gd name="connsiteX5" fmla="*/ 5213 w 2222401"/>
                <a:gd name="connsiteY5" fmla="*/ 2488933 h 3172810"/>
                <a:gd name="connsiteX6" fmla="*/ 760155 w 2222401"/>
                <a:gd name="connsiteY6" fmla="*/ 85150 h 3172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2401" h="3172810">
                  <a:moveTo>
                    <a:pt x="807285" y="0"/>
                  </a:moveTo>
                  <a:lnTo>
                    <a:pt x="2222401" y="0"/>
                  </a:lnTo>
                  <a:lnTo>
                    <a:pt x="2110058" y="165328"/>
                  </a:lnTo>
                  <a:cubicBezTo>
                    <a:pt x="1633494" y="905229"/>
                    <a:pt x="1322939" y="1747731"/>
                    <a:pt x="1205242" y="2646234"/>
                  </a:cubicBezTo>
                  <a:cubicBezTo>
                    <a:pt x="1161906" y="2977546"/>
                    <a:pt x="858051" y="3211100"/>
                    <a:pt x="526576" y="3167597"/>
                  </a:cubicBezTo>
                  <a:cubicBezTo>
                    <a:pt x="195267" y="3124260"/>
                    <a:pt x="-38289" y="2820409"/>
                    <a:pt x="5213" y="2488933"/>
                  </a:cubicBezTo>
                  <a:cubicBezTo>
                    <a:pt x="116223" y="1640951"/>
                    <a:pt x="369827" y="834003"/>
                    <a:pt x="760155" y="85150"/>
                  </a:cubicBezTo>
                  <a:close/>
                </a:path>
              </a:pathLst>
            </a:custGeom>
            <a:gradFill>
              <a:gsLst>
                <a:gs pos="43000">
                  <a:srgbClr val="FFB900"/>
                </a:gs>
                <a:gs pos="100000">
                  <a:srgbClr val="FF8F00"/>
                </a:gs>
              </a:gsLst>
              <a:lin ang="18900000" scaled="1"/>
            </a:gradFill>
            <a:ln>
              <a:solidFill>
                <a:schemeClr val="bg1">
                  <a:alpha val="25000"/>
                </a:schemeClr>
              </a:solidFill>
              <a:headEnd type="none" w="med" len="med"/>
              <a:tailEnd type="none" w="med" len="med"/>
            </a:ln>
            <a:effectLst>
              <a:innerShdw blurRad="101600" dist="50800" dir="11580000">
                <a:prstClr val="black">
                  <a:alpha val="71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9" name="Freeform: Shape 8">
              <a:extLst>
                <a:ext uri="{FF2B5EF4-FFF2-40B4-BE49-F238E27FC236}">
                  <a16:creationId xmlns:a16="http://schemas.microsoft.com/office/drawing/2014/main" id="{A4E6E776-DE68-E42A-3C3C-E71DBE6573EB}"/>
                </a:ext>
              </a:extLst>
            </p:cNvPr>
            <p:cNvSpPr/>
            <p:nvPr userDrawn="1"/>
          </p:nvSpPr>
          <p:spPr>
            <a:xfrm>
              <a:off x="8391162" y="4645594"/>
              <a:ext cx="2450493" cy="2212407"/>
            </a:xfrm>
            <a:custGeom>
              <a:avLst/>
              <a:gdLst>
                <a:gd name="connsiteX0" fmla="*/ 626810 w 2450493"/>
                <a:gd name="connsiteY0" fmla="*/ 417 h 2212407"/>
                <a:gd name="connsiteX1" fmla="*/ 1170775 w 2450493"/>
                <a:gd name="connsiteY1" fmla="*/ 389890 h 2212407"/>
                <a:gd name="connsiteX2" fmla="*/ 2421443 w 2450493"/>
                <a:gd name="connsiteY2" fmla="*/ 2188368 h 2212407"/>
                <a:gd name="connsiteX3" fmla="*/ 2450493 w 2450493"/>
                <a:gd name="connsiteY3" fmla="*/ 2212407 h 2212407"/>
                <a:gd name="connsiteX4" fmla="*/ 2418889 w 2450493"/>
                <a:gd name="connsiteY4" fmla="*/ 2212407 h 2212407"/>
                <a:gd name="connsiteX5" fmla="*/ 2408165 w 2450493"/>
                <a:gd name="connsiteY5" fmla="*/ 2203533 h 2212407"/>
                <a:gd name="connsiteX6" fmla="*/ 1151919 w 2450493"/>
                <a:gd name="connsiteY6" fmla="*/ 397001 h 2212407"/>
                <a:gd name="connsiteX7" fmla="*/ 604588 w 2450493"/>
                <a:gd name="connsiteY7" fmla="*/ 20039 h 2212407"/>
                <a:gd name="connsiteX8" fmla="*/ 604588 w 2450493"/>
                <a:gd name="connsiteY8" fmla="*/ 20203 h 2212407"/>
                <a:gd name="connsiteX9" fmla="*/ 397167 w 2450493"/>
                <a:gd name="connsiteY9" fmla="*/ 58414 h 2212407"/>
                <a:gd name="connsiteX10" fmla="*/ 58578 w 2450493"/>
                <a:gd name="connsiteY10" fmla="*/ 813165 h 2212407"/>
                <a:gd name="connsiteX11" fmla="*/ 725069 w 2450493"/>
                <a:gd name="connsiteY11" fmla="*/ 2070211 h 2212407"/>
                <a:gd name="connsiteX12" fmla="*/ 830611 w 2450493"/>
                <a:gd name="connsiteY12" fmla="*/ 2212407 h 2212407"/>
                <a:gd name="connsiteX13" fmla="*/ 805305 w 2450493"/>
                <a:gd name="connsiteY13" fmla="*/ 2212407 h 2212407"/>
                <a:gd name="connsiteX14" fmla="*/ 708449 w 2450493"/>
                <a:gd name="connsiteY14" fmla="*/ 2081908 h 2212407"/>
                <a:gd name="connsiteX15" fmla="*/ 39557 w 2450493"/>
                <a:gd name="connsiteY15" fmla="*/ 820443 h 2212407"/>
                <a:gd name="connsiteX16" fmla="*/ 389889 w 2450493"/>
                <a:gd name="connsiteY16" fmla="*/ 39557 h 2212407"/>
                <a:gd name="connsiteX17" fmla="*/ 626810 w 2450493"/>
                <a:gd name="connsiteY17" fmla="*/ 417 h 2212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50493" h="2212407">
                  <a:moveTo>
                    <a:pt x="626810" y="417"/>
                  </a:moveTo>
                  <a:cubicBezTo>
                    <a:pt x="862466" y="9193"/>
                    <a:pt x="1081703" y="156046"/>
                    <a:pt x="1170775" y="389890"/>
                  </a:cubicBezTo>
                  <a:cubicBezTo>
                    <a:pt x="1438839" y="1094420"/>
                    <a:pt x="1868368" y="1707266"/>
                    <a:pt x="2421443" y="2188368"/>
                  </a:cubicBezTo>
                  <a:lnTo>
                    <a:pt x="2450493" y="2212407"/>
                  </a:lnTo>
                  <a:lnTo>
                    <a:pt x="2418889" y="2212407"/>
                  </a:lnTo>
                  <a:lnTo>
                    <a:pt x="2408165" y="2203533"/>
                  </a:lnTo>
                  <a:cubicBezTo>
                    <a:pt x="1852638" y="1720258"/>
                    <a:pt x="1421223" y="1104634"/>
                    <a:pt x="1151919" y="397001"/>
                  </a:cubicBezTo>
                  <a:cubicBezTo>
                    <a:pt x="1063096" y="163777"/>
                    <a:pt x="840458" y="20039"/>
                    <a:pt x="604588" y="20039"/>
                  </a:cubicBezTo>
                  <a:lnTo>
                    <a:pt x="604588" y="20203"/>
                  </a:lnTo>
                  <a:cubicBezTo>
                    <a:pt x="535612" y="20203"/>
                    <a:pt x="465479" y="32443"/>
                    <a:pt x="397167" y="58414"/>
                  </a:cubicBezTo>
                  <a:cubicBezTo>
                    <a:pt x="95629" y="173206"/>
                    <a:pt x="-56215" y="511793"/>
                    <a:pt x="58578" y="813165"/>
                  </a:cubicBezTo>
                  <a:cubicBezTo>
                    <a:pt x="229672" y="1262866"/>
                    <a:pt x="452778" y="1683362"/>
                    <a:pt x="725069" y="2070211"/>
                  </a:cubicBezTo>
                  <a:lnTo>
                    <a:pt x="830611" y="2212407"/>
                  </a:lnTo>
                  <a:lnTo>
                    <a:pt x="805305" y="2212407"/>
                  </a:lnTo>
                  <a:lnTo>
                    <a:pt x="708449" y="2081908"/>
                  </a:lnTo>
                  <a:cubicBezTo>
                    <a:pt x="435190" y="1693677"/>
                    <a:pt x="211270" y="1271695"/>
                    <a:pt x="39557" y="820443"/>
                  </a:cubicBezTo>
                  <a:cubicBezTo>
                    <a:pt x="-79041" y="508652"/>
                    <a:pt x="78096" y="158320"/>
                    <a:pt x="389889" y="39557"/>
                  </a:cubicBezTo>
                  <a:cubicBezTo>
                    <a:pt x="467878" y="9909"/>
                    <a:pt x="548255" y="-2509"/>
                    <a:pt x="626810" y="417"/>
                  </a:cubicBezTo>
                  <a:close/>
                </a:path>
              </a:pathLst>
            </a:custGeom>
            <a:solidFill>
              <a:schemeClr val="bg1"/>
            </a:solidFill>
            <a:ln>
              <a:solidFill>
                <a:schemeClr val="bg1">
                  <a:alpha val="25000"/>
                </a:schemeClr>
              </a:solidFill>
              <a:headEnd type="none" w="med" len="med"/>
              <a:tailEnd type="none" w="med" len="med"/>
            </a:ln>
            <a:effectLst>
              <a:innerShdw blurRad="101600" dist="50800" dir="11580000">
                <a:prstClr val="black">
                  <a:alpha val="71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10" name="Freeform: Shape 9">
              <a:extLst>
                <a:ext uri="{FF2B5EF4-FFF2-40B4-BE49-F238E27FC236}">
                  <a16:creationId xmlns:a16="http://schemas.microsoft.com/office/drawing/2014/main" id="{642DE043-EA79-CC2E-E306-087799E57462}"/>
                </a:ext>
              </a:extLst>
            </p:cNvPr>
            <p:cNvSpPr/>
            <p:nvPr userDrawn="1"/>
          </p:nvSpPr>
          <p:spPr>
            <a:xfrm>
              <a:off x="8390968" y="4645402"/>
              <a:ext cx="2450734" cy="2212599"/>
            </a:xfrm>
            <a:custGeom>
              <a:avLst/>
              <a:gdLst>
                <a:gd name="connsiteX0" fmla="*/ 627190 w 2450734"/>
                <a:gd name="connsiteY0" fmla="*/ 401 h 2212599"/>
                <a:gd name="connsiteX1" fmla="*/ 1170970 w 2450734"/>
                <a:gd name="connsiteY1" fmla="*/ 390082 h 2212599"/>
                <a:gd name="connsiteX2" fmla="*/ 2421635 w 2450734"/>
                <a:gd name="connsiteY2" fmla="*/ 2188518 h 2212599"/>
                <a:gd name="connsiteX3" fmla="*/ 2450734 w 2450734"/>
                <a:gd name="connsiteY3" fmla="*/ 2212599 h 2212599"/>
                <a:gd name="connsiteX4" fmla="*/ 805498 w 2450734"/>
                <a:gd name="connsiteY4" fmla="*/ 2212599 h 2212599"/>
                <a:gd name="connsiteX5" fmla="*/ 708642 w 2450734"/>
                <a:gd name="connsiteY5" fmla="*/ 2082100 h 2212599"/>
                <a:gd name="connsiteX6" fmla="*/ 39750 w 2450734"/>
                <a:gd name="connsiteY6" fmla="*/ 820636 h 2212599"/>
                <a:gd name="connsiteX7" fmla="*/ 390082 w 2450734"/>
                <a:gd name="connsiteY7" fmla="*/ 39750 h 2212599"/>
                <a:gd name="connsiteX8" fmla="*/ 627190 w 2450734"/>
                <a:gd name="connsiteY8" fmla="*/ 401 h 2212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734" h="2212599">
                  <a:moveTo>
                    <a:pt x="627190" y="401"/>
                  </a:moveTo>
                  <a:cubicBezTo>
                    <a:pt x="862878" y="9016"/>
                    <a:pt x="1081773" y="155866"/>
                    <a:pt x="1170970" y="390082"/>
                  </a:cubicBezTo>
                  <a:cubicBezTo>
                    <a:pt x="1439033" y="1094510"/>
                    <a:pt x="1868561" y="1707382"/>
                    <a:pt x="2421635" y="2188518"/>
                  </a:cubicBezTo>
                  <a:lnTo>
                    <a:pt x="2450734" y="2212599"/>
                  </a:lnTo>
                  <a:lnTo>
                    <a:pt x="805498" y="2212599"/>
                  </a:lnTo>
                  <a:lnTo>
                    <a:pt x="708642" y="2082100"/>
                  </a:lnTo>
                  <a:cubicBezTo>
                    <a:pt x="435383" y="1693870"/>
                    <a:pt x="211463" y="1271888"/>
                    <a:pt x="39750" y="820636"/>
                  </a:cubicBezTo>
                  <a:cubicBezTo>
                    <a:pt x="-79177" y="508347"/>
                    <a:pt x="77793" y="158679"/>
                    <a:pt x="390082" y="39750"/>
                  </a:cubicBezTo>
                  <a:cubicBezTo>
                    <a:pt x="468196" y="10018"/>
                    <a:pt x="548625" y="-2470"/>
                    <a:pt x="627190" y="401"/>
                  </a:cubicBezTo>
                  <a:close/>
                </a:path>
              </a:pathLst>
            </a:custGeom>
            <a:solidFill>
              <a:schemeClr val="bg1"/>
            </a:solidFill>
            <a:ln>
              <a:solidFill>
                <a:schemeClr val="bg1">
                  <a:alpha val="25000"/>
                </a:schemeClr>
              </a:solidFill>
              <a:headEnd type="none" w="med" len="med"/>
              <a:tailEnd type="none" w="med" len="med"/>
            </a:ln>
            <a:effectLst>
              <a:innerShdw blurRad="63500" dist="50800" dir="2700000">
                <a:prstClr val="black">
                  <a:alpha val="5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11" name="Freeform: Shape 10">
              <a:extLst>
                <a:ext uri="{FF2B5EF4-FFF2-40B4-BE49-F238E27FC236}">
                  <a16:creationId xmlns:a16="http://schemas.microsoft.com/office/drawing/2014/main" id="{83765EBA-B11B-6C46-BACB-8FB4FA6FE524}"/>
                </a:ext>
              </a:extLst>
            </p:cNvPr>
            <p:cNvSpPr/>
            <p:nvPr/>
          </p:nvSpPr>
          <p:spPr>
            <a:xfrm>
              <a:off x="9545726" y="0"/>
              <a:ext cx="2646274" cy="6858000"/>
            </a:xfrm>
            <a:custGeom>
              <a:avLst/>
              <a:gdLst>
                <a:gd name="connsiteX0" fmla="*/ 1749539 w 2646274"/>
                <a:gd name="connsiteY0" fmla="*/ 0 h 6858000"/>
                <a:gd name="connsiteX1" fmla="*/ 2646274 w 2646274"/>
                <a:gd name="connsiteY1" fmla="*/ 0 h 6858000"/>
                <a:gd name="connsiteX2" fmla="*/ 2646274 w 2646274"/>
                <a:gd name="connsiteY2" fmla="*/ 860073 h 6858000"/>
                <a:gd name="connsiteX3" fmla="*/ 2545485 w 2646274"/>
                <a:gd name="connsiteY3" fmla="*/ 921368 h 6858000"/>
                <a:gd name="connsiteX4" fmla="*/ 1210282 w 2646274"/>
                <a:gd name="connsiteY4" fmla="*/ 3429706 h 6858000"/>
                <a:gd name="connsiteX5" fmla="*/ 2545485 w 2646274"/>
                <a:gd name="connsiteY5" fmla="*/ 5938046 h 6858000"/>
                <a:gd name="connsiteX6" fmla="*/ 2646274 w 2646274"/>
                <a:gd name="connsiteY6" fmla="*/ 5999341 h 6858000"/>
                <a:gd name="connsiteX7" fmla="*/ 2646274 w 2646274"/>
                <a:gd name="connsiteY7" fmla="*/ 6858000 h 6858000"/>
                <a:gd name="connsiteX8" fmla="*/ 1747536 w 2646274"/>
                <a:gd name="connsiteY8" fmla="*/ 6858000 h 6858000"/>
                <a:gd name="connsiteX9" fmla="*/ 1717277 w 2646274"/>
                <a:gd name="connsiteY9" fmla="*/ 6836661 h 6858000"/>
                <a:gd name="connsiteX10" fmla="*/ 1240717 w 2646274"/>
                <a:gd name="connsiteY10" fmla="*/ 6425064 h 6858000"/>
                <a:gd name="connsiteX11" fmla="*/ 0 w 2646274"/>
                <a:gd name="connsiteY11" fmla="*/ 3429706 h 6858000"/>
                <a:gd name="connsiteX12" fmla="*/ 1240717 w 2646274"/>
                <a:gd name="connsiteY12" fmla="*/ 434350 h 6858000"/>
                <a:gd name="connsiteX13" fmla="*/ 1717277 w 2646274"/>
                <a:gd name="connsiteY13" fmla="*/ 2275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46274" h="6858000">
                  <a:moveTo>
                    <a:pt x="1749539" y="0"/>
                  </a:moveTo>
                  <a:lnTo>
                    <a:pt x="2646274" y="0"/>
                  </a:lnTo>
                  <a:lnTo>
                    <a:pt x="2646274" y="860073"/>
                  </a:lnTo>
                  <a:lnTo>
                    <a:pt x="2545485" y="921368"/>
                  </a:lnTo>
                  <a:cubicBezTo>
                    <a:pt x="1740489" y="1465666"/>
                    <a:pt x="1210282" y="2386918"/>
                    <a:pt x="1210282" y="3429706"/>
                  </a:cubicBezTo>
                  <a:cubicBezTo>
                    <a:pt x="1210282" y="4472495"/>
                    <a:pt x="1740489" y="5393748"/>
                    <a:pt x="2545485" y="5938046"/>
                  </a:cubicBezTo>
                  <a:lnTo>
                    <a:pt x="2646274" y="5999341"/>
                  </a:lnTo>
                  <a:lnTo>
                    <a:pt x="2646274" y="6858000"/>
                  </a:lnTo>
                  <a:lnTo>
                    <a:pt x="1747536" y="6858000"/>
                  </a:lnTo>
                  <a:lnTo>
                    <a:pt x="1717277" y="6836661"/>
                  </a:lnTo>
                  <a:cubicBezTo>
                    <a:pt x="1550015" y="6712455"/>
                    <a:pt x="1390731" y="6575077"/>
                    <a:pt x="1240717" y="6425064"/>
                  </a:cubicBezTo>
                  <a:cubicBezTo>
                    <a:pt x="440644" y="5624989"/>
                    <a:pt x="0" y="4561254"/>
                    <a:pt x="0" y="3429706"/>
                  </a:cubicBezTo>
                  <a:cubicBezTo>
                    <a:pt x="0" y="2298157"/>
                    <a:pt x="440644" y="1234423"/>
                    <a:pt x="1240717" y="434350"/>
                  </a:cubicBezTo>
                  <a:cubicBezTo>
                    <a:pt x="1390731" y="284336"/>
                    <a:pt x="1550015" y="146958"/>
                    <a:pt x="1717277" y="22752"/>
                  </a:cubicBezTo>
                  <a:close/>
                </a:path>
              </a:pathLst>
            </a:custGeom>
            <a:gradFill flip="none" rotWithShape="1">
              <a:gsLst>
                <a:gs pos="43000">
                  <a:schemeClr val="accent3"/>
                </a:gs>
                <a:gs pos="100000">
                  <a:srgbClr val="095E09"/>
                </a:gs>
              </a:gsLst>
              <a:lin ang="0" scaled="1"/>
              <a:tileRect/>
            </a:gradFill>
            <a:ln>
              <a:solidFill>
                <a:schemeClr val="bg1">
                  <a:alpha val="25000"/>
                </a:schemeClr>
              </a:solidFill>
              <a:headEnd type="none" w="med" len="med"/>
              <a:tailEnd type="none" w="med" len="med"/>
            </a:ln>
            <a:effectLst>
              <a:innerShdw blurRad="101600" dist="50800" dir="11580000">
                <a:prstClr val="black">
                  <a:alpha val="71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12" name="Freeform: Shape 11">
              <a:extLst>
                <a:ext uri="{FF2B5EF4-FFF2-40B4-BE49-F238E27FC236}">
                  <a16:creationId xmlns:a16="http://schemas.microsoft.com/office/drawing/2014/main" id="{0F58147A-528D-D5C8-EACD-585DD4F5BACF}"/>
                </a:ext>
              </a:extLst>
            </p:cNvPr>
            <p:cNvSpPr/>
            <p:nvPr userDrawn="1"/>
          </p:nvSpPr>
          <p:spPr>
            <a:xfrm>
              <a:off x="8626945" y="0"/>
              <a:ext cx="2215547" cy="1684784"/>
            </a:xfrm>
            <a:custGeom>
              <a:avLst/>
              <a:gdLst>
                <a:gd name="connsiteX0" fmla="*/ 570554 w 2215547"/>
                <a:gd name="connsiteY0" fmla="*/ 0 h 1684784"/>
                <a:gd name="connsiteX1" fmla="*/ 595714 w 2215547"/>
                <a:gd name="connsiteY1" fmla="*/ 0 h 1684784"/>
                <a:gd name="connsiteX2" fmla="*/ 534548 w 2215547"/>
                <a:gd name="connsiteY2" fmla="*/ 80301 h 1684784"/>
                <a:gd name="connsiteX3" fmla="*/ 85459 w 2215547"/>
                <a:gd name="connsiteY3" fmla="*/ 811316 h 1684784"/>
                <a:gd name="connsiteX4" fmla="*/ 47911 w 2215547"/>
                <a:gd name="connsiteY4" fmla="*/ 1257418 h 1684784"/>
                <a:gd name="connsiteX5" fmla="*/ 336714 w 2215547"/>
                <a:gd name="connsiteY5" fmla="*/ 1599480 h 1684784"/>
                <a:gd name="connsiteX6" fmla="*/ 1124878 w 2215547"/>
                <a:gd name="connsiteY6" fmla="*/ 1348228 h 1684784"/>
                <a:gd name="connsiteX7" fmla="*/ 2061598 w 2215547"/>
                <a:gd name="connsiteY7" fmla="*/ 109193 h 1684784"/>
                <a:gd name="connsiteX8" fmla="*/ 2184619 w 2215547"/>
                <a:gd name="connsiteY8" fmla="*/ 0 h 1684784"/>
                <a:gd name="connsiteX9" fmla="*/ 2215547 w 2215547"/>
                <a:gd name="connsiteY9" fmla="*/ 0 h 1684784"/>
                <a:gd name="connsiteX10" fmla="*/ 2075807 w 2215547"/>
                <a:gd name="connsiteY10" fmla="*/ 124033 h 1684784"/>
                <a:gd name="connsiteX11" fmla="*/ 1143237 w 2215547"/>
                <a:gd name="connsiteY11" fmla="*/ 1357491 h 1684784"/>
                <a:gd name="connsiteX12" fmla="*/ 327780 w 2215547"/>
                <a:gd name="connsiteY12" fmla="*/ 1617344 h 1684784"/>
                <a:gd name="connsiteX13" fmla="*/ 28890 w 2215547"/>
                <a:gd name="connsiteY13" fmla="*/ 1263539 h 1684784"/>
                <a:gd name="connsiteX14" fmla="*/ 67762 w 2215547"/>
                <a:gd name="connsiteY14" fmla="*/ 802054 h 1684784"/>
                <a:gd name="connsiteX15" fmla="*/ 518362 w 2215547"/>
                <a:gd name="connsiteY15" fmla="*/ 68520 h 16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15547" h="1684784">
                  <a:moveTo>
                    <a:pt x="570554" y="0"/>
                  </a:moveTo>
                  <a:lnTo>
                    <a:pt x="595714" y="0"/>
                  </a:lnTo>
                  <a:lnTo>
                    <a:pt x="534548" y="80301"/>
                  </a:lnTo>
                  <a:cubicBezTo>
                    <a:pt x="367942" y="310807"/>
                    <a:pt x="218013" y="554770"/>
                    <a:pt x="85459" y="811316"/>
                  </a:cubicBezTo>
                  <a:cubicBezTo>
                    <a:pt x="13673" y="950092"/>
                    <a:pt x="440" y="1108552"/>
                    <a:pt x="47911" y="1257418"/>
                  </a:cubicBezTo>
                  <a:cubicBezTo>
                    <a:pt x="95384" y="1406284"/>
                    <a:pt x="197936" y="1527860"/>
                    <a:pt x="336714" y="1599480"/>
                  </a:cubicBezTo>
                  <a:cubicBezTo>
                    <a:pt x="623199" y="1747521"/>
                    <a:pt x="976837" y="1634713"/>
                    <a:pt x="1124878" y="1348228"/>
                  </a:cubicBezTo>
                  <a:cubicBezTo>
                    <a:pt x="1368098" y="877344"/>
                    <a:pt x="1685182" y="460251"/>
                    <a:pt x="2061598" y="109193"/>
                  </a:cubicBezTo>
                  <a:lnTo>
                    <a:pt x="2184619" y="0"/>
                  </a:lnTo>
                  <a:lnTo>
                    <a:pt x="2215547" y="0"/>
                  </a:lnTo>
                  <a:lnTo>
                    <a:pt x="2075807" y="124033"/>
                  </a:lnTo>
                  <a:cubicBezTo>
                    <a:pt x="1701054" y="473539"/>
                    <a:pt x="1385372" y="888778"/>
                    <a:pt x="1143237" y="1357491"/>
                  </a:cubicBezTo>
                  <a:cubicBezTo>
                    <a:pt x="990072" y="1653900"/>
                    <a:pt x="624356" y="1770511"/>
                    <a:pt x="327780" y="1617344"/>
                  </a:cubicBezTo>
                  <a:cubicBezTo>
                    <a:pt x="184206" y="1543077"/>
                    <a:pt x="78017" y="1417532"/>
                    <a:pt x="28890" y="1263539"/>
                  </a:cubicBezTo>
                  <a:cubicBezTo>
                    <a:pt x="-20237" y="1109544"/>
                    <a:pt x="-6343" y="945627"/>
                    <a:pt x="67762" y="802054"/>
                  </a:cubicBezTo>
                  <a:cubicBezTo>
                    <a:pt x="200750" y="544639"/>
                    <a:pt x="351182" y="299831"/>
                    <a:pt x="518362" y="68520"/>
                  </a:cubicBezTo>
                  <a:close/>
                </a:path>
              </a:pathLst>
            </a:custGeom>
            <a:solidFill>
              <a:srgbClr val="FFFFFF">
                <a:alpha val="50000"/>
              </a:srgbClr>
            </a:solidFill>
            <a:ln w="0" cap="flat">
              <a:noFill/>
              <a:prstDash val="solid"/>
              <a:miter/>
            </a:ln>
          </p:spPr>
          <p:txBody>
            <a:bodyPr wrap="square" rtlCol="0" anchor="ctr">
              <a:noAutofit/>
            </a:bodyPr>
            <a:lstStyle/>
            <a:p>
              <a:endParaRPr lang="en-US"/>
            </a:p>
          </p:txBody>
        </p:sp>
        <p:sp>
          <p:nvSpPr>
            <p:cNvPr id="13" name="Freeform: Shape 12">
              <a:extLst>
                <a:ext uri="{FF2B5EF4-FFF2-40B4-BE49-F238E27FC236}">
                  <a16:creationId xmlns:a16="http://schemas.microsoft.com/office/drawing/2014/main" id="{D1417F2B-ACEA-031A-EEBB-FD90A2250E60}"/>
                </a:ext>
              </a:extLst>
            </p:cNvPr>
            <p:cNvSpPr/>
            <p:nvPr/>
          </p:nvSpPr>
          <p:spPr>
            <a:xfrm>
              <a:off x="8627490" y="0"/>
              <a:ext cx="2215146" cy="1684858"/>
            </a:xfrm>
            <a:custGeom>
              <a:avLst/>
              <a:gdLst>
                <a:gd name="connsiteX0" fmla="*/ 570249 w 2215146"/>
                <a:gd name="connsiteY0" fmla="*/ 0 h 1684858"/>
                <a:gd name="connsiteX1" fmla="*/ 2215146 w 2215146"/>
                <a:gd name="connsiteY1" fmla="*/ 0 h 1684858"/>
                <a:gd name="connsiteX2" fmla="*/ 2075592 w 2215146"/>
                <a:gd name="connsiteY2" fmla="*/ 123868 h 1684858"/>
                <a:gd name="connsiteX3" fmla="*/ 1143023 w 2215146"/>
                <a:gd name="connsiteY3" fmla="*/ 1357323 h 1684858"/>
                <a:gd name="connsiteX4" fmla="*/ 327566 w 2215146"/>
                <a:gd name="connsiteY4" fmla="*/ 1617179 h 1684858"/>
                <a:gd name="connsiteX5" fmla="*/ 67710 w 2215146"/>
                <a:gd name="connsiteY5" fmla="*/ 801722 h 1684858"/>
                <a:gd name="connsiteX6" fmla="*/ 518310 w 2215146"/>
                <a:gd name="connsiteY6" fmla="*/ 68189 h 1684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15146" h="1684858">
                  <a:moveTo>
                    <a:pt x="570249" y="0"/>
                  </a:moveTo>
                  <a:lnTo>
                    <a:pt x="2215146" y="0"/>
                  </a:lnTo>
                  <a:lnTo>
                    <a:pt x="2075592" y="123868"/>
                  </a:lnTo>
                  <a:cubicBezTo>
                    <a:pt x="1700839" y="473374"/>
                    <a:pt x="1385158" y="888612"/>
                    <a:pt x="1143023" y="1357323"/>
                  </a:cubicBezTo>
                  <a:cubicBezTo>
                    <a:pt x="989689" y="1654230"/>
                    <a:pt x="624637" y="1770677"/>
                    <a:pt x="327566" y="1617179"/>
                  </a:cubicBezTo>
                  <a:cubicBezTo>
                    <a:pt x="30495" y="1463682"/>
                    <a:pt x="-85788" y="1098793"/>
                    <a:pt x="67710" y="801722"/>
                  </a:cubicBezTo>
                  <a:cubicBezTo>
                    <a:pt x="200697" y="544308"/>
                    <a:pt x="351130" y="299500"/>
                    <a:pt x="518310" y="68189"/>
                  </a:cubicBezTo>
                  <a:close/>
                </a:path>
              </a:pathLst>
            </a:custGeom>
            <a:solidFill>
              <a:schemeClr val="accent1"/>
            </a:solidFill>
            <a:ln>
              <a:solidFill>
                <a:schemeClr val="bg1">
                  <a:alpha val="25000"/>
                </a:schemeClr>
              </a:solidFill>
              <a:headEnd type="none" w="med" len="med"/>
              <a:tailEnd type="none" w="med" len="med"/>
            </a:ln>
            <a:effectLst>
              <a:innerShdw blurRad="63500" dist="50800" dir="13500000">
                <a:prstClr val="black">
                  <a:alpha val="35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14" name="Freeform: Shape 13">
              <a:extLst>
                <a:ext uri="{FF2B5EF4-FFF2-40B4-BE49-F238E27FC236}">
                  <a16:creationId xmlns:a16="http://schemas.microsoft.com/office/drawing/2014/main" id="{EFD05C36-07E9-3018-B812-FB2CC2606C14}"/>
                </a:ext>
              </a:extLst>
            </p:cNvPr>
            <p:cNvSpPr/>
            <p:nvPr/>
          </p:nvSpPr>
          <p:spPr>
            <a:xfrm>
              <a:off x="6603397" y="1964081"/>
              <a:ext cx="1214429" cy="1214429"/>
            </a:xfrm>
            <a:custGeom>
              <a:avLst/>
              <a:gdLst>
                <a:gd name="connsiteX0" fmla="*/ 464693 w 464693"/>
                <a:gd name="connsiteY0" fmla="*/ 232347 h 464693"/>
                <a:gd name="connsiteX1" fmla="*/ 232346 w 464693"/>
                <a:gd name="connsiteY1" fmla="*/ 464693 h 464693"/>
                <a:gd name="connsiteX2" fmla="*/ 0 w 464693"/>
                <a:gd name="connsiteY2" fmla="*/ 232347 h 464693"/>
                <a:gd name="connsiteX3" fmla="*/ 232346 w 464693"/>
                <a:gd name="connsiteY3" fmla="*/ 0 h 464693"/>
                <a:gd name="connsiteX4" fmla="*/ 464693 w 464693"/>
                <a:gd name="connsiteY4" fmla="*/ 232347 h 464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693" h="464693">
                  <a:moveTo>
                    <a:pt x="464693" y="232347"/>
                  </a:moveTo>
                  <a:cubicBezTo>
                    <a:pt x="464693" y="360668"/>
                    <a:pt x="360668" y="464693"/>
                    <a:pt x="232346" y="464693"/>
                  </a:cubicBezTo>
                  <a:cubicBezTo>
                    <a:pt x="104025" y="464693"/>
                    <a:pt x="0" y="360668"/>
                    <a:pt x="0" y="232347"/>
                  </a:cubicBezTo>
                  <a:cubicBezTo>
                    <a:pt x="0" y="104025"/>
                    <a:pt x="104025" y="0"/>
                    <a:pt x="232346" y="0"/>
                  </a:cubicBezTo>
                  <a:cubicBezTo>
                    <a:pt x="360668" y="0"/>
                    <a:pt x="464693" y="104025"/>
                    <a:pt x="464693" y="232347"/>
                  </a:cubicBezTo>
                  <a:close/>
                </a:path>
              </a:pathLst>
            </a:custGeom>
            <a:solidFill>
              <a:srgbClr val="FFB900"/>
            </a:solidFill>
            <a:ln>
              <a:solidFill>
                <a:schemeClr val="bg1">
                  <a:alpha val="25000"/>
                </a:schemeClr>
              </a:solidFill>
              <a:headEnd type="none" w="med" len="med"/>
              <a:tailEnd type="none" w="med" len="med"/>
            </a:ln>
            <a:effectLst>
              <a:outerShdw blurRad="50800" dist="254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15" name="Freeform: Shape 14">
              <a:extLst>
                <a:ext uri="{FF2B5EF4-FFF2-40B4-BE49-F238E27FC236}">
                  <a16:creationId xmlns:a16="http://schemas.microsoft.com/office/drawing/2014/main" id="{DB1B63F5-725D-E378-A1F4-D474437570B2}"/>
                </a:ext>
              </a:extLst>
            </p:cNvPr>
            <p:cNvSpPr/>
            <p:nvPr/>
          </p:nvSpPr>
          <p:spPr>
            <a:xfrm>
              <a:off x="6714751" y="2075435"/>
              <a:ext cx="991721" cy="991721"/>
            </a:xfrm>
            <a:custGeom>
              <a:avLst/>
              <a:gdLst>
                <a:gd name="connsiteX0" fmla="*/ 379476 w 379475"/>
                <a:gd name="connsiteY0" fmla="*/ 189738 h 379475"/>
                <a:gd name="connsiteX1" fmla="*/ 189738 w 379475"/>
                <a:gd name="connsiteY1" fmla="*/ 379476 h 379475"/>
                <a:gd name="connsiteX2" fmla="*/ 0 w 379475"/>
                <a:gd name="connsiteY2" fmla="*/ 189738 h 379475"/>
                <a:gd name="connsiteX3" fmla="*/ 189738 w 379475"/>
                <a:gd name="connsiteY3" fmla="*/ 0 h 379475"/>
                <a:gd name="connsiteX4" fmla="*/ 379476 w 379475"/>
                <a:gd name="connsiteY4" fmla="*/ 189738 h 379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75" h="379475">
                  <a:moveTo>
                    <a:pt x="379476" y="189738"/>
                  </a:moveTo>
                  <a:cubicBezTo>
                    <a:pt x="379476" y="294527"/>
                    <a:pt x="294527" y="379476"/>
                    <a:pt x="189738" y="379476"/>
                  </a:cubicBezTo>
                  <a:cubicBezTo>
                    <a:pt x="84949" y="379476"/>
                    <a:pt x="0" y="294527"/>
                    <a:pt x="0" y="189738"/>
                  </a:cubicBezTo>
                  <a:cubicBezTo>
                    <a:pt x="0" y="84949"/>
                    <a:pt x="84949" y="0"/>
                    <a:pt x="189738" y="0"/>
                  </a:cubicBezTo>
                  <a:cubicBezTo>
                    <a:pt x="294527" y="0"/>
                    <a:pt x="379476" y="84949"/>
                    <a:pt x="379476" y="189738"/>
                  </a:cubicBezTo>
                  <a:close/>
                </a:path>
              </a:pathLst>
            </a:custGeom>
            <a:solidFill>
              <a:schemeClr val="bg1"/>
            </a:solidFill>
            <a:ln>
              <a:solidFill>
                <a:schemeClr val="bg1">
                  <a:alpha val="25000"/>
                </a:schemeClr>
              </a:solidFill>
              <a:headEnd type="none" w="med" len="med"/>
              <a:tailEnd type="none" w="med" len="med"/>
            </a:ln>
            <a:effectLst>
              <a:outerShdw blurRad="50800" dist="254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16" name="Freeform: Shape 15">
              <a:extLst>
                <a:ext uri="{FF2B5EF4-FFF2-40B4-BE49-F238E27FC236}">
                  <a16:creationId xmlns:a16="http://schemas.microsoft.com/office/drawing/2014/main" id="{057A1878-81BD-C887-F8BB-B4D8F68A0451}"/>
                </a:ext>
              </a:extLst>
            </p:cNvPr>
            <p:cNvSpPr/>
            <p:nvPr/>
          </p:nvSpPr>
          <p:spPr>
            <a:xfrm>
              <a:off x="8627385" y="474547"/>
              <a:ext cx="1210449" cy="1210447"/>
            </a:xfrm>
            <a:custGeom>
              <a:avLst/>
              <a:gdLst>
                <a:gd name="connsiteX0" fmla="*/ 464693 w 464693"/>
                <a:gd name="connsiteY0" fmla="*/ 232346 h 464692"/>
                <a:gd name="connsiteX1" fmla="*/ 232346 w 464693"/>
                <a:gd name="connsiteY1" fmla="*/ 464693 h 464692"/>
                <a:gd name="connsiteX2" fmla="*/ 0 w 464693"/>
                <a:gd name="connsiteY2" fmla="*/ 232346 h 464692"/>
                <a:gd name="connsiteX3" fmla="*/ 232346 w 464693"/>
                <a:gd name="connsiteY3" fmla="*/ 0 h 464692"/>
                <a:gd name="connsiteX4" fmla="*/ 464693 w 464693"/>
                <a:gd name="connsiteY4" fmla="*/ 232346 h 464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693" h="464692">
                  <a:moveTo>
                    <a:pt x="464693" y="232346"/>
                  </a:moveTo>
                  <a:cubicBezTo>
                    <a:pt x="464693" y="360668"/>
                    <a:pt x="360668" y="464693"/>
                    <a:pt x="232346" y="464693"/>
                  </a:cubicBezTo>
                  <a:cubicBezTo>
                    <a:pt x="104025" y="464693"/>
                    <a:pt x="0" y="360668"/>
                    <a:pt x="0" y="232346"/>
                  </a:cubicBezTo>
                  <a:cubicBezTo>
                    <a:pt x="0" y="104025"/>
                    <a:pt x="104025" y="0"/>
                    <a:pt x="232346" y="0"/>
                  </a:cubicBezTo>
                  <a:cubicBezTo>
                    <a:pt x="360668" y="0"/>
                    <a:pt x="464693" y="104025"/>
                    <a:pt x="464693" y="232346"/>
                  </a:cubicBezTo>
                  <a:close/>
                </a:path>
              </a:pathLst>
            </a:custGeom>
            <a:solidFill>
              <a:schemeClr val="accent1"/>
            </a:solidFill>
            <a:ln>
              <a:solidFill>
                <a:schemeClr val="bg1">
                  <a:alpha val="25000"/>
                </a:schemeClr>
              </a:solid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17" name="Freeform: Shape 16">
              <a:extLst>
                <a:ext uri="{FF2B5EF4-FFF2-40B4-BE49-F238E27FC236}">
                  <a16:creationId xmlns:a16="http://schemas.microsoft.com/office/drawing/2014/main" id="{D1FABB78-3F03-A800-E6D3-8D7D60DA0610}"/>
                </a:ext>
              </a:extLst>
            </p:cNvPr>
            <p:cNvSpPr/>
            <p:nvPr/>
          </p:nvSpPr>
          <p:spPr>
            <a:xfrm>
              <a:off x="8738372" y="585534"/>
              <a:ext cx="988470" cy="988470"/>
            </a:xfrm>
            <a:custGeom>
              <a:avLst/>
              <a:gdLst>
                <a:gd name="connsiteX0" fmla="*/ 379476 w 379475"/>
                <a:gd name="connsiteY0" fmla="*/ 189738 h 379475"/>
                <a:gd name="connsiteX1" fmla="*/ 189738 w 379475"/>
                <a:gd name="connsiteY1" fmla="*/ 379476 h 379475"/>
                <a:gd name="connsiteX2" fmla="*/ 0 w 379475"/>
                <a:gd name="connsiteY2" fmla="*/ 189738 h 379475"/>
                <a:gd name="connsiteX3" fmla="*/ 189738 w 379475"/>
                <a:gd name="connsiteY3" fmla="*/ 0 h 379475"/>
                <a:gd name="connsiteX4" fmla="*/ 379476 w 379475"/>
                <a:gd name="connsiteY4" fmla="*/ 189738 h 379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75" h="379475">
                  <a:moveTo>
                    <a:pt x="379476" y="189738"/>
                  </a:moveTo>
                  <a:cubicBezTo>
                    <a:pt x="379476" y="294527"/>
                    <a:pt x="294527" y="379476"/>
                    <a:pt x="189738" y="379476"/>
                  </a:cubicBezTo>
                  <a:cubicBezTo>
                    <a:pt x="84948" y="379476"/>
                    <a:pt x="0" y="294527"/>
                    <a:pt x="0" y="189738"/>
                  </a:cubicBezTo>
                  <a:cubicBezTo>
                    <a:pt x="0" y="84949"/>
                    <a:pt x="84948" y="0"/>
                    <a:pt x="189738" y="0"/>
                  </a:cubicBezTo>
                  <a:cubicBezTo>
                    <a:pt x="294527" y="0"/>
                    <a:pt x="379476" y="84949"/>
                    <a:pt x="379476" y="189738"/>
                  </a:cubicBezTo>
                  <a:close/>
                </a:path>
              </a:pathLst>
            </a:custGeom>
            <a:solidFill>
              <a:schemeClr val="accent1"/>
            </a:solidFill>
            <a:ln>
              <a:solidFill>
                <a:schemeClr val="bg1">
                  <a:alpha val="25000"/>
                </a:schemeClr>
              </a:solid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18" name="Freeform: Shape 17">
              <a:extLst>
                <a:ext uri="{FF2B5EF4-FFF2-40B4-BE49-F238E27FC236}">
                  <a16:creationId xmlns:a16="http://schemas.microsoft.com/office/drawing/2014/main" id="{A51FB4B5-1B5F-7C09-6C9F-1F06F9DCDBA6}"/>
                </a:ext>
              </a:extLst>
            </p:cNvPr>
            <p:cNvSpPr/>
            <p:nvPr/>
          </p:nvSpPr>
          <p:spPr>
            <a:xfrm>
              <a:off x="8502171" y="4791175"/>
              <a:ext cx="988470" cy="988470"/>
            </a:xfrm>
            <a:custGeom>
              <a:avLst/>
              <a:gdLst>
                <a:gd name="connsiteX0" fmla="*/ 379476 w 379475"/>
                <a:gd name="connsiteY0" fmla="*/ 189738 h 379475"/>
                <a:gd name="connsiteX1" fmla="*/ 189738 w 379475"/>
                <a:gd name="connsiteY1" fmla="*/ 379476 h 379475"/>
                <a:gd name="connsiteX2" fmla="*/ 0 w 379475"/>
                <a:gd name="connsiteY2" fmla="*/ 189738 h 379475"/>
                <a:gd name="connsiteX3" fmla="*/ 189738 w 379475"/>
                <a:gd name="connsiteY3" fmla="*/ 0 h 379475"/>
                <a:gd name="connsiteX4" fmla="*/ 379476 w 379475"/>
                <a:gd name="connsiteY4" fmla="*/ 189738 h 379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75" h="379475">
                  <a:moveTo>
                    <a:pt x="379476" y="189738"/>
                  </a:moveTo>
                  <a:cubicBezTo>
                    <a:pt x="379476" y="294527"/>
                    <a:pt x="294527" y="379476"/>
                    <a:pt x="189738" y="379476"/>
                  </a:cubicBezTo>
                  <a:cubicBezTo>
                    <a:pt x="84949" y="379476"/>
                    <a:pt x="0" y="294527"/>
                    <a:pt x="0" y="189738"/>
                  </a:cubicBezTo>
                  <a:cubicBezTo>
                    <a:pt x="0" y="84949"/>
                    <a:pt x="84949" y="0"/>
                    <a:pt x="189738" y="0"/>
                  </a:cubicBezTo>
                  <a:cubicBezTo>
                    <a:pt x="294527" y="0"/>
                    <a:pt x="379476" y="84949"/>
                    <a:pt x="379476" y="189738"/>
                  </a:cubicBezTo>
                  <a:close/>
                </a:path>
              </a:pathLst>
            </a:custGeom>
            <a:solidFill>
              <a:srgbClr val="FFB900"/>
            </a:solidFill>
            <a:ln>
              <a:solidFill>
                <a:schemeClr val="bg1">
                  <a:alpha val="25000"/>
                </a:schemeClr>
              </a:solidFill>
              <a:headEnd type="none" w="med" len="med"/>
              <a:tailEnd type="none" w="med" len="med"/>
            </a:ln>
            <a:effectLst>
              <a:outerShdw blurRad="50800" dist="254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19" name="Freeform: Shape 18">
              <a:extLst>
                <a:ext uri="{FF2B5EF4-FFF2-40B4-BE49-F238E27FC236}">
                  <a16:creationId xmlns:a16="http://schemas.microsoft.com/office/drawing/2014/main" id="{F0F40DFA-F4CD-0641-DE58-B2F9D38B71F4}"/>
                </a:ext>
              </a:extLst>
            </p:cNvPr>
            <p:cNvSpPr/>
            <p:nvPr/>
          </p:nvSpPr>
          <p:spPr>
            <a:xfrm>
              <a:off x="8502171" y="4791175"/>
              <a:ext cx="988473" cy="988473"/>
            </a:xfrm>
            <a:custGeom>
              <a:avLst/>
              <a:gdLst>
                <a:gd name="connsiteX0" fmla="*/ 189738 w 379476"/>
                <a:gd name="connsiteY0" fmla="*/ 7747 h 379476"/>
                <a:gd name="connsiteX1" fmla="*/ 371729 w 379476"/>
                <a:gd name="connsiteY1" fmla="*/ 189738 h 379476"/>
                <a:gd name="connsiteX2" fmla="*/ 189738 w 379476"/>
                <a:gd name="connsiteY2" fmla="*/ 371729 h 379476"/>
                <a:gd name="connsiteX3" fmla="*/ 7747 w 379476"/>
                <a:gd name="connsiteY3" fmla="*/ 189738 h 379476"/>
                <a:gd name="connsiteX4" fmla="*/ 189738 w 379476"/>
                <a:gd name="connsiteY4" fmla="*/ 7747 h 379476"/>
                <a:gd name="connsiteX5" fmla="*/ 189738 w 379476"/>
                <a:gd name="connsiteY5" fmla="*/ 0 h 379476"/>
                <a:gd name="connsiteX6" fmla="*/ 0 w 379476"/>
                <a:gd name="connsiteY6" fmla="*/ 189738 h 379476"/>
                <a:gd name="connsiteX7" fmla="*/ 189738 w 379476"/>
                <a:gd name="connsiteY7" fmla="*/ 379476 h 379476"/>
                <a:gd name="connsiteX8" fmla="*/ 379476 w 379476"/>
                <a:gd name="connsiteY8" fmla="*/ 189738 h 379476"/>
                <a:gd name="connsiteX9" fmla="*/ 189738 w 379476"/>
                <a:gd name="connsiteY9" fmla="*/ 0 h 379476"/>
                <a:gd name="connsiteX10" fmla="*/ 189738 w 379476"/>
                <a:gd name="connsiteY10" fmla="*/ 0 h 379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9476" h="379476">
                  <a:moveTo>
                    <a:pt x="189738" y="7747"/>
                  </a:moveTo>
                  <a:cubicBezTo>
                    <a:pt x="290068" y="7747"/>
                    <a:pt x="371729" y="89408"/>
                    <a:pt x="371729" y="189738"/>
                  </a:cubicBezTo>
                  <a:cubicBezTo>
                    <a:pt x="371729" y="290068"/>
                    <a:pt x="290068" y="371729"/>
                    <a:pt x="189738" y="371729"/>
                  </a:cubicBezTo>
                  <a:cubicBezTo>
                    <a:pt x="89408" y="371729"/>
                    <a:pt x="7747" y="290068"/>
                    <a:pt x="7747" y="189738"/>
                  </a:cubicBezTo>
                  <a:cubicBezTo>
                    <a:pt x="7747" y="89408"/>
                    <a:pt x="89408" y="7747"/>
                    <a:pt x="189738" y="7747"/>
                  </a:cubicBezTo>
                  <a:moveTo>
                    <a:pt x="189738" y="0"/>
                  </a:moveTo>
                  <a:cubicBezTo>
                    <a:pt x="84963" y="0"/>
                    <a:pt x="0" y="84963"/>
                    <a:pt x="0" y="189738"/>
                  </a:cubicBezTo>
                  <a:cubicBezTo>
                    <a:pt x="0" y="294513"/>
                    <a:pt x="84963" y="379476"/>
                    <a:pt x="189738" y="379476"/>
                  </a:cubicBezTo>
                  <a:cubicBezTo>
                    <a:pt x="294513" y="379476"/>
                    <a:pt x="379476" y="294513"/>
                    <a:pt x="379476" y="189738"/>
                  </a:cubicBezTo>
                  <a:cubicBezTo>
                    <a:pt x="379476" y="84963"/>
                    <a:pt x="294513" y="0"/>
                    <a:pt x="189738" y="0"/>
                  </a:cubicBezTo>
                  <a:lnTo>
                    <a:pt x="189738" y="0"/>
                  </a:lnTo>
                  <a:close/>
                </a:path>
              </a:pathLst>
            </a:custGeom>
            <a:solidFill>
              <a:srgbClr val="FFB900"/>
            </a:solidFill>
            <a:ln>
              <a:solidFill>
                <a:schemeClr val="bg1">
                  <a:alpha val="25000"/>
                </a:schemeClr>
              </a:solidFill>
              <a:headEnd type="none" w="med" len="med"/>
              <a:tailEnd type="none" w="med" len="med"/>
            </a:ln>
            <a:effectLst>
              <a:outerShdw blurRad="50800" dist="254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20" name="Freeform: Shape 19">
              <a:extLst>
                <a:ext uri="{FF2B5EF4-FFF2-40B4-BE49-F238E27FC236}">
                  <a16:creationId xmlns:a16="http://schemas.microsoft.com/office/drawing/2014/main" id="{5970C998-B445-E78A-F48C-DBACC86BBE96}"/>
                </a:ext>
              </a:extLst>
            </p:cNvPr>
            <p:cNvSpPr/>
            <p:nvPr/>
          </p:nvSpPr>
          <p:spPr>
            <a:xfrm>
              <a:off x="9545826" y="0"/>
              <a:ext cx="2646174" cy="4181651"/>
            </a:xfrm>
            <a:custGeom>
              <a:avLst/>
              <a:gdLst>
                <a:gd name="connsiteX0" fmla="*/ 1747913 w 2646174"/>
                <a:gd name="connsiteY0" fmla="*/ 0 h 4181651"/>
                <a:gd name="connsiteX1" fmla="*/ 2646174 w 2646174"/>
                <a:gd name="connsiteY1" fmla="*/ 0 h 4181651"/>
                <a:gd name="connsiteX2" fmla="*/ 2646174 w 2646174"/>
                <a:gd name="connsiteY2" fmla="*/ 856737 h 4181651"/>
                <a:gd name="connsiteX3" fmla="*/ 2457809 w 2646174"/>
                <a:gd name="connsiteY3" fmla="*/ 980394 h 4181651"/>
                <a:gd name="connsiteX4" fmla="*/ 2011745 w 2646174"/>
                <a:gd name="connsiteY4" fmla="*/ 1378332 h 4181651"/>
                <a:gd name="connsiteX5" fmla="*/ 1212662 w 2646174"/>
                <a:gd name="connsiteY5" fmla="*/ 3551945 h 4181651"/>
                <a:gd name="connsiteX6" fmla="*/ 632417 w 2646174"/>
                <a:gd name="connsiteY6" fmla="*/ 4180987 h 4181651"/>
                <a:gd name="connsiteX7" fmla="*/ 607606 w 2646174"/>
                <a:gd name="connsiteY7" fmla="*/ 4181485 h 4181651"/>
                <a:gd name="connsiteX8" fmla="*/ 607770 w 2646174"/>
                <a:gd name="connsiteY8" fmla="*/ 4181651 h 4181651"/>
                <a:gd name="connsiteX9" fmla="*/ 3539 w 2646174"/>
                <a:gd name="connsiteY9" fmla="*/ 3600906 h 4181651"/>
                <a:gd name="connsiteX10" fmla="*/ 1122186 w 2646174"/>
                <a:gd name="connsiteY10" fmla="*/ 557912 h 4181651"/>
                <a:gd name="connsiteX11" fmla="*/ 1746652 w 2646174"/>
                <a:gd name="connsiteY11" fmla="*/ 873 h 4181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46174" h="4181651">
                  <a:moveTo>
                    <a:pt x="1747913" y="0"/>
                  </a:moveTo>
                  <a:lnTo>
                    <a:pt x="2646174" y="0"/>
                  </a:lnTo>
                  <a:lnTo>
                    <a:pt x="2646174" y="856737"/>
                  </a:lnTo>
                  <a:lnTo>
                    <a:pt x="2457809" y="980394"/>
                  </a:lnTo>
                  <a:cubicBezTo>
                    <a:pt x="2298147" y="1096818"/>
                    <a:pt x="2148743" y="1229795"/>
                    <a:pt x="2011745" y="1378332"/>
                  </a:cubicBezTo>
                  <a:cubicBezTo>
                    <a:pt x="1463753" y="1972471"/>
                    <a:pt x="1180078" y="2744428"/>
                    <a:pt x="1212662" y="3551945"/>
                  </a:cubicBezTo>
                  <a:cubicBezTo>
                    <a:pt x="1226226" y="3885903"/>
                    <a:pt x="966372" y="4167590"/>
                    <a:pt x="632417" y="4180987"/>
                  </a:cubicBezTo>
                  <a:cubicBezTo>
                    <a:pt x="624146" y="4181320"/>
                    <a:pt x="615876" y="4181485"/>
                    <a:pt x="607606" y="4181485"/>
                  </a:cubicBezTo>
                  <a:lnTo>
                    <a:pt x="607770" y="4181651"/>
                  </a:lnTo>
                  <a:cubicBezTo>
                    <a:pt x="284731" y="4181651"/>
                    <a:pt x="16772" y="3926591"/>
                    <a:pt x="3539" y="3600906"/>
                  </a:cubicBezTo>
                  <a:cubicBezTo>
                    <a:pt x="-42113" y="2470349"/>
                    <a:pt x="355194" y="1389579"/>
                    <a:pt x="1122186" y="557912"/>
                  </a:cubicBezTo>
                  <a:cubicBezTo>
                    <a:pt x="1313976" y="349996"/>
                    <a:pt x="1523133" y="163851"/>
                    <a:pt x="1746652" y="873"/>
                  </a:cubicBezTo>
                  <a:close/>
                </a:path>
              </a:pathLst>
            </a:custGeom>
            <a:solidFill>
              <a:srgbClr val="FFB900"/>
            </a:solidFill>
            <a:ln>
              <a:solidFill>
                <a:schemeClr val="bg1">
                  <a:alpha val="25000"/>
                </a:schemeClr>
              </a:solidFill>
              <a:headEnd type="none" w="med" len="med"/>
              <a:tailEnd type="none" w="med" len="med"/>
            </a:ln>
            <a:effectLst>
              <a:innerShdw blurRad="101600" dist="50800" dir="11580000">
                <a:prstClr val="black">
                  <a:alpha val="71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21" name="Freeform: Shape 20">
              <a:extLst>
                <a:ext uri="{FF2B5EF4-FFF2-40B4-BE49-F238E27FC236}">
                  <a16:creationId xmlns:a16="http://schemas.microsoft.com/office/drawing/2014/main" id="{14FD28EC-A991-67A6-1656-6C5A0E92213A}"/>
                </a:ext>
              </a:extLst>
            </p:cNvPr>
            <p:cNvSpPr/>
            <p:nvPr/>
          </p:nvSpPr>
          <p:spPr>
            <a:xfrm>
              <a:off x="10408697" y="1"/>
              <a:ext cx="1783303" cy="1685115"/>
            </a:xfrm>
            <a:custGeom>
              <a:avLst/>
              <a:gdLst>
                <a:gd name="connsiteX0" fmla="*/ 885295 w 1783303"/>
                <a:gd name="connsiteY0" fmla="*/ 0 h 1685115"/>
                <a:gd name="connsiteX1" fmla="*/ 1783303 w 1783303"/>
                <a:gd name="connsiteY1" fmla="*/ 0 h 1685115"/>
                <a:gd name="connsiteX2" fmla="*/ 1783303 w 1783303"/>
                <a:gd name="connsiteY2" fmla="*/ 856237 h 1685115"/>
                <a:gd name="connsiteX3" fmla="*/ 1735840 w 1783303"/>
                <a:gd name="connsiteY3" fmla="*/ 883630 h 1685115"/>
                <a:gd name="connsiteX4" fmla="*/ 1066501 w 1783303"/>
                <a:gd name="connsiteY4" fmla="*/ 1471621 h 1685115"/>
                <a:gd name="connsiteX5" fmla="*/ 213495 w 1783303"/>
                <a:gd name="connsiteY5" fmla="*/ 1541256 h 1685115"/>
                <a:gd name="connsiteX6" fmla="*/ 143860 w 1783303"/>
                <a:gd name="connsiteY6" fmla="*/ 688253 h 1685115"/>
                <a:gd name="connsiteX7" fmla="*/ 744874 w 1783303"/>
                <a:gd name="connsiteY7" fmla="*/ 105988 h 1685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83303" h="1685115">
                  <a:moveTo>
                    <a:pt x="885295" y="0"/>
                  </a:moveTo>
                  <a:lnTo>
                    <a:pt x="1783303" y="0"/>
                  </a:lnTo>
                  <a:lnTo>
                    <a:pt x="1783303" y="856237"/>
                  </a:lnTo>
                  <a:lnTo>
                    <a:pt x="1735840" y="883630"/>
                  </a:lnTo>
                  <a:cubicBezTo>
                    <a:pt x="1488117" y="1043358"/>
                    <a:pt x="1262631" y="1240567"/>
                    <a:pt x="1066501" y="1471621"/>
                  </a:cubicBezTo>
                  <a:cubicBezTo>
                    <a:pt x="850146" y="1726348"/>
                    <a:pt x="468222" y="1757608"/>
                    <a:pt x="213495" y="1541256"/>
                  </a:cubicBezTo>
                  <a:cubicBezTo>
                    <a:pt x="-41232" y="1324903"/>
                    <a:pt x="-72493" y="942980"/>
                    <a:pt x="143860" y="688253"/>
                  </a:cubicBezTo>
                  <a:cubicBezTo>
                    <a:pt x="326924" y="472603"/>
                    <a:pt x="528245" y="278012"/>
                    <a:pt x="744874" y="105988"/>
                  </a:cubicBezTo>
                  <a:close/>
                </a:path>
              </a:pathLst>
            </a:custGeom>
            <a:solidFill>
              <a:schemeClr val="bg1"/>
            </a:solidFill>
            <a:ln>
              <a:solidFill>
                <a:schemeClr val="bg1">
                  <a:alpha val="25000"/>
                </a:schemeClr>
              </a:solidFill>
              <a:headEnd type="none" w="med" len="med"/>
              <a:tailEnd type="none" w="med" len="med"/>
            </a:ln>
            <a:effectLst>
              <a:innerShdw blurRad="63500" dist="50800" dir="13500000">
                <a:prstClr val="black">
                  <a:alpha val="35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22" name="Freeform: Shape 21">
              <a:extLst>
                <a:ext uri="{FF2B5EF4-FFF2-40B4-BE49-F238E27FC236}">
                  <a16:creationId xmlns:a16="http://schemas.microsoft.com/office/drawing/2014/main" id="{9612C34B-68FB-E344-46FF-8919F1210337}"/>
                </a:ext>
              </a:extLst>
            </p:cNvPr>
            <p:cNvSpPr/>
            <p:nvPr/>
          </p:nvSpPr>
          <p:spPr>
            <a:xfrm>
              <a:off x="10519807" y="585534"/>
              <a:ext cx="988470" cy="988470"/>
            </a:xfrm>
            <a:custGeom>
              <a:avLst/>
              <a:gdLst>
                <a:gd name="connsiteX0" fmla="*/ 379476 w 379475"/>
                <a:gd name="connsiteY0" fmla="*/ 189738 h 379475"/>
                <a:gd name="connsiteX1" fmla="*/ 189738 w 379475"/>
                <a:gd name="connsiteY1" fmla="*/ 379476 h 379475"/>
                <a:gd name="connsiteX2" fmla="*/ 0 w 379475"/>
                <a:gd name="connsiteY2" fmla="*/ 189738 h 379475"/>
                <a:gd name="connsiteX3" fmla="*/ 189738 w 379475"/>
                <a:gd name="connsiteY3" fmla="*/ 0 h 379475"/>
                <a:gd name="connsiteX4" fmla="*/ 379476 w 379475"/>
                <a:gd name="connsiteY4" fmla="*/ 189738 h 379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75" h="379475">
                  <a:moveTo>
                    <a:pt x="379476" y="189738"/>
                  </a:moveTo>
                  <a:cubicBezTo>
                    <a:pt x="379476" y="294527"/>
                    <a:pt x="294527" y="379476"/>
                    <a:pt x="189738" y="379476"/>
                  </a:cubicBezTo>
                  <a:cubicBezTo>
                    <a:pt x="84949" y="379476"/>
                    <a:pt x="0" y="294527"/>
                    <a:pt x="0" y="189738"/>
                  </a:cubicBezTo>
                  <a:cubicBezTo>
                    <a:pt x="0" y="84949"/>
                    <a:pt x="84949" y="0"/>
                    <a:pt x="189738" y="0"/>
                  </a:cubicBezTo>
                  <a:cubicBezTo>
                    <a:pt x="294527" y="0"/>
                    <a:pt x="379476" y="84949"/>
                    <a:pt x="379476" y="189738"/>
                  </a:cubicBezTo>
                  <a:close/>
                </a:path>
              </a:pathLst>
            </a:custGeom>
            <a:solidFill>
              <a:srgbClr val="FFB900"/>
            </a:solidFill>
            <a:ln>
              <a:solidFill>
                <a:schemeClr val="bg1">
                  <a:alpha val="25000"/>
                </a:schemeClr>
              </a:solidFill>
              <a:headEnd type="none" w="med" len="med"/>
              <a:tailEnd type="none" w="med" len="med"/>
            </a:ln>
            <a:effectLst>
              <a:outerShdw blurRad="50800" dist="254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23" name="Freeform: Shape 22">
              <a:extLst>
                <a:ext uri="{FF2B5EF4-FFF2-40B4-BE49-F238E27FC236}">
                  <a16:creationId xmlns:a16="http://schemas.microsoft.com/office/drawing/2014/main" id="{637610E3-3ACB-D8D3-20D7-178753E09162}"/>
                </a:ext>
              </a:extLst>
            </p:cNvPr>
            <p:cNvSpPr/>
            <p:nvPr/>
          </p:nvSpPr>
          <p:spPr>
            <a:xfrm>
              <a:off x="9576979" y="3003283"/>
              <a:ext cx="1182338" cy="1182338"/>
            </a:xfrm>
            <a:custGeom>
              <a:avLst/>
              <a:gdLst>
                <a:gd name="connsiteX0" fmla="*/ 464693 w 464693"/>
                <a:gd name="connsiteY0" fmla="*/ 232346 h 464693"/>
                <a:gd name="connsiteX1" fmla="*/ 232346 w 464693"/>
                <a:gd name="connsiteY1" fmla="*/ 464693 h 464693"/>
                <a:gd name="connsiteX2" fmla="*/ 0 w 464693"/>
                <a:gd name="connsiteY2" fmla="*/ 232346 h 464693"/>
                <a:gd name="connsiteX3" fmla="*/ 232346 w 464693"/>
                <a:gd name="connsiteY3" fmla="*/ 0 h 464693"/>
                <a:gd name="connsiteX4" fmla="*/ 464693 w 464693"/>
                <a:gd name="connsiteY4" fmla="*/ 232346 h 464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693" h="464693">
                  <a:moveTo>
                    <a:pt x="464693" y="232346"/>
                  </a:moveTo>
                  <a:cubicBezTo>
                    <a:pt x="464693" y="360668"/>
                    <a:pt x="360668" y="464693"/>
                    <a:pt x="232346" y="464693"/>
                  </a:cubicBezTo>
                  <a:cubicBezTo>
                    <a:pt x="104025" y="464693"/>
                    <a:pt x="0" y="360668"/>
                    <a:pt x="0" y="232346"/>
                  </a:cubicBezTo>
                  <a:cubicBezTo>
                    <a:pt x="0" y="104025"/>
                    <a:pt x="104025" y="0"/>
                    <a:pt x="232346" y="0"/>
                  </a:cubicBezTo>
                  <a:cubicBezTo>
                    <a:pt x="360668" y="0"/>
                    <a:pt x="464693" y="104025"/>
                    <a:pt x="464693" y="232346"/>
                  </a:cubicBezTo>
                  <a:close/>
                </a:path>
              </a:pathLst>
            </a:custGeom>
            <a:solidFill>
              <a:srgbClr val="FFB900"/>
            </a:solidFill>
            <a:ln>
              <a:solidFill>
                <a:schemeClr val="bg1">
                  <a:alpha val="25000"/>
                </a:schemeClr>
              </a:solid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sp>
          <p:nvSpPr>
            <p:cNvPr id="24" name="Freeform: Shape 23">
              <a:extLst>
                <a:ext uri="{FF2B5EF4-FFF2-40B4-BE49-F238E27FC236}">
                  <a16:creationId xmlns:a16="http://schemas.microsoft.com/office/drawing/2014/main" id="{7FEA6D9A-5D9F-A059-0E40-72133F0BD0D9}"/>
                </a:ext>
              </a:extLst>
            </p:cNvPr>
            <p:cNvSpPr/>
            <p:nvPr/>
          </p:nvSpPr>
          <p:spPr>
            <a:xfrm>
              <a:off x="9685389" y="3111691"/>
              <a:ext cx="965514" cy="965514"/>
            </a:xfrm>
            <a:custGeom>
              <a:avLst/>
              <a:gdLst>
                <a:gd name="connsiteX0" fmla="*/ 379476 w 379475"/>
                <a:gd name="connsiteY0" fmla="*/ 189738 h 379475"/>
                <a:gd name="connsiteX1" fmla="*/ 189738 w 379475"/>
                <a:gd name="connsiteY1" fmla="*/ 379476 h 379475"/>
                <a:gd name="connsiteX2" fmla="*/ 0 w 379475"/>
                <a:gd name="connsiteY2" fmla="*/ 189738 h 379475"/>
                <a:gd name="connsiteX3" fmla="*/ 189738 w 379475"/>
                <a:gd name="connsiteY3" fmla="*/ 0 h 379475"/>
                <a:gd name="connsiteX4" fmla="*/ 379476 w 379475"/>
                <a:gd name="connsiteY4" fmla="*/ 189738 h 379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75" h="379475">
                  <a:moveTo>
                    <a:pt x="379476" y="189738"/>
                  </a:moveTo>
                  <a:cubicBezTo>
                    <a:pt x="379476" y="294527"/>
                    <a:pt x="294527" y="379476"/>
                    <a:pt x="189738" y="379476"/>
                  </a:cubicBezTo>
                  <a:cubicBezTo>
                    <a:pt x="84949" y="379476"/>
                    <a:pt x="0" y="294527"/>
                    <a:pt x="0" y="189738"/>
                  </a:cubicBezTo>
                  <a:cubicBezTo>
                    <a:pt x="0" y="84949"/>
                    <a:pt x="84949" y="0"/>
                    <a:pt x="189738" y="0"/>
                  </a:cubicBezTo>
                  <a:cubicBezTo>
                    <a:pt x="294527" y="0"/>
                    <a:pt x="379476" y="84949"/>
                    <a:pt x="379476" y="189738"/>
                  </a:cubicBezTo>
                  <a:close/>
                </a:path>
              </a:pathLst>
            </a:custGeom>
            <a:solidFill>
              <a:srgbClr val="1E5D2D"/>
            </a:solidFill>
            <a:ln>
              <a:solidFill>
                <a:schemeClr val="bg1">
                  <a:alpha val="25000"/>
                </a:schemeClr>
              </a:solidFill>
              <a:headEnd type="none" w="med" len="med"/>
              <a:tailEnd type="none" w="med" len="med"/>
            </a:ln>
            <a:effectLst>
              <a:outerShdw blurRad="50800" dist="254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Semibold"/>
                <a:cs typeface="Segoe UI" pitchFamily="34" charset="0"/>
              </a:endParaRPr>
            </a:p>
          </p:txBody>
        </p:sp>
      </p:grpSp>
    </p:spTree>
    <p:extLst>
      <p:ext uri="{BB962C8B-B14F-4D97-AF65-F5344CB8AC3E}">
        <p14:creationId xmlns:p14="http://schemas.microsoft.com/office/powerpoint/2010/main" val="23205522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hank you 1">
    <p:bg>
      <p:bgPr>
        <a:gradFill>
          <a:gsLst>
            <a:gs pos="0">
              <a:schemeClr val="bg1"/>
            </a:gs>
            <a:gs pos="100000">
              <a:srgbClr val="243A5E"/>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i="0" kern="1200" cap="none" spc="-50" baseline="0" dirty="0">
                <a:ln w="3175">
                  <a:noFill/>
                </a:ln>
                <a:solidFill>
                  <a:schemeClr val="tx1"/>
                </a:solidFill>
                <a:effectLst/>
                <a:latin typeface="Segoe Sans Display Semibold" pitchFamily="2" charset="0"/>
                <a:ea typeface="+mn-ea"/>
                <a:cs typeface="Segoe Sans Display" pitchFamily="2" charset="0"/>
              </a:defRPr>
            </a:lvl1pPr>
          </a:lstStyle>
          <a:p>
            <a:r>
              <a:rPr lang="en-US"/>
              <a:t>Thank you</a:t>
            </a:r>
          </a:p>
        </p:txBody>
      </p:sp>
    </p:spTree>
    <p:extLst>
      <p:ext uri="{BB962C8B-B14F-4D97-AF65-F5344CB8AC3E}">
        <p14:creationId xmlns:p14="http://schemas.microsoft.com/office/powerpoint/2010/main" val="25520823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hank you photo">
    <p:bg>
      <p:bgPr>
        <a:gradFill>
          <a:gsLst>
            <a:gs pos="0">
              <a:schemeClr val="tx1"/>
            </a:gs>
            <a:gs pos="100000">
              <a:srgbClr val="243A5E"/>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179701"/>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i="0" kern="1200" cap="none" spc="-50" baseline="0" dirty="0">
                <a:ln w="3175">
                  <a:noFill/>
                </a:ln>
                <a:gradFill>
                  <a:gsLst>
                    <a:gs pos="0">
                      <a:schemeClr val="bg1"/>
                    </a:gs>
                    <a:gs pos="99000">
                      <a:schemeClr val="bg1"/>
                    </a:gs>
                  </a:gsLst>
                  <a:lin ang="5400000" scaled="1"/>
                </a:gradFill>
                <a:effectLst/>
                <a:latin typeface="Segoe Sans Display Semibold" pitchFamily="2" charset="0"/>
                <a:ea typeface="+mn-ea"/>
                <a:cs typeface="Segoe Sans Display" pitchFamily="2"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0" i="0">
                <a:solidFill>
                  <a:srgbClr val="000000"/>
                </a:solidFill>
                <a:latin typeface="Segoe Sans Display" pitchFamily="2" charset="0"/>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223070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Closing logo slide">
    <p:bg>
      <p:bgPr>
        <a:gradFill>
          <a:gsLst>
            <a:gs pos="0">
              <a:schemeClr val="tx1"/>
            </a:gs>
            <a:gs pos="100000">
              <a:srgbClr val="243A5E"/>
            </a:gs>
          </a:gsLst>
          <a:lin ang="5400000" scaled="1"/>
        </a:gra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b="0" i="0" kern="1200">
                <a:gradFill>
                  <a:gsLst>
                    <a:gs pos="0">
                      <a:schemeClr val="bg1"/>
                    </a:gs>
                    <a:gs pos="100000">
                      <a:schemeClr val="bg1"/>
                    </a:gs>
                  </a:gsLst>
                  <a:lin ang="5400000" scaled="1"/>
                </a:gradFill>
                <a:latin typeface="Segoe Sans Display" pitchFamily="2" charset="0"/>
                <a:ea typeface="+mn-ea"/>
                <a:cs typeface="Segoe Sans Display" pitchFamily="2" charset="0"/>
              </a:rPr>
              <a:t>© Copyright Microsoft Corporation. All rights reserved. </a:t>
            </a:r>
          </a:p>
        </p:txBody>
      </p:sp>
      <p:pic>
        <p:nvPicPr>
          <p:cNvPr id="3" name="Picture 2" descr="A black and white logo&#10;&#10;Description automatically generated">
            <a:extLst>
              <a:ext uri="{FF2B5EF4-FFF2-40B4-BE49-F238E27FC236}">
                <a16:creationId xmlns:a16="http://schemas.microsoft.com/office/drawing/2014/main" id="{36AA69B6-D36D-B988-CD25-FA9193E66D0D}"/>
              </a:ext>
            </a:extLst>
          </p:cNvPr>
          <p:cNvPicPr>
            <a:picLocks noChangeAspect="1"/>
          </p:cNvPicPr>
          <p:nvPr userDrawn="1"/>
        </p:nvPicPr>
        <p:blipFill rotWithShape="1">
          <a:blip r:embed="rId2"/>
          <a:srcRect l="9831" t="30470" r="9778" b="31934"/>
          <a:stretch/>
        </p:blipFill>
        <p:spPr>
          <a:xfrm>
            <a:off x="565402" y="560565"/>
            <a:ext cx="2354775" cy="331610"/>
          </a:xfrm>
          <a:prstGeom prst="rect">
            <a:avLst/>
          </a:prstGeom>
        </p:spPr>
      </p:pic>
    </p:spTree>
    <p:extLst>
      <p:ext uri="{BB962C8B-B14F-4D97-AF65-F5344CB8AC3E}">
        <p14:creationId xmlns:p14="http://schemas.microsoft.com/office/powerpoint/2010/main" val="13807231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i="0">
                <a:solidFill>
                  <a:schemeClr val="tx1"/>
                </a:solidFill>
                <a:latin typeface="Segoe Sans Display" pitchFamily="2" charset="0"/>
                <a:ea typeface="Segoe Sans Display" pitchFamily="2" charset="0"/>
                <a:cs typeface="Segoe Sans Display" pitchFamily="2"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b="0" i="0">
                <a:latin typeface="Segoe Sans Display" pitchFamily="2" charset="0"/>
              </a:defRPr>
            </a:lvl1pPr>
            <a:lvl2pPr>
              <a:defRPr sz="2800" b="0" i="0">
                <a:latin typeface="Segoe Sans Display" pitchFamily="2" charset="0"/>
              </a:defRPr>
            </a:lvl2pPr>
            <a:lvl3pPr>
              <a:defRPr sz="2400" b="0" i="0">
                <a:latin typeface="Segoe Sans Display" pitchFamily="2" charset="0"/>
              </a:defRPr>
            </a:lvl3pPr>
            <a:lvl4pPr>
              <a:defRPr sz="2000" b="0" i="0">
                <a:latin typeface="Segoe Sans Display" pitchFamily="2" charset="0"/>
              </a:defRPr>
            </a:lvl4pPr>
            <a:lvl5pPr>
              <a:defRPr sz="1800" b="0" i="0">
                <a:latin typeface="Segoe Sans Display"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b="0" i="0" spc="-51" baseline="0">
                <a:solidFill>
                  <a:srgbClr val="000000"/>
                </a:solidFill>
                <a:effectLst/>
                <a:latin typeface="Segoe Sans Display" pitchFamily="2" charset="0"/>
                <a:ea typeface="Segoe Sans Display" pitchFamily="2" charset="0"/>
                <a:cs typeface="Segoe Sans Display" pitchFamily="2" charset="0"/>
              </a:defRPr>
            </a:lvl1pPr>
          </a:lstStyle>
          <a:p>
            <a:pPr lvl="0"/>
            <a:r>
              <a:rPr lang="en-US"/>
              <a:t>Next:</a:t>
            </a:r>
          </a:p>
        </p:txBody>
      </p:sp>
    </p:spTree>
    <p:extLst>
      <p:ext uri="{BB962C8B-B14F-4D97-AF65-F5344CB8AC3E}">
        <p14:creationId xmlns:p14="http://schemas.microsoft.com/office/powerpoint/2010/main" val="177929042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59819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8"/>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a:extLst>
              <a:ext uri="{FF2B5EF4-FFF2-40B4-BE49-F238E27FC236}">
                <a16:creationId xmlns:a16="http://schemas.microsoft.com/office/drawing/2014/main" id="{2E18FD0C-FA99-4937-92CD-5CF7F279CD8E}"/>
              </a:ext>
              <a:ext uri="{C183D7F6-B498-43B3-948B-1728B52AA6E4}">
                <adec:decorative xmlns:adec="http://schemas.microsoft.com/office/drawing/2017/decorative" val="0"/>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0"/>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Tree>
    <p:extLst>
      <p:ext uri="{BB962C8B-B14F-4D97-AF65-F5344CB8AC3E}">
        <p14:creationId xmlns:p14="http://schemas.microsoft.com/office/powerpoint/2010/main" val="269248137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a:extLst>
              <a:ext uri="{FF2B5EF4-FFF2-40B4-BE49-F238E27FC236}">
                <a16:creationId xmlns:a16="http://schemas.microsoft.com/office/drawing/2014/main" id="{FEB5B31F-7AD9-4BC6-8D61-62AD8011666E}"/>
              </a:ext>
              <a:ext uri="{C183D7F6-B498-43B3-948B-1728B52AA6E4}">
                <adec:decorative xmlns:adec="http://schemas.microsoft.com/office/drawing/2017/decorative" val="0"/>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0"/>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Tree>
    <p:extLst>
      <p:ext uri="{BB962C8B-B14F-4D97-AF65-F5344CB8AC3E}">
        <p14:creationId xmlns:p14="http://schemas.microsoft.com/office/powerpoint/2010/main" val="259521521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a:extLst>
              <a:ext uri="{FF2B5EF4-FFF2-40B4-BE49-F238E27FC236}">
                <a16:creationId xmlns:a16="http://schemas.microsoft.com/office/drawing/2014/main" id="{1231301F-62BD-4CF6-8990-CDF00AFC8CCF}"/>
              </a:ext>
              <a:ext uri="{C183D7F6-B498-43B3-948B-1728B52AA6E4}">
                <adec:decorative xmlns:adec="http://schemas.microsoft.com/office/drawing/2017/decorative" val="0"/>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a:extLst>
              <a:ext uri="{FF2B5EF4-FFF2-40B4-BE49-F238E27FC236}">
                <a16:creationId xmlns:a16="http://schemas.microsoft.com/office/drawing/2014/main" id="{7223C820-5673-4288-A9D6-185A95066B1E}"/>
              </a:ext>
              <a:ext uri="{C183D7F6-B498-43B3-948B-1728B52AA6E4}">
                <adec:decorative xmlns:adec="http://schemas.microsoft.com/office/drawing/2017/decorative" val="0"/>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Tree>
    <p:extLst>
      <p:ext uri="{BB962C8B-B14F-4D97-AF65-F5344CB8AC3E}">
        <p14:creationId xmlns:p14="http://schemas.microsoft.com/office/powerpoint/2010/main" val="281310284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 uri="{C183D7F6-B498-43B3-948B-1728B52AA6E4}">
                <adec:decorative xmlns:adec="http://schemas.microsoft.com/office/drawing/2017/decorative" val="0"/>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 uri="{C183D7F6-B498-43B3-948B-1728B52AA6E4}">
                <adec:decorative xmlns:adec="http://schemas.microsoft.com/office/drawing/2017/decorative" val="0"/>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 uri="{C183D7F6-B498-43B3-948B-1728B52AA6E4}">
                <adec:decorative xmlns:adec="http://schemas.microsoft.com/office/drawing/2017/decorative" val="0"/>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Tree>
    <p:extLst>
      <p:ext uri="{BB962C8B-B14F-4D97-AF65-F5344CB8AC3E}">
        <p14:creationId xmlns:p14="http://schemas.microsoft.com/office/powerpoint/2010/main" val="53514691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6416CC-F10D-8591-BB64-0F308D5F855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D1B207D-4F51-0831-AE0C-E30A11AE00C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647285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Tree>
    <p:extLst>
      <p:ext uri="{BB962C8B-B14F-4D97-AF65-F5344CB8AC3E}">
        <p14:creationId xmlns:p14="http://schemas.microsoft.com/office/powerpoint/2010/main" val="47191525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Tree>
    <p:extLst>
      <p:ext uri="{BB962C8B-B14F-4D97-AF65-F5344CB8AC3E}">
        <p14:creationId xmlns:p14="http://schemas.microsoft.com/office/powerpoint/2010/main" val="359992145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Tree>
    <p:extLst>
      <p:ext uri="{BB962C8B-B14F-4D97-AF65-F5344CB8AC3E}">
        <p14:creationId xmlns:p14="http://schemas.microsoft.com/office/powerpoint/2010/main" val="28781394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Tree>
    <p:extLst>
      <p:ext uri="{BB962C8B-B14F-4D97-AF65-F5344CB8AC3E}">
        <p14:creationId xmlns:p14="http://schemas.microsoft.com/office/powerpoint/2010/main" val="181119846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a:extLst>
              <a:ext uri="{FF2B5EF4-FFF2-40B4-BE49-F238E27FC236}">
                <a16:creationId xmlns:a16="http://schemas.microsoft.com/office/drawing/2014/main" id="{FEB5B31F-7AD9-4BC6-8D61-62AD8011666E}"/>
              </a:ext>
              <a:ext uri="{C183D7F6-B498-43B3-948B-1728B52AA6E4}">
                <adec:decorative xmlns:adec="http://schemas.microsoft.com/office/drawing/2017/decorative" val="0"/>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0"/>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Tree>
    <p:extLst>
      <p:ext uri="{BB962C8B-B14F-4D97-AF65-F5344CB8AC3E}">
        <p14:creationId xmlns:p14="http://schemas.microsoft.com/office/powerpoint/2010/main" val="192911995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a:extLst>
              <a:ext uri="{FF2B5EF4-FFF2-40B4-BE49-F238E27FC236}">
                <a16:creationId xmlns:a16="http://schemas.microsoft.com/office/drawing/2014/main" id="{FEB5B31F-7AD9-4BC6-8D61-62AD8011666E}"/>
              </a:ext>
              <a:ext uri="{C183D7F6-B498-43B3-948B-1728B52AA6E4}">
                <adec:decorative xmlns:adec="http://schemas.microsoft.com/office/drawing/2017/decorative" val="0"/>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Tree>
    <p:extLst>
      <p:ext uri="{BB962C8B-B14F-4D97-AF65-F5344CB8AC3E}">
        <p14:creationId xmlns:p14="http://schemas.microsoft.com/office/powerpoint/2010/main" val="309221663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A608AEF-BE66-4029-BA63-DA15E89C3291}"/>
              </a:ext>
              <a:ext uri="{C183D7F6-B498-43B3-948B-1728B52AA6E4}">
                <adec:decorative xmlns:adec="http://schemas.microsoft.com/office/drawing/2017/decorative" val="0"/>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 uri="{C183D7F6-B498-43B3-948B-1728B52AA6E4}">
                <adec:decorative xmlns:adec="http://schemas.microsoft.com/office/drawing/2017/decorative" val="0"/>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0"/>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Tree>
    <p:extLst>
      <p:ext uri="{BB962C8B-B14F-4D97-AF65-F5344CB8AC3E}">
        <p14:creationId xmlns:p14="http://schemas.microsoft.com/office/powerpoint/2010/main" val="221289042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A608AEF-BE66-4029-BA63-DA15E89C3291}"/>
              </a:ext>
              <a:ext uri="{C183D7F6-B498-43B3-948B-1728B52AA6E4}">
                <adec:decorative xmlns:adec="http://schemas.microsoft.com/office/drawing/2017/decorative" val="0"/>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 uri="{C183D7F6-B498-43B3-948B-1728B52AA6E4}">
                <adec:decorative xmlns:adec="http://schemas.microsoft.com/office/drawing/2017/decorative" val="0"/>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0"/>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Tree>
    <p:extLst>
      <p:ext uri="{BB962C8B-B14F-4D97-AF65-F5344CB8AC3E}">
        <p14:creationId xmlns:p14="http://schemas.microsoft.com/office/powerpoint/2010/main" val="3149234771"/>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A608AEF-BE66-4029-BA63-DA15E89C3291}"/>
              </a:ext>
              <a:ext uri="{C183D7F6-B498-43B3-948B-1728B52AA6E4}">
                <adec:decorative xmlns:adec="http://schemas.microsoft.com/office/drawing/2017/decorative" val="0"/>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 uri="{C183D7F6-B498-43B3-948B-1728B52AA6E4}">
                <adec:decorative xmlns:adec="http://schemas.microsoft.com/office/drawing/2017/decorative" val="0"/>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0"/>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Tree>
    <p:extLst>
      <p:ext uri="{BB962C8B-B14F-4D97-AF65-F5344CB8AC3E}">
        <p14:creationId xmlns:p14="http://schemas.microsoft.com/office/powerpoint/2010/main" val="182347517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98874266"/>
      </p:ext>
    </p:extLst>
  </p:cSld>
  <p:clrMapOvr>
    <a:masterClrMapping/>
  </p:clrMapOvr>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Title and Content - 2">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4C44EF48-B61D-A704-EA3C-00045FFB991D}"/>
              </a:ext>
            </a:extLst>
          </p:cNvPr>
          <p:cNvSpPr/>
          <p:nvPr userDrawn="1"/>
        </p:nvSpPr>
        <p:spPr>
          <a:xfrm>
            <a:off x="322521" y="283028"/>
            <a:ext cx="11546958" cy="6291943"/>
          </a:xfrm>
          <a:prstGeom prst="roundRect">
            <a:avLst>
              <a:gd name="adj" fmla="val 3511"/>
            </a:avLst>
          </a:prstGeom>
          <a:solidFill>
            <a:schemeClr val="bg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 name="Title 1">
            <a:extLst>
              <a:ext uri="{FF2B5EF4-FFF2-40B4-BE49-F238E27FC236}">
                <a16:creationId xmlns:a16="http://schemas.microsoft.com/office/drawing/2014/main" id="{996416CC-F10D-8591-BB64-0F308D5F855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D1B207D-4F51-0831-AE0C-E30A11AE00C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011498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Tree>
    <p:extLst>
      <p:ext uri="{BB962C8B-B14F-4D97-AF65-F5344CB8AC3E}">
        <p14:creationId xmlns:p14="http://schemas.microsoft.com/office/powerpoint/2010/main" val="285050883"/>
      </p:ext>
    </p:extLst>
  </p:cSld>
  <p:clrMapOvr>
    <a:masterClrMapping/>
  </p:clrMapOvr>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Sans Display"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88722660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Sans Display"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9920002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Sans Display"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78579254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Sans Display"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91434219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Sans Display"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7507038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emo slide dark">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314607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emo slide l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9261894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Sans Display"/>
                <a:ea typeface="+mn-ea"/>
                <a:cs typeface="Segoe Sans Display" pitchFamily="2" charset="0"/>
              </a:rPr>
              <a:t>© Copyright Microsoft Corporation. All rights reserved. </a:t>
            </a:r>
          </a:p>
        </p:txBody>
      </p:sp>
      <p:pic>
        <p:nvPicPr>
          <p:cNvPr id="4" name="Picture 3" descr="Microsoft Security">
            <a:extLst>
              <a:ext uri="{FF2B5EF4-FFF2-40B4-BE49-F238E27FC236}">
                <a16:creationId xmlns:a16="http://schemas.microsoft.com/office/drawing/2014/main" id="{4AF1DC5D-9E4C-61B6-29E6-3134DF76ECE0}"/>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bwMode="black">
          <a:xfrm>
            <a:off x="289702" y="296820"/>
            <a:ext cx="2876596" cy="868680"/>
          </a:xfrm>
          <a:prstGeom prst="rect">
            <a:avLst/>
          </a:prstGeom>
        </p:spPr>
      </p:pic>
      <p:sp>
        <p:nvSpPr>
          <p:cNvPr id="3" name="Title 1">
            <a:extLst>
              <a:ext uri="{FF2B5EF4-FFF2-40B4-BE49-F238E27FC236}">
                <a16:creationId xmlns:a16="http://schemas.microsoft.com/office/drawing/2014/main" id="{89FF0FC9-6B16-7B48-F8A5-349518F8D93B}"/>
              </a:ext>
              <a:ext uri="{C183D7F6-B498-43B3-948B-1728B52AA6E4}">
                <adec:decorative xmlns:adec="http://schemas.microsoft.com/office/drawing/2017/decorative" val="0"/>
              </a:ext>
            </a:extLst>
          </p:cNvPr>
          <p:cNvSpPr>
            <a:spLocks noGrp="1"/>
          </p:cNvSpPr>
          <p:nvPr>
            <p:ph type="title" hasCustomPrompt="1"/>
          </p:nvPr>
        </p:nvSpPr>
        <p:spPr>
          <a:xfrm>
            <a:off x="588263" y="-824268"/>
            <a:ext cx="11018520" cy="553998"/>
          </a:xfrm>
        </p:spPr>
        <p:txBody>
          <a:bodyPr anchor="b"/>
          <a:lstStyle>
            <a:lvl1pPr>
              <a:defRPr>
                <a:solidFill>
                  <a:srgbClr val="B1B3B3"/>
                </a:solidFill>
              </a:defRPr>
            </a:lvl1pPr>
          </a:lstStyle>
          <a:p>
            <a:r>
              <a:rPr lang="en-US"/>
              <a:t>Closing</a:t>
            </a:r>
          </a:p>
        </p:txBody>
      </p:sp>
    </p:spTree>
    <p:extLst>
      <p:ext uri="{BB962C8B-B14F-4D97-AF65-F5344CB8AC3E}">
        <p14:creationId xmlns:p14="http://schemas.microsoft.com/office/powerpoint/2010/main" val="232090877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Dark blank">
    <p:bg>
      <p:bgPr>
        <a:solidFill>
          <a:srgbClr val="091F2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53641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5F2B9C-6C80-CAF7-46F7-38B5ED8B971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9261384-4982-A003-A22D-CEFD29C505F2}"/>
              </a:ext>
            </a:extLst>
          </p:cNvPr>
          <p:cNvSpPr>
            <a:spLocks noGrp="1"/>
          </p:cNvSpPr>
          <p:nvPr>
            <p:ph sz="half" idx="1"/>
          </p:nvPr>
        </p:nvSpPr>
        <p:spPr>
          <a:xfrm>
            <a:off x="890225" y="1620061"/>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F44612B7-003F-F88F-DD2D-0EAB38253683}"/>
              </a:ext>
            </a:extLst>
          </p:cNvPr>
          <p:cNvSpPr>
            <a:spLocks noGrp="1"/>
          </p:cNvSpPr>
          <p:nvPr>
            <p:ph sz="half" idx="2"/>
          </p:nvPr>
        </p:nvSpPr>
        <p:spPr>
          <a:xfrm>
            <a:off x="6224225" y="1620061"/>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962706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cSld name="1_Closing logo slide">
    <p:bg>
      <p:bgPr>
        <a:solidFill>
          <a:srgbClr val="091F2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943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Only">
  <p:cSld name="Title Only">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143208B3-217E-A316-BD41-000CF45068A3}"/>
              </a:ext>
            </a:extLst>
          </p:cNvPr>
          <p:cNvSpPr/>
          <p:nvPr userDrawn="1"/>
        </p:nvSpPr>
        <p:spPr>
          <a:xfrm>
            <a:off x="322521" y="283028"/>
            <a:ext cx="11546958" cy="6291943"/>
          </a:xfrm>
          <a:prstGeom prst="roundRect">
            <a:avLst>
              <a:gd name="adj" fmla="val 3511"/>
            </a:avLst>
          </a:prstGeom>
          <a:solidFill>
            <a:schemeClr val="bg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E10FF20-C27F-3AD6-A7BF-EF405F6887DE}"/>
              </a:ext>
            </a:extLst>
          </p:cNvPr>
          <p:cNvSpPr>
            <a:spLocks noGrp="1"/>
          </p:cNvSpPr>
          <p:nvPr>
            <p:ph type="title"/>
          </p:nvPr>
        </p:nvSpPr>
        <p:spPr/>
        <p:txBody>
          <a:bodyPr/>
          <a:lstStyle>
            <a:lvl1pPr algn="ctr">
              <a:defRPr/>
            </a:lvl1pPr>
          </a:lstStyle>
          <a:p>
            <a:r>
              <a:rPr lang="en-US"/>
              <a:t>Click to edit Master title style</a:t>
            </a:r>
            <a:endParaRPr lang="en-US" dirty="0"/>
          </a:p>
        </p:txBody>
      </p:sp>
    </p:spTree>
    <p:extLst>
      <p:ext uri="{BB962C8B-B14F-4D97-AF65-F5344CB8AC3E}">
        <p14:creationId xmlns:p14="http://schemas.microsoft.com/office/powerpoint/2010/main" val="123690679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blank">
  <p:cSld name="Rainbow Blank">
    <p:bg>
      <p:bgPr>
        <a:gradFill>
          <a:gsLst>
            <a:gs pos="2000">
              <a:srgbClr val="0179D4"/>
            </a:gs>
            <a:gs pos="32000">
              <a:srgbClr val="2CB6FF"/>
            </a:gs>
            <a:gs pos="44000">
              <a:srgbClr val="2DB6FF"/>
            </a:gs>
            <a:gs pos="81000">
              <a:srgbClr val="D962FA"/>
            </a:gs>
            <a:gs pos="96000">
              <a:srgbClr val="F69991"/>
            </a:gs>
          </a:gsLst>
          <a:lin ang="3600000" scaled="0"/>
        </a:gra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0239FA0-8DC7-5F1D-3921-B8597DF32CB1}"/>
              </a:ext>
            </a:extLst>
          </p:cNvPr>
          <p:cNvSpPr/>
          <p:nvPr userDrawn="1"/>
        </p:nvSpPr>
        <p:spPr>
          <a:xfrm>
            <a:off x="1" y="0"/>
            <a:ext cx="12192000" cy="6858000"/>
          </a:xfrm>
          <a:prstGeom prst="rect">
            <a:avLst/>
          </a:prstGeom>
          <a:solidFill>
            <a:schemeClr val="bg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6866298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Full Photo 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0946579-D753-EB82-9EBE-711F5D6636F3}"/>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2145"/>
            <a:ext cx="12192000" cy="6862290"/>
          </a:xfrm>
          <a:prstGeom prst="rect">
            <a:avLst/>
          </a:prstGeom>
        </p:spPr>
      </p:pic>
      <p:sp>
        <p:nvSpPr>
          <p:cNvPr id="11" name="Rectangle 10">
            <a:extLst>
              <a:ext uri="{FF2B5EF4-FFF2-40B4-BE49-F238E27FC236}">
                <a16:creationId xmlns:a16="http://schemas.microsoft.com/office/drawing/2014/main" id="{5DFD4B58-CDF6-72D9-EA78-42606F61566B}"/>
              </a:ext>
              <a:ext uri="{C183D7F6-B498-43B3-948B-1728B52AA6E4}">
                <adec:decorative xmlns:adec="http://schemas.microsoft.com/office/drawing/2017/decorative" val="1"/>
              </a:ext>
            </a:extLst>
          </p:cNvPr>
          <p:cNvSpPr/>
          <p:nvPr userDrawn="1"/>
        </p:nvSpPr>
        <p:spPr bwMode="auto">
          <a:xfrm>
            <a:off x="-1" y="0"/>
            <a:ext cx="5334001" cy="6858000"/>
          </a:xfrm>
          <a:prstGeom prst="rect">
            <a:avLst/>
          </a:prstGeom>
          <a:gradFill flip="none" rotWithShape="1">
            <a:gsLst>
              <a:gs pos="0">
                <a:srgbClr val="FFE399"/>
              </a:gs>
              <a:gs pos="100000">
                <a:srgbClr val="FFE399">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7" name="Graphic 6" descr="Microsoft Security">
            <a:extLst>
              <a:ext uri="{FF2B5EF4-FFF2-40B4-BE49-F238E27FC236}">
                <a16:creationId xmlns:a16="http://schemas.microsoft.com/office/drawing/2014/main" id="{97DF7797-AB60-E151-D2B8-6D0976D7E4A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a:off x="582164" y="583123"/>
            <a:ext cx="2291715" cy="290498"/>
          </a:xfrm>
          <a:prstGeom prst="rect">
            <a:avLst/>
          </a:prstGeom>
        </p:spPr>
      </p:pic>
    </p:spTree>
    <p:extLst>
      <p:ext uri="{BB962C8B-B14F-4D97-AF65-F5344CB8AC3E}">
        <p14:creationId xmlns:p14="http://schemas.microsoft.com/office/powerpoint/2010/main" val="2937515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3000">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Full Photo 2">
    <p:bg>
      <p:bgRef idx="1001">
        <a:schemeClr val="bg2"/>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4829336-D518-B358-7303-8178BC20AF2C}"/>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ltGray">
          <a:xfrm>
            <a:off x="0" y="1382"/>
            <a:ext cx="12192000" cy="6855236"/>
          </a:xfrm>
          <a:prstGeom prst="rect">
            <a:avLst/>
          </a:prstGeom>
        </p:spPr>
      </p:pic>
      <p:sp>
        <p:nvSpPr>
          <p:cNvPr id="3" name="Rectangle 2">
            <a:extLst>
              <a:ext uri="{FF2B5EF4-FFF2-40B4-BE49-F238E27FC236}">
                <a16:creationId xmlns:a16="http://schemas.microsoft.com/office/drawing/2014/main" id="{A37097AE-CB80-8F48-F10A-6DD048C0C675}"/>
              </a:ext>
              <a:ext uri="{C183D7F6-B498-43B3-948B-1728B52AA6E4}">
                <adec:decorative xmlns:adec="http://schemas.microsoft.com/office/drawing/2017/decorative" val="1"/>
              </a:ext>
            </a:extLst>
          </p:cNvPr>
          <p:cNvSpPr/>
          <p:nvPr userDrawn="1"/>
        </p:nvSpPr>
        <p:spPr bwMode="auto">
          <a:xfrm>
            <a:off x="0" y="0"/>
            <a:ext cx="8597245" cy="6858000"/>
          </a:xfrm>
          <a:prstGeom prst="rect">
            <a:avLst/>
          </a:prstGeom>
          <a:gradFill flip="none" rotWithShape="1">
            <a:gsLst>
              <a:gs pos="0">
                <a:srgbClr val="000000">
                  <a:alpha val="5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10" name="Picture 9" descr="Microsoft Security">
            <a:extLst>
              <a:ext uri="{FF2B5EF4-FFF2-40B4-BE49-F238E27FC236}">
                <a16:creationId xmlns:a16="http://schemas.microsoft.com/office/drawing/2014/main" id="{D6A0ADE4-A89A-522A-4B0C-2B211CA4B714}"/>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bwMode="black">
          <a:xfrm>
            <a:off x="289702" y="296820"/>
            <a:ext cx="2876596" cy="868680"/>
          </a:xfrm>
          <a:prstGeom prst="rect">
            <a:avLst/>
          </a:prstGeom>
        </p:spPr>
      </p:pic>
    </p:spTree>
    <p:extLst>
      <p:ext uri="{BB962C8B-B14F-4D97-AF65-F5344CB8AC3E}">
        <p14:creationId xmlns:p14="http://schemas.microsoft.com/office/powerpoint/2010/main" val="25746365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Full Photo 3">
    <p:bg>
      <p:bgRef idx="1001">
        <a:schemeClr val="bg2"/>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18B7FA5-5F12-7CD7-6D40-01EB073E58A9}"/>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bwMode="ltGray">
          <a:xfrm>
            <a:off x="0" y="1566"/>
            <a:ext cx="12192000" cy="6854867"/>
          </a:xfrm>
          <a:prstGeom prst="rect">
            <a:avLst/>
          </a:prstGeom>
        </p:spPr>
      </p:pic>
      <p:sp>
        <p:nvSpPr>
          <p:cNvPr id="3" name="Rectangle 2">
            <a:extLst>
              <a:ext uri="{FF2B5EF4-FFF2-40B4-BE49-F238E27FC236}">
                <a16:creationId xmlns:a16="http://schemas.microsoft.com/office/drawing/2014/main" id="{F5659676-01B7-3FED-8149-6F194C468C33}"/>
              </a:ext>
              <a:ext uri="{C183D7F6-B498-43B3-948B-1728B52AA6E4}">
                <adec:decorative xmlns:adec="http://schemas.microsoft.com/office/drawing/2017/decorative" val="1"/>
              </a:ext>
            </a:extLst>
          </p:cNvPr>
          <p:cNvSpPr/>
          <p:nvPr userDrawn="1"/>
        </p:nvSpPr>
        <p:spPr bwMode="auto">
          <a:xfrm>
            <a:off x="0" y="0"/>
            <a:ext cx="5867400" cy="6858000"/>
          </a:xfrm>
          <a:prstGeom prst="rect">
            <a:avLst/>
          </a:prstGeom>
          <a:gradFill flip="none" rotWithShape="1">
            <a:gsLst>
              <a:gs pos="0">
                <a:srgbClr val="5C4738">
                  <a:alpha val="80000"/>
                </a:srgbClr>
              </a:gs>
              <a:gs pos="100000">
                <a:srgbClr val="BF9474">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898137" cy="1231106"/>
          </a:xfrm>
        </p:spPr>
        <p:txBody>
          <a:bodyPr wrap="square"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894254"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6" name="Picture 5" descr="Microsoft Security">
            <a:extLst>
              <a:ext uri="{FF2B5EF4-FFF2-40B4-BE49-F238E27FC236}">
                <a16:creationId xmlns:a16="http://schemas.microsoft.com/office/drawing/2014/main" id="{12A012A5-4EF7-CE94-0AFD-ACB048744F8C}"/>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bwMode="black">
          <a:xfrm>
            <a:off x="289702" y="296820"/>
            <a:ext cx="2876596" cy="868680"/>
          </a:xfrm>
          <a:prstGeom prst="rect">
            <a:avLst/>
          </a:prstGeom>
        </p:spPr>
      </p:pic>
    </p:spTree>
    <p:extLst>
      <p:ext uri="{BB962C8B-B14F-4D97-AF65-F5344CB8AC3E}">
        <p14:creationId xmlns:p14="http://schemas.microsoft.com/office/powerpoint/2010/main" val="11699283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456">
          <p15:clr>
            <a:srgbClr val="5ACBF0"/>
          </p15:clr>
        </p15:guide>
        <p15:guide id="5" orient="horz" pos="2160">
          <p15:clr>
            <a:srgbClr val="FBAE40"/>
          </p15:clr>
        </p15:guide>
        <p15:guide id="6" orient="horz" pos="2208">
          <p15:clr>
            <a:srgbClr val="5ACBF0"/>
          </p15:clr>
        </p15:guide>
        <p15:guide id="7" pos="3840">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Half Photo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898137" cy="1231106"/>
          </a:xfrm>
        </p:spPr>
        <p:txBody>
          <a:bodyPr wrap="square"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894254"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3" name="Graphic 2" descr="Microsoft Security">
            <a:extLst>
              <a:ext uri="{FF2B5EF4-FFF2-40B4-BE49-F238E27FC236}">
                <a16:creationId xmlns:a16="http://schemas.microsoft.com/office/drawing/2014/main" id="{789B8347-537A-9576-6AAD-31AC0822D1F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582164" y="583123"/>
            <a:ext cx="2291715" cy="290498"/>
          </a:xfrm>
          <a:prstGeom prst="rect">
            <a:avLst/>
          </a:prstGeom>
        </p:spPr>
      </p:pic>
      <p:pic>
        <p:nvPicPr>
          <p:cNvPr id="6" name="Picture 5">
            <a:extLst>
              <a:ext uri="{FF2B5EF4-FFF2-40B4-BE49-F238E27FC236}">
                <a16:creationId xmlns:a16="http://schemas.microsoft.com/office/drawing/2014/main" id="{BF0680A9-E1CB-5B53-219D-F848CCF70514}"/>
              </a:ext>
              <a:ext uri="{C183D7F6-B498-43B3-948B-1728B52AA6E4}">
                <adec:decorative xmlns:adec="http://schemas.microsoft.com/office/drawing/2017/decorative" val="1"/>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6104448" y="0"/>
            <a:ext cx="6087552" cy="6858000"/>
          </a:xfrm>
          <a:prstGeom prst="rect">
            <a:avLst/>
          </a:prstGeom>
        </p:spPr>
      </p:pic>
    </p:spTree>
    <p:extLst>
      <p:ext uri="{BB962C8B-B14F-4D97-AF65-F5344CB8AC3E}">
        <p14:creationId xmlns:p14="http://schemas.microsoft.com/office/powerpoint/2010/main" val="2583562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840">
          <p15:clr>
            <a:srgbClr val="5ACBF0"/>
          </p15:clr>
        </p15:guide>
        <p15:guide id="5" orient="horz" pos="2160">
          <p15:clr>
            <a:srgbClr val="FBAE40"/>
          </p15:clr>
        </p15:guide>
        <p15:guide id="6" orient="horz" pos="2229">
          <p15:clr>
            <a:srgbClr val="5ACBF0"/>
          </p15:clr>
        </p15:guide>
        <p15:guide id="7" pos="3456">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Half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898137" cy="1231106"/>
          </a:xfrm>
        </p:spPr>
        <p:txBody>
          <a:bodyPr wrap="square"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894254"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3" name="Graphic 2" descr="Microsoft Security">
            <a:extLst>
              <a:ext uri="{FF2B5EF4-FFF2-40B4-BE49-F238E27FC236}">
                <a16:creationId xmlns:a16="http://schemas.microsoft.com/office/drawing/2014/main" id="{A33859C1-D178-8DAF-88A5-45B3F42E6C6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582164" y="583123"/>
            <a:ext cx="2291715" cy="290498"/>
          </a:xfrm>
          <a:prstGeom prst="rect">
            <a:avLst/>
          </a:prstGeom>
        </p:spPr>
      </p:pic>
      <p:pic>
        <p:nvPicPr>
          <p:cNvPr id="9" name="Picture 8">
            <a:extLst>
              <a:ext uri="{FF2B5EF4-FFF2-40B4-BE49-F238E27FC236}">
                <a16:creationId xmlns:a16="http://schemas.microsoft.com/office/drawing/2014/main" id="{CDCA5EAB-92AF-CBDC-3913-B7A5E08A6028}"/>
              </a:ext>
              <a:ext uri="{C183D7F6-B498-43B3-948B-1728B52AA6E4}">
                <adec:decorative xmlns:adec="http://schemas.microsoft.com/office/drawing/2017/decorative" val="1"/>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6104448" y="0"/>
            <a:ext cx="6087552" cy="6858000"/>
          </a:xfrm>
          <a:prstGeom prst="rect">
            <a:avLst/>
          </a:prstGeom>
        </p:spPr>
      </p:pic>
    </p:spTree>
    <p:extLst>
      <p:ext uri="{BB962C8B-B14F-4D97-AF65-F5344CB8AC3E}">
        <p14:creationId xmlns:p14="http://schemas.microsoft.com/office/powerpoint/2010/main" val="1948744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840">
          <p15:clr>
            <a:srgbClr val="5ACBF0"/>
          </p15:clr>
        </p15:guide>
        <p15:guide id="5" orient="horz" pos="2160">
          <p15:clr>
            <a:srgbClr val="FBAE40"/>
          </p15:clr>
        </p15:guide>
        <p15:guide id="6" orient="horz" pos="2229">
          <p15:clr>
            <a:srgbClr val="5ACBF0"/>
          </p15:clr>
        </p15:guide>
        <p15:guide id="7" pos="3456">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Half Tech Scan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898137" cy="1231106"/>
          </a:xfrm>
        </p:spPr>
        <p:txBody>
          <a:bodyPr wrap="square"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894254"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3" name="Graphic 2" descr="Microsoft Security">
            <a:extLst>
              <a:ext uri="{FF2B5EF4-FFF2-40B4-BE49-F238E27FC236}">
                <a16:creationId xmlns:a16="http://schemas.microsoft.com/office/drawing/2014/main" id="{BE3000C1-801E-43EF-158B-C6778F6B64B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582164" y="583123"/>
            <a:ext cx="2291715" cy="290498"/>
          </a:xfrm>
          <a:prstGeom prst="rect">
            <a:avLst/>
          </a:prstGeom>
        </p:spPr>
      </p:pic>
      <p:pic>
        <p:nvPicPr>
          <p:cNvPr id="6" name="Picture 5">
            <a:extLst>
              <a:ext uri="{FF2B5EF4-FFF2-40B4-BE49-F238E27FC236}">
                <a16:creationId xmlns:a16="http://schemas.microsoft.com/office/drawing/2014/main" id="{E2CEF103-1FB7-7E05-B436-1B39BEED90AA}"/>
              </a:ext>
              <a:ext uri="{C183D7F6-B498-43B3-948B-1728B52AA6E4}">
                <adec:decorative xmlns:adec="http://schemas.microsoft.com/office/drawing/2017/decorative" val="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bwMode="ltGray">
          <a:xfrm>
            <a:off x="6094923" y="0"/>
            <a:ext cx="6097077" cy="6858000"/>
          </a:xfrm>
          <a:prstGeom prst="rect">
            <a:avLst/>
          </a:prstGeom>
        </p:spPr>
      </p:pic>
    </p:spTree>
    <p:extLst>
      <p:ext uri="{BB962C8B-B14F-4D97-AF65-F5344CB8AC3E}">
        <p14:creationId xmlns:p14="http://schemas.microsoft.com/office/powerpoint/2010/main" val="1690609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456">
          <p15:clr>
            <a:srgbClr val="5ACBF0"/>
          </p15:clr>
        </p15:guide>
        <p15:guide id="5" orient="horz" pos="2160">
          <p15:clr>
            <a:srgbClr val="FBAE40"/>
          </p15:clr>
        </p15:guide>
        <p15:guide id="6" orient="horz" pos="2229">
          <p15:clr>
            <a:srgbClr val="5ACBF0"/>
          </p15:clr>
        </p15:guide>
        <p15:guide id="7" pos="3840">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Half Tech Sca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898137" cy="1231106"/>
          </a:xfrm>
        </p:spPr>
        <p:txBody>
          <a:bodyPr wrap="square"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894254"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3" name="Graphic 2" descr="Microsoft Security">
            <a:extLst>
              <a:ext uri="{FF2B5EF4-FFF2-40B4-BE49-F238E27FC236}">
                <a16:creationId xmlns:a16="http://schemas.microsoft.com/office/drawing/2014/main" id="{AC8B23DF-C49A-493B-74A8-359F40BD33E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582164" y="583123"/>
            <a:ext cx="2291715" cy="290498"/>
          </a:xfrm>
          <a:prstGeom prst="rect">
            <a:avLst/>
          </a:prstGeom>
        </p:spPr>
      </p:pic>
      <p:pic>
        <p:nvPicPr>
          <p:cNvPr id="6" name="Picture 5">
            <a:extLst>
              <a:ext uri="{FF2B5EF4-FFF2-40B4-BE49-F238E27FC236}">
                <a16:creationId xmlns:a16="http://schemas.microsoft.com/office/drawing/2014/main" id="{46E80BAE-D63C-356D-256B-A4DA18F4480B}"/>
              </a:ext>
              <a:ext uri="{C183D7F6-B498-43B3-948B-1728B52AA6E4}">
                <adec:decorative xmlns:adec="http://schemas.microsoft.com/office/drawing/2017/decorative" val="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096000" y="0"/>
            <a:ext cx="6093657" cy="6858000"/>
          </a:xfrm>
          <a:prstGeom prst="rect">
            <a:avLst/>
          </a:prstGeom>
        </p:spPr>
      </p:pic>
    </p:spTree>
    <p:extLst>
      <p:ext uri="{BB962C8B-B14F-4D97-AF65-F5344CB8AC3E}">
        <p14:creationId xmlns:p14="http://schemas.microsoft.com/office/powerpoint/2010/main" val="136260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456">
          <p15:clr>
            <a:srgbClr val="5ACBF0"/>
          </p15:clr>
        </p15:guide>
        <p15:guide id="5" orient="horz" pos="2160">
          <p15:clr>
            <a:srgbClr val="FBAE40"/>
          </p15:clr>
        </p15:guide>
        <p15:guide id="6" orient="horz" pos="2229">
          <p15:clr>
            <a:srgbClr val="5ACBF0"/>
          </p15:clr>
        </p15:guide>
        <p15:guide id="7" pos="3840">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9045EC9-3A5C-BF10-4EC3-BBD790D1CC90}"/>
              </a:ext>
            </a:extLst>
          </p:cNvPr>
          <p:cNvSpPr>
            <a:spLocks noGrp="1"/>
          </p:cNvSpPr>
          <p:nvPr>
            <p:ph type="body" idx="1"/>
          </p:nvPr>
        </p:nvSpPr>
        <p:spPr>
          <a:xfrm>
            <a:off x="809542" y="1536784"/>
            <a:ext cx="5157787" cy="823912"/>
          </a:xfrm>
          <a:noFill/>
        </p:spPr>
        <p:txBody>
          <a:bodyPr anchor="b"/>
          <a:lstStyle>
            <a:lvl1pPr marL="0" indent="0" algn="ctr">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425520A-2E0C-1AB0-12FE-75471C476D10}"/>
              </a:ext>
            </a:extLst>
          </p:cNvPr>
          <p:cNvSpPr>
            <a:spLocks noGrp="1"/>
          </p:cNvSpPr>
          <p:nvPr>
            <p:ph sz="half" idx="2"/>
          </p:nvPr>
        </p:nvSpPr>
        <p:spPr>
          <a:xfrm>
            <a:off x="809542" y="2360696"/>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F9775E93-F1B0-A09F-367D-0B0EDC940B63}"/>
              </a:ext>
            </a:extLst>
          </p:cNvPr>
          <p:cNvSpPr>
            <a:spLocks noGrp="1"/>
          </p:cNvSpPr>
          <p:nvPr>
            <p:ph type="body" sz="quarter" idx="3"/>
          </p:nvPr>
        </p:nvSpPr>
        <p:spPr>
          <a:xfrm>
            <a:off x="6141954" y="1536784"/>
            <a:ext cx="5183188" cy="823912"/>
          </a:xfrm>
        </p:spPr>
        <p:txBody>
          <a:bodyPr anchor="b"/>
          <a:lstStyle>
            <a:lvl1pPr marL="0" indent="0" algn="ctr">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ED18764-07D2-DCA5-1817-8C19B4DD0EE8}"/>
              </a:ext>
            </a:extLst>
          </p:cNvPr>
          <p:cNvSpPr>
            <a:spLocks noGrp="1"/>
          </p:cNvSpPr>
          <p:nvPr>
            <p:ph sz="quarter" idx="4"/>
          </p:nvPr>
        </p:nvSpPr>
        <p:spPr>
          <a:xfrm>
            <a:off x="6141954" y="2360696"/>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EA0F0C80-7FE6-276E-5F75-11D316628EA6}"/>
              </a:ext>
            </a:extLst>
          </p:cNvPr>
          <p:cNvSpPr>
            <a:spLocks noGrp="1"/>
          </p:cNvSpPr>
          <p:nvPr>
            <p:ph type="title"/>
          </p:nvPr>
        </p:nvSpPr>
        <p:spPr>
          <a:xfrm>
            <a:off x="629114" y="365126"/>
            <a:ext cx="11025680" cy="1072072"/>
          </a:xfrm>
        </p:spPr>
        <p:txBody>
          <a:bodyPr/>
          <a:lstStyle/>
          <a:p>
            <a:r>
              <a:rPr lang="en-US"/>
              <a:t>Click to edit Master title style</a:t>
            </a:r>
          </a:p>
        </p:txBody>
      </p:sp>
    </p:spTree>
    <p:extLst>
      <p:ext uri="{BB962C8B-B14F-4D97-AF65-F5344CB8AC3E}">
        <p14:creationId xmlns:p14="http://schemas.microsoft.com/office/powerpoint/2010/main" val="427949459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Half Tech Scan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898137" cy="1231106"/>
          </a:xfrm>
        </p:spPr>
        <p:txBody>
          <a:bodyPr wrap="square"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894254"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3" name="Graphic 2" descr="Microsoft Security">
            <a:extLst>
              <a:ext uri="{FF2B5EF4-FFF2-40B4-BE49-F238E27FC236}">
                <a16:creationId xmlns:a16="http://schemas.microsoft.com/office/drawing/2014/main" id="{54A1308D-EAAB-930A-D016-3C236169E56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582164" y="583123"/>
            <a:ext cx="2291715" cy="290498"/>
          </a:xfrm>
          <a:prstGeom prst="rect">
            <a:avLst/>
          </a:prstGeom>
        </p:spPr>
      </p:pic>
      <p:pic>
        <p:nvPicPr>
          <p:cNvPr id="6" name="Picture 5">
            <a:extLst>
              <a:ext uri="{FF2B5EF4-FFF2-40B4-BE49-F238E27FC236}">
                <a16:creationId xmlns:a16="http://schemas.microsoft.com/office/drawing/2014/main" id="{F296BEBD-F376-AC3C-6FAF-856A71D2218F}"/>
              </a:ext>
              <a:ext uri="{C183D7F6-B498-43B3-948B-1728B52AA6E4}">
                <adec:decorative xmlns:adec="http://schemas.microsoft.com/office/drawing/2017/decorative" val="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092376" y="0"/>
            <a:ext cx="6099624" cy="6858000"/>
          </a:xfrm>
          <a:prstGeom prst="rect">
            <a:avLst/>
          </a:prstGeom>
        </p:spPr>
      </p:pic>
    </p:spTree>
    <p:extLst>
      <p:ext uri="{BB962C8B-B14F-4D97-AF65-F5344CB8AC3E}">
        <p14:creationId xmlns:p14="http://schemas.microsoft.com/office/powerpoint/2010/main" val="3893495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456">
          <p15:clr>
            <a:srgbClr val="5ACBF0"/>
          </p15:clr>
        </p15:guide>
        <p15:guide id="5" orient="horz" pos="2160">
          <p15:clr>
            <a:srgbClr val="FBAE40"/>
          </p15:clr>
        </p15:guide>
        <p15:guide id="6" orient="horz" pos="2229">
          <p15:clr>
            <a:srgbClr val="5ACBF0"/>
          </p15:clr>
        </p15:guide>
        <p15:guide id="7" pos="3840">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Half Tech Scan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898137" cy="1231106"/>
          </a:xfrm>
        </p:spPr>
        <p:txBody>
          <a:bodyPr wrap="square"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894254"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3" name="Graphic 2" descr="Microsoft Security">
            <a:extLst>
              <a:ext uri="{FF2B5EF4-FFF2-40B4-BE49-F238E27FC236}">
                <a16:creationId xmlns:a16="http://schemas.microsoft.com/office/drawing/2014/main" id="{51B21C3F-0ACB-1D54-3978-4C15EB6DEF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582164" y="583123"/>
            <a:ext cx="2291715" cy="290498"/>
          </a:xfrm>
          <a:prstGeom prst="rect">
            <a:avLst/>
          </a:prstGeom>
        </p:spPr>
      </p:pic>
      <p:pic>
        <p:nvPicPr>
          <p:cNvPr id="6" name="Picture 5">
            <a:extLst>
              <a:ext uri="{FF2B5EF4-FFF2-40B4-BE49-F238E27FC236}">
                <a16:creationId xmlns:a16="http://schemas.microsoft.com/office/drawing/2014/main" id="{0AF7A637-33BF-289F-AA74-069C187A117F}"/>
              </a:ext>
              <a:ext uri="{C183D7F6-B498-43B3-948B-1728B52AA6E4}">
                <adec:decorative xmlns:adec="http://schemas.microsoft.com/office/drawing/2017/decorative" val="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096573" y="0"/>
            <a:ext cx="6095427" cy="6858000"/>
          </a:xfrm>
          <a:prstGeom prst="rect">
            <a:avLst/>
          </a:prstGeom>
        </p:spPr>
      </p:pic>
    </p:spTree>
    <p:extLst>
      <p:ext uri="{BB962C8B-B14F-4D97-AF65-F5344CB8AC3E}">
        <p14:creationId xmlns:p14="http://schemas.microsoft.com/office/powerpoint/2010/main" val="2417589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456">
          <p15:clr>
            <a:srgbClr val="5ACBF0"/>
          </p15:clr>
        </p15:guide>
        <p15:guide id="5" orient="horz" pos="2160">
          <p15:clr>
            <a:srgbClr val="FBAE40"/>
          </p15:clr>
        </p15:guide>
        <p15:guide id="6" orient="horz" pos="2229">
          <p15:clr>
            <a:srgbClr val="5ACBF0"/>
          </p15:clr>
        </p15:guide>
        <p15:guide id="7" pos="3840">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Half Tech Scan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898137" cy="1231106"/>
          </a:xfrm>
        </p:spPr>
        <p:txBody>
          <a:bodyPr wrap="square"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894254"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3" name="Graphic 2" descr="Microsoft Security">
            <a:extLst>
              <a:ext uri="{FF2B5EF4-FFF2-40B4-BE49-F238E27FC236}">
                <a16:creationId xmlns:a16="http://schemas.microsoft.com/office/drawing/2014/main" id="{CD178E6C-344F-91D9-35BD-CD8D9458FDF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582164" y="583123"/>
            <a:ext cx="2291715" cy="290498"/>
          </a:xfrm>
          <a:prstGeom prst="rect">
            <a:avLst/>
          </a:prstGeom>
        </p:spPr>
      </p:pic>
      <p:pic>
        <p:nvPicPr>
          <p:cNvPr id="6" name="Picture 5">
            <a:extLst>
              <a:ext uri="{FF2B5EF4-FFF2-40B4-BE49-F238E27FC236}">
                <a16:creationId xmlns:a16="http://schemas.microsoft.com/office/drawing/2014/main" id="{ABC8923B-7A7F-A404-F664-261AEFD5662A}"/>
              </a:ext>
              <a:ext uri="{C183D7F6-B498-43B3-948B-1728B52AA6E4}">
                <adec:decorative xmlns:adec="http://schemas.microsoft.com/office/drawing/2017/decorative" val="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096547" y="0"/>
            <a:ext cx="6095453" cy="6858000"/>
          </a:xfrm>
          <a:prstGeom prst="rect">
            <a:avLst/>
          </a:prstGeom>
        </p:spPr>
      </p:pic>
    </p:spTree>
    <p:extLst>
      <p:ext uri="{BB962C8B-B14F-4D97-AF65-F5344CB8AC3E}">
        <p14:creationId xmlns:p14="http://schemas.microsoft.com/office/powerpoint/2010/main" val="2133868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456">
          <p15:clr>
            <a:srgbClr val="5ACBF0"/>
          </p15:clr>
        </p15:guide>
        <p15:guide id="5" orient="horz" pos="2160">
          <p15:clr>
            <a:srgbClr val="FBAE40"/>
          </p15:clr>
        </p15:guide>
        <p15:guide id="6" orient="horz" pos="2229">
          <p15:clr>
            <a:srgbClr val="5ACBF0"/>
          </p15:clr>
        </p15:guide>
        <p15:guide id="7" pos="3840">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Tech Scan 1">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8A38B7E-C277-EC82-55D7-6481C181A98D}"/>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ltGray">
          <a:xfrm>
            <a:off x="2" y="1"/>
            <a:ext cx="12191998" cy="6857998"/>
          </a:xfrm>
          <a:prstGeom prst="rect">
            <a:avLst/>
          </a:prstGeom>
        </p:spPr>
      </p:pic>
      <p:sp>
        <p:nvSpPr>
          <p:cNvPr id="6" name="Rectangle 5">
            <a:extLst>
              <a:ext uri="{FF2B5EF4-FFF2-40B4-BE49-F238E27FC236}">
                <a16:creationId xmlns:a16="http://schemas.microsoft.com/office/drawing/2014/main" id="{CA38D12B-EC7B-EA1B-4057-AF9DA412C46D}"/>
              </a:ext>
              <a:ext uri="{C183D7F6-B498-43B3-948B-1728B52AA6E4}">
                <adec:decorative xmlns:adec="http://schemas.microsoft.com/office/drawing/2017/decorative" val="1"/>
              </a:ext>
            </a:extLst>
          </p:cNvPr>
          <p:cNvSpPr/>
          <p:nvPr userDrawn="1"/>
        </p:nvSpPr>
        <p:spPr bwMode="auto">
          <a:xfrm>
            <a:off x="0" y="0"/>
            <a:ext cx="5867400" cy="6858000"/>
          </a:xfrm>
          <a:prstGeom prst="rect">
            <a:avLst/>
          </a:prstGeom>
          <a:gradFill flip="none" rotWithShape="1">
            <a:gsLst>
              <a:gs pos="0">
                <a:schemeClr val="bg1">
                  <a:alpha val="50000"/>
                </a:schemeClr>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 name="Title 1">
            <a:extLst>
              <a:ext uri="{FF2B5EF4-FFF2-40B4-BE49-F238E27FC236}">
                <a16:creationId xmlns:a16="http://schemas.microsoft.com/office/drawing/2014/main" id="{67A3AACD-E573-9F14-634A-1D5A1A0EAE10}"/>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4" name="Text Placeholder 4">
            <a:extLst>
              <a:ext uri="{FF2B5EF4-FFF2-40B4-BE49-F238E27FC236}">
                <a16:creationId xmlns:a16="http://schemas.microsoft.com/office/drawing/2014/main" id="{1AEC04C3-05AF-D886-BA04-C2B92AE1C11E}"/>
              </a:ext>
            </a:extLst>
          </p:cNvPr>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3" name="Graphic 2" descr="Microsoft Security">
            <a:extLst>
              <a:ext uri="{FF2B5EF4-FFF2-40B4-BE49-F238E27FC236}">
                <a16:creationId xmlns:a16="http://schemas.microsoft.com/office/drawing/2014/main" id="{7D107A7B-CDA6-22BC-0F0F-6907FBBCCE8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a:off x="582164" y="583123"/>
            <a:ext cx="2291715" cy="290498"/>
          </a:xfrm>
          <a:prstGeom prst="rect">
            <a:avLst/>
          </a:prstGeom>
        </p:spPr>
      </p:pic>
    </p:spTree>
    <p:extLst>
      <p:ext uri="{BB962C8B-B14F-4D97-AF65-F5344CB8AC3E}">
        <p14:creationId xmlns:p14="http://schemas.microsoft.com/office/powerpoint/2010/main" val="1587120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guide id="5" pos="3000">
          <p15:clr>
            <a:srgbClr val="5ACBF0"/>
          </p15:clr>
        </p15:guide>
        <p15:guide id="6" pos="3360">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Tech Scan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719B9D8-B411-3BC6-C1C8-1D6D457196E0}"/>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
            <a:ext cx="12192002" cy="6858000"/>
          </a:xfrm>
          <a:prstGeom prst="rect">
            <a:avLst/>
          </a:prstGeom>
        </p:spPr>
      </p:pic>
      <p:sp>
        <p:nvSpPr>
          <p:cNvPr id="2" name="Title 1">
            <a:extLst>
              <a:ext uri="{FF2B5EF4-FFF2-40B4-BE49-F238E27FC236}">
                <a16:creationId xmlns:a16="http://schemas.microsoft.com/office/drawing/2014/main" id="{8E90BD01-3D97-785B-8320-C14AF7E1EF48}"/>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4" name="Text Placeholder 4">
            <a:extLst>
              <a:ext uri="{FF2B5EF4-FFF2-40B4-BE49-F238E27FC236}">
                <a16:creationId xmlns:a16="http://schemas.microsoft.com/office/drawing/2014/main" id="{9FFEAA53-3411-D917-E9C0-67CC0580651A}"/>
              </a:ext>
            </a:extLst>
          </p:cNvPr>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3" name="Graphic 2" descr="Microsoft Security">
            <a:extLst>
              <a:ext uri="{FF2B5EF4-FFF2-40B4-BE49-F238E27FC236}">
                <a16:creationId xmlns:a16="http://schemas.microsoft.com/office/drawing/2014/main" id="{1BE3155B-A4DB-435E-6E23-55C31BDA962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a:off x="582164" y="583123"/>
            <a:ext cx="2291715" cy="290498"/>
          </a:xfrm>
          <a:prstGeom prst="rect">
            <a:avLst/>
          </a:prstGeom>
        </p:spPr>
      </p:pic>
    </p:spTree>
    <p:extLst>
      <p:ext uri="{BB962C8B-B14F-4D97-AF65-F5344CB8AC3E}">
        <p14:creationId xmlns:p14="http://schemas.microsoft.com/office/powerpoint/2010/main" val="479926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000">
          <p15:clr>
            <a:srgbClr val="5ACBF0"/>
          </p15:clr>
        </p15:guide>
        <p15:guide id="4" orient="horz" pos="2160">
          <p15:clr>
            <a:srgbClr val="FBAE40"/>
          </p15:clr>
        </p15:guide>
        <p15:guide id="5" pos="3360">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Tech Scan 3">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5F47B18-3C9F-3945-4382-2ECB20DEB78E}"/>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443777E1-4699-B986-EC57-1B6944F17DCC}"/>
              </a:ext>
              <a:ext uri="{C183D7F6-B498-43B3-948B-1728B52AA6E4}">
                <adec:decorative xmlns:adec="http://schemas.microsoft.com/office/drawing/2017/decorative" val="1"/>
              </a:ext>
            </a:extLst>
          </p:cNvPr>
          <p:cNvSpPr/>
          <p:nvPr userDrawn="1"/>
        </p:nvSpPr>
        <p:spPr bwMode="auto">
          <a:xfrm>
            <a:off x="-1" y="0"/>
            <a:ext cx="5334001" cy="6858000"/>
          </a:xfrm>
          <a:prstGeom prst="rect">
            <a:avLst/>
          </a:prstGeom>
          <a:gradFill flip="none" rotWithShape="1">
            <a:gsLst>
              <a:gs pos="0">
                <a:srgbClr val="FFFFFF">
                  <a:alpha val="50000"/>
                </a:srgbClr>
              </a:gs>
              <a:gs pos="100000">
                <a:srgbClr val="FFFFFF">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 name="Title 1">
            <a:extLst>
              <a:ext uri="{FF2B5EF4-FFF2-40B4-BE49-F238E27FC236}">
                <a16:creationId xmlns:a16="http://schemas.microsoft.com/office/drawing/2014/main" id="{42372FB5-E859-F6AA-DD14-D4083B87ECDC}"/>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4" name="Text Placeholder 4">
            <a:extLst>
              <a:ext uri="{FF2B5EF4-FFF2-40B4-BE49-F238E27FC236}">
                <a16:creationId xmlns:a16="http://schemas.microsoft.com/office/drawing/2014/main" id="{FD837864-D70E-678B-2209-B7AE9D3C55CE}"/>
              </a:ext>
            </a:extLst>
          </p:cNvPr>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3" name="Graphic 2" descr="Microsoft Security">
            <a:extLst>
              <a:ext uri="{FF2B5EF4-FFF2-40B4-BE49-F238E27FC236}">
                <a16:creationId xmlns:a16="http://schemas.microsoft.com/office/drawing/2014/main" id="{6BA899B3-8491-96A9-FF00-284B3D4EC2C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a:off x="582164" y="583123"/>
            <a:ext cx="2291715" cy="290498"/>
          </a:xfrm>
          <a:prstGeom prst="rect">
            <a:avLst/>
          </a:prstGeom>
        </p:spPr>
      </p:pic>
    </p:spTree>
    <p:extLst>
      <p:ext uri="{BB962C8B-B14F-4D97-AF65-F5344CB8AC3E}">
        <p14:creationId xmlns:p14="http://schemas.microsoft.com/office/powerpoint/2010/main" val="3372854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000">
          <p15:clr>
            <a:srgbClr val="5ACBF0"/>
          </p15:clr>
        </p15:guide>
        <p15:guide id="4" orient="horz" pos="2160">
          <p15:clr>
            <a:srgbClr val="FBAE40"/>
          </p15:clr>
        </p15:guide>
        <p15:guide id="5" pos="3360">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Tech Scan 4">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F48BB96-7264-9530-CDE0-CFBAECEB0F30}"/>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ltGray">
          <a:xfrm>
            <a:off x="0" y="0"/>
            <a:ext cx="12192000" cy="6858000"/>
          </a:xfrm>
          <a:prstGeom prst="rect">
            <a:avLst/>
          </a:prstGeom>
        </p:spPr>
      </p:pic>
      <p:sp>
        <p:nvSpPr>
          <p:cNvPr id="5" name="Rectangle 4">
            <a:extLst>
              <a:ext uri="{FF2B5EF4-FFF2-40B4-BE49-F238E27FC236}">
                <a16:creationId xmlns:a16="http://schemas.microsoft.com/office/drawing/2014/main" id="{537C7AC9-1320-B560-2729-19A72498C24F}"/>
              </a:ext>
              <a:ext uri="{C183D7F6-B498-43B3-948B-1728B52AA6E4}">
                <adec:decorative xmlns:adec="http://schemas.microsoft.com/office/drawing/2017/decorative" val="1"/>
              </a:ext>
            </a:extLst>
          </p:cNvPr>
          <p:cNvSpPr/>
          <p:nvPr userDrawn="1"/>
        </p:nvSpPr>
        <p:spPr bwMode="auto">
          <a:xfrm>
            <a:off x="-1" y="0"/>
            <a:ext cx="5334001" cy="6858000"/>
          </a:xfrm>
          <a:prstGeom prst="rect">
            <a:avLst/>
          </a:prstGeom>
          <a:gradFill flip="none" rotWithShape="1">
            <a:gsLst>
              <a:gs pos="0">
                <a:srgbClr val="FFFFFF">
                  <a:alpha val="50000"/>
                </a:srgbClr>
              </a:gs>
              <a:gs pos="100000">
                <a:srgbClr val="FFFFFF">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 name="Title 1">
            <a:extLst>
              <a:ext uri="{FF2B5EF4-FFF2-40B4-BE49-F238E27FC236}">
                <a16:creationId xmlns:a16="http://schemas.microsoft.com/office/drawing/2014/main" id="{85A7AC5C-D3D1-7CD0-058A-BF0F18A5CA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4" name="Text Placeholder 4">
            <a:extLst>
              <a:ext uri="{FF2B5EF4-FFF2-40B4-BE49-F238E27FC236}">
                <a16:creationId xmlns:a16="http://schemas.microsoft.com/office/drawing/2014/main" id="{248213E6-EE22-FC5F-7A29-7005DFDA6702}"/>
              </a:ext>
            </a:extLst>
          </p:cNvPr>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3" name="Graphic 2" descr="Microsoft Security">
            <a:extLst>
              <a:ext uri="{FF2B5EF4-FFF2-40B4-BE49-F238E27FC236}">
                <a16:creationId xmlns:a16="http://schemas.microsoft.com/office/drawing/2014/main" id="{72EC0010-45A7-C133-D28C-19A2C230732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a:off x="582164" y="583123"/>
            <a:ext cx="2291715" cy="290498"/>
          </a:xfrm>
          <a:prstGeom prst="rect">
            <a:avLst/>
          </a:prstGeom>
        </p:spPr>
      </p:pic>
    </p:spTree>
    <p:extLst>
      <p:ext uri="{BB962C8B-B14F-4D97-AF65-F5344CB8AC3E}">
        <p14:creationId xmlns:p14="http://schemas.microsoft.com/office/powerpoint/2010/main" val="2465462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000">
          <p15:clr>
            <a:srgbClr val="5ACBF0"/>
          </p15:clr>
        </p15:guide>
        <p15:guide id="4" orient="horz" pos="2160">
          <p15:clr>
            <a:srgbClr val="FBAE40"/>
          </p15:clr>
        </p15:guide>
        <p15:guide id="5" pos="3360">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Tech Scan 5">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CA04DD2-8161-CEFE-E805-16FD5E2B5951}"/>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12192002" cy="6858000"/>
          </a:xfrm>
          <a:prstGeom prst="rect">
            <a:avLst/>
          </a:prstGeom>
        </p:spPr>
      </p:pic>
      <p:sp>
        <p:nvSpPr>
          <p:cNvPr id="5" name="Rectangle 4">
            <a:extLst>
              <a:ext uri="{FF2B5EF4-FFF2-40B4-BE49-F238E27FC236}">
                <a16:creationId xmlns:a16="http://schemas.microsoft.com/office/drawing/2014/main" id="{37758876-CBC5-2CC7-B64B-7A0BE54262C4}"/>
              </a:ext>
              <a:ext uri="{C183D7F6-B498-43B3-948B-1728B52AA6E4}">
                <adec:decorative xmlns:adec="http://schemas.microsoft.com/office/drawing/2017/decorative" val="1"/>
              </a:ext>
            </a:extLst>
          </p:cNvPr>
          <p:cNvSpPr/>
          <p:nvPr userDrawn="1"/>
        </p:nvSpPr>
        <p:spPr bwMode="auto">
          <a:xfrm>
            <a:off x="-1" y="0"/>
            <a:ext cx="5334001" cy="6858000"/>
          </a:xfrm>
          <a:prstGeom prst="rect">
            <a:avLst/>
          </a:prstGeom>
          <a:gradFill flip="none" rotWithShape="1">
            <a:gsLst>
              <a:gs pos="0">
                <a:srgbClr val="FFFFFF">
                  <a:alpha val="60000"/>
                </a:srgbClr>
              </a:gs>
              <a:gs pos="100000">
                <a:srgbClr val="FFFFFF">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 name="Title 1">
            <a:extLst>
              <a:ext uri="{FF2B5EF4-FFF2-40B4-BE49-F238E27FC236}">
                <a16:creationId xmlns:a16="http://schemas.microsoft.com/office/drawing/2014/main" id="{9E493527-788F-A6FD-FF51-C35F691FCA9E}"/>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4" name="Text Placeholder 4">
            <a:extLst>
              <a:ext uri="{FF2B5EF4-FFF2-40B4-BE49-F238E27FC236}">
                <a16:creationId xmlns:a16="http://schemas.microsoft.com/office/drawing/2014/main" id="{67DE02AD-BF56-503B-C72F-C737C69FD2C8}"/>
              </a:ext>
            </a:extLst>
          </p:cNvPr>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3" name="Graphic 2" descr="Microsoft Security">
            <a:extLst>
              <a:ext uri="{FF2B5EF4-FFF2-40B4-BE49-F238E27FC236}">
                <a16:creationId xmlns:a16="http://schemas.microsoft.com/office/drawing/2014/main" id="{7CD92627-BCCD-EC35-AFDC-9C9A6010DB5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a:off x="582164" y="583123"/>
            <a:ext cx="2291715" cy="290498"/>
          </a:xfrm>
          <a:prstGeom prst="rect">
            <a:avLst/>
          </a:prstGeom>
        </p:spPr>
      </p:pic>
    </p:spTree>
    <p:extLst>
      <p:ext uri="{BB962C8B-B14F-4D97-AF65-F5344CB8AC3E}">
        <p14:creationId xmlns:p14="http://schemas.microsoft.com/office/powerpoint/2010/main" val="153663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000">
          <p15:clr>
            <a:srgbClr val="5ACBF0"/>
          </p15:clr>
        </p15:guide>
        <p15:guide id="4" orient="horz" pos="2160">
          <p15:clr>
            <a:srgbClr val="FBAE40"/>
          </p15:clr>
        </p15:guide>
        <p15:guide id="5" pos="3360">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Header Tex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85834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Header Text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7728531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143208B3-217E-A316-BD41-000CF45068A3}"/>
              </a:ext>
            </a:extLst>
          </p:cNvPr>
          <p:cNvSpPr/>
          <p:nvPr userDrawn="1"/>
        </p:nvSpPr>
        <p:spPr>
          <a:xfrm>
            <a:off x="322521" y="283028"/>
            <a:ext cx="11546958" cy="6291943"/>
          </a:xfrm>
          <a:prstGeom prst="roundRect">
            <a:avLst>
              <a:gd name="adj" fmla="val 3511"/>
            </a:avLst>
          </a:prstGeom>
          <a:solidFill>
            <a:schemeClr val="bg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 name="Title 1">
            <a:extLst>
              <a:ext uri="{FF2B5EF4-FFF2-40B4-BE49-F238E27FC236}">
                <a16:creationId xmlns:a16="http://schemas.microsoft.com/office/drawing/2014/main" id="{7E10FF20-C27F-3AD6-A7BF-EF405F6887DE}"/>
              </a:ext>
            </a:extLst>
          </p:cNvPr>
          <p:cNvSpPr>
            <a:spLocks noGrp="1"/>
          </p:cNvSpPr>
          <p:nvPr>
            <p:ph type="title"/>
          </p:nvPr>
        </p:nvSpPr>
        <p:spPr/>
        <p:txBody>
          <a:bodyPr/>
          <a:lstStyle>
            <a:lvl1pPr algn="ctr">
              <a:defRPr/>
            </a:lvl1pPr>
          </a:lstStyle>
          <a:p>
            <a:r>
              <a:rPr lang="en-US"/>
              <a:t>Click to edit Master title style</a:t>
            </a:r>
            <a:endParaRPr lang="en-US" dirty="0"/>
          </a:p>
        </p:txBody>
      </p:sp>
    </p:spTree>
    <p:extLst>
      <p:ext uri="{BB962C8B-B14F-4D97-AF65-F5344CB8AC3E}">
        <p14:creationId xmlns:p14="http://schemas.microsoft.com/office/powerpoint/2010/main" val="308795201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Small Header Text Light">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1690775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Small Header Text Dark">
    <p:bg>
      <p:bgRef idx="1001">
        <a:schemeClr val="bg2"/>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340364865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20048A-4F0D-B875-375B-E7827CA8606D}"/>
              </a:ext>
            </a:extLst>
          </p:cNvPr>
          <p:cNvSpPr>
            <a:spLocks noGrp="1"/>
          </p:cNvSpPr>
          <p:nvPr>
            <p:ph type="title" hasCustomPrompt="1"/>
          </p:nvPr>
        </p:nvSpPr>
        <p:spPr>
          <a:xfrm>
            <a:off x="588263" y="-824268"/>
            <a:ext cx="11018520" cy="553998"/>
          </a:xfrm>
        </p:spPr>
        <p:txBody>
          <a:bodyPr anchor="b"/>
          <a:lstStyle>
            <a:lvl1pPr>
              <a:defRPr>
                <a:solidFill>
                  <a:srgbClr val="B1B3B3"/>
                </a:solidFill>
              </a:defRPr>
            </a:lvl1pPr>
          </a:lstStyle>
          <a:p>
            <a:r>
              <a:rPr lang="en-US"/>
              <a:t>Title</a:t>
            </a:r>
          </a:p>
        </p:txBody>
      </p:sp>
    </p:spTree>
    <p:extLst>
      <p:ext uri="{BB962C8B-B14F-4D97-AF65-F5344CB8AC3E}">
        <p14:creationId xmlns:p14="http://schemas.microsoft.com/office/powerpoint/2010/main" val="21791834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Tree>
    <p:extLst>
      <p:ext uri="{BB962C8B-B14F-4D97-AF65-F5344CB8AC3E}">
        <p14:creationId xmlns:p14="http://schemas.microsoft.com/office/powerpoint/2010/main" val="353503843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13576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00674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3_Header Tex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5">
            <a:extLst>
              <a:ext uri="{FF2B5EF4-FFF2-40B4-BE49-F238E27FC236}">
                <a16:creationId xmlns:a16="http://schemas.microsoft.com/office/drawing/2014/main" id="{48984A4C-95BC-1B90-86D9-D32A654BCDB4}"/>
              </a:ext>
            </a:extLst>
          </p:cNvPr>
          <p:cNvSpPr txBox="1"/>
          <p:nvPr userDrawn="1">
            <p:extLst>
              <p:ext uri="{1162E1C5-73C7-4A58-AE30-91384D911F3F}">
                <p184:classification xmlns:p184="http://schemas.microsoft.com/office/powerpoint/2018/4/main" val="ftr"/>
              </p:ext>
            </p:extLst>
          </p:nvPr>
        </p:nvSpPr>
        <p:spPr>
          <a:xfrm>
            <a:off x="5181600" y="6642100"/>
            <a:ext cx="1828800" cy="123111"/>
          </a:xfrm>
          <a:prstGeom prst="rect">
            <a:avLst/>
          </a:prstGeom>
        </p:spPr>
        <p:txBody>
          <a:bodyPr horzOverflow="overflow"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Display"/>
                <a:ea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12607588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30694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One Column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489639"/>
          </a:xfrm>
        </p:spPr>
        <p:txBody>
          <a:bodyPr wrap="square">
            <a:spAutoFit/>
          </a:bodyPr>
          <a:lstStyle>
            <a:lvl1pPr marL="0" indent="0">
              <a:buNone/>
              <a:defRPr sz="2000"/>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5">
            <a:extLst>
              <a:ext uri="{FF2B5EF4-FFF2-40B4-BE49-F238E27FC236}">
                <a16:creationId xmlns:a16="http://schemas.microsoft.com/office/drawing/2014/main" id="{A1DDC53A-20F5-4FEE-84F9-F73DC98FBC2B}"/>
              </a:ext>
            </a:extLst>
          </p:cNvPr>
          <p:cNvSpPr txBox="1"/>
          <p:nvPr userDrawn="1">
            <p:extLst>
              <p:ext uri="{1162E1C5-73C7-4A58-AE30-91384D911F3F}">
                <p184:classification xmlns:p184="http://schemas.microsoft.com/office/powerpoint/2018/4/main" val="ftr"/>
              </p:ext>
            </p:extLst>
          </p:nvPr>
        </p:nvSpPr>
        <p:spPr>
          <a:xfrm>
            <a:off x="5181600" y="6642100"/>
            <a:ext cx="1828800" cy="123111"/>
          </a:xfrm>
          <a:prstGeom prst="rect">
            <a:avLst/>
          </a:prstGeom>
        </p:spPr>
        <p:txBody>
          <a:bodyPr horzOverflow="overflow"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Display"/>
                <a:ea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6562901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993368"/>
            <a:ext cx="11018520" cy="276999"/>
          </a:xfrm>
        </p:spPr>
        <p:txBody>
          <a:bodyPr wrap="square">
            <a:spAutoFit/>
          </a:bodyPr>
          <a:lstStyle>
            <a:lvl1pPr marL="0" indent="0">
              <a:buNone/>
              <a:defRPr kumimoji="0" lang="en-US" sz="1800" b="1" i="0" u="none" strike="noStrike" kern="1200" cap="none" spc="-50" normalizeH="0" baseline="0" dirty="0">
                <a:ln w="3175">
                  <a:noFill/>
                </a:ln>
                <a:gradFill>
                  <a:gsLst>
                    <a:gs pos="83000">
                      <a:srgbClr val="0078D4"/>
                    </a:gs>
                    <a:gs pos="100000">
                      <a:srgbClr val="0078D4"/>
                    </a:gs>
                  </a:gsLst>
                  <a:lin ang="5400000" scaled="1"/>
                </a:gradFill>
                <a:effectLst/>
                <a:uLnTx/>
                <a:uFillTx/>
                <a:latin typeface="Segoe UI Semilight" panose="020B0402040204020203" pitchFamily="34" charset="0"/>
                <a:ea typeface="+mn-ea"/>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Master text styles</a:t>
            </a:r>
          </a:p>
        </p:txBody>
      </p:sp>
      <p:sp>
        <p:nvSpPr>
          <p:cNvPr id="2" name="Title 1">
            <a:extLst>
              <a:ext uri="{FF2B5EF4-FFF2-40B4-BE49-F238E27FC236}">
                <a16:creationId xmlns:a16="http://schemas.microsoft.com/office/drawing/2014/main" id="{B8919F28-5134-42FD-B33A-3F3BF478993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45498759"/>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241EFE-264E-BC9E-6531-FF41C36C297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2E0B4E1-2641-C609-B66B-50A49234AA0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588902B-320A-1253-F247-CA83542F88F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373925092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1_Header Tex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5228817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Section Dark">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24707308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Section divider 10">
    <p:bg>
      <p:bgPr>
        <a:solidFill>
          <a:schemeClr val="tx1"/>
        </a:solidFill>
        <a:effectLst/>
      </p:bgPr>
    </p:bg>
    <p:spTree>
      <p:nvGrpSpPr>
        <p:cNvPr id="1" name=""/>
        <p:cNvGrpSpPr/>
        <p:nvPr/>
      </p:nvGrpSpPr>
      <p:grpSpPr>
        <a:xfrm>
          <a:off x="0" y="0"/>
          <a:ext cx="0" cy="0"/>
          <a:chOff x="0" y="0"/>
          <a:chExt cx="0" cy="0"/>
        </a:xfrm>
      </p:grpSpPr>
      <p:pic>
        <p:nvPicPr>
          <p:cNvPr id="5" name="Picture 4" descr="A close-up of a yellow and blue background&#10;&#10;Description automatically generated">
            <a:extLst>
              <a:ext uri="{FF2B5EF4-FFF2-40B4-BE49-F238E27FC236}">
                <a16:creationId xmlns:a16="http://schemas.microsoft.com/office/drawing/2014/main" id="{A6A9DD60-6582-EC28-94B1-2DB255180C50}"/>
              </a:ext>
            </a:extLst>
          </p:cNvPr>
          <p:cNvPicPr>
            <a:picLocks noChangeAspect="1"/>
          </p:cNvPicPr>
          <p:nvPr userDrawn="1"/>
        </p:nvPicPr>
        <p:blipFill>
          <a:blip r:embed="rId2"/>
          <a:stretch>
            <a:fillRect/>
          </a:stretch>
        </p:blipFill>
        <p:spPr>
          <a:xfrm>
            <a:off x="4800" y="0"/>
            <a:ext cx="12182400" cy="6858000"/>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23191394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Slide Light">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2" name="Graphic 1" descr="Microsoft Security">
            <a:extLst>
              <a:ext uri="{FF2B5EF4-FFF2-40B4-BE49-F238E27FC236}">
                <a16:creationId xmlns:a16="http://schemas.microsoft.com/office/drawing/2014/main" id="{C4A877E6-C868-9317-1559-B76DE5CD8C5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582164" y="583123"/>
            <a:ext cx="2291715" cy="290498"/>
          </a:xfrm>
          <a:prstGeom prst="rect">
            <a:avLst/>
          </a:prstGeom>
        </p:spPr>
      </p:pic>
    </p:spTree>
    <p:extLst>
      <p:ext uri="{BB962C8B-B14F-4D97-AF65-F5344CB8AC3E}">
        <p14:creationId xmlns:p14="http://schemas.microsoft.com/office/powerpoint/2010/main" val="2210313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Slide Dark">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4" name="Picture 3" descr="Microsoft Security">
            <a:extLst>
              <a:ext uri="{FF2B5EF4-FFF2-40B4-BE49-F238E27FC236}">
                <a16:creationId xmlns:a16="http://schemas.microsoft.com/office/drawing/2014/main" id="{97141C24-5E27-2F3B-12B4-814CC0DA5D0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bwMode="black">
          <a:xfrm>
            <a:off x="289702" y="296820"/>
            <a:ext cx="2876596" cy="868680"/>
          </a:xfrm>
          <a:prstGeom prst="rect">
            <a:avLst/>
          </a:prstGeom>
        </p:spPr>
      </p:pic>
    </p:spTree>
    <p:extLst>
      <p:ext uri="{BB962C8B-B14F-4D97-AF65-F5344CB8AC3E}">
        <p14:creationId xmlns:p14="http://schemas.microsoft.com/office/powerpoint/2010/main" val="30603081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Photo Full Bleed">
    <p:bg>
      <p:bgRef idx="1001">
        <a:schemeClr val="bg2"/>
      </p:bgRef>
    </p:bg>
    <p:spTree>
      <p:nvGrpSpPr>
        <p:cNvPr id="1" name=""/>
        <p:cNvGrpSpPr/>
        <p:nvPr/>
      </p:nvGrpSpPr>
      <p:grpSpPr>
        <a:xfrm>
          <a:off x="0" y="0"/>
          <a:ext cx="0" cy="0"/>
          <a:chOff x="0" y="0"/>
          <a:chExt cx="0" cy="0"/>
        </a:xfrm>
      </p:grpSpPr>
      <p:sp>
        <p:nvSpPr>
          <p:cNvPr id="2" name="Picture Placeholder 7">
            <a:extLst>
              <a:ext uri="{FF2B5EF4-FFF2-40B4-BE49-F238E27FC236}">
                <a16:creationId xmlns:a16="http://schemas.microsoft.com/office/drawing/2014/main" id="{D72F4F47-D990-0696-0A43-94AD105A5EFE}"/>
              </a:ext>
              <a:ext uri="{C183D7F6-B498-43B3-948B-1728B52AA6E4}">
                <adec:decorative xmlns:adec="http://schemas.microsoft.com/office/drawing/2017/decorative" val="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Rectangle 2">
            <a:extLst>
              <a:ext uri="{FF2B5EF4-FFF2-40B4-BE49-F238E27FC236}">
                <a16:creationId xmlns:a16="http://schemas.microsoft.com/office/drawing/2014/main" id="{4A97C34D-6499-E383-F680-0F34EF3CBF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000000">
              <a:alpha val="3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4" name="Picture 3" descr="Microsoft Security">
            <a:extLst>
              <a:ext uri="{FF2B5EF4-FFF2-40B4-BE49-F238E27FC236}">
                <a16:creationId xmlns:a16="http://schemas.microsoft.com/office/drawing/2014/main" id="{97141C24-5E27-2F3B-12B4-814CC0DA5D0D}"/>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bwMode="black">
          <a:xfrm>
            <a:off x="289702" y="296820"/>
            <a:ext cx="2876596" cy="868680"/>
          </a:xfrm>
          <a:prstGeom prst="rect">
            <a:avLst/>
          </a:prstGeom>
        </p:spPr>
      </p:pic>
    </p:spTree>
    <p:extLst>
      <p:ext uri="{BB962C8B-B14F-4D97-AF65-F5344CB8AC3E}">
        <p14:creationId xmlns:p14="http://schemas.microsoft.com/office/powerpoint/2010/main" val="36979918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One Column 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489639"/>
          </a:xfrm>
        </p:spPr>
        <p:txBody>
          <a:bodyPr/>
          <a:lstStyle>
            <a:lvl1pPr>
              <a:defRPr sz="20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36363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1_One Column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489639"/>
          </a:xfrm>
        </p:spPr>
        <p:txBody>
          <a:bodyPr wrap="square">
            <a:spAutoFit/>
          </a:bodyPr>
          <a:lstStyle>
            <a:lvl1pPr marL="0" indent="0">
              <a:buNone/>
              <a:defRPr sz="2000"/>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08769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489639"/>
          </a:xfrm>
        </p:spPr>
        <p:txBody>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489639"/>
          </a:xfrm>
        </p:spPr>
        <p:txBody>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38837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489639"/>
          </a:xfrm>
        </p:spPr>
        <p:txBody>
          <a:bodyPr wrap="square">
            <a:spAutoFit/>
          </a:bodyPr>
          <a:lstStyle>
            <a:lvl1pPr marL="0" indent="0">
              <a:spcBef>
                <a:spcPts val="1224"/>
              </a:spcBef>
              <a:buClr>
                <a:schemeClr val="tx1"/>
              </a:buClr>
              <a:buFont typeface="Wingdings" panose="05000000000000000000" pitchFamily="2" charset="2"/>
              <a:buNone/>
              <a:defRPr sz="20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489639"/>
          </a:xfrm>
        </p:spPr>
        <p:txBody>
          <a:bodyPr wrap="square">
            <a:spAutoFit/>
          </a:bodyPr>
          <a:lstStyle>
            <a:lvl1pPr marL="0" indent="0">
              <a:spcBef>
                <a:spcPts val="1224"/>
              </a:spcBef>
              <a:buClr>
                <a:schemeClr val="tx1"/>
              </a:buClr>
              <a:buFont typeface="Wingdings" panose="05000000000000000000" pitchFamily="2" charset="2"/>
              <a:buNone/>
              <a:defRPr sz="20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6197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sv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slideLayout" Target="../slideLayouts/slideLayout45.xml"/><Relationship Id="rId39" Type="http://schemas.openxmlformats.org/officeDocument/2006/relationships/slideLayout" Target="../slideLayouts/slideLayout58.xml"/><Relationship Id="rId21" Type="http://schemas.openxmlformats.org/officeDocument/2006/relationships/slideLayout" Target="../slideLayouts/slideLayout40.xml"/><Relationship Id="rId34" Type="http://schemas.openxmlformats.org/officeDocument/2006/relationships/slideLayout" Target="../slideLayouts/slideLayout53.xml"/><Relationship Id="rId42" Type="http://schemas.openxmlformats.org/officeDocument/2006/relationships/slideLayout" Target="../slideLayouts/slideLayout61.xml"/><Relationship Id="rId47" Type="http://schemas.openxmlformats.org/officeDocument/2006/relationships/image" Target="../media/image6.png"/><Relationship Id="rId7" Type="http://schemas.openxmlformats.org/officeDocument/2006/relationships/slideLayout" Target="../slideLayouts/slideLayout2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9" Type="http://schemas.openxmlformats.org/officeDocument/2006/relationships/slideLayout" Target="../slideLayouts/slideLayout48.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32" Type="http://schemas.openxmlformats.org/officeDocument/2006/relationships/slideLayout" Target="../slideLayouts/slideLayout51.xml"/><Relationship Id="rId37" Type="http://schemas.openxmlformats.org/officeDocument/2006/relationships/slideLayout" Target="../slideLayouts/slideLayout56.xml"/><Relationship Id="rId40" Type="http://schemas.openxmlformats.org/officeDocument/2006/relationships/slideLayout" Target="../slideLayouts/slideLayout59.xml"/><Relationship Id="rId45" Type="http://schemas.openxmlformats.org/officeDocument/2006/relationships/image" Target="../media/image1.png"/><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slideLayout" Target="../slideLayouts/slideLayout47.xml"/><Relationship Id="rId36" Type="http://schemas.openxmlformats.org/officeDocument/2006/relationships/slideLayout" Target="../slideLayouts/slideLayout55.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31" Type="http://schemas.openxmlformats.org/officeDocument/2006/relationships/slideLayout" Target="../slideLayouts/slideLayout50.xml"/><Relationship Id="rId44" Type="http://schemas.openxmlformats.org/officeDocument/2006/relationships/theme" Target="../theme/theme2.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slideLayout" Target="../slideLayouts/slideLayout46.xml"/><Relationship Id="rId30" Type="http://schemas.openxmlformats.org/officeDocument/2006/relationships/slideLayout" Target="../slideLayouts/slideLayout49.xml"/><Relationship Id="rId35" Type="http://schemas.openxmlformats.org/officeDocument/2006/relationships/slideLayout" Target="../slideLayouts/slideLayout54.xml"/><Relationship Id="rId43" Type="http://schemas.openxmlformats.org/officeDocument/2006/relationships/slideLayout" Target="../slideLayouts/slideLayout62.xml"/><Relationship Id="rId8" Type="http://schemas.openxmlformats.org/officeDocument/2006/relationships/slideLayout" Target="../slideLayouts/slideLayout27.xml"/><Relationship Id="rId3" Type="http://schemas.openxmlformats.org/officeDocument/2006/relationships/slideLayout" Target="../slideLayouts/slideLayout22.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33" Type="http://schemas.openxmlformats.org/officeDocument/2006/relationships/slideLayout" Target="../slideLayouts/slideLayout52.xml"/><Relationship Id="rId38" Type="http://schemas.openxmlformats.org/officeDocument/2006/relationships/slideLayout" Target="../slideLayouts/slideLayout57.xml"/><Relationship Id="rId46" Type="http://schemas.openxmlformats.org/officeDocument/2006/relationships/image" Target="../media/image2.svg"/><Relationship Id="rId20" Type="http://schemas.openxmlformats.org/officeDocument/2006/relationships/slideLayout" Target="../slideLayouts/slideLayout39.xml"/><Relationship Id="rId41" Type="http://schemas.openxmlformats.org/officeDocument/2006/relationships/slideLayout" Target="../slideLayouts/slideLayout60.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88.xml"/><Relationship Id="rId21" Type="http://schemas.openxmlformats.org/officeDocument/2006/relationships/slideLayout" Target="../slideLayouts/slideLayout83.xml"/><Relationship Id="rId42" Type="http://schemas.openxmlformats.org/officeDocument/2006/relationships/slideLayout" Target="../slideLayouts/slideLayout104.xml"/><Relationship Id="rId47" Type="http://schemas.openxmlformats.org/officeDocument/2006/relationships/slideLayout" Target="../slideLayouts/slideLayout109.xml"/><Relationship Id="rId63" Type="http://schemas.openxmlformats.org/officeDocument/2006/relationships/slideLayout" Target="../slideLayouts/slideLayout125.xml"/><Relationship Id="rId68" Type="http://schemas.openxmlformats.org/officeDocument/2006/relationships/slideLayout" Target="../slideLayouts/slideLayout130.xml"/><Relationship Id="rId84" Type="http://schemas.openxmlformats.org/officeDocument/2006/relationships/slideLayout" Target="../slideLayouts/slideLayout146.xml"/><Relationship Id="rId89" Type="http://schemas.openxmlformats.org/officeDocument/2006/relationships/slideLayout" Target="../slideLayouts/slideLayout151.xml"/><Relationship Id="rId16" Type="http://schemas.openxmlformats.org/officeDocument/2006/relationships/slideLayout" Target="../slideLayouts/slideLayout78.xml"/><Relationship Id="rId11" Type="http://schemas.openxmlformats.org/officeDocument/2006/relationships/slideLayout" Target="../slideLayouts/slideLayout73.xml"/><Relationship Id="rId32" Type="http://schemas.openxmlformats.org/officeDocument/2006/relationships/slideLayout" Target="../slideLayouts/slideLayout94.xml"/><Relationship Id="rId37" Type="http://schemas.openxmlformats.org/officeDocument/2006/relationships/slideLayout" Target="../slideLayouts/slideLayout99.xml"/><Relationship Id="rId53" Type="http://schemas.openxmlformats.org/officeDocument/2006/relationships/slideLayout" Target="../slideLayouts/slideLayout115.xml"/><Relationship Id="rId58" Type="http://schemas.openxmlformats.org/officeDocument/2006/relationships/slideLayout" Target="../slideLayouts/slideLayout120.xml"/><Relationship Id="rId74" Type="http://schemas.openxmlformats.org/officeDocument/2006/relationships/slideLayout" Target="../slideLayouts/slideLayout136.xml"/><Relationship Id="rId79" Type="http://schemas.openxmlformats.org/officeDocument/2006/relationships/slideLayout" Target="../slideLayouts/slideLayout141.xml"/><Relationship Id="rId5" Type="http://schemas.openxmlformats.org/officeDocument/2006/relationships/slideLayout" Target="../slideLayouts/slideLayout67.xml"/><Relationship Id="rId90" Type="http://schemas.openxmlformats.org/officeDocument/2006/relationships/theme" Target="../theme/theme3.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43" Type="http://schemas.openxmlformats.org/officeDocument/2006/relationships/slideLayout" Target="../slideLayouts/slideLayout105.xml"/><Relationship Id="rId48" Type="http://schemas.openxmlformats.org/officeDocument/2006/relationships/slideLayout" Target="../slideLayouts/slideLayout110.xml"/><Relationship Id="rId64" Type="http://schemas.openxmlformats.org/officeDocument/2006/relationships/slideLayout" Target="../slideLayouts/slideLayout126.xml"/><Relationship Id="rId69" Type="http://schemas.openxmlformats.org/officeDocument/2006/relationships/slideLayout" Target="../slideLayouts/slideLayout131.xml"/><Relationship Id="rId8" Type="http://schemas.openxmlformats.org/officeDocument/2006/relationships/slideLayout" Target="../slideLayouts/slideLayout70.xml"/><Relationship Id="rId51" Type="http://schemas.openxmlformats.org/officeDocument/2006/relationships/slideLayout" Target="../slideLayouts/slideLayout113.xml"/><Relationship Id="rId72" Type="http://schemas.openxmlformats.org/officeDocument/2006/relationships/slideLayout" Target="../slideLayouts/slideLayout134.xml"/><Relationship Id="rId80" Type="http://schemas.openxmlformats.org/officeDocument/2006/relationships/slideLayout" Target="../slideLayouts/slideLayout142.xml"/><Relationship Id="rId85" Type="http://schemas.openxmlformats.org/officeDocument/2006/relationships/slideLayout" Target="../slideLayouts/slideLayout147.xml"/><Relationship Id="rId93" Type="http://schemas.openxmlformats.org/officeDocument/2006/relationships/image" Target="../media/image6.png"/><Relationship Id="rId3" Type="http://schemas.openxmlformats.org/officeDocument/2006/relationships/slideLayout" Target="../slideLayouts/slideLayout65.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33" Type="http://schemas.openxmlformats.org/officeDocument/2006/relationships/slideLayout" Target="../slideLayouts/slideLayout95.xml"/><Relationship Id="rId38" Type="http://schemas.openxmlformats.org/officeDocument/2006/relationships/slideLayout" Target="../slideLayouts/slideLayout100.xml"/><Relationship Id="rId46" Type="http://schemas.openxmlformats.org/officeDocument/2006/relationships/slideLayout" Target="../slideLayouts/slideLayout108.xml"/><Relationship Id="rId59" Type="http://schemas.openxmlformats.org/officeDocument/2006/relationships/slideLayout" Target="../slideLayouts/slideLayout121.xml"/><Relationship Id="rId67" Type="http://schemas.openxmlformats.org/officeDocument/2006/relationships/slideLayout" Target="../slideLayouts/slideLayout129.xml"/><Relationship Id="rId20" Type="http://schemas.openxmlformats.org/officeDocument/2006/relationships/slideLayout" Target="../slideLayouts/slideLayout82.xml"/><Relationship Id="rId41" Type="http://schemas.openxmlformats.org/officeDocument/2006/relationships/slideLayout" Target="../slideLayouts/slideLayout103.xml"/><Relationship Id="rId54" Type="http://schemas.openxmlformats.org/officeDocument/2006/relationships/slideLayout" Target="../slideLayouts/slideLayout116.xml"/><Relationship Id="rId62" Type="http://schemas.openxmlformats.org/officeDocument/2006/relationships/slideLayout" Target="../slideLayouts/slideLayout124.xml"/><Relationship Id="rId70" Type="http://schemas.openxmlformats.org/officeDocument/2006/relationships/slideLayout" Target="../slideLayouts/slideLayout132.xml"/><Relationship Id="rId75" Type="http://schemas.openxmlformats.org/officeDocument/2006/relationships/slideLayout" Target="../slideLayouts/slideLayout137.xml"/><Relationship Id="rId83" Type="http://schemas.openxmlformats.org/officeDocument/2006/relationships/slideLayout" Target="../slideLayouts/slideLayout145.xml"/><Relationship Id="rId88" Type="http://schemas.openxmlformats.org/officeDocument/2006/relationships/slideLayout" Target="../slideLayouts/slideLayout150.xml"/><Relationship Id="rId91" Type="http://schemas.openxmlformats.org/officeDocument/2006/relationships/image" Target="../media/image1.png"/><Relationship Id="rId1" Type="http://schemas.openxmlformats.org/officeDocument/2006/relationships/slideLayout" Target="../slideLayouts/slideLayout63.xml"/><Relationship Id="rId6" Type="http://schemas.openxmlformats.org/officeDocument/2006/relationships/slideLayout" Target="../slideLayouts/slideLayout68.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36" Type="http://schemas.openxmlformats.org/officeDocument/2006/relationships/slideLayout" Target="../slideLayouts/slideLayout98.xml"/><Relationship Id="rId49" Type="http://schemas.openxmlformats.org/officeDocument/2006/relationships/slideLayout" Target="../slideLayouts/slideLayout111.xml"/><Relationship Id="rId57" Type="http://schemas.openxmlformats.org/officeDocument/2006/relationships/slideLayout" Target="../slideLayouts/slideLayout119.xml"/><Relationship Id="rId10" Type="http://schemas.openxmlformats.org/officeDocument/2006/relationships/slideLayout" Target="../slideLayouts/slideLayout72.xml"/><Relationship Id="rId31" Type="http://schemas.openxmlformats.org/officeDocument/2006/relationships/slideLayout" Target="../slideLayouts/slideLayout93.xml"/><Relationship Id="rId44" Type="http://schemas.openxmlformats.org/officeDocument/2006/relationships/slideLayout" Target="../slideLayouts/slideLayout106.xml"/><Relationship Id="rId52" Type="http://schemas.openxmlformats.org/officeDocument/2006/relationships/slideLayout" Target="../slideLayouts/slideLayout114.xml"/><Relationship Id="rId60" Type="http://schemas.openxmlformats.org/officeDocument/2006/relationships/slideLayout" Target="../slideLayouts/slideLayout122.xml"/><Relationship Id="rId65" Type="http://schemas.openxmlformats.org/officeDocument/2006/relationships/slideLayout" Target="../slideLayouts/slideLayout127.xml"/><Relationship Id="rId73" Type="http://schemas.openxmlformats.org/officeDocument/2006/relationships/slideLayout" Target="../slideLayouts/slideLayout135.xml"/><Relationship Id="rId78" Type="http://schemas.openxmlformats.org/officeDocument/2006/relationships/slideLayout" Target="../slideLayouts/slideLayout140.xml"/><Relationship Id="rId81" Type="http://schemas.openxmlformats.org/officeDocument/2006/relationships/slideLayout" Target="../slideLayouts/slideLayout143.xml"/><Relationship Id="rId86" Type="http://schemas.openxmlformats.org/officeDocument/2006/relationships/slideLayout" Target="../slideLayouts/slideLayout148.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39" Type="http://schemas.openxmlformats.org/officeDocument/2006/relationships/slideLayout" Target="../slideLayouts/slideLayout101.xml"/><Relationship Id="rId34" Type="http://schemas.openxmlformats.org/officeDocument/2006/relationships/slideLayout" Target="../slideLayouts/slideLayout96.xml"/><Relationship Id="rId50" Type="http://schemas.openxmlformats.org/officeDocument/2006/relationships/slideLayout" Target="../slideLayouts/slideLayout112.xml"/><Relationship Id="rId55" Type="http://schemas.openxmlformats.org/officeDocument/2006/relationships/slideLayout" Target="../slideLayouts/slideLayout117.xml"/><Relationship Id="rId76" Type="http://schemas.openxmlformats.org/officeDocument/2006/relationships/slideLayout" Target="../slideLayouts/slideLayout138.xml"/><Relationship Id="rId7" Type="http://schemas.openxmlformats.org/officeDocument/2006/relationships/slideLayout" Target="../slideLayouts/slideLayout69.xml"/><Relationship Id="rId71" Type="http://schemas.openxmlformats.org/officeDocument/2006/relationships/slideLayout" Target="../slideLayouts/slideLayout133.xml"/><Relationship Id="rId92" Type="http://schemas.openxmlformats.org/officeDocument/2006/relationships/image" Target="../media/image2.svg"/><Relationship Id="rId2" Type="http://schemas.openxmlformats.org/officeDocument/2006/relationships/slideLayout" Target="../slideLayouts/slideLayout64.xml"/><Relationship Id="rId29" Type="http://schemas.openxmlformats.org/officeDocument/2006/relationships/slideLayout" Target="../slideLayouts/slideLayout91.xml"/><Relationship Id="rId24" Type="http://schemas.openxmlformats.org/officeDocument/2006/relationships/slideLayout" Target="../slideLayouts/slideLayout86.xml"/><Relationship Id="rId40" Type="http://schemas.openxmlformats.org/officeDocument/2006/relationships/slideLayout" Target="../slideLayouts/slideLayout102.xml"/><Relationship Id="rId45" Type="http://schemas.openxmlformats.org/officeDocument/2006/relationships/slideLayout" Target="../slideLayouts/slideLayout107.xml"/><Relationship Id="rId66" Type="http://schemas.openxmlformats.org/officeDocument/2006/relationships/slideLayout" Target="../slideLayouts/slideLayout128.xml"/><Relationship Id="rId87" Type="http://schemas.openxmlformats.org/officeDocument/2006/relationships/slideLayout" Target="../slideLayouts/slideLayout149.xml"/><Relationship Id="rId61" Type="http://schemas.openxmlformats.org/officeDocument/2006/relationships/slideLayout" Target="../slideLayouts/slideLayout123.xml"/><Relationship Id="rId82" Type="http://schemas.openxmlformats.org/officeDocument/2006/relationships/slideLayout" Target="../slideLayouts/slideLayout144.xml"/><Relationship Id="rId19" Type="http://schemas.openxmlformats.org/officeDocument/2006/relationships/slideLayout" Target="../slideLayouts/slideLayout81.xml"/><Relationship Id="rId14" Type="http://schemas.openxmlformats.org/officeDocument/2006/relationships/slideLayout" Target="../slideLayouts/slideLayout76.xml"/><Relationship Id="rId30" Type="http://schemas.openxmlformats.org/officeDocument/2006/relationships/slideLayout" Target="../slideLayouts/slideLayout92.xml"/><Relationship Id="rId35" Type="http://schemas.openxmlformats.org/officeDocument/2006/relationships/slideLayout" Target="../slideLayouts/slideLayout97.xml"/><Relationship Id="rId56" Type="http://schemas.openxmlformats.org/officeDocument/2006/relationships/slideLayout" Target="../slideLayouts/slideLayout118.xml"/><Relationship Id="rId77" Type="http://schemas.openxmlformats.org/officeDocument/2006/relationships/slideLayout" Target="../slideLayouts/slideLayout139.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26" Type="http://schemas.openxmlformats.org/officeDocument/2006/relationships/slideLayout" Target="../slideLayouts/slideLayout177.xml"/><Relationship Id="rId39" Type="http://schemas.openxmlformats.org/officeDocument/2006/relationships/slideLayout" Target="../slideLayouts/slideLayout190.xml"/><Relationship Id="rId21" Type="http://schemas.openxmlformats.org/officeDocument/2006/relationships/slideLayout" Target="../slideLayouts/slideLayout172.xml"/><Relationship Id="rId34" Type="http://schemas.openxmlformats.org/officeDocument/2006/relationships/slideLayout" Target="../slideLayouts/slideLayout185.xml"/><Relationship Id="rId42" Type="http://schemas.openxmlformats.org/officeDocument/2006/relationships/slideLayout" Target="../slideLayouts/slideLayout193.xml"/><Relationship Id="rId47" Type="http://schemas.openxmlformats.org/officeDocument/2006/relationships/image" Target="../media/image6.png"/><Relationship Id="rId7" Type="http://schemas.openxmlformats.org/officeDocument/2006/relationships/slideLayout" Target="../slideLayouts/slideLayout158.xml"/><Relationship Id="rId2" Type="http://schemas.openxmlformats.org/officeDocument/2006/relationships/slideLayout" Target="../slideLayouts/slideLayout153.xml"/><Relationship Id="rId16" Type="http://schemas.openxmlformats.org/officeDocument/2006/relationships/slideLayout" Target="../slideLayouts/slideLayout167.xml"/><Relationship Id="rId29" Type="http://schemas.openxmlformats.org/officeDocument/2006/relationships/slideLayout" Target="../slideLayouts/slideLayout180.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24" Type="http://schemas.openxmlformats.org/officeDocument/2006/relationships/slideLayout" Target="../slideLayouts/slideLayout175.xml"/><Relationship Id="rId32" Type="http://schemas.openxmlformats.org/officeDocument/2006/relationships/slideLayout" Target="../slideLayouts/slideLayout183.xml"/><Relationship Id="rId37" Type="http://schemas.openxmlformats.org/officeDocument/2006/relationships/slideLayout" Target="../slideLayouts/slideLayout188.xml"/><Relationship Id="rId40" Type="http://schemas.openxmlformats.org/officeDocument/2006/relationships/slideLayout" Target="../slideLayouts/slideLayout191.xml"/><Relationship Id="rId45" Type="http://schemas.openxmlformats.org/officeDocument/2006/relationships/image" Target="../media/image1.png"/><Relationship Id="rId5" Type="http://schemas.openxmlformats.org/officeDocument/2006/relationships/slideLayout" Target="../slideLayouts/slideLayout156.xml"/><Relationship Id="rId15" Type="http://schemas.openxmlformats.org/officeDocument/2006/relationships/slideLayout" Target="../slideLayouts/slideLayout166.xml"/><Relationship Id="rId23" Type="http://schemas.openxmlformats.org/officeDocument/2006/relationships/slideLayout" Target="../slideLayouts/slideLayout174.xml"/><Relationship Id="rId28" Type="http://schemas.openxmlformats.org/officeDocument/2006/relationships/slideLayout" Target="../slideLayouts/slideLayout179.xml"/><Relationship Id="rId36" Type="http://schemas.openxmlformats.org/officeDocument/2006/relationships/slideLayout" Target="../slideLayouts/slideLayout187.xml"/><Relationship Id="rId10" Type="http://schemas.openxmlformats.org/officeDocument/2006/relationships/slideLayout" Target="../slideLayouts/slideLayout161.xml"/><Relationship Id="rId19" Type="http://schemas.openxmlformats.org/officeDocument/2006/relationships/slideLayout" Target="../slideLayouts/slideLayout170.xml"/><Relationship Id="rId31" Type="http://schemas.openxmlformats.org/officeDocument/2006/relationships/slideLayout" Target="../slideLayouts/slideLayout182.xml"/><Relationship Id="rId44" Type="http://schemas.openxmlformats.org/officeDocument/2006/relationships/theme" Target="../theme/theme4.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 Id="rId22" Type="http://schemas.openxmlformats.org/officeDocument/2006/relationships/slideLayout" Target="../slideLayouts/slideLayout173.xml"/><Relationship Id="rId27" Type="http://schemas.openxmlformats.org/officeDocument/2006/relationships/slideLayout" Target="../slideLayouts/slideLayout178.xml"/><Relationship Id="rId30" Type="http://schemas.openxmlformats.org/officeDocument/2006/relationships/slideLayout" Target="../slideLayouts/slideLayout181.xml"/><Relationship Id="rId35" Type="http://schemas.openxmlformats.org/officeDocument/2006/relationships/slideLayout" Target="../slideLayouts/slideLayout186.xml"/><Relationship Id="rId43" Type="http://schemas.openxmlformats.org/officeDocument/2006/relationships/slideLayout" Target="../slideLayouts/slideLayout194.xml"/><Relationship Id="rId8" Type="http://schemas.openxmlformats.org/officeDocument/2006/relationships/slideLayout" Target="../slideLayouts/slideLayout159.xml"/><Relationship Id="rId3" Type="http://schemas.openxmlformats.org/officeDocument/2006/relationships/slideLayout" Target="../slideLayouts/slideLayout154.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5" Type="http://schemas.openxmlformats.org/officeDocument/2006/relationships/slideLayout" Target="../slideLayouts/slideLayout176.xml"/><Relationship Id="rId33" Type="http://schemas.openxmlformats.org/officeDocument/2006/relationships/slideLayout" Target="../slideLayouts/slideLayout184.xml"/><Relationship Id="rId38" Type="http://schemas.openxmlformats.org/officeDocument/2006/relationships/slideLayout" Target="../slideLayouts/slideLayout189.xml"/><Relationship Id="rId46" Type="http://schemas.openxmlformats.org/officeDocument/2006/relationships/image" Target="../media/image2.svg"/><Relationship Id="rId20" Type="http://schemas.openxmlformats.org/officeDocument/2006/relationships/slideLayout" Target="../slideLayouts/slideLayout171.xml"/><Relationship Id="rId41" Type="http://schemas.openxmlformats.org/officeDocument/2006/relationships/slideLayout" Target="../slideLayouts/slideLayout19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slideLayout" Target="../slideLayouts/slideLayout207.xml"/><Relationship Id="rId18" Type="http://schemas.openxmlformats.org/officeDocument/2006/relationships/slideLayout" Target="../slideLayouts/slideLayout212.xml"/><Relationship Id="rId3" Type="http://schemas.openxmlformats.org/officeDocument/2006/relationships/slideLayout" Target="../slideLayouts/slideLayout197.xml"/><Relationship Id="rId21" Type="http://schemas.openxmlformats.org/officeDocument/2006/relationships/image" Target="../media/image2.svg"/><Relationship Id="rId7" Type="http://schemas.openxmlformats.org/officeDocument/2006/relationships/slideLayout" Target="../slideLayouts/slideLayout201.xml"/><Relationship Id="rId12" Type="http://schemas.openxmlformats.org/officeDocument/2006/relationships/slideLayout" Target="../slideLayouts/slideLayout206.xml"/><Relationship Id="rId17" Type="http://schemas.openxmlformats.org/officeDocument/2006/relationships/slideLayout" Target="../slideLayouts/slideLayout211.xml"/><Relationship Id="rId2" Type="http://schemas.openxmlformats.org/officeDocument/2006/relationships/slideLayout" Target="../slideLayouts/slideLayout196.xml"/><Relationship Id="rId16" Type="http://schemas.openxmlformats.org/officeDocument/2006/relationships/slideLayout" Target="../slideLayouts/slideLayout210.xml"/><Relationship Id="rId20" Type="http://schemas.openxmlformats.org/officeDocument/2006/relationships/image" Target="../media/image1.png"/><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slideLayout" Target="../slideLayouts/slideLayout205.xml"/><Relationship Id="rId5" Type="http://schemas.openxmlformats.org/officeDocument/2006/relationships/slideLayout" Target="../slideLayouts/slideLayout199.xml"/><Relationship Id="rId15" Type="http://schemas.openxmlformats.org/officeDocument/2006/relationships/slideLayout" Target="../slideLayouts/slideLayout209.xml"/><Relationship Id="rId10" Type="http://schemas.openxmlformats.org/officeDocument/2006/relationships/slideLayout" Target="../slideLayouts/slideLayout204.xml"/><Relationship Id="rId19" Type="http://schemas.openxmlformats.org/officeDocument/2006/relationships/theme" Target="../theme/theme5.xml"/><Relationship Id="rId4" Type="http://schemas.openxmlformats.org/officeDocument/2006/relationships/slideLayout" Target="../slideLayouts/slideLayout198.xml"/><Relationship Id="rId9" Type="http://schemas.openxmlformats.org/officeDocument/2006/relationships/slideLayout" Target="../slideLayouts/slideLayout203.xml"/><Relationship Id="rId14" Type="http://schemas.openxmlformats.org/officeDocument/2006/relationships/slideLayout" Target="../slideLayouts/slideLayout208.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238.xml"/><Relationship Id="rId21" Type="http://schemas.openxmlformats.org/officeDocument/2006/relationships/slideLayout" Target="../slideLayouts/slideLayout233.xml"/><Relationship Id="rId42" Type="http://schemas.openxmlformats.org/officeDocument/2006/relationships/slideLayout" Target="../slideLayouts/slideLayout254.xml"/><Relationship Id="rId47" Type="http://schemas.openxmlformats.org/officeDocument/2006/relationships/slideLayout" Target="../slideLayouts/slideLayout259.xml"/><Relationship Id="rId63" Type="http://schemas.openxmlformats.org/officeDocument/2006/relationships/slideLayout" Target="../slideLayouts/slideLayout275.xml"/><Relationship Id="rId68" Type="http://schemas.openxmlformats.org/officeDocument/2006/relationships/slideLayout" Target="../slideLayouts/slideLayout280.xml"/><Relationship Id="rId16" Type="http://schemas.openxmlformats.org/officeDocument/2006/relationships/slideLayout" Target="../slideLayouts/slideLayout228.xml"/><Relationship Id="rId11" Type="http://schemas.openxmlformats.org/officeDocument/2006/relationships/slideLayout" Target="../slideLayouts/slideLayout223.xml"/><Relationship Id="rId32" Type="http://schemas.openxmlformats.org/officeDocument/2006/relationships/slideLayout" Target="../slideLayouts/slideLayout244.xml"/><Relationship Id="rId37" Type="http://schemas.openxmlformats.org/officeDocument/2006/relationships/slideLayout" Target="../slideLayouts/slideLayout249.xml"/><Relationship Id="rId53" Type="http://schemas.openxmlformats.org/officeDocument/2006/relationships/slideLayout" Target="../slideLayouts/slideLayout265.xml"/><Relationship Id="rId58" Type="http://schemas.openxmlformats.org/officeDocument/2006/relationships/slideLayout" Target="../slideLayouts/slideLayout270.xml"/><Relationship Id="rId74" Type="http://schemas.openxmlformats.org/officeDocument/2006/relationships/slideLayout" Target="../slideLayouts/slideLayout286.xml"/><Relationship Id="rId79" Type="http://schemas.openxmlformats.org/officeDocument/2006/relationships/slideLayout" Target="../slideLayouts/slideLayout291.xml"/><Relationship Id="rId5" Type="http://schemas.openxmlformats.org/officeDocument/2006/relationships/slideLayout" Target="../slideLayouts/slideLayout217.xml"/><Relationship Id="rId61" Type="http://schemas.openxmlformats.org/officeDocument/2006/relationships/slideLayout" Target="../slideLayouts/slideLayout273.xml"/><Relationship Id="rId82" Type="http://schemas.openxmlformats.org/officeDocument/2006/relationships/image" Target="../media/image1.png"/><Relationship Id="rId19" Type="http://schemas.openxmlformats.org/officeDocument/2006/relationships/slideLayout" Target="../slideLayouts/slideLayout231.xml"/><Relationship Id="rId14" Type="http://schemas.openxmlformats.org/officeDocument/2006/relationships/slideLayout" Target="../slideLayouts/slideLayout226.xml"/><Relationship Id="rId22" Type="http://schemas.openxmlformats.org/officeDocument/2006/relationships/slideLayout" Target="../slideLayouts/slideLayout234.xml"/><Relationship Id="rId27" Type="http://schemas.openxmlformats.org/officeDocument/2006/relationships/slideLayout" Target="../slideLayouts/slideLayout239.xml"/><Relationship Id="rId30" Type="http://schemas.openxmlformats.org/officeDocument/2006/relationships/slideLayout" Target="../slideLayouts/slideLayout242.xml"/><Relationship Id="rId35" Type="http://schemas.openxmlformats.org/officeDocument/2006/relationships/slideLayout" Target="../slideLayouts/slideLayout247.xml"/><Relationship Id="rId43" Type="http://schemas.openxmlformats.org/officeDocument/2006/relationships/slideLayout" Target="../slideLayouts/slideLayout255.xml"/><Relationship Id="rId48" Type="http://schemas.openxmlformats.org/officeDocument/2006/relationships/slideLayout" Target="../slideLayouts/slideLayout260.xml"/><Relationship Id="rId56" Type="http://schemas.openxmlformats.org/officeDocument/2006/relationships/slideLayout" Target="../slideLayouts/slideLayout268.xml"/><Relationship Id="rId64" Type="http://schemas.openxmlformats.org/officeDocument/2006/relationships/slideLayout" Target="../slideLayouts/slideLayout276.xml"/><Relationship Id="rId69" Type="http://schemas.openxmlformats.org/officeDocument/2006/relationships/slideLayout" Target="../slideLayouts/slideLayout281.xml"/><Relationship Id="rId77" Type="http://schemas.openxmlformats.org/officeDocument/2006/relationships/slideLayout" Target="../slideLayouts/slideLayout289.xml"/><Relationship Id="rId8" Type="http://schemas.openxmlformats.org/officeDocument/2006/relationships/slideLayout" Target="../slideLayouts/slideLayout220.xml"/><Relationship Id="rId51" Type="http://schemas.openxmlformats.org/officeDocument/2006/relationships/slideLayout" Target="../slideLayouts/slideLayout263.xml"/><Relationship Id="rId72" Type="http://schemas.openxmlformats.org/officeDocument/2006/relationships/slideLayout" Target="../slideLayouts/slideLayout284.xml"/><Relationship Id="rId80" Type="http://schemas.openxmlformats.org/officeDocument/2006/relationships/slideLayout" Target="../slideLayouts/slideLayout292.xml"/><Relationship Id="rId3" Type="http://schemas.openxmlformats.org/officeDocument/2006/relationships/slideLayout" Target="../slideLayouts/slideLayout215.xml"/><Relationship Id="rId12" Type="http://schemas.openxmlformats.org/officeDocument/2006/relationships/slideLayout" Target="../slideLayouts/slideLayout224.xml"/><Relationship Id="rId17" Type="http://schemas.openxmlformats.org/officeDocument/2006/relationships/slideLayout" Target="../slideLayouts/slideLayout229.xml"/><Relationship Id="rId25" Type="http://schemas.openxmlformats.org/officeDocument/2006/relationships/slideLayout" Target="../slideLayouts/slideLayout237.xml"/><Relationship Id="rId33" Type="http://schemas.openxmlformats.org/officeDocument/2006/relationships/slideLayout" Target="../slideLayouts/slideLayout245.xml"/><Relationship Id="rId38" Type="http://schemas.openxmlformats.org/officeDocument/2006/relationships/slideLayout" Target="../slideLayouts/slideLayout250.xml"/><Relationship Id="rId46" Type="http://schemas.openxmlformats.org/officeDocument/2006/relationships/slideLayout" Target="../slideLayouts/slideLayout258.xml"/><Relationship Id="rId59" Type="http://schemas.openxmlformats.org/officeDocument/2006/relationships/slideLayout" Target="../slideLayouts/slideLayout271.xml"/><Relationship Id="rId67" Type="http://schemas.openxmlformats.org/officeDocument/2006/relationships/slideLayout" Target="../slideLayouts/slideLayout279.xml"/><Relationship Id="rId20" Type="http://schemas.openxmlformats.org/officeDocument/2006/relationships/slideLayout" Target="../slideLayouts/slideLayout232.xml"/><Relationship Id="rId41" Type="http://schemas.openxmlformats.org/officeDocument/2006/relationships/slideLayout" Target="../slideLayouts/slideLayout253.xml"/><Relationship Id="rId54" Type="http://schemas.openxmlformats.org/officeDocument/2006/relationships/slideLayout" Target="../slideLayouts/slideLayout266.xml"/><Relationship Id="rId62" Type="http://schemas.openxmlformats.org/officeDocument/2006/relationships/slideLayout" Target="../slideLayouts/slideLayout274.xml"/><Relationship Id="rId70" Type="http://schemas.openxmlformats.org/officeDocument/2006/relationships/slideLayout" Target="../slideLayouts/slideLayout282.xml"/><Relationship Id="rId75" Type="http://schemas.openxmlformats.org/officeDocument/2006/relationships/slideLayout" Target="../slideLayouts/slideLayout287.xml"/><Relationship Id="rId83" Type="http://schemas.openxmlformats.org/officeDocument/2006/relationships/image" Target="../media/image2.svg"/><Relationship Id="rId1" Type="http://schemas.openxmlformats.org/officeDocument/2006/relationships/slideLayout" Target="../slideLayouts/slideLayout213.xml"/><Relationship Id="rId6" Type="http://schemas.openxmlformats.org/officeDocument/2006/relationships/slideLayout" Target="../slideLayouts/slideLayout218.xml"/><Relationship Id="rId15" Type="http://schemas.openxmlformats.org/officeDocument/2006/relationships/slideLayout" Target="../slideLayouts/slideLayout227.xml"/><Relationship Id="rId23" Type="http://schemas.openxmlformats.org/officeDocument/2006/relationships/slideLayout" Target="../slideLayouts/slideLayout235.xml"/><Relationship Id="rId28" Type="http://schemas.openxmlformats.org/officeDocument/2006/relationships/slideLayout" Target="../slideLayouts/slideLayout240.xml"/><Relationship Id="rId36" Type="http://schemas.openxmlformats.org/officeDocument/2006/relationships/slideLayout" Target="../slideLayouts/slideLayout248.xml"/><Relationship Id="rId49" Type="http://schemas.openxmlformats.org/officeDocument/2006/relationships/slideLayout" Target="../slideLayouts/slideLayout261.xml"/><Relationship Id="rId57" Type="http://schemas.openxmlformats.org/officeDocument/2006/relationships/slideLayout" Target="../slideLayouts/slideLayout269.xml"/><Relationship Id="rId10" Type="http://schemas.openxmlformats.org/officeDocument/2006/relationships/slideLayout" Target="../slideLayouts/slideLayout222.xml"/><Relationship Id="rId31" Type="http://schemas.openxmlformats.org/officeDocument/2006/relationships/slideLayout" Target="../slideLayouts/slideLayout243.xml"/><Relationship Id="rId44" Type="http://schemas.openxmlformats.org/officeDocument/2006/relationships/slideLayout" Target="../slideLayouts/slideLayout256.xml"/><Relationship Id="rId52" Type="http://schemas.openxmlformats.org/officeDocument/2006/relationships/slideLayout" Target="../slideLayouts/slideLayout264.xml"/><Relationship Id="rId60" Type="http://schemas.openxmlformats.org/officeDocument/2006/relationships/slideLayout" Target="../slideLayouts/slideLayout272.xml"/><Relationship Id="rId65" Type="http://schemas.openxmlformats.org/officeDocument/2006/relationships/slideLayout" Target="../slideLayouts/slideLayout277.xml"/><Relationship Id="rId73" Type="http://schemas.openxmlformats.org/officeDocument/2006/relationships/slideLayout" Target="../slideLayouts/slideLayout285.xml"/><Relationship Id="rId78" Type="http://schemas.openxmlformats.org/officeDocument/2006/relationships/slideLayout" Target="../slideLayouts/slideLayout290.xml"/><Relationship Id="rId81" Type="http://schemas.openxmlformats.org/officeDocument/2006/relationships/theme" Target="../theme/theme6.xml"/><Relationship Id="rId4" Type="http://schemas.openxmlformats.org/officeDocument/2006/relationships/slideLayout" Target="../slideLayouts/slideLayout216.xml"/><Relationship Id="rId9" Type="http://schemas.openxmlformats.org/officeDocument/2006/relationships/slideLayout" Target="../slideLayouts/slideLayout221.xml"/><Relationship Id="rId13" Type="http://schemas.openxmlformats.org/officeDocument/2006/relationships/slideLayout" Target="../slideLayouts/slideLayout225.xml"/><Relationship Id="rId18" Type="http://schemas.openxmlformats.org/officeDocument/2006/relationships/slideLayout" Target="../slideLayouts/slideLayout230.xml"/><Relationship Id="rId39" Type="http://schemas.openxmlformats.org/officeDocument/2006/relationships/slideLayout" Target="../slideLayouts/slideLayout251.xml"/><Relationship Id="rId34" Type="http://schemas.openxmlformats.org/officeDocument/2006/relationships/slideLayout" Target="../slideLayouts/slideLayout246.xml"/><Relationship Id="rId50" Type="http://schemas.openxmlformats.org/officeDocument/2006/relationships/slideLayout" Target="../slideLayouts/slideLayout262.xml"/><Relationship Id="rId55" Type="http://schemas.openxmlformats.org/officeDocument/2006/relationships/slideLayout" Target="../slideLayouts/slideLayout267.xml"/><Relationship Id="rId76" Type="http://schemas.openxmlformats.org/officeDocument/2006/relationships/slideLayout" Target="../slideLayouts/slideLayout288.xml"/><Relationship Id="rId7" Type="http://schemas.openxmlformats.org/officeDocument/2006/relationships/slideLayout" Target="../slideLayouts/slideLayout219.xml"/><Relationship Id="rId71" Type="http://schemas.openxmlformats.org/officeDocument/2006/relationships/slideLayout" Target="../slideLayouts/slideLayout283.xml"/><Relationship Id="rId2" Type="http://schemas.openxmlformats.org/officeDocument/2006/relationships/slideLayout" Target="../slideLayouts/slideLayout214.xml"/><Relationship Id="rId29" Type="http://schemas.openxmlformats.org/officeDocument/2006/relationships/slideLayout" Target="../slideLayouts/slideLayout241.xml"/><Relationship Id="rId24" Type="http://schemas.openxmlformats.org/officeDocument/2006/relationships/slideLayout" Target="../slideLayouts/slideLayout236.xml"/><Relationship Id="rId40" Type="http://schemas.openxmlformats.org/officeDocument/2006/relationships/slideLayout" Target="../slideLayouts/slideLayout252.xml"/><Relationship Id="rId45" Type="http://schemas.openxmlformats.org/officeDocument/2006/relationships/slideLayout" Target="../slideLayouts/slideLayout257.xml"/><Relationship Id="rId66" Type="http://schemas.openxmlformats.org/officeDocument/2006/relationships/slideLayout" Target="../slideLayouts/slideLayout278.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305.xml"/><Relationship Id="rId18" Type="http://schemas.openxmlformats.org/officeDocument/2006/relationships/slideLayout" Target="../slideLayouts/slideLayout310.xml"/><Relationship Id="rId26" Type="http://schemas.openxmlformats.org/officeDocument/2006/relationships/slideLayout" Target="../slideLayouts/slideLayout318.xml"/><Relationship Id="rId39" Type="http://schemas.openxmlformats.org/officeDocument/2006/relationships/slideLayout" Target="../slideLayouts/slideLayout331.xml"/><Relationship Id="rId21" Type="http://schemas.openxmlformats.org/officeDocument/2006/relationships/slideLayout" Target="../slideLayouts/slideLayout313.xml"/><Relationship Id="rId34" Type="http://schemas.openxmlformats.org/officeDocument/2006/relationships/slideLayout" Target="../slideLayouts/slideLayout326.xml"/><Relationship Id="rId42" Type="http://schemas.openxmlformats.org/officeDocument/2006/relationships/slideLayout" Target="../slideLayouts/slideLayout334.xml"/><Relationship Id="rId47" Type="http://schemas.openxmlformats.org/officeDocument/2006/relationships/slideLayout" Target="../slideLayouts/slideLayout339.xml"/><Relationship Id="rId50" Type="http://schemas.openxmlformats.org/officeDocument/2006/relationships/slideLayout" Target="../slideLayouts/slideLayout342.xml"/><Relationship Id="rId55" Type="http://schemas.openxmlformats.org/officeDocument/2006/relationships/slideLayout" Target="../slideLayouts/slideLayout347.xml"/><Relationship Id="rId7" Type="http://schemas.openxmlformats.org/officeDocument/2006/relationships/slideLayout" Target="../slideLayouts/slideLayout299.xml"/><Relationship Id="rId2" Type="http://schemas.openxmlformats.org/officeDocument/2006/relationships/slideLayout" Target="../slideLayouts/slideLayout294.xml"/><Relationship Id="rId16" Type="http://schemas.openxmlformats.org/officeDocument/2006/relationships/slideLayout" Target="../slideLayouts/slideLayout308.xml"/><Relationship Id="rId29" Type="http://schemas.openxmlformats.org/officeDocument/2006/relationships/slideLayout" Target="../slideLayouts/slideLayout321.xml"/><Relationship Id="rId11" Type="http://schemas.openxmlformats.org/officeDocument/2006/relationships/slideLayout" Target="../slideLayouts/slideLayout303.xml"/><Relationship Id="rId24" Type="http://schemas.openxmlformats.org/officeDocument/2006/relationships/slideLayout" Target="../slideLayouts/slideLayout316.xml"/><Relationship Id="rId32" Type="http://schemas.openxmlformats.org/officeDocument/2006/relationships/slideLayout" Target="../slideLayouts/slideLayout324.xml"/><Relationship Id="rId37" Type="http://schemas.openxmlformats.org/officeDocument/2006/relationships/slideLayout" Target="../slideLayouts/slideLayout329.xml"/><Relationship Id="rId40" Type="http://schemas.openxmlformats.org/officeDocument/2006/relationships/slideLayout" Target="../slideLayouts/slideLayout332.xml"/><Relationship Id="rId45" Type="http://schemas.openxmlformats.org/officeDocument/2006/relationships/slideLayout" Target="../slideLayouts/slideLayout337.xml"/><Relationship Id="rId53" Type="http://schemas.openxmlformats.org/officeDocument/2006/relationships/slideLayout" Target="../slideLayouts/slideLayout345.xml"/><Relationship Id="rId58" Type="http://schemas.openxmlformats.org/officeDocument/2006/relationships/theme" Target="../theme/theme7.xml"/><Relationship Id="rId5" Type="http://schemas.openxmlformats.org/officeDocument/2006/relationships/slideLayout" Target="../slideLayouts/slideLayout297.xml"/><Relationship Id="rId19" Type="http://schemas.openxmlformats.org/officeDocument/2006/relationships/slideLayout" Target="../slideLayouts/slideLayout311.xml"/><Relationship Id="rId4" Type="http://schemas.openxmlformats.org/officeDocument/2006/relationships/slideLayout" Target="../slideLayouts/slideLayout296.xml"/><Relationship Id="rId9" Type="http://schemas.openxmlformats.org/officeDocument/2006/relationships/slideLayout" Target="../slideLayouts/slideLayout301.xml"/><Relationship Id="rId14" Type="http://schemas.openxmlformats.org/officeDocument/2006/relationships/slideLayout" Target="../slideLayouts/slideLayout306.xml"/><Relationship Id="rId22" Type="http://schemas.openxmlformats.org/officeDocument/2006/relationships/slideLayout" Target="../slideLayouts/slideLayout314.xml"/><Relationship Id="rId27" Type="http://schemas.openxmlformats.org/officeDocument/2006/relationships/slideLayout" Target="../slideLayouts/slideLayout319.xml"/><Relationship Id="rId30" Type="http://schemas.openxmlformats.org/officeDocument/2006/relationships/slideLayout" Target="../slideLayouts/slideLayout322.xml"/><Relationship Id="rId35" Type="http://schemas.openxmlformats.org/officeDocument/2006/relationships/slideLayout" Target="../slideLayouts/slideLayout327.xml"/><Relationship Id="rId43" Type="http://schemas.openxmlformats.org/officeDocument/2006/relationships/slideLayout" Target="../slideLayouts/slideLayout335.xml"/><Relationship Id="rId48" Type="http://schemas.openxmlformats.org/officeDocument/2006/relationships/slideLayout" Target="../slideLayouts/slideLayout340.xml"/><Relationship Id="rId56" Type="http://schemas.openxmlformats.org/officeDocument/2006/relationships/slideLayout" Target="../slideLayouts/slideLayout348.xml"/><Relationship Id="rId8" Type="http://schemas.openxmlformats.org/officeDocument/2006/relationships/slideLayout" Target="../slideLayouts/slideLayout300.xml"/><Relationship Id="rId51" Type="http://schemas.openxmlformats.org/officeDocument/2006/relationships/slideLayout" Target="../slideLayouts/slideLayout343.xml"/><Relationship Id="rId3" Type="http://schemas.openxmlformats.org/officeDocument/2006/relationships/slideLayout" Target="../slideLayouts/slideLayout295.xml"/><Relationship Id="rId12" Type="http://schemas.openxmlformats.org/officeDocument/2006/relationships/slideLayout" Target="../slideLayouts/slideLayout304.xml"/><Relationship Id="rId17" Type="http://schemas.openxmlformats.org/officeDocument/2006/relationships/slideLayout" Target="../slideLayouts/slideLayout309.xml"/><Relationship Id="rId25" Type="http://schemas.openxmlformats.org/officeDocument/2006/relationships/slideLayout" Target="../slideLayouts/slideLayout317.xml"/><Relationship Id="rId33" Type="http://schemas.openxmlformats.org/officeDocument/2006/relationships/slideLayout" Target="../slideLayouts/slideLayout325.xml"/><Relationship Id="rId38" Type="http://schemas.openxmlformats.org/officeDocument/2006/relationships/slideLayout" Target="../slideLayouts/slideLayout330.xml"/><Relationship Id="rId46" Type="http://schemas.openxmlformats.org/officeDocument/2006/relationships/slideLayout" Target="../slideLayouts/slideLayout338.xml"/><Relationship Id="rId59" Type="http://schemas.openxmlformats.org/officeDocument/2006/relationships/image" Target="../media/image112.emf"/><Relationship Id="rId20" Type="http://schemas.openxmlformats.org/officeDocument/2006/relationships/slideLayout" Target="../slideLayouts/slideLayout312.xml"/><Relationship Id="rId41" Type="http://schemas.openxmlformats.org/officeDocument/2006/relationships/slideLayout" Target="../slideLayouts/slideLayout333.xml"/><Relationship Id="rId54" Type="http://schemas.openxmlformats.org/officeDocument/2006/relationships/slideLayout" Target="../slideLayouts/slideLayout346.xml"/><Relationship Id="rId1" Type="http://schemas.openxmlformats.org/officeDocument/2006/relationships/slideLayout" Target="../slideLayouts/slideLayout293.xml"/><Relationship Id="rId6" Type="http://schemas.openxmlformats.org/officeDocument/2006/relationships/slideLayout" Target="../slideLayouts/slideLayout298.xml"/><Relationship Id="rId15" Type="http://schemas.openxmlformats.org/officeDocument/2006/relationships/slideLayout" Target="../slideLayouts/slideLayout307.xml"/><Relationship Id="rId23" Type="http://schemas.openxmlformats.org/officeDocument/2006/relationships/slideLayout" Target="../slideLayouts/slideLayout315.xml"/><Relationship Id="rId28" Type="http://schemas.openxmlformats.org/officeDocument/2006/relationships/slideLayout" Target="../slideLayouts/slideLayout320.xml"/><Relationship Id="rId36" Type="http://schemas.openxmlformats.org/officeDocument/2006/relationships/slideLayout" Target="../slideLayouts/slideLayout328.xml"/><Relationship Id="rId49" Type="http://schemas.openxmlformats.org/officeDocument/2006/relationships/slideLayout" Target="../slideLayouts/slideLayout341.xml"/><Relationship Id="rId57" Type="http://schemas.openxmlformats.org/officeDocument/2006/relationships/slideLayout" Target="../slideLayouts/slideLayout349.xml"/><Relationship Id="rId10" Type="http://schemas.openxmlformats.org/officeDocument/2006/relationships/slideLayout" Target="../slideLayouts/slideLayout302.xml"/><Relationship Id="rId31" Type="http://schemas.openxmlformats.org/officeDocument/2006/relationships/slideLayout" Target="../slideLayouts/slideLayout323.xml"/><Relationship Id="rId44" Type="http://schemas.openxmlformats.org/officeDocument/2006/relationships/slideLayout" Target="../slideLayouts/slideLayout336.xml"/><Relationship Id="rId52" Type="http://schemas.openxmlformats.org/officeDocument/2006/relationships/slideLayout" Target="../slideLayouts/slideLayout34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a:gsLst>
            <a:gs pos="2000">
              <a:srgbClr val="0179D4"/>
            </a:gs>
            <a:gs pos="32000">
              <a:srgbClr val="2CB6FF"/>
            </a:gs>
            <a:gs pos="44000">
              <a:srgbClr val="2DB6FF"/>
            </a:gs>
            <a:gs pos="81000">
              <a:srgbClr val="D962FA"/>
            </a:gs>
            <a:gs pos="96000">
              <a:srgbClr val="F69991"/>
            </a:gs>
          </a:gsLst>
          <a:lin ang="3600000" scaled="0"/>
        </a:gra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1779380-DB64-E27C-EF2B-4D639D0DD6E5}"/>
              </a:ext>
            </a:extLst>
          </p:cNvPr>
          <p:cNvSpPr/>
          <p:nvPr userDrawn="1"/>
        </p:nvSpPr>
        <p:spPr>
          <a:xfrm>
            <a:off x="0" y="0"/>
            <a:ext cx="12253119" cy="6858000"/>
          </a:xfrm>
          <a:prstGeom prst="rect">
            <a:avLst/>
          </a:prstGeom>
          <a:solidFill>
            <a:schemeClr val="bg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 name="Title Placeholder 1">
            <a:extLst>
              <a:ext uri="{FF2B5EF4-FFF2-40B4-BE49-F238E27FC236}">
                <a16:creationId xmlns:a16="http://schemas.microsoft.com/office/drawing/2014/main" id="{A1502A43-35BF-C9C6-7D79-A62726DAF0E1}"/>
              </a:ext>
            </a:extLst>
          </p:cNvPr>
          <p:cNvSpPr>
            <a:spLocks noGrp="1"/>
          </p:cNvSpPr>
          <p:nvPr>
            <p:ph type="title"/>
          </p:nvPr>
        </p:nvSpPr>
        <p:spPr>
          <a:xfrm>
            <a:off x="659219" y="365126"/>
            <a:ext cx="11025680" cy="107207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0491B4E4-1133-B3EF-552E-8A42ED9C69D6}"/>
              </a:ext>
            </a:extLst>
          </p:cNvPr>
          <p:cNvSpPr>
            <a:spLocks noGrp="1"/>
          </p:cNvSpPr>
          <p:nvPr>
            <p:ph type="body" idx="1"/>
          </p:nvPr>
        </p:nvSpPr>
        <p:spPr>
          <a:xfrm>
            <a:off x="659217" y="1519296"/>
            <a:ext cx="11025681" cy="465766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Graphic 7">
            <a:extLst>
              <a:ext uri="{FF2B5EF4-FFF2-40B4-BE49-F238E27FC236}">
                <a16:creationId xmlns:a16="http://schemas.microsoft.com/office/drawing/2014/main" id="{81362433-F7BA-721F-BF73-B10705AF3615}"/>
              </a:ext>
            </a:extLst>
          </p:cNvPr>
          <p:cNvPicPr>
            <a:picLocks noChangeAspect="1"/>
          </p:cNvPicPr>
          <p:nvPr userDrawn="1"/>
        </p:nvPicPr>
        <p:blipFill>
          <a:blip r:embed="rId21">
            <a:extLst>
              <a:ext uri="{96DAC541-7B7A-43D3-8B79-37D633B846F1}">
                <asvg:svgBlip xmlns:asvg="http://schemas.microsoft.com/office/drawing/2016/SVG/main" r:embed="rId22"/>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633356123"/>
      </p:ext>
    </p:extLst>
  </p:cSld>
  <p:clrMap bg1="lt1" tx1="dk1" bg2="lt2" tx2="dk2" accent1="accent1" accent2="accent2" accent3="accent3" accent4="accent4" accent5="accent5" accent6="accent6" hlink="hlink" folHlink="folHlink"/>
  <p:sldLayoutIdLst>
    <p:sldLayoutId id="2147484572" r:id="rId1"/>
    <p:sldLayoutId id="2147484573" r:id="rId2"/>
    <p:sldLayoutId id="2147484574" r:id="rId3"/>
    <p:sldLayoutId id="2147484575" r:id="rId4"/>
    <p:sldLayoutId id="2147484576" r:id="rId5"/>
    <p:sldLayoutId id="2147484577" r:id="rId6"/>
    <p:sldLayoutId id="2147484578" r:id="rId7"/>
    <p:sldLayoutId id="2147484579" r:id="rId8"/>
    <p:sldLayoutId id="2147484580" r:id="rId9"/>
    <p:sldLayoutId id="2147484581" r:id="rId10"/>
    <p:sldLayoutId id="2147484582" r:id="rId11"/>
    <p:sldLayoutId id="2147484583" r:id="rId12"/>
    <p:sldLayoutId id="2147484584" r:id="rId13"/>
    <p:sldLayoutId id="2147484585" r:id="rId14"/>
    <p:sldLayoutId id="2147484586" r:id="rId15"/>
    <p:sldLayoutId id="2147484587" r:id="rId16"/>
    <p:sldLayoutId id="2147484588" r:id="rId17"/>
    <p:sldLayoutId id="2147484589" r:id="rId18"/>
    <p:sldLayoutId id="2147484590" r:id="rId19"/>
  </p:sldLayoutIdLst>
  <p:txStyles>
    <p:titleStyle>
      <a:lvl1pPr algn="ctr" defTabSz="914400" rtl="0" eaLnBrk="1" latinLnBrk="0" hangingPunct="1">
        <a:lnSpc>
          <a:spcPct val="90000"/>
        </a:lnSpc>
        <a:spcBef>
          <a:spcPct val="0"/>
        </a:spcBef>
        <a:buNone/>
        <a:defRPr sz="4200" b="1" kern="1200">
          <a:solidFill>
            <a:srgbClr val="091F2C"/>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91F2C"/>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91F2C"/>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91F2C"/>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91F2C"/>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91F2C"/>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371CA1B-0184-2CA5-62F7-300267FAFB42}"/>
              </a:ext>
            </a:extLst>
          </p:cNvPr>
          <p:cNvSpPr>
            <a:spLocks noGrp="1"/>
          </p:cNvSpPr>
          <p:nvPr>
            <p:ph type="title"/>
          </p:nvPr>
        </p:nvSpPr>
        <p:spPr>
          <a:xfrm>
            <a:off x="586740" y="453414"/>
            <a:ext cx="11018520" cy="557784"/>
          </a:xfrm>
          <a:prstGeom prst="rect">
            <a:avLst/>
          </a:prstGeom>
        </p:spPr>
        <p:txBody>
          <a:bodyPr vert="horz" lIns="0" tIns="45720" rIns="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60E58D4-915F-A2C7-CB69-7A9BE94FC3C3}"/>
              </a:ext>
            </a:extLst>
          </p:cNvPr>
          <p:cNvSpPr>
            <a:spLocks noGrp="1"/>
          </p:cNvSpPr>
          <p:nvPr>
            <p:ph type="body" idx="1"/>
          </p:nvPr>
        </p:nvSpPr>
        <p:spPr>
          <a:xfrm>
            <a:off x="586740" y="1253331"/>
            <a:ext cx="11018520" cy="4351338"/>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Graphic 7">
            <a:extLst>
              <a:ext uri="{FF2B5EF4-FFF2-40B4-BE49-F238E27FC236}">
                <a16:creationId xmlns:a16="http://schemas.microsoft.com/office/drawing/2014/main" id="{C2B56D3C-7F47-5317-598C-C2F87FD03B8B}"/>
              </a:ext>
            </a:extLst>
          </p:cNvPr>
          <p:cNvPicPr>
            <a:picLocks noChangeAspect="1"/>
          </p:cNvPicPr>
          <p:nvPr userDrawn="1"/>
        </p:nvPicPr>
        <p:blipFill>
          <a:blip r:embed="rId45">
            <a:extLst>
              <a:ext uri="{96DAC541-7B7A-43D3-8B79-37D633B846F1}">
                <asvg:svgBlip xmlns:asvg="http://schemas.microsoft.com/office/drawing/2016/SVG/main" r:embed="rId46"/>
              </a:ext>
            </a:extLst>
          </a:blip>
          <a:srcRect/>
          <a:stretch/>
        </p:blipFill>
        <p:spPr>
          <a:xfrm rot="5400000">
            <a:off x="9509919" y="2743200"/>
            <a:ext cx="6858000" cy="1371600"/>
          </a:xfrm>
          <a:prstGeom prst="rect">
            <a:avLst/>
          </a:prstGeom>
        </p:spPr>
      </p:pic>
      <p:pic>
        <p:nvPicPr>
          <p:cNvPr id="10" name="Picture 9" descr="A screenshot of a computer screen&#10;&#10;AI-generated content may be incorrect.">
            <a:extLst>
              <a:ext uri="{FF2B5EF4-FFF2-40B4-BE49-F238E27FC236}">
                <a16:creationId xmlns:a16="http://schemas.microsoft.com/office/drawing/2014/main" id="{3C793DEE-CE60-83AE-163A-5FF63A0F4AD5}"/>
              </a:ext>
            </a:extLst>
          </p:cNvPr>
          <p:cNvPicPr>
            <a:picLocks noChangeAspect="1"/>
          </p:cNvPicPr>
          <p:nvPr userDrawn="1"/>
        </p:nvPicPr>
        <p:blipFill>
          <a:blip r:embed="rId47">
            <a:extLst>
              <a:ext uri="{28A0092B-C50C-407E-A947-70E740481C1C}">
                <a14:useLocalDpi xmlns:a14="http://schemas.microsoft.com/office/drawing/2010/main" val="0"/>
              </a:ext>
            </a:extLst>
          </a:blip>
          <a:srcRect l="40764" r="40642"/>
          <a:stretch/>
        </p:blipFill>
        <p:spPr>
          <a:xfrm>
            <a:off x="12478946" y="453414"/>
            <a:ext cx="1793632" cy="4197566"/>
          </a:xfrm>
          <a:prstGeom prst="rect">
            <a:avLst/>
          </a:prstGeom>
        </p:spPr>
      </p:pic>
    </p:spTree>
    <p:extLst>
      <p:ext uri="{BB962C8B-B14F-4D97-AF65-F5344CB8AC3E}">
        <p14:creationId xmlns:p14="http://schemas.microsoft.com/office/powerpoint/2010/main" val="3297426667"/>
      </p:ext>
    </p:extLst>
  </p:cSld>
  <p:clrMap bg1="lt1" tx1="dk1" bg2="lt2" tx2="dk2" accent1="accent1" accent2="accent2" accent3="accent3" accent4="accent4" accent5="accent5" accent6="accent6" hlink="hlink" folHlink="folHlink"/>
  <p:sldLayoutIdLst>
    <p:sldLayoutId id="2147484239" r:id="rId1"/>
    <p:sldLayoutId id="2147484240" r:id="rId2"/>
    <p:sldLayoutId id="2147484241" r:id="rId3"/>
    <p:sldLayoutId id="2147484278" r:id="rId4"/>
    <p:sldLayoutId id="2147484242" r:id="rId5"/>
    <p:sldLayoutId id="2147484243" r:id="rId6"/>
    <p:sldLayoutId id="2147484244" r:id="rId7"/>
    <p:sldLayoutId id="2147484245" r:id="rId8"/>
    <p:sldLayoutId id="2147484246" r:id="rId9"/>
    <p:sldLayoutId id="2147484247" r:id="rId10"/>
    <p:sldLayoutId id="2147484248" r:id="rId11"/>
    <p:sldLayoutId id="2147484249" r:id="rId12"/>
    <p:sldLayoutId id="2147484250" r:id="rId13"/>
    <p:sldLayoutId id="2147484251" r:id="rId14"/>
    <p:sldLayoutId id="2147484252" r:id="rId15"/>
    <p:sldLayoutId id="2147484253" r:id="rId16"/>
    <p:sldLayoutId id="2147484254" r:id="rId17"/>
    <p:sldLayoutId id="2147484255" r:id="rId18"/>
    <p:sldLayoutId id="2147484256" r:id="rId19"/>
    <p:sldLayoutId id="2147484257" r:id="rId20"/>
    <p:sldLayoutId id="2147484258" r:id="rId21"/>
    <p:sldLayoutId id="2147484259" r:id="rId22"/>
    <p:sldLayoutId id="2147484260" r:id="rId23"/>
    <p:sldLayoutId id="2147484261" r:id="rId24"/>
    <p:sldLayoutId id="2147484262" r:id="rId25"/>
    <p:sldLayoutId id="2147484263" r:id="rId26"/>
    <p:sldLayoutId id="2147484264" r:id="rId27"/>
    <p:sldLayoutId id="2147484265" r:id="rId28"/>
    <p:sldLayoutId id="2147484266" r:id="rId29"/>
    <p:sldLayoutId id="2147484267" r:id="rId30"/>
    <p:sldLayoutId id="2147484268" r:id="rId31"/>
    <p:sldLayoutId id="2147484269" r:id="rId32"/>
    <p:sldLayoutId id="2147484270" r:id="rId33"/>
    <p:sldLayoutId id="2147484271" r:id="rId34"/>
    <p:sldLayoutId id="2147484272" r:id="rId35"/>
    <p:sldLayoutId id="2147484273" r:id="rId36"/>
    <p:sldLayoutId id="2147484274" r:id="rId37"/>
    <p:sldLayoutId id="2147484275" r:id="rId38"/>
    <p:sldLayoutId id="2147484277" r:id="rId39"/>
    <p:sldLayoutId id="2147484750" r:id="rId40"/>
    <p:sldLayoutId id="2147484751" r:id="rId41"/>
    <p:sldLayoutId id="2147484752" r:id="rId42"/>
    <p:sldLayoutId id="2147484753" r:id="rId43"/>
  </p:sldLayoutIdLst>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Sans Display"/>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Sans Display"/>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91">
            <a:extLst>
              <a:ext uri="{96DAC541-7B7A-43D3-8B79-37D633B846F1}">
                <asvg:svgBlip xmlns:asvg="http://schemas.microsoft.com/office/drawing/2016/SVG/main" r:embed="rId92"/>
              </a:ext>
            </a:extLst>
          </a:blip>
          <a:srcRect/>
          <a:stretch/>
        </p:blipFill>
        <p:spPr>
          <a:xfrm rot="5400000">
            <a:off x="9509919" y="2743200"/>
            <a:ext cx="6858000" cy="1371600"/>
          </a:xfrm>
          <a:prstGeom prst="rect">
            <a:avLst/>
          </a:prstGeom>
        </p:spPr>
      </p:pic>
      <p:pic>
        <p:nvPicPr>
          <p:cNvPr id="5" name="Picture 4" descr="A screenshot of a computer screen&#10;&#10;AI-generated content may be incorrect.">
            <a:extLst>
              <a:ext uri="{FF2B5EF4-FFF2-40B4-BE49-F238E27FC236}">
                <a16:creationId xmlns:a16="http://schemas.microsoft.com/office/drawing/2014/main" id="{7DB4AB14-A77D-2AB5-48A9-01299AD48B2D}"/>
              </a:ext>
            </a:extLst>
          </p:cNvPr>
          <p:cNvPicPr>
            <a:picLocks noChangeAspect="1"/>
          </p:cNvPicPr>
          <p:nvPr userDrawn="1"/>
        </p:nvPicPr>
        <p:blipFill>
          <a:blip r:embed="rId93">
            <a:extLst>
              <a:ext uri="{28A0092B-C50C-407E-A947-70E740481C1C}">
                <a14:useLocalDpi xmlns:a14="http://schemas.microsoft.com/office/drawing/2010/main" val="0"/>
              </a:ext>
            </a:extLst>
          </a:blip>
          <a:srcRect l="40764" r="40642"/>
          <a:stretch/>
        </p:blipFill>
        <p:spPr>
          <a:xfrm>
            <a:off x="12478946" y="453414"/>
            <a:ext cx="1793632" cy="4197566"/>
          </a:xfrm>
          <a:prstGeom prst="rect">
            <a:avLst/>
          </a:prstGeom>
        </p:spPr>
      </p:pic>
    </p:spTree>
    <p:extLst>
      <p:ext uri="{BB962C8B-B14F-4D97-AF65-F5344CB8AC3E}">
        <p14:creationId xmlns:p14="http://schemas.microsoft.com/office/powerpoint/2010/main" val="646596628"/>
      </p:ext>
    </p:extLst>
  </p:cSld>
  <p:clrMap bg1="lt1" tx1="dk1" bg2="lt2" tx2="dk2" accent1="accent1" accent2="accent2" accent3="accent3" accent4="accent4" accent5="accent5" accent6="accent6" hlink="hlink" folHlink="folHlink"/>
  <p:sldLayoutIdLst>
    <p:sldLayoutId id="2147484435" r:id="rId1"/>
    <p:sldLayoutId id="2147484436" r:id="rId2"/>
    <p:sldLayoutId id="2147484437" r:id="rId3"/>
    <p:sldLayoutId id="2147484438" r:id="rId4"/>
    <p:sldLayoutId id="2147484439" r:id="rId5"/>
    <p:sldLayoutId id="2147484440" r:id="rId6"/>
    <p:sldLayoutId id="2147484441" r:id="rId7"/>
    <p:sldLayoutId id="2147484442" r:id="rId8"/>
    <p:sldLayoutId id="2147484443" r:id="rId9"/>
    <p:sldLayoutId id="2147484444" r:id="rId10"/>
    <p:sldLayoutId id="2147484445" r:id="rId11"/>
    <p:sldLayoutId id="2147484446" r:id="rId12"/>
    <p:sldLayoutId id="2147484447" r:id="rId13"/>
    <p:sldLayoutId id="2147484448" r:id="rId14"/>
    <p:sldLayoutId id="2147484449" r:id="rId15"/>
    <p:sldLayoutId id="2147484450" r:id="rId16"/>
    <p:sldLayoutId id="2147484451" r:id="rId17"/>
    <p:sldLayoutId id="2147484452" r:id="rId18"/>
    <p:sldLayoutId id="2147484453" r:id="rId19"/>
    <p:sldLayoutId id="2147484454" r:id="rId20"/>
    <p:sldLayoutId id="2147484455" r:id="rId21"/>
    <p:sldLayoutId id="2147484456" r:id="rId22"/>
    <p:sldLayoutId id="2147484457" r:id="rId23"/>
    <p:sldLayoutId id="2147484458" r:id="rId24"/>
    <p:sldLayoutId id="2147484459" r:id="rId25"/>
    <p:sldLayoutId id="2147484460" r:id="rId26"/>
    <p:sldLayoutId id="2147484461" r:id="rId27"/>
    <p:sldLayoutId id="2147484462" r:id="rId28"/>
    <p:sldLayoutId id="2147484463" r:id="rId29"/>
    <p:sldLayoutId id="2147484464" r:id="rId30"/>
    <p:sldLayoutId id="2147484465" r:id="rId31"/>
    <p:sldLayoutId id="2147484466" r:id="rId32"/>
    <p:sldLayoutId id="2147484467" r:id="rId33"/>
    <p:sldLayoutId id="2147484468" r:id="rId34"/>
    <p:sldLayoutId id="2147484469" r:id="rId35"/>
    <p:sldLayoutId id="2147484470" r:id="rId36"/>
    <p:sldLayoutId id="2147484471" r:id="rId37"/>
    <p:sldLayoutId id="2147484472" r:id="rId38"/>
    <p:sldLayoutId id="2147484473" r:id="rId39"/>
    <p:sldLayoutId id="2147484474" r:id="rId40"/>
    <p:sldLayoutId id="2147484475" r:id="rId41"/>
    <p:sldLayoutId id="2147484476" r:id="rId42"/>
    <p:sldLayoutId id="2147484477" r:id="rId43"/>
    <p:sldLayoutId id="2147484478" r:id="rId44"/>
    <p:sldLayoutId id="2147484479" r:id="rId45"/>
    <p:sldLayoutId id="2147484480" r:id="rId46"/>
    <p:sldLayoutId id="2147484481" r:id="rId47"/>
    <p:sldLayoutId id="2147484482" r:id="rId48"/>
    <p:sldLayoutId id="2147484483" r:id="rId49"/>
    <p:sldLayoutId id="2147484484" r:id="rId50"/>
    <p:sldLayoutId id="2147484485" r:id="rId51"/>
    <p:sldLayoutId id="2147484486" r:id="rId52"/>
    <p:sldLayoutId id="2147484487" r:id="rId53"/>
    <p:sldLayoutId id="2147484488" r:id="rId54"/>
    <p:sldLayoutId id="2147484489" r:id="rId55"/>
    <p:sldLayoutId id="2147484490" r:id="rId56"/>
    <p:sldLayoutId id="2147484491" r:id="rId57"/>
    <p:sldLayoutId id="2147484492" r:id="rId58"/>
    <p:sldLayoutId id="2147484493" r:id="rId59"/>
    <p:sldLayoutId id="2147484494" r:id="rId60"/>
    <p:sldLayoutId id="2147484495" r:id="rId61"/>
    <p:sldLayoutId id="2147484496" r:id="rId62"/>
    <p:sldLayoutId id="2147484497" r:id="rId63"/>
    <p:sldLayoutId id="2147484498" r:id="rId64"/>
    <p:sldLayoutId id="2147484499" r:id="rId65"/>
    <p:sldLayoutId id="2147484500" r:id="rId66"/>
    <p:sldLayoutId id="2147484501" r:id="rId67"/>
    <p:sldLayoutId id="2147484502" r:id="rId68"/>
    <p:sldLayoutId id="2147484503" r:id="rId69"/>
    <p:sldLayoutId id="2147484504" r:id="rId70"/>
    <p:sldLayoutId id="2147484505" r:id="rId71"/>
    <p:sldLayoutId id="2147484506" r:id="rId72"/>
    <p:sldLayoutId id="2147484507" r:id="rId73"/>
    <p:sldLayoutId id="2147484508" r:id="rId74"/>
    <p:sldLayoutId id="2147484509" r:id="rId75"/>
    <p:sldLayoutId id="2147484510" r:id="rId76"/>
    <p:sldLayoutId id="2147484511" r:id="rId77"/>
    <p:sldLayoutId id="2147484512" r:id="rId78"/>
    <p:sldLayoutId id="2147484513" r:id="rId79"/>
    <p:sldLayoutId id="2147484514" r:id="rId80"/>
    <p:sldLayoutId id="2147484515" r:id="rId81"/>
    <p:sldLayoutId id="2147484516" r:id="rId82"/>
    <p:sldLayoutId id="2147484517" r:id="rId83"/>
    <p:sldLayoutId id="2147484518" r:id="rId84"/>
    <p:sldLayoutId id="2147484519" r:id="rId85"/>
    <p:sldLayoutId id="2147484520" r:id="rId86"/>
    <p:sldLayoutId id="2147484521" r:id="rId87"/>
    <p:sldLayoutId id="2147484522" r:id="rId88"/>
    <p:sldLayoutId id="2147484523" r:id="rId8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371CA1B-0184-2CA5-62F7-300267FAFB42}"/>
              </a:ext>
            </a:extLst>
          </p:cNvPr>
          <p:cNvSpPr>
            <a:spLocks noGrp="1"/>
          </p:cNvSpPr>
          <p:nvPr>
            <p:ph type="title"/>
          </p:nvPr>
        </p:nvSpPr>
        <p:spPr>
          <a:xfrm>
            <a:off x="586740" y="453414"/>
            <a:ext cx="11018520" cy="557784"/>
          </a:xfrm>
          <a:prstGeom prst="rect">
            <a:avLst/>
          </a:prstGeom>
        </p:spPr>
        <p:txBody>
          <a:bodyPr vert="horz" lIns="0" tIns="45720" rIns="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60E58D4-915F-A2C7-CB69-7A9BE94FC3C3}"/>
              </a:ext>
            </a:extLst>
          </p:cNvPr>
          <p:cNvSpPr>
            <a:spLocks noGrp="1"/>
          </p:cNvSpPr>
          <p:nvPr>
            <p:ph type="body" idx="1"/>
          </p:nvPr>
        </p:nvSpPr>
        <p:spPr>
          <a:xfrm>
            <a:off x="586740" y="1253331"/>
            <a:ext cx="11018520" cy="4351338"/>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Graphic 7">
            <a:extLst>
              <a:ext uri="{FF2B5EF4-FFF2-40B4-BE49-F238E27FC236}">
                <a16:creationId xmlns:a16="http://schemas.microsoft.com/office/drawing/2014/main" id="{C2B56D3C-7F47-5317-598C-C2F87FD03B8B}"/>
              </a:ext>
            </a:extLst>
          </p:cNvPr>
          <p:cNvPicPr>
            <a:picLocks noChangeAspect="1"/>
          </p:cNvPicPr>
          <p:nvPr userDrawn="1"/>
        </p:nvPicPr>
        <p:blipFill>
          <a:blip r:embed="rId45">
            <a:extLst>
              <a:ext uri="{96DAC541-7B7A-43D3-8B79-37D633B846F1}">
                <asvg:svgBlip xmlns:asvg="http://schemas.microsoft.com/office/drawing/2016/SVG/main" r:embed="rId46"/>
              </a:ext>
            </a:extLst>
          </a:blip>
          <a:srcRect/>
          <a:stretch/>
        </p:blipFill>
        <p:spPr>
          <a:xfrm rot="5400000">
            <a:off x="9509919" y="2743200"/>
            <a:ext cx="6858000" cy="1371600"/>
          </a:xfrm>
          <a:prstGeom prst="rect">
            <a:avLst/>
          </a:prstGeom>
        </p:spPr>
      </p:pic>
      <p:pic>
        <p:nvPicPr>
          <p:cNvPr id="10" name="Picture 9" descr="A screenshot of a computer screen&#10;&#10;AI-generated content may be incorrect.">
            <a:extLst>
              <a:ext uri="{FF2B5EF4-FFF2-40B4-BE49-F238E27FC236}">
                <a16:creationId xmlns:a16="http://schemas.microsoft.com/office/drawing/2014/main" id="{3C793DEE-CE60-83AE-163A-5FF63A0F4AD5}"/>
              </a:ext>
            </a:extLst>
          </p:cNvPr>
          <p:cNvPicPr>
            <a:picLocks noChangeAspect="1"/>
          </p:cNvPicPr>
          <p:nvPr userDrawn="1"/>
        </p:nvPicPr>
        <p:blipFill>
          <a:blip r:embed="rId47">
            <a:extLst>
              <a:ext uri="{28A0092B-C50C-407E-A947-70E740481C1C}">
                <a14:useLocalDpi xmlns:a14="http://schemas.microsoft.com/office/drawing/2010/main" val="0"/>
              </a:ext>
            </a:extLst>
          </a:blip>
          <a:srcRect l="40764" r="40642"/>
          <a:stretch/>
        </p:blipFill>
        <p:spPr>
          <a:xfrm>
            <a:off x="12478946" y="453414"/>
            <a:ext cx="1793632" cy="4197566"/>
          </a:xfrm>
          <a:prstGeom prst="rect">
            <a:avLst/>
          </a:prstGeom>
        </p:spPr>
      </p:pic>
    </p:spTree>
    <p:extLst>
      <p:ext uri="{BB962C8B-B14F-4D97-AF65-F5344CB8AC3E}">
        <p14:creationId xmlns:p14="http://schemas.microsoft.com/office/powerpoint/2010/main" val="3823336154"/>
      </p:ext>
    </p:extLst>
  </p:cSld>
  <p:clrMap bg1="lt1" tx1="dk1" bg2="lt2" tx2="dk2" accent1="accent1" accent2="accent2" accent3="accent3" accent4="accent4" accent5="accent5" accent6="accent6" hlink="hlink" folHlink="folHlink"/>
  <p:sldLayoutIdLst>
    <p:sldLayoutId id="2147484525" r:id="rId1"/>
    <p:sldLayoutId id="2147484526" r:id="rId2"/>
    <p:sldLayoutId id="2147484527" r:id="rId3"/>
    <p:sldLayoutId id="2147484528" r:id="rId4"/>
    <p:sldLayoutId id="2147484529" r:id="rId5"/>
    <p:sldLayoutId id="2147484530" r:id="rId6"/>
    <p:sldLayoutId id="2147484531" r:id="rId7"/>
    <p:sldLayoutId id="2147484532" r:id="rId8"/>
    <p:sldLayoutId id="2147484533" r:id="rId9"/>
    <p:sldLayoutId id="2147484534" r:id="rId10"/>
    <p:sldLayoutId id="2147484535" r:id="rId11"/>
    <p:sldLayoutId id="2147484536" r:id="rId12"/>
    <p:sldLayoutId id="2147484537" r:id="rId13"/>
    <p:sldLayoutId id="2147484538" r:id="rId14"/>
    <p:sldLayoutId id="2147484539" r:id="rId15"/>
    <p:sldLayoutId id="2147484540" r:id="rId16"/>
    <p:sldLayoutId id="2147484541" r:id="rId17"/>
    <p:sldLayoutId id="2147484542" r:id="rId18"/>
    <p:sldLayoutId id="2147484543" r:id="rId19"/>
    <p:sldLayoutId id="2147484544" r:id="rId20"/>
    <p:sldLayoutId id="2147484545" r:id="rId21"/>
    <p:sldLayoutId id="2147484546" r:id="rId22"/>
    <p:sldLayoutId id="2147484547" r:id="rId23"/>
    <p:sldLayoutId id="2147484548" r:id="rId24"/>
    <p:sldLayoutId id="2147484549" r:id="rId25"/>
    <p:sldLayoutId id="2147484550" r:id="rId26"/>
    <p:sldLayoutId id="2147484551" r:id="rId27"/>
    <p:sldLayoutId id="2147484552" r:id="rId28"/>
    <p:sldLayoutId id="2147484553" r:id="rId29"/>
    <p:sldLayoutId id="2147484554" r:id="rId30"/>
    <p:sldLayoutId id="2147484555" r:id="rId31"/>
    <p:sldLayoutId id="2147484556" r:id="rId32"/>
    <p:sldLayoutId id="2147484557" r:id="rId33"/>
    <p:sldLayoutId id="2147484558" r:id="rId34"/>
    <p:sldLayoutId id="2147484559" r:id="rId35"/>
    <p:sldLayoutId id="2147484560" r:id="rId36"/>
    <p:sldLayoutId id="2147484561" r:id="rId37"/>
    <p:sldLayoutId id="2147484562" r:id="rId38"/>
    <p:sldLayoutId id="2147484563" r:id="rId39"/>
    <p:sldLayoutId id="2147484564" r:id="rId40"/>
    <p:sldLayoutId id="2147484565" r:id="rId41"/>
    <p:sldLayoutId id="2147484566" r:id="rId42"/>
    <p:sldLayoutId id="2147484567" r:id="rId43"/>
  </p:sldLayoutIdLst>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gradFill>
          <a:gsLst>
            <a:gs pos="2000">
              <a:srgbClr val="0179D4"/>
            </a:gs>
            <a:gs pos="32000">
              <a:srgbClr val="2CB6FF"/>
            </a:gs>
            <a:gs pos="44000">
              <a:srgbClr val="2DB6FF"/>
            </a:gs>
            <a:gs pos="81000">
              <a:srgbClr val="D962FA"/>
            </a:gs>
            <a:gs pos="96000">
              <a:srgbClr val="F69991"/>
            </a:gs>
          </a:gsLst>
          <a:lin ang="3600000" scaled="0"/>
        </a:gra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1779380-DB64-E27C-EF2B-4D639D0DD6E5}"/>
              </a:ext>
            </a:extLst>
          </p:cNvPr>
          <p:cNvSpPr/>
          <p:nvPr userDrawn="1"/>
        </p:nvSpPr>
        <p:spPr>
          <a:xfrm>
            <a:off x="0" y="0"/>
            <a:ext cx="12253119" cy="6858000"/>
          </a:xfrm>
          <a:prstGeom prst="rect">
            <a:avLst/>
          </a:prstGeom>
          <a:solidFill>
            <a:schemeClr val="bg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A1502A43-35BF-C9C6-7D79-A62726DAF0E1}"/>
              </a:ext>
            </a:extLst>
          </p:cNvPr>
          <p:cNvSpPr>
            <a:spLocks noGrp="1"/>
          </p:cNvSpPr>
          <p:nvPr>
            <p:ph type="title"/>
          </p:nvPr>
        </p:nvSpPr>
        <p:spPr>
          <a:xfrm>
            <a:off x="659219" y="365126"/>
            <a:ext cx="11025680" cy="107207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0491B4E4-1133-B3EF-552E-8A42ED9C69D6}"/>
              </a:ext>
            </a:extLst>
          </p:cNvPr>
          <p:cNvSpPr>
            <a:spLocks noGrp="1"/>
          </p:cNvSpPr>
          <p:nvPr>
            <p:ph type="body" idx="1"/>
          </p:nvPr>
        </p:nvSpPr>
        <p:spPr>
          <a:xfrm>
            <a:off x="659217" y="1519296"/>
            <a:ext cx="11025681" cy="465766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Graphic 7">
            <a:extLst>
              <a:ext uri="{FF2B5EF4-FFF2-40B4-BE49-F238E27FC236}">
                <a16:creationId xmlns:a16="http://schemas.microsoft.com/office/drawing/2014/main" id="{81362433-F7BA-721F-BF73-B10705AF3615}"/>
              </a:ext>
            </a:extLst>
          </p:cNvPr>
          <p:cNvPicPr>
            <a:picLocks noChangeAspect="1"/>
          </p:cNvPicPr>
          <p:nvPr userDrawn="1"/>
        </p:nvPicPr>
        <p:blipFill>
          <a:blip r:embed="rId20">
            <a:extLst>
              <a:ext uri="{96DAC541-7B7A-43D3-8B79-37D633B846F1}">
                <asvg:svgBlip xmlns:asvg="http://schemas.microsoft.com/office/drawing/2016/SVG/main" r:embed="rId21"/>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927703967"/>
      </p:ext>
    </p:extLst>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 id="2147484602" r:id="rId11"/>
    <p:sldLayoutId id="2147484603" r:id="rId12"/>
    <p:sldLayoutId id="2147484604" r:id="rId13"/>
    <p:sldLayoutId id="2147484606" r:id="rId14"/>
    <p:sldLayoutId id="2147484607" r:id="rId15"/>
    <p:sldLayoutId id="2147484608" r:id="rId16"/>
    <p:sldLayoutId id="2147484609" r:id="rId17"/>
    <p:sldLayoutId id="2147484610" r:id="rId18"/>
  </p:sldLayoutIdLst>
  <p:txStyles>
    <p:titleStyle>
      <a:lvl1pPr algn="ctr" defTabSz="914400" rtl="0" eaLnBrk="1" latinLnBrk="0" hangingPunct="1">
        <a:lnSpc>
          <a:spcPct val="90000"/>
        </a:lnSpc>
        <a:spcBef>
          <a:spcPct val="0"/>
        </a:spcBef>
        <a:buNone/>
        <a:defRPr sz="4200" b="1" kern="1200">
          <a:solidFill>
            <a:srgbClr val="091F2C"/>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91F2C"/>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91F2C"/>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91F2C"/>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91F2C"/>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91F2C"/>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EAE5E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82">
            <a:extLst>
              <a:ext uri="{96DAC541-7B7A-43D3-8B79-37D633B846F1}">
                <asvg:svgBlip xmlns:asvg="http://schemas.microsoft.com/office/drawing/2016/SVG/main" r:embed="rId83"/>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131142294"/>
      </p:ext>
    </p:extLst>
  </p:cSld>
  <p:clrMap bg1="lt1" tx1="dk1" bg2="lt2" tx2="dk2" accent1="accent1" accent2="accent2" accent3="accent3" accent4="accent4" accent5="accent5" accent6="accent6" hlink="hlink" folHlink="folHlink"/>
  <p:sldLayoutIdLst>
    <p:sldLayoutId id="2147484612" r:id="rId1"/>
    <p:sldLayoutId id="2147484613" r:id="rId2"/>
    <p:sldLayoutId id="2147484614" r:id="rId3"/>
    <p:sldLayoutId id="2147484615" r:id="rId4"/>
    <p:sldLayoutId id="2147484616" r:id="rId5"/>
    <p:sldLayoutId id="2147484617" r:id="rId6"/>
    <p:sldLayoutId id="2147484618" r:id="rId7"/>
    <p:sldLayoutId id="2147484619" r:id="rId8"/>
    <p:sldLayoutId id="2147484620" r:id="rId9"/>
    <p:sldLayoutId id="2147484621" r:id="rId10"/>
    <p:sldLayoutId id="2147484622" r:id="rId11"/>
    <p:sldLayoutId id="2147484623" r:id="rId12"/>
    <p:sldLayoutId id="2147484624" r:id="rId13"/>
    <p:sldLayoutId id="2147484625" r:id="rId14"/>
    <p:sldLayoutId id="2147484626" r:id="rId15"/>
    <p:sldLayoutId id="2147484627" r:id="rId16"/>
    <p:sldLayoutId id="2147484628" r:id="rId17"/>
    <p:sldLayoutId id="2147484629" r:id="rId18"/>
    <p:sldLayoutId id="2147484630" r:id="rId19"/>
    <p:sldLayoutId id="2147484631" r:id="rId20"/>
    <p:sldLayoutId id="2147484632" r:id="rId21"/>
    <p:sldLayoutId id="2147484633" r:id="rId22"/>
    <p:sldLayoutId id="2147484634" r:id="rId23"/>
    <p:sldLayoutId id="2147484635" r:id="rId24"/>
    <p:sldLayoutId id="2147484636" r:id="rId25"/>
    <p:sldLayoutId id="2147484637" r:id="rId26"/>
    <p:sldLayoutId id="2147484638" r:id="rId27"/>
    <p:sldLayoutId id="2147484639" r:id="rId28"/>
    <p:sldLayoutId id="2147484640" r:id="rId29"/>
    <p:sldLayoutId id="2147484641" r:id="rId30"/>
    <p:sldLayoutId id="2147484642" r:id="rId31"/>
    <p:sldLayoutId id="2147484643" r:id="rId32"/>
    <p:sldLayoutId id="2147484644" r:id="rId33"/>
    <p:sldLayoutId id="2147484645" r:id="rId34"/>
    <p:sldLayoutId id="2147484646" r:id="rId35"/>
    <p:sldLayoutId id="2147484647" r:id="rId36"/>
    <p:sldLayoutId id="2147484648" r:id="rId37"/>
    <p:sldLayoutId id="2147484649" r:id="rId38"/>
    <p:sldLayoutId id="2147484650" r:id="rId39"/>
    <p:sldLayoutId id="2147484651" r:id="rId40"/>
    <p:sldLayoutId id="2147484652" r:id="rId41"/>
    <p:sldLayoutId id="2147484653" r:id="rId42"/>
    <p:sldLayoutId id="2147484654" r:id="rId43"/>
    <p:sldLayoutId id="2147484655" r:id="rId44"/>
    <p:sldLayoutId id="2147484656" r:id="rId45"/>
    <p:sldLayoutId id="2147484657" r:id="rId46"/>
    <p:sldLayoutId id="2147484658" r:id="rId47"/>
    <p:sldLayoutId id="2147484659" r:id="rId48"/>
    <p:sldLayoutId id="2147484660" r:id="rId49"/>
    <p:sldLayoutId id="2147484661" r:id="rId50"/>
    <p:sldLayoutId id="2147484662" r:id="rId51"/>
    <p:sldLayoutId id="2147484663" r:id="rId52"/>
    <p:sldLayoutId id="2147484664" r:id="rId53"/>
    <p:sldLayoutId id="2147484665" r:id="rId54"/>
    <p:sldLayoutId id="2147484666" r:id="rId55"/>
    <p:sldLayoutId id="2147484667" r:id="rId56"/>
    <p:sldLayoutId id="2147484668" r:id="rId57"/>
    <p:sldLayoutId id="2147484669" r:id="rId58"/>
    <p:sldLayoutId id="2147484670" r:id="rId59"/>
    <p:sldLayoutId id="2147484671" r:id="rId60"/>
    <p:sldLayoutId id="2147484672" r:id="rId61"/>
    <p:sldLayoutId id="2147484673" r:id="rId62"/>
    <p:sldLayoutId id="2147484674" r:id="rId63"/>
    <p:sldLayoutId id="2147484675" r:id="rId64"/>
    <p:sldLayoutId id="2147484676" r:id="rId65"/>
    <p:sldLayoutId id="2147484677" r:id="rId66"/>
    <p:sldLayoutId id="2147484678" r:id="rId67"/>
    <p:sldLayoutId id="2147484679" r:id="rId68"/>
    <p:sldLayoutId id="2147484680" r:id="rId69"/>
    <p:sldLayoutId id="2147484681" r:id="rId70"/>
    <p:sldLayoutId id="2147484682" r:id="rId71"/>
    <p:sldLayoutId id="2147484683" r:id="rId72"/>
    <p:sldLayoutId id="2147484684" r:id="rId73"/>
    <p:sldLayoutId id="2147484685" r:id="rId74"/>
    <p:sldLayoutId id="2147484686" r:id="rId75"/>
    <p:sldLayoutId id="2147484687" r:id="rId76"/>
    <p:sldLayoutId id="2147484688" r:id="rId77"/>
    <p:sldLayoutId id="2147484689" r:id="rId78"/>
    <p:sldLayoutId id="2147484690" r:id="rId79"/>
    <p:sldLayoutId id="2147484691" r:id="rId8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Pr>
        <a:gradFill>
          <a:gsLst>
            <a:gs pos="0">
              <a:schemeClr val="tx1"/>
            </a:gs>
            <a:gs pos="100000">
              <a:srgbClr val="243A5E"/>
            </a:gs>
          </a:gsLst>
          <a:lin ang="5400000" scaled="1"/>
        </a:gra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0" i="0">
              <a:gradFill>
                <a:gsLst>
                  <a:gs pos="0">
                    <a:srgbClr val="FFFFFF"/>
                  </a:gs>
                  <a:gs pos="100000">
                    <a:srgbClr val="FFFFFF"/>
                  </a:gs>
                </a:gsLst>
                <a:lin ang="5400000" scaled="0"/>
              </a:gradFill>
              <a:latin typeface="Segoe Sans Display" pitchFamily="2" charset="0"/>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0" i="0">
              <a:gradFill>
                <a:gsLst>
                  <a:gs pos="0">
                    <a:srgbClr val="FFFFFF"/>
                  </a:gs>
                  <a:gs pos="100000">
                    <a:srgbClr val="FFFFFF"/>
                  </a:gs>
                </a:gsLst>
                <a:lin ang="5400000" scaled="0"/>
              </a:gradFill>
              <a:latin typeface="Segoe Sans Display" pitchFamily="2" charset="0"/>
              <a:ea typeface="Segoe UI" pitchFamily="34" charset="0"/>
              <a:cs typeface="Segoe Sans Display" pitchFamily="2"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59"/>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29952296"/>
      </p:ext>
    </p:extLst>
  </p:cSld>
  <p:clrMap bg1="lt1" tx1="dk1" bg2="lt2" tx2="dk2" accent1="accent1" accent2="accent2" accent3="accent3" accent4="accent4" accent5="accent5" accent6="accent6" hlink="hlink" folHlink="folHlink"/>
  <p:sldLayoutIdLst>
    <p:sldLayoutId id="2147484693" r:id="rId1"/>
    <p:sldLayoutId id="2147484694" r:id="rId2"/>
    <p:sldLayoutId id="2147484695" r:id="rId3"/>
    <p:sldLayoutId id="2147484696" r:id="rId4"/>
    <p:sldLayoutId id="2147484697" r:id="rId5"/>
    <p:sldLayoutId id="2147484698" r:id="rId6"/>
    <p:sldLayoutId id="2147484699" r:id="rId7"/>
    <p:sldLayoutId id="2147484700" r:id="rId8"/>
    <p:sldLayoutId id="2147484701" r:id="rId9"/>
    <p:sldLayoutId id="2147484702" r:id="rId10"/>
    <p:sldLayoutId id="2147484703" r:id="rId11"/>
    <p:sldLayoutId id="2147484704" r:id="rId12"/>
    <p:sldLayoutId id="2147484705" r:id="rId13"/>
    <p:sldLayoutId id="2147484706" r:id="rId14"/>
    <p:sldLayoutId id="2147484707" r:id="rId15"/>
    <p:sldLayoutId id="2147484708" r:id="rId16"/>
    <p:sldLayoutId id="2147484709" r:id="rId17"/>
    <p:sldLayoutId id="2147484710" r:id="rId18"/>
    <p:sldLayoutId id="2147484711" r:id="rId19"/>
    <p:sldLayoutId id="2147484712" r:id="rId20"/>
    <p:sldLayoutId id="2147484713" r:id="rId21"/>
    <p:sldLayoutId id="2147484714" r:id="rId22"/>
    <p:sldLayoutId id="2147484715" r:id="rId23"/>
    <p:sldLayoutId id="2147484716" r:id="rId24"/>
    <p:sldLayoutId id="2147484717" r:id="rId25"/>
    <p:sldLayoutId id="2147484718" r:id="rId26"/>
    <p:sldLayoutId id="2147484719" r:id="rId27"/>
    <p:sldLayoutId id="2147484720" r:id="rId28"/>
    <p:sldLayoutId id="2147484721" r:id="rId29"/>
    <p:sldLayoutId id="2147484722" r:id="rId30"/>
    <p:sldLayoutId id="2147484723" r:id="rId31"/>
    <p:sldLayoutId id="2147484724" r:id="rId32"/>
    <p:sldLayoutId id="2147484725" r:id="rId33"/>
    <p:sldLayoutId id="2147484726" r:id="rId34"/>
    <p:sldLayoutId id="2147484727" r:id="rId35"/>
    <p:sldLayoutId id="2147484728" r:id="rId36"/>
    <p:sldLayoutId id="2147484729" r:id="rId37"/>
    <p:sldLayoutId id="2147484730" r:id="rId38"/>
    <p:sldLayoutId id="2147484731" r:id="rId39"/>
    <p:sldLayoutId id="2147484732" r:id="rId40"/>
    <p:sldLayoutId id="2147484733" r:id="rId41"/>
    <p:sldLayoutId id="2147484734" r:id="rId42"/>
    <p:sldLayoutId id="2147484735" r:id="rId43"/>
    <p:sldLayoutId id="2147484736" r:id="rId44"/>
    <p:sldLayoutId id="2147484737" r:id="rId45"/>
    <p:sldLayoutId id="2147484738" r:id="rId46"/>
    <p:sldLayoutId id="2147484739" r:id="rId47"/>
    <p:sldLayoutId id="2147484740" r:id="rId48"/>
    <p:sldLayoutId id="2147484741" r:id="rId49"/>
    <p:sldLayoutId id="2147484742" r:id="rId50"/>
    <p:sldLayoutId id="2147484743" r:id="rId51"/>
    <p:sldLayoutId id="2147484744" r:id="rId52"/>
    <p:sldLayoutId id="2147484745" r:id="rId53"/>
    <p:sldLayoutId id="2147484746" r:id="rId54"/>
    <p:sldLayoutId id="2147484747" r:id="rId55"/>
    <p:sldLayoutId id="2147484748" r:id="rId56"/>
    <p:sldLayoutId id="2147484749" r:id="rId57"/>
  </p:sldLayoutIdLst>
  <p:transition>
    <p:fade/>
  </p:transition>
  <p:hf sldNum="0" hdr="0" ftr="0" dt="0"/>
  <p:txStyles>
    <p:titleStyle>
      <a:lvl1pPr algn="l" defTabSz="932742" rtl="0" eaLnBrk="1" latinLnBrk="0" hangingPunct="1">
        <a:lnSpc>
          <a:spcPct val="100000"/>
        </a:lnSpc>
        <a:spcBef>
          <a:spcPct val="0"/>
        </a:spcBef>
        <a:buNone/>
        <a:defRPr lang="en-US" sz="3600" b="1" i="0" kern="1200" cap="none" spc="-50" baseline="0" dirty="0" smtClean="0">
          <a:ln w="3175">
            <a:noFill/>
          </a:ln>
          <a:gradFill>
            <a:gsLst>
              <a:gs pos="0">
                <a:schemeClr val="bg1"/>
              </a:gs>
              <a:gs pos="100000">
                <a:schemeClr val="bg1"/>
              </a:gs>
            </a:gsLst>
            <a:lin ang="5400000" scaled="1"/>
          </a:gradFill>
          <a:effectLst/>
          <a:latin typeface="Segoe Sans Display Semibold" pitchFamily="2" charset="0"/>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b="0" i="0" kern="1200" spc="0" baseline="0">
          <a:gradFill>
            <a:gsLst>
              <a:gs pos="0">
                <a:schemeClr val="bg1"/>
              </a:gs>
              <a:gs pos="100000">
                <a:schemeClr val="bg1"/>
              </a:gs>
            </a:gsLst>
            <a:lin ang="5400000" scaled="1"/>
          </a:gradFill>
          <a:latin typeface="Segoe Sans Display" pitchFamily="2" charset="0"/>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gradFill>
            <a:gsLst>
              <a:gs pos="0">
                <a:schemeClr val="bg1"/>
              </a:gs>
              <a:gs pos="100000">
                <a:schemeClr val="bg1"/>
              </a:gs>
            </a:gsLst>
            <a:lin ang="5400000" scaled="1"/>
          </a:gradFill>
          <a:latin typeface="Segoe Sans Display" pitchFamily="2" charset="0"/>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gradFill>
            <a:gsLst>
              <a:gs pos="0">
                <a:schemeClr val="bg1"/>
              </a:gs>
              <a:gs pos="100000">
                <a:schemeClr val="bg1"/>
              </a:gs>
            </a:gsLst>
            <a:lin ang="5400000" scaled="1"/>
          </a:gradFill>
          <a:latin typeface="Segoe Sans Display" pitchFamily="2" charset="0"/>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gradFill>
            <a:gsLst>
              <a:gs pos="0">
                <a:schemeClr val="bg1"/>
              </a:gs>
              <a:gs pos="100000">
                <a:schemeClr val="bg1"/>
              </a:gs>
            </a:gsLst>
            <a:lin ang="5400000" scaled="1"/>
          </a:gradFill>
          <a:latin typeface="Segoe Sans Display" pitchFamily="2" charset="0"/>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gradFill>
            <a:gsLst>
              <a:gs pos="0">
                <a:schemeClr val="bg1"/>
              </a:gs>
              <a:gs pos="100000">
                <a:schemeClr val="bg1"/>
              </a:gs>
            </a:gsLst>
            <a:lin ang="5400000" scaled="1"/>
          </a:gradFill>
          <a:latin typeface="Segoe Sans Display" pitchFamily="2" charset="0"/>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95.xml"/></Relationships>
</file>

<file path=ppt/slides/_rels/slide10.xml.rels><?xml version="1.0" encoding="UTF-8" standalone="yes"?>
<Relationships xmlns="http://schemas.openxmlformats.org/package/2006/relationships"><Relationship Id="rId8" Type="http://schemas.openxmlformats.org/officeDocument/2006/relationships/image" Target="../media/image202.svg"/><Relationship Id="rId13" Type="http://schemas.openxmlformats.org/officeDocument/2006/relationships/image" Target="../media/image207.png"/><Relationship Id="rId18" Type="http://schemas.openxmlformats.org/officeDocument/2006/relationships/image" Target="../media/image210.svg"/><Relationship Id="rId3" Type="http://schemas.openxmlformats.org/officeDocument/2006/relationships/notesSlide" Target="../notesSlides/notesSlide7.xml"/><Relationship Id="rId7" Type="http://schemas.openxmlformats.org/officeDocument/2006/relationships/image" Target="../media/image201.png"/><Relationship Id="rId12" Type="http://schemas.openxmlformats.org/officeDocument/2006/relationships/image" Target="../media/image206.svg"/><Relationship Id="rId17" Type="http://schemas.openxmlformats.org/officeDocument/2006/relationships/image" Target="../media/image209.png"/><Relationship Id="rId2" Type="http://schemas.openxmlformats.org/officeDocument/2006/relationships/slideLayout" Target="../slideLayouts/slideLayout78.xml"/><Relationship Id="rId16" Type="http://schemas.openxmlformats.org/officeDocument/2006/relationships/image" Target="../media/image198.svg"/><Relationship Id="rId1" Type="http://schemas.openxmlformats.org/officeDocument/2006/relationships/tags" Target="../tags/tag2.xml"/><Relationship Id="rId6" Type="http://schemas.openxmlformats.org/officeDocument/2006/relationships/image" Target="../media/image200.svg"/><Relationship Id="rId11" Type="http://schemas.openxmlformats.org/officeDocument/2006/relationships/image" Target="../media/image205.png"/><Relationship Id="rId5" Type="http://schemas.openxmlformats.org/officeDocument/2006/relationships/image" Target="../media/image199.png"/><Relationship Id="rId15" Type="http://schemas.openxmlformats.org/officeDocument/2006/relationships/image" Target="../media/image197.png"/><Relationship Id="rId10" Type="http://schemas.openxmlformats.org/officeDocument/2006/relationships/image" Target="../media/image204.svg"/><Relationship Id="rId4" Type="http://schemas.openxmlformats.org/officeDocument/2006/relationships/image" Target="../media/image156.png"/><Relationship Id="rId9" Type="http://schemas.openxmlformats.org/officeDocument/2006/relationships/image" Target="../media/image203.png"/><Relationship Id="rId14" Type="http://schemas.openxmlformats.org/officeDocument/2006/relationships/image" Target="../media/image208.svg"/></Relationships>
</file>

<file path=ppt/slides/_rels/slide11.xml.rels><?xml version="1.0" encoding="UTF-8" standalone="yes"?>
<Relationships xmlns="http://schemas.openxmlformats.org/package/2006/relationships"><Relationship Id="rId8" Type="http://schemas.openxmlformats.org/officeDocument/2006/relationships/image" Target="../media/image164.png"/><Relationship Id="rId13" Type="http://schemas.openxmlformats.org/officeDocument/2006/relationships/image" Target="../media/image198.svg"/><Relationship Id="rId3" Type="http://schemas.openxmlformats.org/officeDocument/2006/relationships/image" Target="../media/image156.png"/><Relationship Id="rId7" Type="http://schemas.openxmlformats.org/officeDocument/2006/relationships/image" Target="../media/image163.svg"/><Relationship Id="rId12" Type="http://schemas.openxmlformats.org/officeDocument/2006/relationships/image" Target="../media/image197.png"/><Relationship Id="rId2" Type="http://schemas.openxmlformats.org/officeDocument/2006/relationships/notesSlide" Target="../notesSlides/notesSlide8.xml"/><Relationship Id="rId1" Type="http://schemas.openxmlformats.org/officeDocument/2006/relationships/slideLayout" Target="../slideLayouts/slideLayout78.xml"/><Relationship Id="rId6" Type="http://schemas.openxmlformats.org/officeDocument/2006/relationships/image" Target="../media/image162.png"/><Relationship Id="rId11" Type="http://schemas.openxmlformats.org/officeDocument/2006/relationships/image" Target="../media/image170.svg"/><Relationship Id="rId5" Type="http://schemas.openxmlformats.org/officeDocument/2006/relationships/image" Target="../media/image212.svg"/><Relationship Id="rId10" Type="http://schemas.openxmlformats.org/officeDocument/2006/relationships/image" Target="../media/image169.png"/><Relationship Id="rId4" Type="http://schemas.openxmlformats.org/officeDocument/2006/relationships/image" Target="../media/image211.png"/><Relationship Id="rId9" Type="http://schemas.openxmlformats.org/officeDocument/2006/relationships/image" Target="../media/image165.svg"/></Relationships>
</file>

<file path=ppt/slides/_rels/slide12.xml.rels><?xml version="1.0" encoding="UTF-8" standalone="yes"?>
<Relationships xmlns="http://schemas.openxmlformats.org/package/2006/relationships"><Relationship Id="rId8" Type="http://schemas.openxmlformats.org/officeDocument/2006/relationships/image" Target="../media/image163.svg"/><Relationship Id="rId13" Type="http://schemas.openxmlformats.org/officeDocument/2006/relationships/image" Target="../media/image197.png"/><Relationship Id="rId3" Type="http://schemas.openxmlformats.org/officeDocument/2006/relationships/notesSlide" Target="../notesSlides/notesSlide9.xml"/><Relationship Id="rId7" Type="http://schemas.openxmlformats.org/officeDocument/2006/relationships/image" Target="../media/image162.png"/><Relationship Id="rId12" Type="http://schemas.openxmlformats.org/officeDocument/2006/relationships/image" Target="../media/image170.svg"/><Relationship Id="rId2" Type="http://schemas.openxmlformats.org/officeDocument/2006/relationships/slideLayout" Target="../slideLayouts/slideLayout78.xml"/><Relationship Id="rId1" Type="http://schemas.openxmlformats.org/officeDocument/2006/relationships/themeOverride" Target="../theme/themeOverride1.xml"/><Relationship Id="rId6" Type="http://schemas.openxmlformats.org/officeDocument/2006/relationships/image" Target="../media/image212.svg"/><Relationship Id="rId11" Type="http://schemas.openxmlformats.org/officeDocument/2006/relationships/image" Target="../media/image169.png"/><Relationship Id="rId5" Type="http://schemas.openxmlformats.org/officeDocument/2006/relationships/image" Target="../media/image211.png"/><Relationship Id="rId10" Type="http://schemas.openxmlformats.org/officeDocument/2006/relationships/image" Target="../media/image165.svg"/><Relationship Id="rId4" Type="http://schemas.openxmlformats.org/officeDocument/2006/relationships/image" Target="../media/image156.png"/><Relationship Id="rId9" Type="http://schemas.openxmlformats.org/officeDocument/2006/relationships/image" Target="../media/image164.png"/><Relationship Id="rId14" Type="http://schemas.openxmlformats.org/officeDocument/2006/relationships/image" Target="../media/image198.svg"/></Relationships>
</file>

<file path=ppt/slides/_rels/slide13.xml.rels><?xml version="1.0" encoding="UTF-8" standalone="yes"?>
<Relationships xmlns="http://schemas.openxmlformats.org/package/2006/relationships"><Relationship Id="rId8" Type="http://schemas.openxmlformats.org/officeDocument/2006/relationships/image" Target="../media/image170.svg"/><Relationship Id="rId13" Type="http://schemas.openxmlformats.org/officeDocument/2006/relationships/image" Target="../media/image199.png"/><Relationship Id="rId3" Type="http://schemas.openxmlformats.org/officeDocument/2006/relationships/image" Target="../media/image187.png"/><Relationship Id="rId7" Type="http://schemas.openxmlformats.org/officeDocument/2006/relationships/image" Target="../media/image169.png"/><Relationship Id="rId12" Type="http://schemas.openxmlformats.org/officeDocument/2006/relationships/image" Target="../media/image165.svg"/><Relationship Id="rId2" Type="http://schemas.openxmlformats.org/officeDocument/2006/relationships/notesSlide" Target="../notesSlides/notesSlide10.xml"/><Relationship Id="rId1" Type="http://schemas.openxmlformats.org/officeDocument/2006/relationships/slideLayout" Target="../slideLayouts/slideLayout12.xml"/><Relationship Id="rId6" Type="http://schemas.openxmlformats.org/officeDocument/2006/relationships/image" Target="../media/image190.svg"/><Relationship Id="rId11" Type="http://schemas.openxmlformats.org/officeDocument/2006/relationships/image" Target="../media/image164.png"/><Relationship Id="rId5" Type="http://schemas.openxmlformats.org/officeDocument/2006/relationships/image" Target="../media/image189.png"/><Relationship Id="rId15" Type="http://schemas.openxmlformats.org/officeDocument/2006/relationships/image" Target="../media/image157.png"/><Relationship Id="rId10" Type="http://schemas.openxmlformats.org/officeDocument/2006/relationships/image" Target="../media/image163.svg"/><Relationship Id="rId4" Type="http://schemas.openxmlformats.org/officeDocument/2006/relationships/image" Target="../media/image188.svg"/><Relationship Id="rId9" Type="http://schemas.openxmlformats.org/officeDocument/2006/relationships/image" Target="../media/image162.png"/><Relationship Id="rId14" Type="http://schemas.openxmlformats.org/officeDocument/2006/relationships/image" Target="../media/image200.svg"/></Relationships>
</file>

<file path=ppt/slides/_rels/slide14.xml.rels><?xml version="1.0" encoding="UTF-8" standalone="yes"?>
<Relationships xmlns="http://schemas.openxmlformats.org/package/2006/relationships"><Relationship Id="rId8" Type="http://schemas.openxmlformats.org/officeDocument/2006/relationships/image" Target="../media/image170.svg"/><Relationship Id="rId13" Type="http://schemas.openxmlformats.org/officeDocument/2006/relationships/image" Target="../media/image221.png"/><Relationship Id="rId18" Type="http://schemas.openxmlformats.org/officeDocument/2006/relationships/image" Target="../media/image226.emf"/><Relationship Id="rId3" Type="http://schemas.openxmlformats.org/officeDocument/2006/relationships/image" Target="../media/image213.png"/><Relationship Id="rId7" Type="http://schemas.openxmlformats.org/officeDocument/2006/relationships/image" Target="../media/image169.png"/><Relationship Id="rId12" Type="http://schemas.openxmlformats.org/officeDocument/2006/relationships/image" Target="../media/image220.svg"/><Relationship Id="rId17" Type="http://schemas.openxmlformats.org/officeDocument/2006/relationships/image" Target="../media/image225.gif"/><Relationship Id="rId2" Type="http://schemas.openxmlformats.org/officeDocument/2006/relationships/notesSlide" Target="../notesSlides/notesSlide11.xml"/><Relationship Id="rId16" Type="http://schemas.openxmlformats.org/officeDocument/2006/relationships/image" Target="../media/image224.svg"/><Relationship Id="rId1" Type="http://schemas.openxmlformats.org/officeDocument/2006/relationships/slideLayout" Target="../slideLayouts/slideLayout12.xml"/><Relationship Id="rId6" Type="http://schemas.openxmlformats.org/officeDocument/2006/relationships/image" Target="../media/image216.svg"/><Relationship Id="rId11" Type="http://schemas.openxmlformats.org/officeDocument/2006/relationships/image" Target="../media/image219.png"/><Relationship Id="rId5" Type="http://schemas.openxmlformats.org/officeDocument/2006/relationships/image" Target="../media/image215.png"/><Relationship Id="rId15" Type="http://schemas.openxmlformats.org/officeDocument/2006/relationships/image" Target="../media/image223.png"/><Relationship Id="rId10" Type="http://schemas.openxmlformats.org/officeDocument/2006/relationships/image" Target="../media/image218.svg"/><Relationship Id="rId4" Type="http://schemas.openxmlformats.org/officeDocument/2006/relationships/image" Target="../media/image214.jpeg"/><Relationship Id="rId9" Type="http://schemas.openxmlformats.org/officeDocument/2006/relationships/image" Target="../media/image217.png"/><Relationship Id="rId14" Type="http://schemas.openxmlformats.org/officeDocument/2006/relationships/image" Target="../media/image222.sv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227.png"/><Relationship Id="rId4" Type="http://schemas.openxmlformats.org/officeDocument/2006/relationships/notesSlide" Target="../notesSlides/notesSlide12.xml"/></Relationships>
</file>

<file path=ppt/slides/_rels/slide16.xml.rels><?xml version="1.0" encoding="UTF-8" standalone="yes"?>
<Relationships xmlns="http://schemas.openxmlformats.org/package/2006/relationships"><Relationship Id="rId8" Type="http://schemas.openxmlformats.org/officeDocument/2006/relationships/image" Target="../media/image233.svg"/><Relationship Id="rId13" Type="http://schemas.openxmlformats.org/officeDocument/2006/relationships/image" Target="../media/image238.svg"/><Relationship Id="rId3" Type="http://schemas.openxmlformats.org/officeDocument/2006/relationships/image" Target="../media/image228.png"/><Relationship Id="rId7" Type="http://schemas.openxmlformats.org/officeDocument/2006/relationships/image" Target="../media/image232.png"/><Relationship Id="rId12" Type="http://schemas.openxmlformats.org/officeDocument/2006/relationships/image" Target="../media/image237.svg"/><Relationship Id="rId2" Type="http://schemas.openxmlformats.org/officeDocument/2006/relationships/notesSlide" Target="../notesSlides/notesSlide13.xml"/><Relationship Id="rId16" Type="http://schemas.openxmlformats.org/officeDocument/2006/relationships/image" Target="../media/image241.svg"/><Relationship Id="rId1" Type="http://schemas.openxmlformats.org/officeDocument/2006/relationships/slideLayout" Target="../slideLayouts/slideLayout12.xml"/><Relationship Id="rId6" Type="http://schemas.openxmlformats.org/officeDocument/2006/relationships/image" Target="../media/image231.svg"/><Relationship Id="rId11" Type="http://schemas.openxmlformats.org/officeDocument/2006/relationships/image" Target="../media/image236.png"/><Relationship Id="rId5" Type="http://schemas.openxmlformats.org/officeDocument/2006/relationships/image" Target="../media/image230.png"/><Relationship Id="rId15" Type="http://schemas.openxmlformats.org/officeDocument/2006/relationships/image" Target="../media/image240.png"/><Relationship Id="rId10" Type="http://schemas.openxmlformats.org/officeDocument/2006/relationships/image" Target="../media/image235.svg"/><Relationship Id="rId4" Type="http://schemas.openxmlformats.org/officeDocument/2006/relationships/image" Target="../media/image229.svg"/><Relationship Id="rId9" Type="http://schemas.openxmlformats.org/officeDocument/2006/relationships/image" Target="../media/image234.png"/><Relationship Id="rId14" Type="http://schemas.openxmlformats.org/officeDocument/2006/relationships/image" Target="../media/image239.png"/></Relationships>
</file>

<file path=ppt/slides/_rels/slide17.xml.rels><?xml version="1.0" encoding="UTF-8" standalone="yes"?>
<Relationships xmlns="http://schemas.openxmlformats.org/package/2006/relationships"><Relationship Id="rId8" Type="http://schemas.openxmlformats.org/officeDocument/2006/relationships/image" Target="../media/image247.png"/><Relationship Id="rId13" Type="http://schemas.openxmlformats.org/officeDocument/2006/relationships/image" Target="../media/image252.png"/><Relationship Id="rId18" Type="http://schemas.openxmlformats.org/officeDocument/2006/relationships/image" Target="../media/image257.svg"/><Relationship Id="rId26" Type="http://schemas.openxmlformats.org/officeDocument/2006/relationships/image" Target="../media/image265.png"/><Relationship Id="rId3" Type="http://schemas.openxmlformats.org/officeDocument/2006/relationships/image" Target="../media/image242.png"/><Relationship Id="rId21" Type="http://schemas.openxmlformats.org/officeDocument/2006/relationships/image" Target="../media/image260.png"/><Relationship Id="rId7" Type="http://schemas.openxmlformats.org/officeDocument/2006/relationships/image" Target="../media/image246.jpeg"/><Relationship Id="rId12" Type="http://schemas.openxmlformats.org/officeDocument/2006/relationships/image" Target="../media/image251.svg"/><Relationship Id="rId17" Type="http://schemas.openxmlformats.org/officeDocument/2006/relationships/image" Target="../media/image256.png"/><Relationship Id="rId25" Type="http://schemas.openxmlformats.org/officeDocument/2006/relationships/image" Target="../media/image264.png"/><Relationship Id="rId2" Type="http://schemas.openxmlformats.org/officeDocument/2006/relationships/notesSlide" Target="../notesSlides/notesSlide14.xml"/><Relationship Id="rId16" Type="http://schemas.openxmlformats.org/officeDocument/2006/relationships/image" Target="../media/image255.svg"/><Relationship Id="rId20" Type="http://schemas.openxmlformats.org/officeDocument/2006/relationships/image" Target="../media/image259.svg"/><Relationship Id="rId1" Type="http://schemas.openxmlformats.org/officeDocument/2006/relationships/slideLayout" Target="../slideLayouts/slideLayout12.xml"/><Relationship Id="rId6" Type="http://schemas.openxmlformats.org/officeDocument/2006/relationships/image" Target="../media/image245.svg"/><Relationship Id="rId11" Type="http://schemas.openxmlformats.org/officeDocument/2006/relationships/image" Target="../media/image250.png"/><Relationship Id="rId24" Type="http://schemas.openxmlformats.org/officeDocument/2006/relationships/image" Target="../media/image263.svg"/><Relationship Id="rId5" Type="http://schemas.openxmlformats.org/officeDocument/2006/relationships/image" Target="../media/image244.png"/><Relationship Id="rId15" Type="http://schemas.openxmlformats.org/officeDocument/2006/relationships/image" Target="../media/image254.png"/><Relationship Id="rId23" Type="http://schemas.openxmlformats.org/officeDocument/2006/relationships/image" Target="../media/image262.png"/><Relationship Id="rId10" Type="http://schemas.openxmlformats.org/officeDocument/2006/relationships/image" Target="../media/image249.png"/><Relationship Id="rId19" Type="http://schemas.openxmlformats.org/officeDocument/2006/relationships/image" Target="../media/image258.png"/><Relationship Id="rId4" Type="http://schemas.openxmlformats.org/officeDocument/2006/relationships/image" Target="../media/image243.svg"/><Relationship Id="rId9" Type="http://schemas.openxmlformats.org/officeDocument/2006/relationships/image" Target="../media/image248.svg"/><Relationship Id="rId14" Type="http://schemas.openxmlformats.org/officeDocument/2006/relationships/image" Target="../media/image253.svg"/><Relationship Id="rId22" Type="http://schemas.openxmlformats.org/officeDocument/2006/relationships/image" Target="../media/image261.png"/><Relationship Id="rId27" Type="http://schemas.openxmlformats.org/officeDocument/2006/relationships/image" Target="../media/image266.svg"/></Relationships>
</file>

<file path=ppt/slides/_rels/slide18.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15.xml"/><Relationship Id="rId1" Type="http://schemas.openxmlformats.org/officeDocument/2006/relationships/slideLayout" Target="../slideLayouts/slideLayout22.xml"/><Relationship Id="rId6" Type="http://schemas.openxmlformats.org/officeDocument/2006/relationships/image" Target="../media/image269.jpeg"/><Relationship Id="rId5" Type="http://schemas.openxmlformats.org/officeDocument/2006/relationships/image" Target="../media/image268.jpeg"/><Relationship Id="rId4" Type="http://schemas.openxmlformats.org/officeDocument/2006/relationships/image" Target="../media/image267.jpeg"/></Relationships>
</file>

<file path=ppt/slides/_rels/slide19.xml.rels><?xml version="1.0" encoding="UTF-8" standalone="yes"?>
<Relationships xmlns="http://schemas.openxmlformats.org/package/2006/relationships"><Relationship Id="rId3" Type="http://schemas.microsoft.com/office/2018/10/relationships/comments" Target="../comments/modernComment_7FFFFC07_E514B229.xml"/><Relationship Id="rId2" Type="http://schemas.openxmlformats.org/officeDocument/2006/relationships/notesSlide" Target="../notesSlides/notesSlide16.xml"/><Relationship Id="rId1" Type="http://schemas.openxmlformats.org/officeDocument/2006/relationships/slideLayout" Target="../slideLayouts/slideLayout12.xml"/><Relationship Id="rId5" Type="http://schemas.openxmlformats.org/officeDocument/2006/relationships/image" Target="../media/image271.jpeg"/><Relationship Id="rId4" Type="http://schemas.openxmlformats.org/officeDocument/2006/relationships/image" Target="../media/image270.jpeg"/></Relationships>
</file>

<file path=ppt/slides/_rels/slide2.xml.rels><?xml version="1.0" encoding="UTF-8" standalone="yes"?>
<Relationships xmlns="http://schemas.openxmlformats.org/package/2006/relationships"><Relationship Id="rId2" Type="http://schemas.openxmlformats.org/officeDocument/2006/relationships/image" Target="../media/image117.jpeg"/><Relationship Id="rId1" Type="http://schemas.openxmlformats.org/officeDocument/2006/relationships/slideLayout" Target="../slideLayouts/slideLayout290.xml"/></Relationships>
</file>

<file path=ppt/slides/_rels/slide20.xml.rels><?xml version="1.0" encoding="UTF-8" standalone="yes"?>
<Relationships xmlns="http://schemas.openxmlformats.org/package/2006/relationships"><Relationship Id="rId3" Type="http://schemas.openxmlformats.org/officeDocument/2006/relationships/image" Target="../media/image272.png"/><Relationship Id="rId2" Type="http://schemas.openxmlformats.org/officeDocument/2006/relationships/notesSlide" Target="../notesSlides/notesSlide17.xml"/><Relationship Id="rId1" Type="http://schemas.openxmlformats.org/officeDocument/2006/relationships/slideLayout" Target="../slideLayouts/slideLayout85.xml"/></Relationships>
</file>

<file path=ppt/slides/_rels/slide21.xml.rels><?xml version="1.0" encoding="UTF-8" standalone="yes"?>
<Relationships xmlns="http://schemas.openxmlformats.org/package/2006/relationships"><Relationship Id="rId3" Type="http://schemas.openxmlformats.org/officeDocument/2006/relationships/image" Target="../media/image270.jpeg"/><Relationship Id="rId2" Type="http://schemas.openxmlformats.org/officeDocument/2006/relationships/notesSlide" Target="../notesSlides/notesSlide18.xml"/><Relationship Id="rId1" Type="http://schemas.openxmlformats.org/officeDocument/2006/relationships/slideLayout" Target="../slideLayouts/slideLayout12.xml"/><Relationship Id="rId4" Type="http://schemas.openxmlformats.org/officeDocument/2006/relationships/image" Target="../media/image273.jpeg"/></Relationships>
</file>

<file path=ppt/slides/_rels/slide22.xml.rels><?xml version="1.0" encoding="UTF-8" standalone="yes"?>
<Relationships xmlns="http://schemas.openxmlformats.org/package/2006/relationships"><Relationship Id="rId3" Type="http://schemas.openxmlformats.org/officeDocument/2006/relationships/image" Target="../media/image274.jpeg"/><Relationship Id="rId2" Type="http://schemas.openxmlformats.org/officeDocument/2006/relationships/notesSlide" Target="../notesSlides/notesSlide19.xml"/><Relationship Id="rId1" Type="http://schemas.openxmlformats.org/officeDocument/2006/relationships/slideLayout" Target="../slideLayouts/slideLayout12.xml"/><Relationship Id="rId4" Type="http://schemas.openxmlformats.org/officeDocument/2006/relationships/image" Target="../media/image273.jpeg"/></Relationships>
</file>

<file path=ppt/slides/_rels/slide23.xml.rels><?xml version="1.0" encoding="UTF-8" standalone="yes"?>
<Relationships xmlns="http://schemas.openxmlformats.org/package/2006/relationships"><Relationship Id="rId3" Type="http://schemas.openxmlformats.org/officeDocument/2006/relationships/hyperlink" Target="https://highlights.guide/clickthroughs/entra/easy-remote-access.html" TargetMode="External"/><Relationship Id="rId2" Type="http://schemas.openxmlformats.org/officeDocument/2006/relationships/notesSlide" Target="../notesSlides/notesSlide20.xml"/><Relationship Id="rId1" Type="http://schemas.openxmlformats.org/officeDocument/2006/relationships/slideLayout" Target="../slideLayouts/slideLayout85.xml"/><Relationship Id="rId4" Type="http://schemas.openxmlformats.org/officeDocument/2006/relationships/image" Target="../media/image275.png"/></Relationships>
</file>

<file path=ppt/slides/_rels/slide24.xml.rels><?xml version="1.0" encoding="UTF-8" standalone="yes"?>
<Relationships xmlns="http://schemas.openxmlformats.org/package/2006/relationships"><Relationship Id="rId3" Type="http://schemas.openxmlformats.org/officeDocument/2006/relationships/image" Target="../media/image274.jpeg"/><Relationship Id="rId2" Type="http://schemas.openxmlformats.org/officeDocument/2006/relationships/notesSlide" Target="../notesSlides/notesSlide21.xml"/><Relationship Id="rId1" Type="http://schemas.openxmlformats.org/officeDocument/2006/relationships/slideLayout" Target="../slideLayouts/slideLayout12.xml"/><Relationship Id="rId4" Type="http://schemas.openxmlformats.org/officeDocument/2006/relationships/image" Target="../media/image276.jpeg"/></Relationships>
</file>

<file path=ppt/slides/_rels/slide25.xml.rels><?xml version="1.0" encoding="UTF-8" standalone="yes"?>
<Relationships xmlns="http://schemas.openxmlformats.org/package/2006/relationships"><Relationship Id="rId3" Type="http://schemas.openxmlformats.org/officeDocument/2006/relationships/image" Target="../media/image277.jpeg"/><Relationship Id="rId2" Type="http://schemas.openxmlformats.org/officeDocument/2006/relationships/notesSlide" Target="../notesSlides/notesSlide22.xml"/><Relationship Id="rId1" Type="http://schemas.openxmlformats.org/officeDocument/2006/relationships/slideLayout" Target="../slideLayouts/slideLayout12.xml"/><Relationship Id="rId4" Type="http://schemas.openxmlformats.org/officeDocument/2006/relationships/image" Target="../media/image278.jpeg"/></Relationships>
</file>

<file path=ppt/slides/_rels/slide26.xml.rels><?xml version="1.0" encoding="UTF-8" standalone="yes"?>
<Relationships xmlns="http://schemas.openxmlformats.org/package/2006/relationships"><Relationship Id="rId3" Type="http://schemas.openxmlformats.org/officeDocument/2006/relationships/image" Target="../media/image279.png"/><Relationship Id="rId2" Type="http://schemas.openxmlformats.org/officeDocument/2006/relationships/notesSlide" Target="../notesSlides/notesSlide23.xml"/><Relationship Id="rId1" Type="http://schemas.openxmlformats.org/officeDocument/2006/relationships/slideLayout" Target="../slideLayouts/slideLayout85.xml"/></Relationships>
</file>

<file path=ppt/slides/_rels/slide27.xml.rels><?xml version="1.0" encoding="UTF-8" standalone="yes"?>
<Relationships xmlns="http://schemas.openxmlformats.org/package/2006/relationships"><Relationship Id="rId3" Type="http://schemas.openxmlformats.org/officeDocument/2006/relationships/image" Target="../media/image280.jpeg"/><Relationship Id="rId2" Type="http://schemas.openxmlformats.org/officeDocument/2006/relationships/notesSlide" Target="../notesSlides/notesSlide24.xml"/><Relationship Id="rId1" Type="http://schemas.openxmlformats.org/officeDocument/2006/relationships/slideLayout" Target="../slideLayouts/slideLayout12.xml"/><Relationship Id="rId4" Type="http://schemas.openxmlformats.org/officeDocument/2006/relationships/image" Target="../media/image281.jpeg"/></Relationships>
</file>

<file path=ppt/slides/_rels/slide28.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25.xml"/><Relationship Id="rId1" Type="http://schemas.openxmlformats.org/officeDocument/2006/relationships/slideLayout" Target="../slideLayouts/slideLayout22.xml"/><Relationship Id="rId6" Type="http://schemas.openxmlformats.org/officeDocument/2006/relationships/image" Target="../media/image269.jpeg"/><Relationship Id="rId5" Type="http://schemas.openxmlformats.org/officeDocument/2006/relationships/image" Target="../media/image268.jpeg"/><Relationship Id="rId4" Type="http://schemas.openxmlformats.org/officeDocument/2006/relationships/image" Target="../media/image267.jpeg"/></Relationships>
</file>

<file path=ppt/slides/_rels/slide29.xml.rels><?xml version="1.0" encoding="UTF-8" standalone="yes"?>
<Relationships xmlns="http://schemas.openxmlformats.org/package/2006/relationships"><Relationship Id="rId8" Type="http://schemas.openxmlformats.org/officeDocument/2006/relationships/image" Target="../media/image286.png"/><Relationship Id="rId13" Type="http://schemas.openxmlformats.org/officeDocument/2006/relationships/image" Target="../media/image291.png"/><Relationship Id="rId3" Type="http://schemas.openxmlformats.org/officeDocument/2006/relationships/notesSlide" Target="../notesSlides/notesSlide26.xml"/><Relationship Id="rId7" Type="http://schemas.openxmlformats.org/officeDocument/2006/relationships/image" Target="../media/image285.svg"/><Relationship Id="rId12" Type="http://schemas.openxmlformats.org/officeDocument/2006/relationships/image" Target="../media/image290.emf"/><Relationship Id="rId2" Type="http://schemas.openxmlformats.org/officeDocument/2006/relationships/slideLayout" Target="../slideLayouts/slideLayout12.xml"/><Relationship Id="rId16" Type="http://schemas.openxmlformats.org/officeDocument/2006/relationships/image" Target="../media/image294.svg"/><Relationship Id="rId1" Type="http://schemas.openxmlformats.org/officeDocument/2006/relationships/themeOverride" Target="../theme/themeOverride2.xml"/><Relationship Id="rId6" Type="http://schemas.openxmlformats.org/officeDocument/2006/relationships/image" Target="../media/image284.png"/><Relationship Id="rId11" Type="http://schemas.openxmlformats.org/officeDocument/2006/relationships/image" Target="../media/image289.svg"/><Relationship Id="rId5" Type="http://schemas.openxmlformats.org/officeDocument/2006/relationships/image" Target="../media/image283.svg"/><Relationship Id="rId15" Type="http://schemas.openxmlformats.org/officeDocument/2006/relationships/image" Target="../media/image293.png"/><Relationship Id="rId10" Type="http://schemas.openxmlformats.org/officeDocument/2006/relationships/image" Target="../media/image288.png"/><Relationship Id="rId4" Type="http://schemas.openxmlformats.org/officeDocument/2006/relationships/image" Target="../media/image282.png"/><Relationship Id="rId9" Type="http://schemas.openxmlformats.org/officeDocument/2006/relationships/image" Target="../media/image287.svg"/><Relationship Id="rId14" Type="http://schemas.openxmlformats.org/officeDocument/2006/relationships/image" Target="../media/image292.svg"/></Relationships>
</file>

<file path=ppt/slides/_rels/slide3.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18.png"/><Relationship Id="rId1" Type="http://schemas.openxmlformats.org/officeDocument/2006/relationships/slideLayout" Target="../slideLayouts/slideLayout206.xml"/><Relationship Id="rId5" Type="http://schemas.openxmlformats.org/officeDocument/2006/relationships/image" Target="../media/image121.svg"/><Relationship Id="rId4" Type="http://schemas.openxmlformats.org/officeDocument/2006/relationships/image" Target="../media/image120.png"/></Relationships>
</file>

<file path=ppt/slides/_rels/slide30.xml.rels><?xml version="1.0" encoding="UTF-8" standalone="yes"?>
<Relationships xmlns="http://schemas.openxmlformats.org/package/2006/relationships"><Relationship Id="rId8" Type="http://schemas.openxmlformats.org/officeDocument/2006/relationships/image" Target="../media/image282.png"/><Relationship Id="rId13" Type="http://schemas.openxmlformats.org/officeDocument/2006/relationships/image" Target="../media/image287.svg"/><Relationship Id="rId3" Type="http://schemas.openxmlformats.org/officeDocument/2006/relationships/notesSlide" Target="../notesSlides/notesSlide27.xml"/><Relationship Id="rId7" Type="http://schemas.openxmlformats.org/officeDocument/2006/relationships/image" Target="../media/image294.svg"/><Relationship Id="rId12" Type="http://schemas.openxmlformats.org/officeDocument/2006/relationships/image" Target="../media/image286.png"/><Relationship Id="rId2" Type="http://schemas.openxmlformats.org/officeDocument/2006/relationships/slideLayout" Target="../slideLayouts/slideLayout12.xml"/><Relationship Id="rId16" Type="http://schemas.openxmlformats.org/officeDocument/2006/relationships/image" Target="../media/image290.emf"/><Relationship Id="rId1" Type="http://schemas.openxmlformats.org/officeDocument/2006/relationships/themeOverride" Target="../theme/themeOverride3.xml"/><Relationship Id="rId6" Type="http://schemas.openxmlformats.org/officeDocument/2006/relationships/image" Target="../media/image293.png"/><Relationship Id="rId11" Type="http://schemas.openxmlformats.org/officeDocument/2006/relationships/image" Target="../media/image285.svg"/><Relationship Id="rId5" Type="http://schemas.openxmlformats.org/officeDocument/2006/relationships/image" Target="../media/image292.svg"/><Relationship Id="rId15" Type="http://schemas.openxmlformats.org/officeDocument/2006/relationships/image" Target="../media/image289.svg"/><Relationship Id="rId10" Type="http://schemas.openxmlformats.org/officeDocument/2006/relationships/image" Target="../media/image284.png"/><Relationship Id="rId4" Type="http://schemas.openxmlformats.org/officeDocument/2006/relationships/image" Target="../media/image291.png"/><Relationship Id="rId9" Type="http://schemas.openxmlformats.org/officeDocument/2006/relationships/image" Target="../media/image283.svg"/><Relationship Id="rId14" Type="http://schemas.openxmlformats.org/officeDocument/2006/relationships/image" Target="../media/image288.png"/></Relationships>
</file>

<file path=ppt/slides/_rels/slide31.xml.rels><?xml version="1.0" encoding="UTF-8" standalone="yes"?>
<Relationships xmlns="http://schemas.openxmlformats.org/package/2006/relationships"><Relationship Id="rId13" Type="http://schemas.openxmlformats.org/officeDocument/2006/relationships/image" Target="../media/image125.svg"/><Relationship Id="rId18" Type="http://schemas.openxmlformats.org/officeDocument/2006/relationships/image" Target="../media/image166.png"/><Relationship Id="rId26" Type="http://schemas.openxmlformats.org/officeDocument/2006/relationships/image" Target="../media/image174.png"/><Relationship Id="rId21" Type="http://schemas.openxmlformats.org/officeDocument/2006/relationships/image" Target="../media/image169.png"/><Relationship Id="rId34" Type="http://schemas.openxmlformats.org/officeDocument/2006/relationships/image" Target="../media/image181.svg"/><Relationship Id="rId7" Type="http://schemas.openxmlformats.org/officeDocument/2006/relationships/image" Target="../media/image159.svg"/><Relationship Id="rId12" Type="http://schemas.openxmlformats.org/officeDocument/2006/relationships/image" Target="../media/image124.png"/><Relationship Id="rId17" Type="http://schemas.openxmlformats.org/officeDocument/2006/relationships/image" Target="../media/image165.svg"/><Relationship Id="rId25" Type="http://schemas.openxmlformats.org/officeDocument/2006/relationships/image" Target="../media/image173.png"/><Relationship Id="rId33" Type="http://schemas.openxmlformats.org/officeDocument/2006/relationships/image" Target="../media/image180.png"/><Relationship Id="rId2" Type="http://schemas.openxmlformats.org/officeDocument/2006/relationships/notesSlide" Target="../notesSlides/notesSlide28.xml"/><Relationship Id="rId16" Type="http://schemas.openxmlformats.org/officeDocument/2006/relationships/image" Target="../media/image164.png"/><Relationship Id="rId20" Type="http://schemas.openxmlformats.org/officeDocument/2006/relationships/image" Target="../media/image168.png"/><Relationship Id="rId29" Type="http://schemas.openxmlformats.org/officeDocument/2006/relationships/image" Target="../media/image176.svg"/><Relationship Id="rId1" Type="http://schemas.openxmlformats.org/officeDocument/2006/relationships/slideLayout" Target="../slideLayouts/slideLayout194.xml"/><Relationship Id="rId6" Type="http://schemas.openxmlformats.org/officeDocument/2006/relationships/image" Target="../media/image129.png"/><Relationship Id="rId11" Type="http://schemas.openxmlformats.org/officeDocument/2006/relationships/image" Target="../media/image161.svg"/><Relationship Id="rId24" Type="http://schemas.openxmlformats.org/officeDocument/2006/relationships/image" Target="../media/image172.png"/><Relationship Id="rId32" Type="http://schemas.openxmlformats.org/officeDocument/2006/relationships/image" Target="../media/image179.png"/><Relationship Id="rId37" Type="http://schemas.openxmlformats.org/officeDocument/2006/relationships/image" Target="../media/image184.svg"/><Relationship Id="rId5" Type="http://schemas.openxmlformats.org/officeDocument/2006/relationships/image" Target="../media/image158.png"/><Relationship Id="rId15" Type="http://schemas.openxmlformats.org/officeDocument/2006/relationships/image" Target="../media/image163.svg"/><Relationship Id="rId23" Type="http://schemas.openxmlformats.org/officeDocument/2006/relationships/image" Target="../media/image171.png"/><Relationship Id="rId28" Type="http://schemas.openxmlformats.org/officeDocument/2006/relationships/image" Target="../media/image175.png"/><Relationship Id="rId36" Type="http://schemas.openxmlformats.org/officeDocument/2006/relationships/image" Target="../media/image183.png"/><Relationship Id="rId10" Type="http://schemas.openxmlformats.org/officeDocument/2006/relationships/image" Target="../media/image133.png"/><Relationship Id="rId19" Type="http://schemas.openxmlformats.org/officeDocument/2006/relationships/image" Target="../media/image167.png"/><Relationship Id="rId31" Type="http://schemas.openxmlformats.org/officeDocument/2006/relationships/image" Target="../media/image178.svg"/><Relationship Id="rId4" Type="http://schemas.openxmlformats.org/officeDocument/2006/relationships/image" Target="../media/image157.png"/><Relationship Id="rId9" Type="http://schemas.openxmlformats.org/officeDocument/2006/relationships/image" Target="../media/image160.svg"/><Relationship Id="rId14" Type="http://schemas.openxmlformats.org/officeDocument/2006/relationships/image" Target="../media/image162.png"/><Relationship Id="rId22" Type="http://schemas.openxmlformats.org/officeDocument/2006/relationships/image" Target="../media/image170.svg"/><Relationship Id="rId27" Type="http://schemas.microsoft.com/office/2007/relationships/hdphoto" Target="../media/hdphoto2.wdp"/><Relationship Id="rId30" Type="http://schemas.openxmlformats.org/officeDocument/2006/relationships/image" Target="../media/image177.png"/><Relationship Id="rId35" Type="http://schemas.openxmlformats.org/officeDocument/2006/relationships/image" Target="../media/image182.png"/><Relationship Id="rId8" Type="http://schemas.openxmlformats.org/officeDocument/2006/relationships/image" Target="../media/image131.png"/><Relationship Id="rId3" Type="http://schemas.openxmlformats.org/officeDocument/2006/relationships/image" Target="../media/image156.png"/></Relationships>
</file>

<file path=ppt/slides/_rels/slide32.xml.rels><?xml version="1.0" encoding="UTF-8" standalone="yes"?>
<Relationships xmlns="http://schemas.openxmlformats.org/package/2006/relationships"><Relationship Id="rId13" Type="http://schemas.openxmlformats.org/officeDocument/2006/relationships/image" Target="../media/image305.png"/><Relationship Id="rId18" Type="http://schemas.openxmlformats.org/officeDocument/2006/relationships/image" Target="../media/image310.png"/><Relationship Id="rId26" Type="http://schemas.openxmlformats.org/officeDocument/2006/relationships/image" Target="../media/image316.png"/><Relationship Id="rId39" Type="http://schemas.openxmlformats.org/officeDocument/2006/relationships/image" Target="../media/image329.png"/><Relationship Id="rId21" Type="http://schemas.openxmlformats.org/officeDocument/2006/relationships/image" Target="../media/image311.png"/><Relationship Id="rId34" Type="http://schemas.openxmlformats.org/officeDocument/2006/relationships/image" Target="../media/image324.png"/><Relationship Id="rId42" Type="http://schemas.openxmlformats.org/officeDocument/2006/relationships/image" Target="../media/image332.png"/><Relationship Id="rId7" Type="http://schemas.openxmlformats.org/officeDocument/2006/relationships/image" Target="../media/image299.svg"/><Relationship Id="rId2" Type="http://schemas.openxmlformats.org/officeDocument/2006/relationships/notesSlide" Target="../notesSlides/notesSlide29.xml"/><Relationship Id="rId16" Type="http://schemas.openxmlformats.org/officeDocument/2006/relationships/image" Target="../media/image308.png"/><Relationship Id="rId29" Type="http://schemas.openxmlformats.org/officeDocument/2006/relationships/image" Target="../media/image319.png"/><Relationship Id="rId1" Type="http://schemas.openxmlformats.org/officeDocument/2006/relationships/slideLayout" Target="../slideLayouts/slideLayout12.xml"/><Relationship Id="rId6" Type="http://schemas.openxmlformats.org/officeDocument/2006/relationships/image" Target="../media/image298.png"/><Relationship Id="rId11" Type="http://schemas.openxmlformats.org/officeDocument/2006/relationships/image" Target="../media/image303.png"/><Relationship Id="rId24" Type="http://schemas.openxmlformats.org/officeDocument/2006/relationships/image" Target="../media/image314.png"/><Relationship Id="rId32" Type="http://schemas.openxmlformats.org/officeDocument/2006/relationships/image" Target="../media/image322.png"/><Relationship Id="rId37" Type="http://schemas.openxmlformats.org/officeDocument/2006/relationships/image" Target="../media/image327.png"/><Relationship Id="rId40" Type="http://schemas.openxmlformats.org/officeDocument/2006/relationships/image" Target="../media/image330.png"/><Relationship Id="rId45" Type="http://schemas.openxmlformats.org/officeDocument/2006/relationships/image" Target="../media/image335.png"/><Relationship Id="rId5" Type="http://schemas.openxmlformats.org/officeDocument/2006/relationships/image" Target="../media/image297.svg"/><Relationship Id="rId15" Type="http://schemas.openxmlformats.org/officeDocument/2006/relationships/image" Target="../media/image307.png"/><Relationship Id="rId23" Type="http://schemas.openxmlformats.org/officeDocument/2006/relationships/image" Target="../media/image313.png"/><Relationship Id="rId28" Type="http://schemas.openxmlformats.org/officeDocument/2006/relationships/image" Target="../media/image318.png"/><Relationship Id="rId36" Type="http://schemas.openxmlformats.org/officeDocument/2006/relationships/image" Target="../media/image326.png"/><Relationship Id="rId10" Type="http://schemas.openxmlformats.org/officeDocument/2006/relationships/image" Target="../media/image302.png"/><Relationship Id="rId19" Type="http://schemas.openxmlformats.org/officeDocument/2006/relationships/image" Target="../media/image183.png"/><Relationship Id="rId31" Type="http://schemas.openxmlformats.org/officeDocument/2006/relationships/image" Target="../media/image321.png"/><Relationship Id="rId44" Type="http://schemas.openxmlformats.org/officeDocument/2006/relationships/image" Target="../media/image334.png"/><Relationship Id="rId4" Type="http://schemas.openxmlformats.org/officeDocument/2006/relationships/image" Target="../media/image296.png"/><Relationship Id="rId9" Type="http://schemas.openxmlformats.org/officeDocument/2006/relationships/image" Target="../media/image301.png"/><Relationship Id="rId14" Type="http://schemas.openxmlformats.org/officeDocument/2006/relationships/image" Target="../media/image306.png"/><Relationship Id="rId22" Type="http://schemas.openxmlformats.org/officeDocument/2006/relationships/image" Target="../media/image312.png"/><Relationship Id="rId27" Type="http://schemas.openxmlformats.org/officeDocument/2006/relationships/image" Target="../media/image317.png"/><Relationship Id="rId30" Type="http://schemas.openxmlformats.org/officeDocument/2006/relationships/image" Target="../media/image320.png"/><Relationship Id="rId35" Type="http://schemas.openxmlformats.org/officeDocument/2006/relationships/image" Target="../media/image325.png"/><Relationship Id="rId43" Type="http://schemas.openxmlformats.org/officeDocument/2006/relationships/image" Target="../media/image333.png"/><Relationship Id="rId8" Type="http://schemas.openxmlformats.org/officeDocument/2006/relationships/image" Target="../media/image300.jpeg"/><Relationship Id="rId3" Type="http://schemas.openxmlformats.org/officeDocument/2006/relationships/image" Target="../media/image295.png"/><Relationship Id="rId12" Type="http://schemas.openxmlformats.org/officeDocument/2006/relationships/image" Target="../media/image304.jpeg"/><Relationship Id="rId17" Type="http://schemas.openxmlformats.org/officeDocument/2006/relationships/image" Target="../media/image309.png"/><Relationship Id="rId25" Type="http://schemas.openxmlformats.org/officeDocument/2006/relationships/image" Target="../media/image315.png"/><Relationship Id="rId33" Type="http://schemas.openxmlformats.org/officeDocument/2006/relationships/image" Target="../media/image323.png"/><Relationship Id="rId38" Type="http://schemas.openxmlformats.org/officeDocument/2006/relationships/image" Target="../media/image328.png"/><Relationship Id="rId20" Type="http://schemas.openxmlformats.org/officeDocument/2006/relationships/image" Target="../media/image184.svg"/><Relationship Id="rId41" Type="http://schemas.openxmlformats.org/officeDocument/2006/relationships/image" Target="../media/image331.png"/></Relationships>
</file>

<file path=ppt/slides/_rels/slide33.xml.rels><?xml version="1.0" encoding="UTF-8" standalone="yes"?>
<Relationships xmlns="http://schemas.openxmlformats.org/package/2006/relationships"><Relationship Id="rId8" Type="http://schemas.openxmlformats.org/officeDocument/2006/relationships/image" Target="../media/image339.svg"/><Relationship Id="rId13" Type="http://schemas.openxmlformats.org/officeDocument/2006/relationships/image" Target="../media/image157.png"/><Relationship Id="rId3" Type="http://schemas.openxmlformats.org/officeDocument/2006/relationships/notesSlide" Target="../notesSlides/notesSlide30.xml"/><Relationship Id="rId7" Type="http://schemas.openxmlformats.org/officeDocument/2006/relationships/image" Target="../media/image338.png"/><Relationship Id="rId12" Type="http://schemas.openxmlformats.org/officeDocument/2006/relationships/image" Target="../media/image343.svg"/><Relationship Id="rId2" Type="http://schemas.openxmlformats.org/officeDocument/2006/relationships/slideLayout" Target="../slideLayouts/slideLayout78.xml"/><Relationship Id="rId1" Type="http://schemas.openxmlformats.org/officeDocument/2006/relationships/tags" Target="../tags/tag3.xml"/><Relationship Id="rId6" Type="http://schemas.openxmlformats.org/officeDocument/2006/relationships/image" Target="../media/image337.svg"/><Relationship Id="rId11" Type="http://schemas.openxmlformats.org/officeDocument/2006/relationships/image" Target="../media/image342.png"/><Relationship Id="rId5" Type="http://schemas.openxmlformats.org/officeDocument/2006/relationships/image" Target="../media/image336.png"/><Relationship Id="rId10" Type="http://schemas.openxmlformats.org/officeDocument/2006/relationships/image" Target="../media/image341.svg"/><Relationship Id="rId4" Type="http://schemas.openxmlformats.org/officeDocument/2006/relationships/image" Target="../media/image156.png"/><Relationship Id="rId9" Type="http://schemas.openxmlformats.org/officeDocument/2006/relationships/image" Target="../media/image340.png"/></Relationships>
</file>

<file path=ppt/slides/_rels/slide34.xml.rels><?xml version="1.0" encoding="UTF-8" standalone="yes"?>
<Relationships xmlns="http://schemas.openxmlformats.org/package/2006/relationships"><Relationship Id="rId3" Type="http://schemas.openxmlformats.org/officeDocument/2006/relationships/image" Target="../media/image344.png"/><Relationship Id="rId2" Type="http://schemas.openxmlformats.org/officeDocument/2006/relationships/notesSlide" Target="../notesSlides/notesSlide31.xml"/><Relationship Id="rId1" Type="http://schemas.openxmlformats.org/officeDocument/2006/relationships/slideLayout" Target="../slideLayouts/slideLayout2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9.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0.xml"/></Relationships>
</file>

<file path=ppt/slides/_rels/slide37.xml.rels><?xml version="1.0" encoding="UTF-8" standalone="yes"?>
<Relationships xmlns="http://schemas.openxmlformats.org/package/2006/relationships"><Relationship Id="rId3" Type="http://schemas.openxmlformats.org/officeDocument/2006/relationships/image" Target="../media/image345.png"/><Relationship Id="rId2" Type="http://schemas.openxmlformats.org/officeDocument/2006/relationships/notesSlide" Target="../notesSlides/notesSlide34.xml"/><Relationship Id="rId1" Type="http://schemas.openxmlformats.org/officeDocument/2006/relationships/slideLayout" Target="../slideLayouts/slideLayout61.xml"/><Relationship Id="rId5" Type="http://schemas.openxmlformats.org/officeDocument/2006/relationships/hyperlink" Target="https://aka.ms/M365CopilotCommunity" TargetMode="External"/><Relationship Id="rId4" Type="http://schemas.openxmlformats.org/officeDocument/2006/relationships/image" Target="../media/image346.png"/></Relationships>
</file>

<file path=ppt/slides/_rels/slide38.xml.rels><?xml version="1.0" encoding="UTF-8" standalone="yes"?>
<Relationships xmlns="http://schemas.openxmlformats.org/package/2006/relationships"><Relationship Id="rId2" Type="http://schemas.openxmlformats.org/officeDocument/2006/relationships/image" Target="../media/image347.png"/><Relationship Id="rId1" Type="http://schemas.openxmlformats.org/officeDocument/2006/relationships/slideLayout" Target="../slideLayouts/slideLayout62.xml"/></Relationships>
</file>

<file path=ppt/slides/_rels/slide39.xml.rels><?xml version="1.0" encoding="UTF-8" standalone="yes"?>
<Relationships xmlns="http://schemas.openxmlformats.org/package/2006/relationships"><Relationship Id="rId2" Type="http://schemas.openxmlformats.org/officeDocument/2006/relationships/image" Target="../media/image348.jpeg"/><Relationship Id="rId1" Type="http://schemas.openxmlformats.org/officeDocument/2006/relationships/slideLayout" Target="../slideLayouts/slideLayout266.xml"/></Relationships>
</file>

<file path=ppt/slides/_rels/slide4.xml.rels><?xml version="1.0" encoding="UTF-8" standalone="yes"?>
<Relationships xmlns="http://schemas.openxmlformats.org/package/2006/relationships"><Relationship Id="rId8" Type="http://schemas.openxmlformats.org/officeDocument/2006/relationships/image" Target="../media/image124.png"/><Relationship Id="rId3" Type="http://schemas.openxmlformats.org/officeDocument/2006/relationships/hyperlink" Target="https://cdn-dynmedia-1.microsoft.com/is/content/microsoftcorp/microsoft/final/microsoft-product-and-services/security/pdf/2024-State-of-Multicloud-Security-Risk-Report.pdf" TargetMode="External"/><Relationship Id="rId7" Type="http://schemas.openxmlformats.org/officeDocument/2006/relationships/image" Target="../media/image123.sv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image" Target="../media/image122.png"/><Relationship Id="rId11" Type="http://schemas.openxmlformats.org/officeDocument/2006/relationships/image" Target="../media/image127.svg"/><Relationship Id="rId5" Type="http://schemas.openxmlformats.org/officeDocument/2006/relationships/hyperlink" Target="https://techcommunity.microsoft.com/blog/microsoft-entra-blog/insights-from-the-secure-employee-access-report-reveal-the-need-for-unified-acce/2520425" TargetMode="External"/><Relationship Id="rId10" Type="http://schemas.openxmlformats.org/officeDocument/2006/relationships/image" Target="../media/image126.png"/><Relationship Id="rId4" Type="http://schemas.openxmlformats.org/officeDocument/2006/relationships/hyperlink" Target="https://techcommunity.microsoft.com/t5/microsoft-entra-blog/how-to-break-the-token-theft-cyber-attack-chain/ba-p/4062700" TargetMode="External"/><Relationship Id="rId9" Type="http://schemas.openxmlformats.org/officeDocument/2006/relationships/image" Target="../media/image125.sv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5.xml.rels><?xml version="1.0" encoding="UTF-8" standalone="yes"?>
<Relationships xmlns="http://schemas.openxmlformats.org/package/2006/relationships"><Relationship Id="rId8" Type="http://schemas.openxmlformats.org/officeDocument/2006/relationships/image" Target="../media/image133.png"/><Relationship Id="rId13" Type="http://schemas.openxmlformats.org/officeDocument/2006/relationships/image" Target="../media/image137.svg"/><Relationship Id="rId18" Type="http://schemas.openxmlformats.org/officeDocument/2006/relationships/image" Target="../media/image142.png"/><Relationship Id="rId3" Type="http://schemas.openxmlformats.org/officeDocument/2006/relationships/image" Target="../media/image128.png"/><Relationship Id="rId21" Type="http://schemas.openxmlformats.org/officeDocument/2006/relationships/image" Target="../media/image145.svg"/><Relationship Id="rId7" Type="http://schemas.openxmlformats.org/officeDocument/2006/relationships/image" Target="../media/image132.svg"/><Relationship Id="rId12" Type="http://schemas.openxmlformats.org/officeDocument/2006/relationships/image" Target="../media/image136.png"/><Relationship Id="rId17" Type="http://schemas.openxmlformats.org/officeDocument/2006/relationships/image" Target="../media/image141.svg"/><Relationship Id="rId2" Type="http://schemas.openxmlformats.org/officeDocument/2006/relationships/notesSlide" Target="../notesSlides/notesSlide2.xml"/><Relationship Id="rId16" Type="http://schemas.openxmlformats.org/officeDocument/2006/relationships/image" Target="../media/image140.png"/><Relationship Id="rId20" Type="http://schemas.openxmlformats.org/officeDocument/2006/relationships/image" Target="../media/image144.png"/><Relationship Id="rId1" Type="http://schemas.openxmlformats.org/officeDocument/2006/relationships/slideLayout" Target="../slideLayouts/slideLayout4.xml"/><Relationship Id="rId6" Type="http://schemas.openxmlformats.org/officeDocument/2006/relationships/image" Target="../media/image131.png"/><Relationship Id="rId11" Type="http://schemas.openxmlformats.org/officeDocument/2006/relationships/image" Target="../media/image135.svg"/><Relationship Id="rId5" Type="http://schemas.openxmlformats.org/officeDocument/2006/relationships/image" Target="../media/image130.svg"/><Relationship Id="rId15" Type="http://schemas.openxmlformats.org/officeDocument/2006/relationships/image" Target="../media/image139.svg"/><Relationship Id="rId23" Type="http://schemas.openxmlformats.org/officeDocument/2006/relationships/image" Target="../media/image147.svg"/><Relationship Id="rId10" Type="http://schemas.openxmlformats.org/officeDocument/2006/relationships/image" Target="../media/image124.png"/><Relationship Id="rId19" Type="http://schemas.openxmlformats.org/officeDocument/2006/relationships/image" Target="../media/image143.svg"/><Relationship Id="rId4" Type="http://schemas.openxmlformats.org/officeDocument/2006/relationships/image" Target="../media/image129.png"/><Relationship Id="rId9" Type="http://schemas.openxmlformats.org/officeDocument/2006/relationships/image" Target="../media/image134.svg"/><Relationship Id="rId14" Type="http://schemas.openxmlformats.org/officeDocument/2006/relationships/image" Target="../media/image138.png"/><Relationship Id="rId22" Type="http://schemas.openxmlformats.org/officeDocument/2006/relationships/image" Target="../media/image146.png"/></Relationships>
</file>

<file path=ppt/slides/_rels/slide6.xml.rels><?xml version="1.0" encoding="UTF-8" standalone="yes"?>
<Relationships xmlns="http://schemas.openxmlformats.org/package/2006/relationships"><Relationship Id="rId8" Type="http://schemas.openxmlformats.org/officeDocument/2006/relationships/image" Target="../media/image153.svg"/><Relationship Id="rId13" Type="http://schemas.openxmlformats.org/officeDocument/2006/relationships/image" Target="../media/image131.png"/><Relationship Id="rId18" Type="http://schemas.openxmlformats.org/officeDocument/2006/relationships/image" Target="../media/image135.svg"/><Relationship Id="rId3" Type="http://schemas.openxmlformats.org/officeDocument/2006/relationships/image" Target="../media/image148.png"/><Relationship Id="rId21" Type="http://schemas.openxmlformats.org/officeDocument/2006/relationships/image" Target="../media/image138.png"/><Relationship Id="rId7" Type="http://schemas.openxmlformats.org/officeDocument/2006/relationships/image" Target="../media/image152.png"/><Relationship Id="rId12" Type="http://schemas.openxmlformats.org/officeDocument/2006/relationships/image" Target="../media/image130.svg"/><Relationship Id="rId17" Type="http://schemas.openxmlformats.org/officeDocument/2006/relationships/image" Target="../media/image124.png"/><Relationship Id="rId2" Type="http://schemas.openxmlformats.org/officeDocument/2006/relationships/notesSlide" Target="../notesSlides/notesSlide3.xml"/><Relationship Id="rId16" Type="http://schemas.openxmlformats.org/officeDocument/2006/relationships/image" Target="../media/image134.svg"/><Relationship Id="rId20" Type="http://schemas.openxmlformats.org/officeDocument/2006/relationships/image" Target="../media/image137.svg"/><Relationship Id="rId1" Type="http://schemas.openxmlformats.org/officeDocument/2006/relationships/slideLayout" Target="../slideLayouts/slideLayout12.xml"/><Relationship Id="rId6" Type="http://schemas.openxmlformats.org/officeDocument/2006/relationships/image" Target="../media/image151.svg"/><Relationship Id="rId11" Type="http://schemas.openxmlformats.org/officeDocument/2006/relationships/image" Target="../media/image129.png"/><Relationship Id="rId24" Type="http://schemas.openxmlformats.org/officeDocument/2006/relationships/image" Target="../media/image145.svg"/><Relationship Id="rId5" Type="http://schemas.openxmlformats.org/officeDocument/2006/relationships/image" Target="../media/image150.png"/><Relationship Id="rId15" Type="http://schemas.openxmlformats.org/officeDocument/2006/relationships/image" Target="../media/image133.png"/><Relationship Id="rId23" Type="http://schemas.openxmlformats.org/officeDocument/2006/relationships/image" Target="../media/image144.png"/><Relationship Id="rId10" Type="http://schemas.openxmlformats.org/officeDocument/2006/relationships/image" Target="../media/image155.svg"/><Relationship Id="rId19" Type="http://schemas.openxmlformats.org/officeDocument/2006/relationships/image" Target="../media/image136.png"/><Relationship Id="rId4" Type="http://schemas.openxmlformats.org/officeDocument/2006/relationships/image" Target="../media/image149.svg"/><Relationship Id="rId9" Type="http://schemas.openxmlformats.org/officeDocument/2006/relationships/image" Target="../media/image154.png"/><Relationship Id="rId14" Type="http://schemas.openxmlformats.org/officeDocument/2006/relationships/image" Target="../media/image132.svg"/><Relationship Id="rId22" Type="http://schemas.openxmlformats.org/officeDocument/2006/relationships/image" Target="../media/image139.svg"/></Relationships>
</file>

<file path=ppt/slides/_rels/slide7.xml.rels><?xml version="1.0" encoding="UTF-8" standalone="yes"?>
<Relationships xmlns="http://schemas.openxmlformats.org/package/2006/relationships"><Relationship Id="rId13" Type="http://schemas.openxmlformats.org/officeDocument/2006/relationships/image" Target="../media/image125.svg"/><Relationship Id="rId18" Type="http://schemas.openxmlformats.org/officeDocument/2006/relationships/image" Target="../media/image166.png"/><Relationship Id="rId26" Type="http://schemas.openxmlformats.org/officeDocument/2006/relationships/image" Target="../media/image174.png"/><Relationship Id="rId21" Type="http://schemas.openxmlformats.org/officeDocument/2006/relationships/image" Target="../media/image169.png"/><Relationship Id="rId34" Type="http://schemas.openxmlformats.org/officeDocument/2006/relationships/image" Target="../media/image181.svg"/><Relationship Id="rId7" Type="http://schemas.openxmlformats.org/officeDocument/2006/relationships/image" Target="../media/image159.svg"/><Relationship Id="rId12" Type="http://schemas.openxmlformats.org/officeDocument/2006/relationships/image" Target="../media/image124.png"/><Relationship Id="rId17" Type="http://schemas.openxmlformats.org/officeDocument/2006/relationships/image" Target="../media/image165.svg"/><Relationship Id="rId25" Type="http://schemas.openxmlformats.org/officeDocument/2006/relationships/image" Target="../media/image173.png"/><Relationship Id="rId33" Type="http://schemas.openxmlformats.org/officeDocument/2006/relationships/image" Target="../media/image180.png"/><Relationship Id="rId2" Type="http://schemas.openxmlformats.org/officeDocument/2006/relationships/notesSlide" Target="../notesSlides/notesSlide4.xml"/><Relationship Id="rId16" Type="http://schemas.openxmlformats.org/officeDocument/2006/relationships/image" Target="../media/image164.png"/><Relationship Id="rId20" Type="http://schemas.openxmlformats.org/officeDocument/2006/relationships/image" Target="../media/image168.png"/><Relationship Id="rId29" Type="http://schemas.openxmlformats.org/officeDocument/2006/relationships/image" Target="../media/image176.svg"/><Relationship Id="rId1" Type="http://schemas.openxmlformats.org/officeDocument/2006/relationships/slideLayout" Target="../slideLayouts/slideLayout80.xml"/><Relationship Id="rId6" Type="http://schemas.openxmlformats.org/officeDocument/2006/relationships/image" Target="../media/image129.png"/><Relationship Id="rId11" Type="http://schemas.openxmlformats.org/officeDocument/2006/relationships/image" Target="../media/image161.svg"/><Relationship Id="rId24" Type="http://schemas.openxmlformats.org/officeDocument/2006/relationships/image" Target="../media/image172.png"/><Relationship Id="rId32" Type="http://schemas.openxmlformats.org/officeDocument/2006/relationships/image" Target="../media/image179.png"/><Relationship Id="rId37" Type="http://schemas.openxmlformats.org/officeDocument/2006/relationships/image" Target="../media/image184.svg"/><Relationship Id="rId5" Type="http://schemas.openxmlformats.org/officeDocument/2006/relationships/image" Target="../media/image158.png"/><Relationship Id="rId15" Type="http://schemas.openxmlformats.org/officeDocument/2006/relationships/image" Target="../media/image163.svg"/><Relationship Id="rId23" Type="http://schemas.openxmlformats.org/officeDocument/2006/relationships/image" Target="../media/image171.png"/><Relationship Id="rId28" Type="http://schemas.openxmlformats.org/officeDocument/2006/relationships/image" Target="../media/image175.png"/><Relationship Id="rId36" Type="http://schemas.openxmlformats.org/officeDocument/2006/relationships/image" Target="../media/image183.png"/><Relationship Id="rId10" Type="http://schemas.openxmlformats.org/officeDocument/2006/relationships/image" Target="../media/image133.png"/><Relationship Id="rId19" Type="http://schemas.openxmlformats.org/officeDocument/2006/relationships/image" Target="../media/image167.png"/><Relationship Id="rId31" Type="http://schemas.openxmlformats.org/officeDocument/2006/relationships/image" Target="../media/image178.svg"/><Relationship Id="rId4" Type="http://schemas.openxmlformats.org/officeDocument/2006/relationships/image" Target="../media/image157.png"/><Relationship Id="rId9" Type="http://schemas.openxmlformats.org/officeDocument/2006/relationships/image" Target="../media/image160.svg"/><Relationship Id="rId14" Type="http://schemas.openxmlformats.org/officeDocument/2006/relationships/image" Target="../media/image162.png"/><Relationship Id="rId22" Type="http://schemas.openxmlformats.org/officeDocument/2006/relationships/image" Target="../media/image170.svg"/><Relationship Id="rId27" Type="http://schemas.microsoft.com/office/2007/relationships/hdphoto" Target="../media/hdphoto2.wdp"/><Relationship Id="rId30" Type="http://schemas.openxmlformats.org/officeDocument/2006/relationships/image" Target="../media/image177.png"/><Relationship Id="rId35" Type="http://schemas.openxmlformats.org/officeDocument/2006/relationships/image" Target="../media/image182.png"/><Relationship Id="rId8" Type="http://schemas.openxmlformats.org/officeDocument/2006/relationships/image" Target="../media/image131.png"/><Relationship Id="rId3" Type="http://schemas.openxmlformats.org/officeDocument/2006/relationships/image" Target="../media/image156.png"/></Relationships>
</file>

<file path=ppt/slides/_rels/slide8.xml.rels><?xml version="1.0" encoding="UTF-8" standalone="yes"?>
<Relationships xmlns="http://schemas.openxmlformats.org/package/2006/relationships"><Relationship Id="rId8" Type="http://schemas.openxmlformats.org/officeDocument/2006/relationships/image" Target="../media/image187.png"/><Relationship Id="rId3" Type="http://schemas.openxmlformats.org/officeDocument/2006/relationships/image" Target="../media/image156.png"/><Relationship Id="rId7" Type="http://schemas.openxmlformats.org/officeDocument/2006/relationships/image" Target="../media/image186.svg"/><Relationship Id="rId2" Type="http://schemas.openxmlformats.org/officeDocument/2006/relationships/notesSlide" Target="../notesSlides/notesSlide5.xml"/><Relationship Id="rId1" Type="http://schemas.openxmlformats.org/officeDocument/2006/relationships/slideLayout" Target="../slideLayouts/slideLayout80.xml"/><Relationship Id="rId6" Type="http://schemas.openxmlformats.org/officeDocument/2006/relationships/image" Target="../media/image185.png"/><Relationship Id="rId11" Type="http://schemas.openxmlformats.org/officeDocument/2006/relationships/image" Target="../media/image190.svg"/><Relationship Id="rId5" Type="http://schemas.openxmlformats.org/officeDocument/2006/relationships/image" Target="../media/image158.png"/><Relationship Id="rId10" Type="http://schemas.openxmlformats.org/officeDocument/2006/relationships/image" Target="../media/image189.png"/><Relationship Id="rId4" Type="http://schemas.openxmlformats.org/officeDocument/2006/relationships/image" Target="../media/image157.png"/><Relationship Id="rId9" Type="http://schemas.openxmlformats.org/officeDocument/2006/relationships/image" Target="../media/image188.svg"/></Relationships>
</file>

<file path=ppt/slides/_rels/slide9.xml.rels><?xml version="1.0" encoding="UTF-8" standalone="yes"?>
<Relationships xmlns="http://schemas.openxmlformats.org/package/2006/relationships"><Relationship Id="rId13" Type="http://schemas.openxmlformats.org/officeDocument/2006/relationships/image" Target="../media/image131.png"/><Relationship Id="rId18" Type="http://schemas.openxmlformats.org/officeDocument/2006/relationships/image" Target="../media/image125.svg"/><Relationship Id="rId26" Type="http://schemas.openxmlformats.org/officeDocument/2006/relationships/image" Target="../media/image171.png"/><Relationship Id="rId3" Type="http://schemas.openxmlformats.org/officeDocument/2006/relationships/notesSlide" Target="../notesSlides/notesSlide6.xml"/><Relationship Id="rId21" Type="http://schemas.openxmlformats.org/officeDocument/2006/relationships/image" Target="../media/image170.svg"/><Relationship Id="rId7" Type="http://schemas.openxmlformats.org/officeDocument/2006/relationships/image" Target="../media/image193.png"/><Relationship Id="rId12" Type="http://schemas.openxmlformats.org/officeDocument/2006/relationships/image" Target="../media/image159.svg"/><Relationship Id="rId17" Type="http://schemas.openxmlformats.org/officeDocument/2006/relationships/image" Target="../media/image124.png"/><Relationship Id="rId25" Type="http://schemas.openxmlformats.org/officeDocument/2006/relationships/image" Target="../media/image165.svg"/><Relationship Id="rId33" Type="http://schemas.openxmlformats.org/officeDocument/2006/relationships/image" Target="../media/image157.png"/><Relationship Id="rId2" Type="http://schemas.openxmlformats.org/officeDocument/2006/relationships/slideLayout" Target="../slideLayouts/slideLayout80.xml"/><Relationship Id="rId16" Type="http://schemas.openxmlformats.org/officeDocument/2006/relationships/image" Target="../media/image161.svg"/><Relationship Id="rId20" Type="http://schemas.openxmlformats.org/officeDocument/2006/relationships/image" Target="../media/image169.png"/><Relationship Id="rId29" Type="http://schemas.openxmlformats.org/officeDocument/2006/relationships/image" Target="../media/image174.png"/><Relationship Id="rId1" Type="http://schemas.openxmlformats.org/officeDocument/2006/relationships/tags" Target="../tags/tag1.xml"/><Relationship Id="rId6" Type="http://schemas.openxmlformats.org/officeDocument/2006/relationships/image" Target="../media/image192.svg"/><Relationship Id="rId11" Type="http://schemas.openxmlformats.org/officeDocument/2006/relationships/image" Target="../media/image129.png"/><Relationship Id="rId24" Type="http://schemas.openxmlformats.org/officeDocument/2006/relationships/image" Target="../media/image164.png"/><Relationship Id="rId32" Type="http://schemas.openxmlformats.org/officeDocument/2006/relationships/image" Target="../media/image198.svg"/><Relationship Id="rId5" Type="http://schemas.openxmlformats.org/officeDocument/2006/relationships/image" Target="../media/image191.png"/><Relationship Id="rId15" Type="http://schemas.openxmlformats.org/officeDocument/2006/relationships/image" Target="../media/image133.png"/><Relationship Id="rId23" Type="http://schemas.openxmlformats.org/officeDocument/2006/relationships/image" Target="../media/image163.svg"/><Relationship Id="rId28" Type="http://schemas.openxmlformats.org/officeDocument/2006/relationships/image" Target="../media/image173.png"/><Relationship Id="rId10" Type="http://schemas.openxmlformats.org/officeDocument/2006/relationships/image" Target="../media/image196.svg"/><Relationship Id="rId19" Type="http://schemas.openxmlformats.org/officeDocument/2006/relationships/image" Target="../media/image166.png"/><Relationship Id="rId31" Type="http://schemas.openxmlformats.org/officeDocument/2006/relationships/image" Target="../media/image197.png"/><Relationship Id="rId4" Type="http://schemas.openxmlformats.org/officeDocument/2006/relationships/image" Target="../media/image156.png"/><Relationship Id="rId9" Type="http://schemas.openxmlformats.org/officeDocument/2006/relationships/image" Target="../media/image195.png"/><Relationship Id="rId14" Type="http://schemas.openxmlformats.org/officeDocument/2006/relationships/image" Target="../media/image160.svg"/><Relationship Id="rId22" Type="http://schemas.openxmlformats.org/officeDocument/2006/relationships/image" Target="../media/image162.png"/><Relationship Id="rId27" Type="http://schemas.openxmlformats.org/officeDocument/2006/relationships/image" Target="../media/image172.png"/><Relationship Id="rId30" Type="http://schemas.microsoft.com/office/2007/relationships/hdphoto" Target="../media/hdphoto2.wdp"/><Relationship Id="rId8" Type="http://schemas.openxmlformats.org/officeDocument/2006/relationships/image" Target="../media/image194.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F029D6A-C075-7EF0-C6A2-07BC853E1898}"/>
              </a:ext>
            </a:extLst>
          </p:cNvPr>
          <p:cNvSpPr>
            <a:spLocks noGrp="1"/>
          </p:cNvSpPr>
          <p:nvPr>
            <p:ph type="title"/>
          </p:nvPr>
        </p:nvSpPr>
        <p:spPr>
          <a:xfrm>
            <a:off x="758596" y="3199191"/>
            <a:ext cx="8885133" cy="1218795"/>
          </a:xfrm>
        </p:spPr>
        <p:txBody>
          <a:bodyPr/>
          <a:lstStyle/>
          <a:p>
            <a:r>
              <a:rPr lang="en-US" sz="4400" dirty="0"/>
              <a:t>Secure access for your workforce </a:t>
            </a:r>
            <a:br>
              <a:rPr lang="en-US" sz="4400" dirty="0"/>
            </a:br>
            <a:r>
              <a:rPr lang="en-US" sz="4400" dirty="0"/>
              <a:t>with Microsoft Entra Suite</a:t>
            </a:r>
          </a:p>
        </p:txBody>
      </p:sp>
      <p:sp>
        <p:nvSpPr>
          <p:cNvPr id="5" name="Text Placeholder 4">
            <a:extLst>
              <a:ext uri="{FF2B5EF4-FFF2-40B4-BE49-F238E27FC236}">
                <a16:creationId xmlns:a16="http://schemas.microsoft.com/office/drawing/2014/main" id="{E81FB83F-23AF-E3BF-5547-9AFA8D46EA53}"/>
              </a:ext>
            </a:extLst>
          </p:cNvPr>
          <p:cNvSpPr>
            <a:spLocks noGrp="1"/>
          </p:cNvSpPr>
          <p:nvPr>
            <p:ph type="body" sz="quarter" idx="12"/>
          </p:nvPr>
        </p:nvSpPr>
        <p:spPr/>
        <p:txBody>
          <a:bodyPr/>
          <a:lstStyle/>
          <a:p>
            <a:r>
              <a:rPr lang="en-US" dirty="0"/>
              <a:t>Irina Nechaeva, General Manager Microsoft Entra</a:t>
            </a:r>
          </a:p>
        </p:txBody>
      </p:sp>
      <p:sp>
        <p:nvSpPr>
          <p:cNvPr id="6" name="Text Placeholder 5">
            <a:extLst>
              <a:ext uri="{FF2B5EF4-FFF2-40B4-BE49-F238E27FC236}">
                <a16:creationId xmlns:a16="http://schemas.microsoft.com/office/drawing/2014/main" id="{B8D03424-982A-49AB-59D0-BF6E84BFE0D5}"/>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662025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4565D95-59EB-8C77-A447-5ACC09CCF648}"/>
              </a:ext>
            </a:extLst>
          </p:cNvPr>
          <p:cNvPicPr>
            <a:picLocks noChangeAspect="1"/>
          </p:cNvPicPr>
          <p:nvPr/>
        </p:nvPicPr>
        <p:blipFill>
          <a:blip r:embed="rId4"/>
          <a:stretch>
            <a:fillRect/>
          </a:stretch>
        </p:blipFill>
        <p:spPr>
          <a:xfrm>
            <a:off x="-19750" y="-14095"/>
            <a:ext cx="12211749" cy="6872095"/>
          </a:xfrm>
          <a:prstGeom prst="rect">
            <a:avLst/>
          </a:prstGeom>
        </p:spPr>
      </p:pic>
      <p:sp>
        <p:nvSpPr>
          <p:cNvPr id="2" name="Rectangle 1">
            <a:extLst>
              <a:ext uri="{FF2B5EF4-FFF2-40B4-BE49-F238E27FC236}">
                <a16:creationId xmlns:a16="http://schemas.microsoft.com/office/drawing/2014/main" id="{6BF3B6A6-ECD8-0132-1FC3-0D260F03D209}"/>
              </a:ext>
            </a:extLst>
          </p:cNvPr>
          <p:cNvSpPr/>
          <p:nvPr/>
        </p:nvSpPr>
        <p:spPr>
          <a:xfrm>
            <a:off x="0" y="0"/>
            <a:ext cx="12192000" cy="6858000"/>
          </a:xfrm>
          <a:prstGeom prst="rect">
            <a:avLst/>
          </a:prstGeom>
          <a:solidFill>
            <a:schemeClr val="bg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Rounded Corners 130">
            <a:extLst>
              <a:ext uri="{FF2B5EF4-FFF2-40B4-BE49-F238E27FC236}">
                <a16:creationId xmlns:a16="http://schemas.microsoft.com/office/drawing/2014/main" id="{5642E09B-6253-1C88-D5A3-83CC44C4E08A}"/>
              </a:ext>
              <a:ext uri="{C183D7F6-B498-43B3-948B-1728B52AA6E4}">
                <adec:decorative xmlns:adec="http://schemas.microsoft.com/office/drawing/2017/decorative" val="0"/>
              </a:ext>
            </a:extLst>
          </p:cNvPr>
          <p:cNvSpPr txBox="1">
            <a:spLocks noGrp="1"/>
          </p:cNvSpPr>
          <p:nvPr>
            <p:ph type="title"/>
          </p:nvPr>
        </p:nvSpPr>
        <p:spPr bwMode="auto">
          <a:xfrm>
            <a:off x="588263" y="457200"/>
            <a:ext cx="11018520" cy="553998"/>
          </a:xfr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ctr" defTabSz="932742">
              <a:lnSpc>
                <a:spcPct val="100000"/>
              </a:lnSpc>
              <a:spcBef>
                <a:spcPct val="0"/>
              </a:spcBef>
              <a:buNone/>
              <a:defRPr lang="en-US" sz="3200" b="0" cap="none" spc="-50" baseline="0">
                <a:ln w="3175">
                  <a:noFill/>
                </a:ln>
                <a:gradFill>
                  <a:gsLst>
                    <a:gs pos="2917">
                      <a:srgbClr val="282828"/>
                    </a:gs>
                    <a:gs pos="100000">
                      <a:srgbClr val="282828"/>
                    </a:gs>
                  </a:gsLst>
                  <a:lin ang="5400000" scaled="0"/>
                </a:gradFill>
                <a:effectLst/>
                <a:latin typeface="+mj-lt"/>
                <a:cs typeface="Segoe UI" pitchFamily="34" charset="0"/>
              </a:defRPr>
            </a:lvl1pPr>
          </a:lstStyle>
          <a:p>
            <a:pPr lvl="0"/>
            <a:r>
              <a:rPr lang="en-US"/>
              <a:t>Converge Zero Trust access policy </a:t>
            </a:r>
            <a:br>
              <a:rPr lang="en-US"/>
            </a:br>
            <a:r>
              <a:rPr lang="en-US"/>
              <a:t>for identity and network</a:t>
            </a:r>
          </a:p>
        </p:txBody>
      </p:sp>
      <p:grpSp>
        <p:nvGrpSpPr>
          <p:cNvPr id="174" name="Group 173">
            <a:extLst>
              <a:ext uri="{FF2B5EF4-FFF2-40B4-BE49-F238E27FC236}">
                <a16:creationId xmlns:a16="http://schemas.microsoft.com/office/drawing/2014/main" id="{95294208-5734-37A0-AD78-1CDE6C4DAF80}"/>
              </a:ext>
              <a:ext uri="{C183D7F6-B498-43B3-948B-1728B52AA6E4}">
                <adec:decorative xmlns:adec="http://schemas.microsoft.com/office/drawing/2017/decorative" val="1"/>
              </a:ext>
            </a:extLst>
          </p:cNvPr>
          <p:cNvGrpSpPr/>
          <p:nvPr/>
        </p:nvGrpSpPr>
        <p:grpSpPr>
          <a:xfrm>
            <a:off x="4386263" y="2088135"/>
            <a:ext cx="3419474" cy="3419474"/>
            <a:chOff x="4386263" y="2088135"/>
            <a:chExt cx="3419474" cy="3419474"/>
          </a:xfrm>
        </p:grpSpPr>
        <p:grpSp>
          <p:nvGrpSpPr>
            <p:cNvPr id="175" name="!!Least privilege Circle">
              <a:extLst>
                <a:ext uri="{FF2B5EF4-FFF2-40B4-BE49-F238E27FC236}">
                  <a16:creationId xmlns:a16="http://schemas.microsoft.com/office/drawing/2014/main" id="{C83B3F78-B354-B65F-9D72-986C8D846EAB}"/>
                </a:ext>
              </a:extLst>
            </p:cNvPr>
            <p:cNvGrpSpPr/>
            <p:nvPr/>
          </p:nvGrpSpPr>
          <p:grpSpPr>
            <a:xfrm>
              <a:off x="5806145" y="3508017"/>
              <a:ext cx="579710" cy="579710"/>
              <a:chOff x="5063209" y="2230228"/>
              <a:chExt cx="2065582" cy="2065584"/>
            </a:xfrm>
          </p:grpSpPr>
          <p:sp>
            <p:nvSpPr>
              <p:cNvPr id="218" name="Oval 217">
                <a:extLst>
                  <a:ext uri="{FF2B5EF4-FFF2-40B4-BE49-F238E27FC236}">
                    <a16:creationId xmlns:a16="http://schemas.microsoft.com/office/drawing/2014/main" id="{B3B2E4C2-BB42-AF0F-AE3A-ED78773DC7F9}"/>
                  </a:ext>
                </a:extLst>
              </p:cNvPr>
              <p:cNvSpPr>
                <a:spLocks noChangeAspect="1"/>
              </p:cNvSpPr>
              <p:nvPr/>
            </p:nvSpPr>
            <p:spPr bwMode="auto">
              <a:xfrm>
                <a:off x="5063209" y="2230228"/>
                <a:ext cx="2065582" cy="2065584"/>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w="1270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7200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19" name="BackToWindow_E73F">
                <a:extLst>
                  <a:ext uri="{FF2B5EF4-FFF2-40B4-BE49-F238E27FC236}">
                    <a16:creationId xmlns:a16="http://schemas.microsoft.com/office/drawing/2014/main" id="{0A193734-89D7-BCE7-296D-EA2787A31503}"/>
                  </a:ext>
                </a:extLst>
              </p:cNvPr>
              <p:cNvSpPr>
                <a:spLocks noChangeAspect="1" noEditPoints="1"/>
              </p:cNvSpPr>
              <p:nvPr/>
            </p:nvSpPr>
            <p:spPr bwMode="auto">
              <a:xfrm>
                <a:off x="5593140" y="2759920"/>
                <a:ext cx="1005721" cy="1006201"/>
              </a:xfrm>
              <a:custGeom>
                <a:avLst/>
                <a:gdLst>
                  <a:gd name="T0" fmla="*/ 449 w 4211"/>
                  <a:gd name="T1" fmla="*/ 2521 h 4213"/>
                  <a:gd name="T2" fmla="*/ 1691 w 4211"/>
                  <a:gd name="T3" fmla="*/ 2521 h 4213"/>
                  <a:gd name="T4" fmla="*/ 1691 w 4211"/>
                  <a:gd name="T5" fmla="*/ 3764 h 4213"/>
                  <a:gd name="T6" fmla="*/ 1691 w 4211"/>
                  <a:gd name="T7" fmla="*/ 2521 h 4213"/>
                  <a:gd name="T8" fmla="*/ 0 w 4211"/>
                  <a:gd name="T9" fmla="*/ 4213 h 4213"/>
                  <a:gd name="T10" fmla="*/ 2520 w 4211"/>
                  <a:gd name="T11" fmla="*/ 449 h 4213"/>
                  <a:gd name="T12" fmla="*/ 2520 w 4211"/>
                  <a:gd name="T13" fmla="*/ 1692 h 4213"/>
                  <a:gd name="T14" fmla="*/ 3762 w 4211"/>
                  <a:gd name="T15" fmla="*/ 1692 h 4213"/>
                  <a:gd name="T16" fmla="*/ 4211 w 4211"/>
                  <a:gd name="T17" fmla="*/ 0 h 4213"/>
                  <a:gd name="T18" fmla="*/ 2520 w 4211"/>
                  <a:gd name="T19" fmla="*/ 1692 h 4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11" h="4213">
                    <a:moveTo>
                      <a:pt x="449" y="2521"/>
                    </a:moveTo>
                    <a:lnTo>
                      <a:pt x="1691" y="2521"/>
                    </a:lnTo>
                    <a:lnTo>
                      <a:pt x="1691" y="3764"/>
                    </a:lnTo>
                    <a:moveTo>
                      <a:pt x="1691" y="2521"/>
                    </a:moveTo>
                    <a:lnTo>
                      <a:pt x="0" y="4213"/>
                    </a:lnTo>
                    <a:moveTo>
                      <a:pt x="2520" y="449"/>
                    </a:moveTo>
                    <a:lnTo>
                      <a:pt x="2520" y="1692"/>
                    </a:lnTo>
                    <a:lnTo>
                      <a:pt x="3762" y="1692"/>
                    </a:lnTo>
                    <a:moveTo>
                      <a:pt x="4211" y="0"/>
                    </a:moveTo>
                    <a:lnTo>
                      <a:pt x="2520" y="1692"/>
                    </a:lnTo>
                  </a:path>
                </a:pathLst>
              </a:cu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grpSp>
        <p:grpSp>
          <p:nvGrpSpPr>
            <p:cNvPr id="176" name="!!Assume breach Circle">
              <a:extLst>
                <a:ext uri="{FF2B5EF4-FFF2-40B4-BE49-F238E27FC236}">
                  <a16:creationId xmlns:a16="http://schemas.microsoft.com/office/drawing/2014/main" id="{FFB45D92-42D2-E3F6-DCEF-9BC140D614B8}"/>
                </a:ext>
              </a:extLst>
            </p:cNvPr>
            <p:cNvGrpSpPr/>
            <p:nvPr/>
          </p:nvGrpSpPr>
          <p:grpSpPr>
            <a:xfrm>
              <a:off x="5806145" y="3508017"/>
              <a:ext cx="579710" cy="579710"/>
              <a:chOff x="8679467" y="2230228"/>
              <a:chExt cx="2065582" cy="2065584"/>
            </a:xfrm>
          </p:grpSpPr>
          <p:sp>
            <p:nvSpPr>
              <p:cNvPr id="210" name="Oval 209">
                <a:extLst>
                  <a:ext uri="{FF2B5EF4-FFF2-40B4-BE49-F238E27FC236}">
                    <a16:creationId xmlns:a16="http://schemas.microsoft.com/office/drawing/2014/main" id="{27CA81BD-4768-5A2B-5E8B-495B2500DBB7}"/>
                  </a:ext>
                </a:extLst>
              </p:cNvPr>
              <p:cNvSpPr>
                <a:spLocks noChangeAspect="1"/>
              </p:cNvSpPr>
              <p:nvPr/>
            </p:nvSpPr>
            <p:spPr bwMode="auto">
              <a:xfrm>
                <a:off x="8679467" y="2230228"/>
                <a:ext cx="2065582" cy="2065584"/>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w="1270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7200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11" name="Group 210">
                <a:extLst>
                  <a:ext uri="{FF2B5EF4-FFF2-40B4-BE49-F238E27FC236}">
                    <a16:creationId xmlns:a16="http://schemas.microsoft.com/office/drawing/2014/main" id="{F176AFE1-9C7B-B74F-0173-1DBABD339FCD}"/>
                  </a:ext>
                </a:extLst>
              </p:cNvPr>
              <p:cNvGrpSpPr/>
              <p:nvPr/>
            </p:nvGrpSpPr>
            <p:grpSpPr>
              <a:xfrm>
                <a:off x="9245756" y="2728426"/>
                <a:ext cx="932949" cy="1069214"/>
                <a:chOff x="9918920" y="2389597"/>
                <a:chExt cx="723698" cy="829395"/>
              </a:xfrm>
            </p:grpSpPr>
            <p:sp>
              <p:nvSpPr>
                <p:cNvPr id="212" name="Oval 211">
                  <a:extLst>
                    <a:ext uri="{FF2B5EF4-FFF2-40B4-BE49-F238E27FC236}">
                      <a16:creationId xmlns:a16="http://schemas.microsoft.com/office/drawing/2014/main" id="{043A9199-8486-3F31-334E-3AA71C6BA143}"/>
                    </a:ext>
                  </a:extLst>
                </p:cNvPr>
                <p:cNvSpPr/>
                <p:nvPr/>
              </p:nvSpPr>
              <p:spPr bwMode="auto">
                <a:xfrm>
                  <a:off x="9918920" y="2389597"/>
                  <a:ext cx="189478" cy="189478"/>
                </a:xfrm>
                <a:prstGeom prst="ellipse">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213" name="Straight Connector 212">
                  <a:extLst>
                    <a:ext uri="{FF2B5EF4-FFF2-40B4-BE49-F238E27FC236}">
                      <a16:creationId xmlns:a16="http://schemas.microsoft.com/office/drawing/2014/main" id="{1D7CCE06-0AC9-0376-437D-5022BD4F66D1}"/>
                    </a:ext>
                  </a:extLst>
                </p:cNvPr>
                <p:cNvCxnSpPr>
                  <a:cxnSpLocks/>
                </p:cNvCxnSpPr>
                <p:nvPr/>
              </p:nvCxnSpPr>
              <p:spPr>
                <a:xfrm>
                  <a:off x="10165375" y="2742990"/>
                  <a:ext cx="224200" cy="0"/>
                </a:xfrm>
                <a:prstGeom prst="line">
                  <a:avLst/>
                </a:pr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14" name="Connector: Elbow 213">
                  <a:extLst>
                    <a:ext uri="{FF2B5EF4-FFF2-40B4-BE49-F238E27FC236}">
                      <a16:creationId xmlns:a16="http://schemas.microsoft.com/office/drawing/2014/main" id="{7FC91913-EB70-AE02-344F-211D1DB3EC00}"/>
                    </a:ext>
                  </a:extLst>
                </p:cNvPr>
                <p:cNvCxnSpPr>
                  <a:cxnSpLocks/>
                  <a:stCxn id="212" idx="6"/>
                </p:cNvCxnSpPr>
                <p:nvPr/>
              </p:nvCxnSpPr>
              <p:spPr>
                <a:xfrm>
                  <a:off x="10108398" y="2484336"/>
                  <a:ext cx="181777" cy="258654"/>
                </a:xfrm>
                <a:prstGeom prst="bentConnector2">
                  <a:avLst/>
                </a:pr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15" name="Straight Connector 214">
                  <a:extLst>
                    <a:ext uri="{FF2B5EF4-FFF2-40B4-BE49-F238E27FC236}">
                      <a16:creationId xmlns:a16="http://schemas.microsoft.com/office/drawing/2014/main" id="{E35D941B-F219-74A7-0CC2-7376367C8008}"/>
                    </a:ext>
                  </a:extLst>
                </p:cNvPr>
                <p:cNvCxnSpPr>
                  <a:cxnSpLocks/>
                </p:cNvCxnSpPr>
                <p:nvPr/>
              </p:nvCxnSpPr>
              <p:spPr>
                <a:xfrm>
                  <a:off x="10165375" y="2854115"/>
                  <a:ext cx="224200" cy="0"/>
                </a:xfrm>
                <a:prstGeom prst="line">
                  <a:avLst/>
                </a:pr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216" name="Oval 215">
                  <a:extLst>
                    <a:ext uri="{FF2B5EF4-FFF2-40B4-BE49-F238E27FC236}">
                      <a16:creationId xmlns:a16="http://schemas.microsoft.com/office/drawing/2014/main" id="{97327FF7-9A11-5E7D-EB86-A74607D34C2E}"/>
                    </a:ext>
                  </a:extLst>
                </p:cNvPr>
                <p:cNvSpPr/>
                <p:nvPr/>
              </p:nvSpPr>
              <p:spPr bwMode="auto">
                <a:xfrm>
                  <a:off x="10453140" y="3029514"/>
                  <a:ext cx="189478" cy="189478"/>
                </a:xfrm>
                <a:prstGeom prst="ellipse">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217" name="Connector: Elbow 216">
                  <a:extLst>
                    <a:ext uri="{FF2B5EF4-FFF2-40B4-BE49-F238E27FC236}">
                      <a16:creationId xmlns:a16="http://schemas.microsoft.com/office/drawing/2014/main" id="{F72DEB73-2BF6-E08B-F132-2FCB67816A34}"/>
                    </a:ext>
                  </a:extLst>
                </p:cNvPr>
                <p:cNvCxnSpPr>
                  <a:cxnSpLocks/>
                </p:cNvCxnSpPr>
                <p:nvPr/>
              </p:nvCxnSpPr>
              <p:spPr>
                <a:xfrm flipH="1" flipV="1">
                  <a:off x="10285573" y="2867538"/>
                  <a:ext cx="181777" cy="258654"/>
                </a:xfrm>
                <a:prstGeom prst="bentConnector2">
                  <a:avLst/>
                </a:pr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grpSp>
          <p:nvGrpSpPr>
            <p:cNvPr id="177" name="!!Verify Explicitly Circle">
              <a:extLst>
                <a:ext uri="{FF2B5EF4-FFF2-40B4-BE49-F238E27FC236}">
                  <a16:creationId xmlns:a16="http://schemas.microsoft.com/office/drawing/2014/main" id="{74883AAF-465D-E10B-A540-50A28D20DC5E}"/>
                </a:ext>
              </a:extLst>
            </p:cNvPr>
            <p:cNvGrpSpPr/>
            <p:nvPr/>
          </p:nvGrpSpPr>
          <p:grpSpPr>
            <a:xfrm>
              <a:off x="5806145" y="3508017"/>
              <a:ext cx="579710" cy="579710"/>
              <a:chOff x="1446951" y="2230228"/>
              <a:chExt cx="2065582" cy="2065584"/>
            </a:xfrm>
          </p:grpSpPr>
          <p:sp>
            <p:nvSpPr>
              <p:cNvPr id="199" name="Oval 198">
                <a:extLst>
                  <a:ext uri="{FF2B5EF4-FFF2-40B4-BE49-F238E27FC236}">
                    <a16:creationId xmlns:a16="http://schemas.microsoft.com/office/drawing/2014/main" id="{0C9DE7D6-F8EE-EB96-F702-2F790B250ABD}"/>
                  </a:ext>
                </a:extLst>
              </p:cNvPr>
              <p:cNvSpPr>
                <a:spLocks noChangeAspect="1"/>
              </p:cNvSpPr>
              <p:nvPr/>
            </p:nvSpPr>
            <p:spPr bwMode="auto">
              <a:xfrm>
                <a:off x="1446951" y="2230228"/>
                <a:ext cx="2065582" cy="2065584"/>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w="1270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7200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00" name="Group 199">
                <a:extLst>
                  <a:ext uri="{FF2B5EF4-FFF2-40B4-BE49-F238E27FC236}">
                    <a16:creationId xmlns:a16="http://schemas.microsoft.com/office/drawing/2014/main" id="{B1748133-1296-20D6-99E8-533BE1242E4C}"/>
                  </a:ext>
                </a:extLst>
              </p:cNvPr>
              <p:cNvGrpSpPr/>
              <p:nvPr/>
            </p:nvGrpSpPr>
            <p:grpSpPr>
              <a:xfrm>
                <a:off x="2159702" y="2840110"/>
                <a:ext cx="640080" cy="845820"/>
                <a:chOff x="2549429" y="2377440"/>
                <a:chExt cx="640080" cy="845820"/>
              </a:xfrm>
            </p:grpSpPr>
            <p:sp>
              <p:nvSpPr>
                <p:cNvPr id="201" name="Rectangle 200">
                  <a:extLst>
                    <a:ext uri="{FF2B5EF4-FFF2-40B4-BE49-F238E27FC236}">
                      <a16:creationId xmlns:a16="http://schemas.microsoft.com/office/drawing/2014/main" id="{0E71B454-7046-ED0F-19AD-A957F5B65004}"/>
                    </a:ext>
                  </a:extLst>
                </p:cNvPr>
                <p:cNvSpPr/>
                <p:nvPr/>
              </p:nvSpPr>
              <p:spPr bwMode="auto">
                <a:xfrm>
                  <a:off x="2549429" y="2377440"/>
                  <a:ext cx="640080" cy="845820"/>
                </a:xfrm>
                <a:prstGeom prst="rect">
                  <a:avLst/>
                </a:pr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202" name="Straight Connector 201">
                  <a:extLst>
                    <a:ext uri="{FF2B5EF4-FFF2-40B4-BE49-F238E27FC236}">
                      <a16:creationId xmlns:a16="http://schemas.microsoft.com/office/drawing/2014/main" id="{0F06AC0E-FBDC-0951-8C28-25DBFEFF4C65}"/>
                    </a:ext>
                  </a:extLst>
                </p:cNvPr>
                <p:cNvCxnSpPr>
                  <a:cxnSpLocks/>
                </p:cNvCxnSpPr>
                <p:nvPr/>
              </p:nvCxnSpPr>
              <p:spPr>
                <a:xfrm>
                  <a:off x="2872740" y="2529840"/>
                  <a:ext cx="205740" cy="0"/>
                </a:xfrm>
                <a:prstGeom prst="line">
                  <a:avLst/>
                </a:pr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03" name="Straight Connector 202">
                  <a:extLst>
                    <a:ext uri="{FF2B5EF4-FFF2-40B4-BE49-F238E27FC236}">
                      <a16:creationId xmlns:a16="http://schemas.microsoft.com/office/drawing/2014/main" id="{CA4EDB52-05EB-0861-A01F-03FDF89109C4}"/>
                    </a:ext>
                  </a:extLst>
                </p:cNvPr>
                <p:cNvCxnSpPr>
                  <a:cxnSpLocks/>
                </p:cNvCxnSpPr>
                <p:nvPr/>
              </p:nvCxnSpPr>
              <p:spPr>
                <a:xfrm>
                  <a:off x="2872740" y="2712720"/>
                  <a:ext cx="205740" cy="0"/>
                </a:xfrm>
                <a:prstGeom prst="line">
                  <a:avLst/>
                </a:pr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04" name="Straight Connector 203">
                  <a:extLst>
                    <a:ext uri="{FF2B5EF4-FFF2-40B4-BE49-F238E27FC236}">
                      <a16:creationId xmlns:a16="http://schemas.microsoft.com/office/drawing/2014/main" id="{07D4764F-E0B3-E6FB-651F-02EB4690FDC4}"/>
                    </a:ext>
                  </a:extLst>
                </p:cNvPr>
                <p:cNvCxnSpPr>
                  <a:cxnSpLocks/>
                </p:cNvCxnSpPr>
                <p:nvPr/>
              </p:nvCxnSpPr>
              <p:spPr>
                <a:xfrm>
                  <a:off x="2872740" y="2895600"/>
                  <a:ext cx="205740" cy="0"/>
                </a:xfrm>
                <a:prstGeom prst="line">
                  <a:avLst/>
                </a:pr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05" name="Straight Connector 204">
                  <a:extLst>
                    <a:ext uri="{FF2B5EF4-FFF2-40B4-BE49-F238E27FC236}">
                      <a16:creationId xmlns:a16="http://schemas.microsoft.com/office/drawing/2014/main" id="{A2C29189-FA8A-2E6F-F458-05B0D8C84F69}"/>
                    </a:ext>
                  </a:extLst>
                </p:cNvPr>
                <p:cNvCxnSpPr>
                  <a:cxnSpLocks/>
                </p:cNvCxnSpPr>
                <p:nvPr/>
              </p:nvCxnSpPr>
              <p:spPr>
                <a:xfrm>
                  <a:off x="2872740" y="3078480"/>
                  <a:ext cx="205740" cy="0"/>
                </a:xfrm>
                <a:prstGeom prst="line">
                  <a:avLst/>
                </a:pr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206" name="check">
                  <a:extLst>
                    <a:ext uri="{FF2B5EF4-FFF2-40B4-BE49-F238E27FC236}">
                      <a16:creationId xmlns:a16="http://schemas.microsoft.com/office/drawing/2014/main" id="{A27DB863-C17D-780D-20D9-6E1F56BE5436}"/>
                    </a:ext>
                  </a:extLst>
                </p:cNvPr>
                <p:cNvSpPr>
                  <a:spLocks noChangeAspect="1"/>
                </p:cNvSpPr>
                <p:nvPr/>
              </p:nvSpPr>
              <p:spPr bwMode="auto">
                <a:xfrm>
                  <a:off x="2650030" y="2486728"/>
                  <a:ext cx="122109" cy="86223"/>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07" name="check">
                  <a:extLst>
                    <a:ext uri="{FF2B5EF4-FFF2-40B4-BE49-F238E27FC236}">
                      <a16:creationId xmlns:a16="http://schemas.microsoft.com/office/drawing/2014/main" id="{A02CD8EA-14A9-86EB-8035-70B43063EDE0}"/>
                    </a:ext>
                  </a:extLst>
                </p:cNvPr>
                <p:cNvSpPr>
                  <a:spLocks noChangeAspect="1"/>
                </p:cNvSpPr>
                <p:nvPr/>
              </p:nvSpPr>
              <p:spPr bwMode="auto">
                <a:xfrm>
                  <a:off x="2650030" y="2661035"/>
                  <a:ext cx="122109" cy="86223"/>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08" name="check">
                  <a:extLst>
                    <a:ext uri="{FF2B5EF4-FFF2-40B4-BE49-F238E27FC236}">
                      <a16:creationId xmlns:a16="http://schemas.microsoft.com/office/drawing/2014/main" id="{E82FEA2D-EB44-AAF7-7DD8-A79E3B486841}"/>
                    </a:ext>
                  </a:extLst>
                </p:cNvPr>
                <p:cNvSpPr>
                  <a:spLocks noChangeAspect="1"/>
                </p:cNvSpPr>
                <p:nvPr/>
              </p:nvSpPr>
              <p:spPr bwMode="auto">
                <a:xfrm>
                  <a:off x="2650030" y="2835342"/>
                  <a:ext cx="122109" cy="86223"/>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09" name="check">
                  <a:extLst>
                    <a:ext uri="{FF2B5EF4-FFF2-40B4-BE49-F238E27FC236}">
                      <a16:creationId xmlns:a16="http://schemas.microsoft.com/office/drawing/2014/main" id="{0A3C4E46-9255-3BBB-1870-A468857B4D6A}"/>
                    </a:ext>
                  </a:extLst>
                </p:cNvPr>
                <p:cNvSpPr>
                  <a:spLocks noChangeAspect="1"/>
                </p:cNvSpPr>
                <p:nvPr/>
              </p:nvSpPr>
              <p:spPr bwMode="auto">
                <a:xfrm>
                  <a:off x="2650030" y="3009649"/>
                  <a:ext cx="122109" cy="86223"/>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178" name="Group 177">
              <a:extLst>
                <a:ext uri="{FF2B5EF4-FFF2-40B4-BE49-F238E27FC236}">
                  <a16:creationId xmlns:a16="http://schemas.microsoft.com/office/drawing/2014/main" id="{A8CACC82-6B22-5322-2085-8404F6E81269}"/>
                </a:ext>
              </a:extLst>
            </p:cNvPr>
            <p:cNvGrpSpPr/>
            <p:nvPr/>
          </p:nvGrpSpPr>
          <p:grpSpPr>
            <a:xfrm>
              <a:off x="4386263" y="2088135"/>
              <a:ext cx="3419474" cy="3419474"/>
              <a:chOff x="4386263" y="2088135"/>
              <a:chExt cx="3419474" cy="3419474"/>
            </a:xfrm>
          </p:grpSpPr>
          <p:sp>
            <p:nvSpPr>
              <p:cNvPr id="196" name="Oval 195">
                <a:extLst>
                  <a:ext uri="{FF2B5EF4-FFF2-40B4-BE49-F238E27FC236}">
                    <a16:creationId xmlns:a16="http://schemas.microsoft.com/office/drawing/2014/main" id="{0422C330-2C02-FE79-5B4E-F45779257651}"/>
                  </a:ext>
                </a:extLst>
              </p:cNvPr>
              <p:cNvSpPr>
                <a:spLocks noChangeAspect="1"/>
              </p:cNvSpPr>
              <p:nvPr/>
            </p:nvSpPr>
            <p:spPr bwMode="auto">
              <a:xfrm>
                <a:off x="4386263" y="2088135"/>
                <a:ext cx="3419474" cy="3419474"/>
              </a:xfrm>
              <a:prstGeom prst="ellipse">
                <a:avLst/>
              </a:prstGeom>
              <a:gradFill flip="none" rotWithShape="1">
                <a:gsLst>
                  <a:gs pos="32000">
                    <a:srgbClr val="A5B8EE">
                      <a:alpha val="50000"/>
                    </a:srgbClr>
                  </a:gs>
                  <a:gs pos="0">
                    <a:schemeClr val="bg1"/>
                  </a:gs>
                  <a:gs pos="100000">
                    <a:srgbClr val="599FFD">
                      <a:alpha val="80000"/>
                    </a:srgbClr>
                  </a:gs>
                </a:gsLst>
                <a:path path="circle">
                  <a:fillToRect l="100000" t="100000"/>
                </a:path>
                <a:tileRect r="-100000" b="-100000"/>
              </a:gradFill>
              <a:ln w="9525" cap="flat" cmpd="sng" algn="ctr">
                <a:noFill/>
                <a:prstDash val="solid"/>
                <a:headEnd type="none" w="med" len="med"/>
                <a:tailEnd type="none" w="med" len="med"/>
              </a:ln>
              <a:effectLst>
                <a:innerShdw blurRad="114300" dist="63500" dir="13500000">
                  <a:schemeClr val="bg1">
                    <a:alpha val="45000"/>
                  </a:schemeClr>
                </a:inn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Sans Display"/>
                  <a:ea typeface="+mn-ea"/>
                  <a:cs typeface="Segoe UI" pitchFamily="34" charset="0"/>
                </a:endParaRPr>
              </a:p>
            </p:txBody>
          </p:sp>
          <p:sp>
            <p:nvSpPr>
              <p:cNvPr id="197" name="TextBox 196">
                <a:extLst>
                  <a:ext uri="{FF2B5EF4-FFF2-40B4-BE49-F238E27FC236}">
                    <a16:creationId xmlns:a16="http://schemas.microsoft.com/office/drawing/2014/main" id="{23F11EBF-6C5E-943E-7C6E-42E177EDC445}"/>
                  </a:ext>
                </a:extLst>
              </p:cNvPr>
              <p:cNvSpPr txBox="1">
                <a:spLocks/>
              </p:cNvSpPr>
              <p:nvPr/>
            </p:nvSpPr>
            <p:spPr>
              <a:xfrm>
                <a:off x="4648201" y="2344539"/>
                <a:ext cx="2895598" cy="3141884"/>
              </a:xfrm>
              <a:prstGeom prst="rect">
                <a:avLst/>
              </a:prstGeom>
              <a:noFill/>
            </p:spPr>
            <p:txBody>
              <a:bodyPr spcFirstLastPara="1" wrap="square" numCol="1">
                <a:prstTxWarp prst="textArchUp">
                  <a:avLst/>
                </a:prstTxWarp>
                <a:spAutoFit/>
              </a:bodyPr>
              <a:lstStyle>
                <a:defPPr>
                  <a:defRPr lang="en-US"/>
                </a:defPPr>
                <a:lvl1pPr marR="0" lvl="0" indent="0" algn="ctr" defTabSz="914367" fontAlgn="auto">
                  <a:lnSpc>
                    <a:spcPct val="100000"/>
                  </a:lnSpc>
                  <a:spcBef>
                    <a:spcPts val="0"/>
                  </a:spcBef>
                  <a:spcAft>
                    <a:spcPts val="0"/>
                  </a:spcAft>
                  <a:buClrTx/>
                  <a:buSzTx/>
                  <a:buFontTx/>
                  <a:buNone/>
                  <a:tabLst/>
                  <a:defRPr kumimoji="0" sz="2300" b="0" i="1" u="none" strike="noStrike" cap="none" spc="0" normalizeH="0" baseline="0">
                    <a:ln>
                      <a:noFill/>
                    </a:ln>
                    <a:solidFill>
                      <a:srgbClr val="000000"/>
                    </a:solidFill>
                    <a:effectLst/>
                    <a:uLnTx/>
                    <a:uFillTx/>
                    <a:latin typeface="Segoe UI"/>
                  </a:defRPr>
                </a:lvl1pPr>
              </a:lstStyle>
              <a:p>
                <a:pPr marL="0" marR="0" lvl="0" indent="0" algn="ctr" defTabSz="922530" rtl="0" eaLnBrk="1" fontAlgn="auto" latinLnBrk="0" hangingPunct="1">
                  <a:lnSpc>
                    <a:spcPct val="100000"/>
                  </a:lnSpc>
                  <a:spcBef>
                    <a:spcPts val="0"/>
                  </a:spcBef>
                  <a:spcAft>
                    <a:spcPts val="606"/>
                  </a:spcAft>
                  <a:buClrTx/>
                  <a:buSzTx/>
                  <a:buFontTx/>
                  <a:buNone/>
                  <a:tabLst/>
                  <a:defRPr/>
                </a:pPr>
                <a:r>
                  <a:rPr kumimoji="0" lang="en-US" sz="1400" b="0" i="0" u="none" strike="noStrike" kern="1200" cap="none" spc="-20" normalizeH="0" baseline="0" noProof="0">
                    <a:ln>
                      <a:noFill/>
                    </a:ln>
                    <a:solidFill>
                      <a:srgbClr val="000000"/>
                    </a:solidFill>
                    <a:effectLst/>
                    <a:uLnTx/>
                    <a:uFillTx/>
                    <a:latin typeface="Segoe Sans Display Semibold"/>
                    <a:ea typeface="+mn-ea"/>
                    <a:cs typeface="+mn-cs"/>
                  </a:rPr>
                  <a:t>Continuous risk assessment and automation</a:t>
                </a:r>
              </a:p>
            </p:txBody>
          </p:sp>
          <p:sp>
            <p:nvSpPr>
              <p:cNvPr id="198" name="Rectangle 197">
                <a:extLst>
                  <a:ext uri="{FF2B5EF4-FFF2-40B4-BE49-F238E27FC236}">
                    <a16:creationId xmlns:a16="http://schemas.microsoft.com/office/drawing/2014/main" id="{58A86FDA-13C9-324D-A1ED-06B8E5D1C5AD}"/>
                  </a:ext>
                </a:extLst>
              </p:cNvPr>
              <p:cNvSpPr>
                <a:spLocks noChangeAspect="1"/>
              </p:cNvSpPr>
              <p:nvPr/>
            </p:nvSpPr>
            <p:spPr>
              <a:xfrm>
                <a:off x="4572000" y="2492357"/>
                <a:ext cx="3048000" cy="2872389"/>
              </a:xfrm>
              <a:prstGeom prst="rect">
                <a:avLst/>
              </a:prstGeom>
              <a:noFill/>
            </p:spPr>
            <p:txBody>
              <a:bodyPr spcFirstLastPara="1" wrap="square" numCol="1">
                <a:prstTxWarp prst="textArchDown">
                  <a:avLst>
                    <a:gd name="adj" fmla="val 862028"/>
                  </a:avLst>
                </a:prstTxWarp>
                <a:spAutoFit/>
              </a:bodyPr>
              <a:lstStyle/>
              <a:p>
                <a:pPr marL="0" marR="0" lvl="0" indent="0" algn="ctr" defTabSz="922530" rtl="0" eaLnBrk="1" fontAlgn="auto" latinLnBrk="0" hangingPunct="1">
                  <a:lnSpc>
                    <a:spcPct val="100000"/>
                  </a:lnSpc>
                  <a:spcBef>
                    <a:spcPts val="0"/>
                  </a:spcBef>
                  <a:spcAft>
                    <a:spcPts val="606"/>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Display Semibold"/>
                    <a:ea typeface="+mn-ea"/>
                    <a:cs typeface="+mn-cs"/>
                  </a:rPr>
                  <a:t>Threat intelligence and telemetry</a:t>
                </a:r>
              </a:p>
            </p:txBody>
          </p:sp>
        </p:grpSp>
        <p:sp>
          <p:nvSpPr>
            <p:cNvPr id="179" name="Oval 178">
              <a:extLst>
                <a:ext uri="{FF2B5EF4-FFF2-40B4-BE49-F238E27FC236}">
                  <a16:creationId xmlns:a16="http://schemas.microsoft.com/office/drawing/2014/main" id="{3EDD0EB9-C575-08EA-FAC7-991E8EFE14AD}"/>
                </a:ext>
              </a:extLst>
            </p:cNvPr>
            <p:cNvSpPr>
              <a:spLocks noChangeAspect="1"/>
            </p:cNvSpPr>
            <p:nvPr/>
          </p:nvSpPr>
          <p:spPr bwMode="auto">
            <a:xfrm>
              <a:off x="4815840" y="2517712"/>
              <a:ext cx="2560320" cy="2560320"/>
            </a:xfrm>
            <a:prstGeom prst="ellipse">
              <a:avLst/>
            </a:prstGeom>
            <a:solidFill>
              <a:schemeClr val="bg1"/>
            </a:solidFill>
            <a:ln w="9525" cap="flat" cmpd="sng" algn="ctr">
              <a:noFill/>
              <a:prstDash val="solid"/>
              <a:headEnd type="none" w="med" len="med"/>
              <a:tailEnd type="none" w="med" len="med"/>
            </a:ln>
            <a:effectLst>
              <a:outerShdw blurRad="254000" dist="190500" dir="3300000" algn="ctr" rotWithShape="0">
                <a:srgbClr val="000000">
                  <a:alpha val="40000"/>
                </a:srgbClr>
              </a:outerShdw>
            </a:effectLst>
          </p:spPr>
          <p:txBody>
            <a:bodyPr rot="0" spcFirstLastPara="0" vertOverflow="overflow" horzOverflow="overflow" vert="horz" wrap="square" lIns="137160" tIns="91440" rIns="137160" bIns="137160" numCol="1" spcCol="0" rtlCol="0" fromWordArt="0" anchor="t" anchorCtr="0" forceAA="0" compatLnSpc="1">
              <a:prstTxWarp prst="textNoShape">
                <a:avLst/>
              </a:prstTxWarp>
              <a:noAutofit/>
            </a:bodyPr>
            <a:lstStyle/>
            <a:p>
              <a:pPr marL="0" marR="0" lvl="0" indent="0" algn="l" defTabSz="932754" rtl="0" eaLnBrk="1" fontAlgn="auto" latinLnBrk="0" hangingPunct="1">
                <a:lnSpc>
                  <a:spcPct val="100000"/>
                </a:lnSpc>
                <a:spcBef>
                  <a:spcPts val="0"/>
                </a:spcBef>
                <a:spcAft>
                  <a:spcPts val="600"/>
                </a:spcAft>
                <a:buClrTx/>
                <a:buSzPct val="90000"/>
                <a:buFontTx/>
                <a:buNone/>
                <a:tabLst/>
                <a:defRPr/>
              </a:pPr>
              <a:endParaRPr kumimoji="0" lang="en-US" sz="1400" b="0" i="0" u="none" strike="noStrike" kern="0" cap="none" spc="0" normalizeH="0" baseline="0" noProof="0">
                <a:ln>
                  <a:noFill/>
                </a:ln>
                <a:gradFill>
                  <a:gsLst>
                    <a:gs pos="0">
                      <a:srgbClr val="091F2C"/>
                    </a:gs>
                    <a:gs pos="100000">
                      <a:srgbClr val="091F2C"/>
                    </a:gs>
                  </a:gsLst>
                  <a:lin ang="0" scaled="0"/>
                </a:gradFill>
                <a:effectLst/>
                <a:uLnTx/>
                <a:uFillTx/>
                <a:latin typeface="Segoe Sans Display"/>
                <a:ea typeface="+mn-ea"/>
                <a:cs typeface="Segoe Sans Display Semilight" pitchFamily="2" charset="0"/>
              </a:endParaRPr>
            </a:p>
          </p:txBody>
        </p:sp>
        <p:sp>
          <p:nvSpPr>
            <p:cNvPr id="180" name="Oval 179">
              <a:extLst>
                <a:ext uri="{FF2B5EF4-FFF2-40B4-BE49-F238E27FC236}">
                  <a16:creationId xmlns:a16="http://schemas.microsoft.com/office/drawing/2014/main" id="{FE802A80-6AF0-2E93-2E97-3727B663B41B}"/>
                </a:ext>
              </a:extLst>
            </p:cNvPr>
            <p:cNvSpPr>
              <a:spLocks noChangeAspect="1"/>
            </p:cNvSpPr>
            <p:nvPr/>
          </p:nvSpPr>
          <p:spPr bwMode="auto">
            <a:xfrm>
              <a:off x="4815840" y="2517712"/>
              <a:ext cx="2560320" cy="2560320"/>
            </a:xfrm>
            <a:prstGeom prst="ellipse">
              <a:avLst/>
            </a:prstGeom>
            <a:gradFill>
              <a:gsLst>
                <a:gs pos="66000">
                  <a:srgbClr val="A5B8EE">
                    <a:alpha val="50000"/>
                  </a:srgbClr>
                </a:gs>
                <a:gs pos="6000">
                  <a:srgbClr val="FADC14">
                    <a:alpha val="48000"/>
                  </a:srgbClr>
                </a:gs>
                <a:gs pos="100000">
                  <a:srgbClr val="599FFD">
                    <a:alpha val="50000"/>
                  </a:srgbClr>
                </a:gs>
              </a:gsLst>
              <a:lin ang="0" scaled="0"/>
            </a:gradFill>
            <a:ln w="6350" cap="flat" cmpd="sng" algn="ctr">
              <a:noFill/>
              <a:prstDash val="solid"/>
              <a:headEnd type="none" w="med" len="med"/>
              <a:tailEnd type="none" w="med" len="med"/>
            </a:ln>
            <a:effectLst>
              <a:innerShdw blurRad="1270000" dist="508000" dir="18600000">
                <a:srgbClr val="56AEF9">
                  <a:alpha val="20000"/>
                </a:srgbClr>
              </a:innerShdw>
            </a:effectLst>
          </p:spPr>
          <p:txBody>
            <a:bodyPr rot="0" spcFirstLastPara="0" vertOverflow="overflow" horzOverflow="overflow" vert="horz" wrap="square" lIns="182880" tIns="1737360" rIns="182880" bIns="548640" numCol="1" spcCol="0" rtlCol="0" fromWordArt="0" anchor="ctr" anchorCtr="0" forceAA="0" compatLnSpc="1">
              <a:prstTxWarp prst="textNoShape">
                <a:avLst/>
              </a:prstTxWarp>
              <a:noAutofit/>
            </a:bodyPr>
            <a:lstStyle/>
            <a:p>
              <a:pPr marL="0" marR="0" lvl="0" indent="0" algn="ctr" defTabSz="1403951" rtl="0" eaLnBrk="1" fontAlgn="base" latinLnBrk="0" hangingPunct="1">
                <a:lnSpc>
                  <a:spcPct val="100000"/>
                </a:lnSpc>
                <a:spcBef>
                  <a:spcPct val="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Sans Display"/>
                <a:ea typeface="+mn-ea"/>
                <a:cs typeface="Segoe UI Semibold"/>
              </a:endParaRPr>
            </a:p>
          </p:txBody>
        </p:sp>
        <p:sp>
          <p:nvSpPr>
            <p:cNvPr id="181" name="Rectangle 180">
              <a:extLst>
                <a:ext uri="{FF2B5EF4-FFF2-40B4-BE49-F238E27FC236}">
                  <a16:creationId xmlns:a16="http://schemas.microsoft.com/office/drawing/2014/main" id="{E56CF4C0-0A31-9274-F7DD-174E2ED4B6E8}"/>
                </a:ext>
              </a:extLst>
            </p:cNvPr>
            <p:cNvSpPr>
              <a:spLocks noChangeAspect="1"/>
            </p:cNvSpPr>
            <p:nvPr/>
          </p:nvSpPr>
          <p:spPr>
            <a:xfrm>
              <a:off x="4992281" y="2724458"/>
              <a:ext cx="2207438" cy="498342"/>
            </a:xfrm>
            <a:prstGeom prst="rect">
              <a:avLst/>
            </a:prstGeom>
          </p:spPr>
          <p:txBody>
            <a:bodyPr wrap="square" anchor="ctr"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22530" rtl="0" eaLnBrk="1" fontAlgn="auto" latinLnBrk="0" hangingPunct="1">
                <a:lnSpc>
                  <a:spcPct val="100000"/>
                </a:lnSpc>
                <a:spcBef>
                  <a:spcPts val="0"/>
                </a:spcBef>
                <a:spcAft>
                  <a:spcPts val="606"/>
                </a:spcAft>
                <a:buClrTx/>
                <a:buSzTx/>
                <a:buFontTx/>
                <a:buNone/>
                <a:tabLst/>
                <a:defRPr/>
              </a:pPr>
              <a:r>
                <a:rPr kumimoji="0" lang="en-US" sz="1319" b="0" i="0" u="none" strike="noStrike" kern="1200" cap="none" spc="0" normalizeH="0" baseline="0" noProof="0">
                  <a:ln>
                    <a:noFill/>
                  </a:ln>
                  <a:solidFill>
                    <a:srgbClr val="000000"/>
                  </a:solidFill>
                  <a:effectLst/>
                  <a:uLnTx/>
                  <a:uFillTx/>
                  <a:latin typeface="Segoe Sans Display Semibold"/>
                  <a:ea typeface="+mn-ea"/>
                  <a:cs typeface="Segoe UI Semibold"/>
                </a:rPr>
                <a:t>Zero Trust</a:t>
              </a:r>
              <a:br>
                <a:rPr kumimoji="0" lang="en-US" sz="1319" b="0" i="0" u="none" strike="noStrike" kern="1200" cap="none" spc="0" normalizeH="0" baseline="0" noProof="0">
                  <a:ln>
                    <a:noFill/>
                  </a:ln>
                  <a:solidFill>
                    <a:srgbClr val="000000"/>
                  </a:solidFill>
                  <a:effectLst/>
                  <a:uLnTx/>
                  <a:uFillTx/>
                  <a:latin typeface="Segoe Sans Display Semibold"/>
                  <a:ea typeface="+mn-ea"/>
                  <a:cs typeface="Segoe UI Semibold"/>
                </a:rPr>
              </a:br>
              <a:r>
                <a:rPr kumimoji="0" lang="en-US" sz="1319" b="0" i="0" u="none" strike="noStrike" kern="1200" cap="none" spc="0" normalizeH="0" baseline="0" noProof="0">
                  <a:ln>
                    <a:noFill/>
                  </a:ln>
                  <a:solidFill>
                    <a:srgbClr val="000000"/>
                  </a:solidFill>
                  <a:effectLst/>
                  <a:uLnTx/>
                  <a:uFillTx/>
                  <a:latin typeface="Segoe Sans Display Semibold"/>
                  <a:ea typeface="+mn-ea"/>
                  <a:cs typeface="Segoe UI Semibold"/>
                </a:rPr>
                <a:t>policy enforcement</a:t>
              </a:r>
            </a:p>
          </p:txBody>
        </p:sp>
        <p:sp>
          <p:nvSpPr>
            <p:cNvPr id="182" name="TextBox 135">
              <a:extLst>
                <a:ext uri="{FF2B5EF4-FFF2-40B4-BE49-F238E27FC236}">
                  <a16:creationId xmlns:a16="http://schemas.microsoft.com/office/drawing/2014/main" id="{7ACDB087-DAFB-D42F-E7BB-E805073F2C85}"/>
                </a:ext>
              </a:extLst>
            </p:cNvPr>
            <p:cNvSpPr txBox="1">
              <a:spLocks noChangeAspect="1"/>
            </p:cNvSpPr>
            <p:nvPr/>
          </p:nvSpPr>
          <p:spPr>
            <a:xfrm>
              <a:off x="4974085" y="4267252"/>
              <a:ext cx="2243831" cy="49834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22530" rtl="0" eaLnBrk="1" fontAlgn="auto" latinLnBrk="0" hangingPunct="1">
                <a:lnSpc>
                  <a:spcPct val="100000"/>
                </a:lnSpc>
                <a:spcBef>
                  <a:spcPts val="0"/>
                </a:spcBef>
                <a:spcAft>
                  <a:spcPts val="0"/>
                </a:spcAft>
                <a:buClrTx/>
                <a:buSzTx/>
                <a:buFontTx/>
                <a:buNone/>
                <a:tabLst/>
                <a:defRPr/>
              </a:pPr>
              <a:r>
                <a:rPr kumimoji="0" lang="en-US" sz="1319" b="0" i="0" u="none" strike="noStrike" kern="1200" cap="none" spc="0" normalizeH="0" baseline="0" noProof="0">
                  <a:ln>
                    <a:noFill/>
                  </a:ln>
                  <a:solidFill>
                    <a:srgbClr val="000000"/>
                  </a:solidFill>
                  <a:effectLst/>
                  <a:uLnTx/>
                  <a:uFillTx/>
                  <a:latin typeface="Segoe Sans Display Semibold"/>
                  <a:ea typeface="+mn-ea"/>
                  <a:cs typeface="Segoe UI Semibold"/>
                </a:rPr>
                <a:t>Microsoft Entra </a:t>
              </a:r>
            </a:p>
            <a:p>
              <a:pPr marL="0" marR="0" lvl="0" indent="0" algn="ctr" defTabSz="922530" rtl="0" eaLnBrk="1" fontAlgn="auto" latinLnBrk="0" hangingPunct="1">
                <a:lnSpc>
                  <a:spcPct val="100000"/>
                </a:lnSpc>
                <a:spcBef>
                  <a:spcPts val="0"/>
                </a:spcBef>
                <a:spcAft>
                  <a:spcPts val="0"/>
                </a:spcAft>
                <a:buClrTx/>
                <a:buSzTx/>
                <a:buFontTx/>
                <a:buNone/>
                <a:tabLst/>
                <a:defRPr/>
              </a:pPr>
              <a:r>
                <a:rPr kumimoji="0" lang="en-US" sz="1319" b="0" i="0" u="none" strike="noStrike" kern="1200" cap="none" spc="0" normalizeH="0" baseline="0" noProof="0">
                  <a:ln>
                    <a:noFill/>
                  </a:ln>
                  <a:solidFill>
                    <a:srgbClr val="000000"/>
                  </a:solidFill>
                  <a:effectLst/>
                  <a:uLnTx/>
                  <a:uFillTx/>
                  <a:latin typeface="Segoe Sans Display Semibold"/>
                  <a:ea typeface="+mn-ea"/>
                  <a:cs typeface="Segoe UI Semibold"/>
                </a:rPr>
                <a:t>Conditional Access</a:t>
              </a:r>
            </a:p>
          </p:txBody>
        </p:sp>
        <p:grpSp>
          <p:nvGrpSpPr>
            <p:cNvPr id="183" name="Group 182">
              <a:extLst>
                <a:ext uri="{FF2B5EF4-FFF2-40B4-BE49-F238E27FC236}">
                  <a16:creationId xmlns:a16="http://schemas.microsoft.com/office/drawing/2014/main" id="{8572C3A6-50F8-7B26-C816-735B4BE41A16}"/>
                </a:ext>
              </a:extLst>
            </p:cNvPr>
            <p:cNvGrpSpPr/>
            <p:nvPr/>
          </p:nvGrpSpPr>
          <p:grpSpPr>
            <a:xfrm>
              <a:off x="5620044" y="3269070"/>
              <a:ext cx="951912" cy="951912"/>
              <a:chOff x="5620044" y="3260565"/>
              <a:chExt cx="951912" cy="951912"/>
            </a:xfrm>
          </p:grpSpPr>
          <p:sp>
            <p:nvSpPr>
              <p:cNvPr id="190" name="Oval 189">
                <a:extLst>
                  <a:ext uri="{FF2B5EF4-FFF2-40B4-BE49-F238E27FC236}">
                    <a16:creationId xmlns:a16="http://schemas.microsoft.com/office/drawing/2014/main" id="{12147E95-E384-7AD6-A6E4-D2CA7B327899}"/>
                  </a:ext>
                </a:extLst>
              </p:cNvPr>
              <p:cNvSpPr/>
              <p:nvPr/>
            </p:nvSpPr>
            <p:spPr bwMode="auto">
              <a:xfrm>
                <a:off x="5620044" y="3260565"/>
                <a:ext cx="951912" cy="951912"/>
              </a:xfrm>
              <a:prstGeom prst="ellipse">
                <a:avLst/>
              </a:prstGeom>
              <a:solidFill>
                <a:schemeClr val="bg1"/>
              </a:solidFill>
              <a:ln w="9525" cap="flat" cmpd="sng" algn="ctr">
                <a:noFill/>
                <a:prstDash val="solid"/>
                <a:headEnd type="none" w="med" len="med"/>
                <a:tailEnd type="none" w="med" len="med"/>
              </a:ln>
              <a:effectLst>
                <a:innerShdw blurRad="63500" dist="50800" dir="13500000">
                  <a:prstClr val="black">
                    <a:alpha val="20000"/>
                  </a:prstClr>
                </a:inn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3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grpSp>
            <p:nvGrpSpPr>
              <p:cNvPr id="191" name="Group 190">
                <a:extLst>
                  <a:ext uri="{FF2B5EF4-FFF2-40B4-BE49-F238E27FC236}">
                    <a16:creationId xmlns:a16="http://schemas.microsoft.com/office/drawing/2014/main" id="{6E8C570E-7138-4BD5-AA2B-24E654929DA5}"/>
                  </a:ext>
                </a:extLst>
              </p:cNvPr>
              <p:cNvGrpSpPr>
                <a:grpSpLocks noChangeAspect="1"/>
              </p:cNvGrpSpPr>
              <p:nvPr/>
            </p:nvGrpSpPr>
            <p:grpSpPr>
              <a:xfrm>
                <a:off x="5841643" y="3451758"/>
                <a:ext cx="508714" cy="610987"/>
                <a:chOff x="5509048" y="2724326"/>
                <a:chExt cx="1173903" cy="1409900"/>
              </a:xfrm>
              <a:solidFill>
                <a:srgbClr val="091F2C"/>
              </a:solidFill>
            </p:grpSpPr>
            <p:sp>
              <p:nvSpPr>
                <p:cNvPr id="192" name="Freeform: Shape 14">
                  <a:extLst>
                    <a:ext uri="{FF2B5EF4-FFF2-40B4-BE49-F238E27FC236}">
                      <a16:creationId xmlns:a16="http://schemas.microsoft.com/office/drawing/2014/main" id="{8881AAD3-2A02-3DEC-28A6-0F5FCD89EF76}"/>
                    </a:ext>
                  </a:extLst>
                </p:cNvPr>
                <p:cNvSpPr/>
                <p:nvPr/>
              </p:nvSpPr>
              <p:spPr>
                <a:xfrm>
                  <a:off x="5509048" y="2724326"/>
                  <a:ext cx="1173903" cy="1409900"/>
                </a:xfrm>
                <a:custGeom>
                  <a:avLst/>
                  <a:gdLst>
                    <a:gd name="connsiteX0" fmla="*/ 586952 w 1173903"/>
                    <a:gd name="connsiteY0" fmla="*/ 58861 h 1409900"/>
                    <a:gd name="connsiteX1" fmla="*/ 81245 w 1173903"/>
                    <a:gd name="connsiteY1" fmla="*/ 207257 h 1409900"/>
                    <a:gd name="connsiteX2" fmla="*/ 75770 w 1173903"/>
                    <a:gd name="connsiteY2" fmla="*/ 207754 h 1409900"/>
                    <a:gd name="connsiteX3" fmla="*/ 48084 w 1173903"/>
                    <a:gd name="connsiteY3" fmla="*/ 247050 h 1409900"/>
                    <a:gd name="connsiteX4" fmla="*/ 48084 w 1173903"/>
                    <a:gd name="connsiteY4" fmla="*/ 661564 h 1409900"/>
                    <a:gd name="connsiteX5" fmla="*/ 569542 w 1173903"/>
                    <a:gd name="connsiteY5" fmla="*/ 1345512 h 1409900"/>
                    <a:gd name="connsiteX6" fmla="*/ 604362 w 1173903"/>
                    <a:gd name="connsiteY6" fmla="*/ 1345512 h 1409900"/>
                    <a:gd name="connsiteX7" fmla="*/ 1125820 w 1173903"/>
                    <a:gd name="connsiteY7" fmla="*/ 661564 h 1409900"/>
                    <a:gd name="connsiteX8" fmla="*/ 1125820 w 1173903"/>
                    <a:gd name="connsiteY8" fmla="*/ 240418 h 1409900"/>
                    <a:gd name="connsiteX9" fmla="*/ 1092659 w 1173903"/>
                    <a:gd name="connsiteY9" fmla="*/ 207257 h 1409900"/>
                    <a:gd name="connsiteX10" fmla="*/ 586952 w 1173903"/>
                    <a:gd name="connsiteY10" fmla="*/ 58861 h 1409900"/>
                    <a:gd name="connsiteX11" fmla="*/ 586952 w 1173903"/>
                    <a:gd name="connsiteY11" fmla="*/ 0 h 1409900"/>
                    <a:gd name="connsiteX12" fmla="*/ 1138255 w 1173903"/>
                    <a:gd name="connsiteY12" fmla="*/ 165806 h 1409900"/>
                    <a:gd name="connsiteX13" fmla="*/ 1173903 w 1173903"/>
                    <a:gd name="connsiteY13" fmla="*/ 202283 h 1409900"/>
                    <a:gd name="connsiteX14" fmla="*/ 1173903 w 1173903"/>
                    <a:gd name="connsiteY14" fmla="*/ 658248 h 1409900"/>
                    <a:gd name="connsiteX15" fmla="*/ 606019 w 1173903"/>
                    <a:gd name="connsiteY15" fmla="*/ 1404373 h 1409900"/>
                    <a:gd name="connsiteX16" fmla="*/ 567884 w 1173903"/>
                    <a:gd name="connsiteY16" fmla="*/ 1404373 h 1409900"/>
                    <a:gd name="connsiteX17" fmla="*/ 0 w 1173903"/>
                    <a:gd name="connsiteY17" fmla="*/ 658248 h 1409900"/>
                    <a:gd name="connsiteX18" fmla="*/ 0 w 1173903"/>
                    <a:gd name="connsiteY18" fmla="*/ 202283 h 1409900"/>
                    <a:gd name="connsiteX19" fmla="*/ 35648 w 1173903"/>
                    <a:gd name="connsiteY19" fmla="*/ 165806 h 1409900"/>
                    <a:gd name="connsiteX20" fmla="*/ 586952 w 1173903"/>
                    <a:gd name="connsiteY20" fmla="*/ 0 h 140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73903" h="1409900">
                      <a:moveTo>
                        <a:pt x="586952" y="58861"/>
                      </a:moveTo>
                      <a:cubicBezTo>
                        <a:pt x="338244" y="58861"/>
                        <a:pt x="414514" y="201454"/>
                        <a:pt x="81245" y="207257"/>
                      </a:cubicBezTo>
                      <a:cubicBezTo>
                        <a:pt x="79410" y="207274"/>
                        <a:pt x="77578" y="207441"/>
                        <a:pt x="75770" y="207754"/>
                      </a:cubicBezTo>
                      <a:cubicBezTo>
                        <a:pt x="57274" y="210960"/>
                        <a:pt x="44878" y="228554"/>
                        <a:pt x="48084" y="247050"/>
                      </a:cubicBezTo>
                      <a:lnTo>
                        <a:pt x="48084" y="661564"/>
                      </a:lnTo>
                      <a:cubicBezTo>
                        <a:pt x="48084" y="1009756"/>
                        <a:pt x="475862" y="1289138"/>
                        <a:pt x="569542" y="1345512"/>
                      </a:cubicBezTo>
                      <a:cubicBezTo>
                        <a:pt x="580215" y="1352095"/>
                        <a:pt x="593689" y="1352095"/>
                        <a:pt x="604362" y="1345512"/>
                      </a:cubicBezTo>
                      <a:cubicBezTo>
                        <a:pt x="698042" y="1289138"/>
                        <a:pt x="1125820" y="1009756"/>
                        <a:pt x="1125820" y="661564"/>
                      </a:cubicBezTo>
                      <a:lnTo>
                        <a:pt x="1125820" y="240418"/>
                      </a:lnTo>
                      <a:cubicBezTo>
                        <a:pt x="1125381" y="222288"/>
                        <a:pt x="1110790" y="207694"/>
                        <a:pt x="1092659" y="207257"/>
                      </a:cubicBezTo>
                      <a:cubicBezTo>
                        <a:pt x="759390" y="201454"/>
                        <a:pt x="835660" y="58861"/>
                        <a:pt x="586952" y="58861"/>
                      </a:cubicBezTo>
                      <a:close/>
                      <a:moveTo>
                        <a:pt x="586952" y="0"/>
                      </a:moveTo>
                      <a:cubicBezTo>
                        <a:pt x="858873" y="0"/>
                        <a:pt x="775141" y="156686"/>
                        <a:pt x="1138255" y="165806"/>
                      </a:cubicBezTo>
                      <a:cubicBezTo>
                        <a:pt x="1158077" y="166257"/>
                        <a:pt x="1173912" y="182457"/>
                        <a:pt x="1173903" y="202283"/>
                      </a:cubicBezTo>
                      <a:lnTo>
                        <a:pt x="1173903" y="658248"/>
                      </a:lnTo>
                      <a:cubicBezTo>
                        <a:pt x="1173903" y="1037114"/>
                        <a:pt x="707990" y="1342196"/>
                        <a:pt x="606019" y="1404373"/>
                      </a:cubicBezTo>
                      <a:cubicBezTo>
                        <a:pt x="594376" y="1411743"/>
                        <a:pt x="579527" y="1411743"/>
                        <a:pt x="567884" y="1404373"/>
                      </a:cubicBezTo>
                      <a:cubicBezTo>
                        <a:pt x="465914" y="1343025"/>
                        <a:pt x="0" y="1037943"/>
                        <a:pt x="0" y="658248"/>
                      </a:cubicBezTo>
                      <a:lnTo>
                        <a:pt x="0" y="202283"/>
                      </a:lnTo>
                      <a:cubicBezTo>
                        <a:pt x="-5" y="182457"/>
                        <a:pt x="15827" y="166257"/>
                        <a:pt x="35648" y="165806"/>
                      </a:cubicBezTo>
                      <a:cubicBezTo>
                        <a:pt x="398762" y="156686"/>
                        <a:pt x="315031" y="0"/>
                        <a:pt x="586952" y="0"/>
                      </a:cubicBezTo>
                      <a:close/>
                    </a:path>
                  </a:pathLst>
                </a:custGeom>
                <a:solidFill>
                  <a:schemeClr val="accent1"/>
                </a:solidFill>
                <a:ln w="825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3" name="Freeform: Shape 21">
                  <a:extLst>
                    <a:ext uri="{FF2B5EF4-FFF2-40B4-BE49-F238E27FC236}">
                      <a16:creationId xmlns:a16="http://schemas.microsoft.com/office/drawing/2014/main" id="{FD5E01B1-060F-7A63-0BFE-483686EDBC3E}"/>
                    </a:ext>
                  </a:extLst>
                </p:cNvPr>
                <p:cNvSpPr/>
                <p:nvPr/>
              </p:nvSpPr>
              <p:spPr>
                <a:xfrm>
                  <a:off x="5832310" y="2987054"/>
                  <a:ext cx="527374" cy="690668"/>
                </a:xfrm>
                <a:custGeom>
                  <a:avLst/>
                  <a:gdLst>
                    <a:gd name="connsiteX0" fmla="*/ 499964 w 527374"/>
                    <a:gd name="connsiteY0" fmla="*/ 330855 h 690669"/>
                    <a:gd name="connsiteX1" fmla="*/ 466803 w 527374"/>
                    <a:gd name="connsiteY1" fmla="*/ 330855 h 690669"/>
                    <a:gd name="connsiteX2" fmla="*/ 466803 w 527374"/>
                    <a:gd name="connsiteY2" fmla="*/ 213133 h 690669"/>
                    <a:gd name="connsiteX3" fmla="*/ 408771 w 527374"/>
                    <a:gd name="connsiteY3" fmla="*/ 63079 h 690669"/>
                    <a:gd name="connsiteX4" fmla="*/ 131118 w 527374"/>
                    <a:gd name="connsiteY4" fmla="*/ 52230 h 690669"/>
                    <a:gd name="connsiteX5" fmla="*/ 120269 w 527374"/>
                    <a:gd name="connsiteY5" fmla="*/ 63079 h 690669"/>
                    <a:gd name="connsiteX6" fmla="*/ 62237 w 527374"/>
                    <a:gd name="connsiteY6" fmla="*/ 213133 h 690669"/>
                    <a:gd name="connsiteX7" fmla="*/ 62237 w 527374"/>
                    <a:gd name="connsiteY7" fmla="*/ 330855 h 690669"/>
                    <a:gd name="connsiteX8" fmla="*/ 29076 w 527374"/>
                    <a:gd name="connsiteY8" fmla="*/ 330855 h 690669"/>
                    <a:gd name="connsiteX9" fmla="*/ 123 w 527374"/>
                    <a:gd name="connsiteY9" fmla="*/ 354715 h 690669"/>
                    <a:gd name="connsiteX10" fmla="*/ 60 w 527374"/>
                    <a:gd name="connsiteY10" fmla="*/ 359042 h 690669"/>
                    <a:gd name="connsiteX11" fmla="*/ 60 w 527374"/>
                    <a:gd name="connsiteY11" fmla="*/ 664125 h 690669"/>
                    <a:gd name="connsiteX12" fmla="*/ 26576 w 527374"/>
                    <a:gd name="connsiteY12" fmla="*/ 690670 h 690669"/>
                    <a:gd name="connsiteX13" fmla="*/ 27418 w 527374"/>
                    <a:gd name="connsiteY13" fmla="*/ 690653 h 690669"/>
                    <a:gd name="connsiteX14" fmla="*/ 499964 w 527374"/>
                    <a:gd name="connsiteY14" fmla="*/ 690653 h 690669"/>
                    <a:gd name="connsiteX15" fmla="*/ 527305 w 527374"/>
                    <a:gd name="connsiteY15" fmla="*/ 664970 h 690669"/>
                    <a:gd name="connsiteX16" fmla="*/ 527322 w 527374"/>
                    <a:gd name="connsiteY16" fmla="*/ 664125 h 690669"/>
                    <a:gd name="connsiteX17" fmla="*/ 527322 w 527374"/>
                    <a:gd name="connsiteY17" fmla="*/ 359042 h 690669"/>
                    <a:gd name="connsiteX18" fmla="*/ 502517 w 527374"/>
                    <a:gd name="connsiteY18" fmla="*/ 330893 h 690669"/>
                    <a:gd name="connsiteX19" fmla="*/ 499964 w 527374"/>
                    <a:gd name="connsiteY19" fmla="*/ 330855 h 690669"/>
                    <a:gd name="connsiteX20" fmla="*/ 371464 w 527374"/>
                    <a:gd name="connsiteY20" fmla="*/ 330855 h 690669"/>
                    <a:gd name="connsiteX21" fmla="*/ 155917 w 527374"/>
                    <a:gd name="connsiteY21" fmla="*/ 330855 h 690669"/>
                    <a:gd name="connsiteX22" fmla="*/ 155917 w 527374"/>
                    <a:gd name="connsiteY22" fmla="*/ 211475 h 690669"/>
                    <a:gd name="connsiteX23" fmla="*/ 189907 w 527374"/>
                    <a:gd name="connsiteY23" fmla="*/ 128573 h 690669"/>
                    <a:gd name="connsiteX24" fmla="*/ 329179 w 527374"/>
                    <a:gd name="connsiteY24" fmla="*/ 120277 h 690669"/>
                    <a:gd name="connsiteX25" fmla="*/ 337474 w 527374"/>
                    <a:gd name="connsiteY25" fmla="*/ 128573 h 690669"/>
                    <a:gd name="connsiteX26" fmla="*/ 350739 w 527374"/>
                    <a:gd name="connsiteY26" fmla="*/ 145153 h 690669"/>
                    <a:gd name="connsiteX27" fmla="*/ 350739 w 527374"/>
                    <a:gd name="connsiteY27" fmla="*/ 145153 h 690669"/>
                    <a:gd name="connsiteX28" fmla="*/ 371464 w 527374"/>
                    <a:gd name="connsiteY28" fmla="*/ 210646 h 690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27374" h="690669">
                      <a:moveTo>
                        <a:pt x="499964" y="330855"/>
                      </a:moveTo>
                      <a:lnTo>
                        <a:pt x="466803" y="330855"/>
                      </a:lnTo>
                      <a:lnTo>
                        <a:pt x="466803" y="213133"/>
                      </a:lnTo>
                      <a:cubicBezTo>
                        <a:pt x="467383" y="157531"/>
                        <a:pt x="446607" y="103825"/>
                        <a:pt x="408771" y="63079"/>
                      </a:cubicBezTo>
                      <a:cubicBezTo>
                        <a:pt x="335095" y="-16589"/>
                        <a:pt x="210786" y="-21446"/>
                        <a:pt x="131118" y="52230"/>
                      </a:cubicBezTo>
                      <a:cubicBezTo>
                        <a:pt x="127362" y="55704"/>
                        <a:pt x="123743" y="59323"/>
                        <a:pt x="120269" y="63079"/>
                      </a:cubicBezTo>
                      <a:cubicBezTo>
                        <a:pt x="82357" y="103780"/>
                        <a:pt x="61575" y="157516"/>
                        <a:pt x="62237" y="213133"/>
                      </a:cubicBezTo>
                      <a:lnTo>
                        <a:pt x="62237" y="330855"/>
                      </a:lnTo>
                      <a:lnTo>
                        <a:pt x="29076" y="330855"/>
                      </a:lnTo>
                      <a:cubicBezTo>
                        <a:pt x="14492" y="329449"/>
                        <a:pt x="1529" y="340131"/>
                        <a:pt x="123" y="354715"/>
                      </a:cubicBezTo>
                      <a:cubicBezTo>
                        <a:pt x="-16" y="356153"/>
                        <a:pt x="-37" y="357601"/>
                        <a:pt x="60" y="359042"/>
                      </a:cubicBezTo>
                      <a:lnTo>
                        <a:pt x="60" y="664125"/>
                      </a:lnTo>
                      <a:cubicBezTo>
                        <a:pt x="52" y="678773"/>
                        <a:pt x="11924" y="690662"/>
                        <a:pt x="26576" y="690670"/>
                      </a:cubicBezTo>
                      <a:cubicBezTo>
                        <a:pt x="26857" y="690670"/>
                        <a:pt x="27138" y="690662"/>
                        <a:pt x="27418" y="690653"/>
                      </a:cubicBezTo>
                      <a:lnTo>
                        <a:pt x="499964" y="690653"/>
                      </a:lnTo>
                      <a:cubicBezTo>
                        <a:pt x="514604" y="691109"/>
                        <a:pt x="526849" y="679611"/>
                        <a:pt x="527305" y="664970"/>
                      </a:cubicBezTo>
                      <a:cubicBezTo>
                        <a:pt x="527313" y="664688"/>
                        <a:pt x="527322" y="664406"/>
                        <a:pt x="527322" y="664125"/>
                      </a:cubicBezTo>
                      <a:lnTo>
                        <a:pt x="527322" y="359042"/>
                      </a:lnTo>
                      <a:cubicBezTo>
                        <a:pt x="528242" y="344420"/>
                        <a:pt x="517141" y="331817"/>
                        <a:pt x="502517" y="330893"/>
                      </a:cubicBezTo>
                      <a:cubicBezTo>
                        <a:pt x="501671" y="330840"/>
                        <a:pt x="500818" y="330827"/>
                        <a:pt x="499964" y="330855"/>
                      </a:cubicBezTo>
                      <a:close/>
                      <a:moveTo>
                        <a:pt x="371464" y="330855"/>
                      </a:moveTo>
                      <a:lnTo>
                        <a:pt x="155917" y="330855"/>
                      </a:lnTo>
                      <a:lnTo>
                        <a:pt x="155917" y="211475"/>
                      </a:lnTo>
                      <a:cubicBezTo>
                        <a:pt x="155966" y="180459"/>
                        <a:pt x="168169" y="150696"/>
                        <a:pt x="189907" y="128573"/>
                      </a:cubicBezTo>
                      <a:cubicBezTo>
                        <a:pt x="226075" y="87823"/>
                        <a:pt x="288429" y="84109"/>
                        <a:pt x="329179" y="120277"/>
                      </a:cubicBezTo>
                      <a:cubicBezTo>
                        <a:pt x="332106" y="122875"/>
                        <a:pt x="334876" y="125645"/>
                        <a:pt x="337474" y="128573"/>
                      </a:cubicBezTo>
                      <a:cubicBezTo>
                        <a:pt x="342342" y="133727"/>
                        <a:pt x="346776" y="139272"/>
                        <a:pt x="350739" y="145153"/>
                      </a:cubicBezTo>
                      <a:lnTo>
                        <a:pt x="350739" y="145153"/>
                      </a:lnTo>
                      <a:cubicBezTo>
                        <a:pt x="364094" y="164392"/>
                        <a:pt x="371323" y="187224"/>
                        <a:pt x="371464" y="210646"/>
                      </a:cubicBezTo>
                      <a:close/>
                    </a:path>
                  </a:pathLst>
                </a:custGeom>
                <a:solidFill>
                  <a:schemeClr val="accent1">
                    <a:lumMod val="75000"/>
                  </a:schemeClr>
                </a:solidFill>
                <a:ln w="825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4" name="Freeform: Shape 22">
                  <a:extLst>
                    <a:ext uri="{FF2B5EF4-FFF2-40B4-BE49-F238E27FC236}">
                      <a16:creationId xmlns:a16="http://schemas.microsoft.com/office/drawing/2014/main" id="{9CA2439F-73F6-3A7E-BAAE-5506EF4BC2F7}"/>
                    </a:ext>
                  </a:extLst>
                </p:cNvPr>
                <p:cNvSpPr/>
                <p:nvPr/>
              </p:nvSpPr>
              <p:spPr>
                <a:xfrm>
                  <a:off x="5832315" y="3317895"/>
                  <a:ext cx="517367" cy="351522"/>
                </a:xfrm>
                <a:custGeom>
                  <a:avLst/>
                  <a:gdLst>
                    <a:gd name="connsiteX0" fmla="*/ 27412 w 517367"/>
                    <a:gd name="connsiteY0" fmla="*/ 15 h 351522"/>
                    <a:gd name="connsiteX1" fmla="*/ 499957 w 517367"/>
                    <a:gd name="connsiteY1" fmla="*/ 15 h 351522"/>
                    <a:gd name="connsiteX2" fmla="*/ 517367 w 517367"/>
                    <a:gd name="connsiteY2" fmla="*/ 6647 h 351522"/>
                    <a:gd name="connsiteX3" fmla="*/ 10002 w 517367"/>
                    <a:gd name="connsiteY3" fmla="*/ 351522 h 351522"/>
                    <a:gd name="connsiteX4" fmla="*/ 54 w 517367"/>
                    <a:gd name="connsiteY4" fmla="*/ 331626 h 351522"/>
                    <a:gd name="connsiteX5" fmla="*/ 54 w 517367"/>
                    <a:gd name="connsiteY5" fmla="*/ 28202 h 351522"/>
                    <a:gd name="connsiteX6" fmla="*/ 24857 w 517367"/>
                    <a:gd name="connsiteY6" fmla="*/ 53 h 351522"/>
                    <a:gd name="connsiteX7" fmla="*/ 27412 w 517367"/>
                    <a:gd name="connsiteY7" fmla="*/ 15 h 351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7367" h="351522">
                      <a:moveTo>
                        <a:pt x="27412" y="15"/>
                      </a:moveTo>
                      <a:lnTo>
                        <a:pt x="499957" y="15"/>
                      </a:lnTo>
                      <a:cubicBezTo>
                        <a:pt x="506374" y="48"/>
                        <a:pt x="512559" y="2404"/>
                        <a:pt x="517367" y="6647"/>
                      </a:cubicBezTo>
                      <a:lnTo>
                        <a:pt x="10002" y="351522"/>
                      </a:lnTo>
                      <a:cubicBezTo>
                        <a:pt x="4017" y="346598"/>
                        <a:pt x="402" y="339369"/>
                        <a:pt x="54" y="331626"/>
                      </a:cubicBezTo>
                      <a:lnTo>
                        <a:pt x="54" y="28202"/>
                      </a:lnTo>
                      <a:cubicBezTo>
                        <a:pt x="-870" y="13579"/>
                        <a:pt x="10235" y="976"/>
                        <a:pt x="24857" y="53"/>
                      </a:cubicBezTo>
                      <a:cubicBezTo>
                        <a:pt x="25707" y="-1"/>
                        <a:pt x="26560" y="-14"/>
                        <a:pt x="27412" y="15"/>
                      </a:cubicBezTo>
                      <a:close/>
                    </a:path>
                  </a:pathLst>
                </a:custGeom>
                <a:solidFill>
                  <a:schemeClr val="accent1">
                    <a:lumMod val="75000"/>
                  </a:schemeClr>
                </a:solidFill>
                <a:ln w="825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5" name="Freeform: Shape 23">
                  <a:extLst>
                    <a:ext uri="{FF2B5EF4-FFF2-40B4-BE49-F238E27FC236}">
                      <a16:creationId xmlns:a16="http://schemas.microsoft.com/office/drawing/2014/main" id="{40753A71-5168-8D44-776E-CBF98033B251}"/>
                    </a:ext>
                  </a:extLst>
                </p:cNvPr>
                <p:cNvSpPr/>
                <p:nvPr/>
              </p:nvSpPr>
              <p:spPr>
                <a:xfrm>
                  <a:off x="5842317" y="3317895"/>
                  <a:ext cx="517366" cy="351522"/>
                </a:xfrm>
                <a:custGeom>
                  <a:avLst/>
                  <a:gdLst>
                    <a:gd name="connsiteX0" fmla="*/ 489955 w 517366"/>
                    <a:gd name="connsiteY0" fmla="*/ 15 h 351522"/>
                    <a:gd name="connsiteX1" fmla="*/ 17410 w 517366"/>
                    <a:gd name="connsiteY1" fmla="*/ 15 h 351522"/>
                    <a:gd name="connsiteX2" fmla="*/ 0 w 517366"/>
                    <a:gd name="connsiteY2" fmla="*/ 6647 h 351522"/>
                    <a:gd name="connsiteX3" fmla="*/ 507365 w 517366"/>
                    <a:gd name="connsiteY3" fmla="*/ 351522 h 351522"/>
                    <a:gd name="connsiteX4" fmla="*/ 517313 w 517366"/>
                    <a:gd name="connsiteY4" fmla="*/ 331626 h 351522"/>
                    <a:gd name="connsiteX5" fmla="*/ 517313 w 517366"/>
                    <a:gd name="connsiteY5" fmla="*/ 28202 h 351522"/>
                    <a:gd name="connsiteX6" fmla="*/ 492509 w 517366"/>
                    <a:gd name="connsiteY6" fmla="*/ 53 h 351522"/>
                    <a:gd name="connsiteX7" fmla="*/ 489955 w 517366"/>
                    <a:gd name="connsiteY7" fmla="*/ 15 h 351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7366" h="351522">
                      <a:moveTo>
                        <a:pt x="489955" y="15"/>
                      </a:moveTo>
                      <a:lnTo>
                        <a:pt x="17410" y="15"/>
                      </a:lnTo>
                      <a:cubicBezTo>
                        <a:pt x="10995" y="48"/>
                        <a:pt x="4811" y="2404"/>
                        <a:pt x="0" y="6647"/>
                      </a:cubicBezTo>
                      <a:lnTo>
                        <a:pt x="507365" y="351522"/>
                      </a:lnTo>
                      <a:cubicBezTo>
                        <a:pt x="513624" y="346822"/>
                        <a:pt x="517313" y="339452"/>
                        <a:pt x="517313" y="331626"/>
                      </a:cubicBezTo>
                      <a:lnTo>
                        <a:pt x="517313" y="28202"/>
                      </a:lnTo>
                      <a:cubicBezTo>
                        <a:pt x="518234" y="13579"/>
                        <a:pt x="507133" y="976"/>
                        <a:pt x="492509" y="53"/>
                      </a:cubicBezTo>
                      <a:cubicBezTo>
                        <a:pt x="491663" y="-1"/>
                        <a:pt x="490809" y="-14"/>
                        <a:pt x="489955" y="15"/>
                      </a:cubicBezTo>
                      <a:close/>
                    </a:path>
                  </a:pathLst>
                </a:custGeom>
                <a:solidFill>
                  <a:schemeClr val="accent1"/>
                </a:solidFill>
                <a:ln w="825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84" name="Group 183">
              <a:extLst>
                <a:ext uri="{FF2B5EF4-FFF2-40B4-BE49-F238E27FC236}">
                  <a16:creationId xmlns:a16="http://schemas.microsoft.com/office/drawing/2014/main" id="{30FDF38E-4E62-CF98-DB1E-34601A401E6E}"/>
                </a:ext>
                <a:ext uri="{C183D7F6-B498-43B3-948B-1728B52AA6E4}">
                  <adec:decorative xmlns:adec="http://schemas.microsoft.com/office/drawing/2017/decorative" val="1"/>
                </a:ext>
              </a:extLst>
            </p:cNvPr>
            <p:cNvGrpSpPr/>
            <p:nvPr/>
          </p:nvGrpSpPr>
          <p:grpSpPr>
            <a:xfrm rot="5400000">
              <a:off x="7457193" y="3660712"/>
              <a:ext cx="274320" cy="274320"/>
              <a:chOff x="4189401" y="6046527"/>
              <a:chExt cx="354273" cy="354273"/>
            </a:xfrm>
          </p:grpSpPr>
          <p:sp>
            <p:nvSpPr>
              <p:cNvPr id="188" name="Oval 187">
                <a:extLst>
                  <a:ext uri="{FF2B5EF4-FFF2-40B4-BE49-F238E27FC236}">
                    <a16:creationId xmlns:a16="http://schemas.microsoft.com/office/drawing/2014/main" id="{9DD82EF7-1ADC-104B-ED42-001F24C18936}"/>
                  </a:ext>
                </a:extLst>
              </p:cNvPr>
              <p:cNvSpPr/>
              <p:nvPr/>
            </p:nvSpPr>
            <p:spPr bwMode="auto">
              <a:xfrm>
                <a:off x="4189401" y="6046527"/>
                <a:ext cx="354273" cy="354273"/>
              </a:xfrm>
              <a:prstGeom prst="ellipse">
                <a:avLst/>
              </a:prstGeom>
              <a:solidFill>
                <a:srgbClr val="FADC14"/>
              </a:solidFill>
              <a:ln w="9525" cap="flat" cmpd="sng" algn="ctr">
                <a:noFill/>
                <a:prstDash val="solid"/>
                <a:headEnd type="none" w="med" len="med"/>
                <a:tailEnd type="none" w="med" len="med"/>
              </a:ln>
              <a:effectLst>
                <a:innerShdw blurRad="63500" dist="50800" dir="13500000">
                  <a:prstClr val="black">
                    <a:alpha val="20000"/>
                  </a:prstClr>
                </a:inn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Segoe Sans Display"/>
                  <a:ea typeface="+mn-ea"/>
                  <a:cs typeface="Segoe UI" pitchFamily="34" charset="0"/>
                </a:endParaRPr>
              </a:p>
            </p:txBody>
          </p:sp>
          <p:pic>
            <p:nvPicPr>
              <p:cNvPr id="189" name="Graphic 188">
                <a:extLst>
                  <a:ext uri="{FF2B5EF4-FFF2-40B4-BE49-F238E27FC236}">
                    <a16:creationId xmlns:a16="http://schemas.microsoft.com/office/drawing/2014/main" id="{2BE59EBD-C8B5-AC51-2100-696C741138A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57147" y="6114273"/>
                <a:ext cx="218781" cy="218781"/>
              </a:xfrm>
              <a:prstGeom prst="rect">
                <a:avLst/>
              </a:prstGeom>
            </p:spPr>
          </p:pic>
        </p:grpSp>
        <p:grpSp>
          <p:nvGrpSpPr>
            <p:cNvPr id="185" name="Group 184">
              <a:extLst>
                <a:ext uri="{FF2B5EF4-FFF2-40B4-BE49-F238E27FC236}">
                  <a16:creationId xmlns:a16="http://schemas.microsoft.com/office/drawing/2014/main" id="{477EE43C-D9C6-BC27-523B-8CD68F620502}"/>
                </a:ext>
                <a:ext uri="{C183D7F6-B498-43B3-948B-1728B52AA6E4}">
                  <adec:decorative xmlns:adec="http://schemas.microsoft.com/office/drawing/2017/decorative" val="1"/>
                </a:ext>
              </a:extLst>
            </p:cNvPr>
            <p:cNvGrpSpPr/>
            <p:nvPr/>
          </p:nvGrpSpPr>
          <p:grpSpPr>
            <a:xfrm rot="16200000" flipV="1">
              <a:off x="4470195" y="3660713"/>
              <a:ext cx="274320" cy="274320"/>
              <a:chOff x="4189401" y="6046527"/>
              <a:chExt cx="354273" cy="354273"/>
            </a:xfrm>
          </p:grpSpPr>
          <p:sp>
            <p:nvSpPr>
              <p:cNvPr id="186" name="Oval 185">
                <a:extLst>
                  <a:ext uri="{FF2B5EF4-FFF2-40B4-BE49-F238E27FC236}">
                    <a16:creationId xmlns:a16="http://schemas.microsoft.com/office/drawing/2014/main" id="{C39C102E-D179-2FB9-AD08-088BF7948AAD}"/>
                  </a:ext>
                </a:extLst>
              </p:cNvPr>
              <p:cNvSpPr/>
              <p:nvPr/>
            </p:nvSpPr>
            <p:spPr bwMode="auto">
              <a:xfrm>
                <a:off x="4189401" y="6046527"/>
                <a:ext cx="354273" cy="354273"/>
              </a:xfrm>
              <a:prstGeom prst="ellipse">
                <a:avLst/>
              </a:prstGeom>
              <a:solidFill>
                <a:srgbClr val="FADC14"/>
              </a:solidFill>
              <a:ln w="9525" cap="flat" cmpd="sng" algn="ctr">
                <a:noFill/>
                <a:prstDash val="solid"/>
                <a:headEnd type="none" w="med" len="med"/>
                <a:tailEnd type="none" w="med" len="med"/>
              </a:ln>
              <a:effectLst>
                <a:innerShdw blurRad="63500" dist="50800" dir="13500000">
                  <a:prstClr val="black">
                    <a:alpha val="20000"/>
                  </a:prstClr>
                </a:inn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Segoe Sans Display"/>
                  <a:ea typeface="+mn-ea"/>
                  <a:cs typeface="Segoe UI" pitchFamily="34" charset="0"/>
                </a:endParaRPr>
              </a:p>
            </p:txBody>
          </p:sp>
          <p:pic>
            <p:nvPicPr>
              <p:cNvPr id="187" name="Graphic 186">
                <a:extLst>
                  <a:ext uri="{FF2B5EF4-FFF2-40B4-BE49-F238E27FC236}">
                    <a16:creationId xmlns:a16="http://schemas.microsoft.com/office/drawing/2014/main" id="{7C3B7DAE-5497-60B8-F416-EBC7D474928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57147" y="6114273"/>
                <a:ext cx="218781" cy="218781"/>
              </a:xfrm>
              <a:prstGeom prst="rect">
                <a:avLst/>
              </a:prstGeom>
            </p:spPr>
          </p:pic>
        </p:grpSp>
      </p:grpSp>
      <p:grpSp>
        <p:nvGrpSpPr>
          <p:cNvPr id="154" name="Group 153">
            <a:extLst>
              <a:ext uri="{FF2B5EF4-FFF2-40B4-BE49-F238E27FC236}">
                <a16:creationId xmlns:a16="http://schemas.microsoft.com/office/drawing/2014/main" id="{5D75CDF3-B73B-57D1-877F-33676E568EC3}"/>
              </a:ext>
              <a:ext uri="{C183D7F6-B498-43B3-948B-1728B52AA6E4}">
                <adec:decorative xmlns:adec="http://schemas.microsoft.com/office/drawing/2017/decorative" val="1"/>
              </a:ext>
            </a:extLst>
          </p:cNvPr>
          <p:cNvGrpSpPr/>
          <p:nvPr/>
        </p:nvGrpSpPr>
        <p:grpSpPr>
          <a:xfrm flipH="1">
            <a:off x="7815552" y="2678603"/>
            <a:ext cx="1359370" cy="2260760"/>
            <a:chOff x="2162196" y="2662299"/>
            <a:chExt cx="1648459" cy="2260760"/>
          </a:xfrm>
        </p:grpSpPr>
        <p:cxnSp>
          <p:nvCxnSpPr>
            <p:cNvPr id="155" name="Straight Connector 154">
              <a:extLst>
                <a:ext uri="{FF2B5EF4-FFF2-40B4-BE49-F238E27FC236}">
                  <a16:creationId xmlns:a16="http://schemas.microsoft.com/office/drawing/2014/main" id="{95D8D5C3-C03D-C592-1F27-41D295D34BFF}"/>
                </a:ext>
              </a:extLst>
            </p:cNvPr>
            <p:cNvCxnSpPr>
              <a:cxnSpLocks/>
            </p:cNvCxnSpPr>
            <p:nvPr/>
          </p:nvCxnSpPr>
          <p:spPr>
            <a:xfrm>
              <a:off x="2169542" y="3792679"/>
              <a:ext cx="1641113" cy="0"/>
            </a:xfrm>
            <a:prstGeom prst="line">
              <a:avLst/>
            </a:prstGeom>
            <a:noFill/>
            <a:ln w="12700" cap="flat">
              <a:solidFill>
                <a:schemeClr val="bg1">
                  <a:lumMod val="50000"/>
                </a:schemeClr>
              </a:solidFill>
              <a:prstDash val="solid"/>
              <a:miter/>
            </a:ln>
            <a:scene3d>
              <a:camera prst="isometricOffAxis1Right">
                <a:rot lat="0" lon="0" rev="0"/>
              </a:camera>
              <a:lightRig rig="flood" dir="t"/>
            </a:scene3d>
          </p:spPr>
        </p:cxnSp>
        <p:sp>
          <p:nvSpPr>
            <p:cNvPr id="156" name="Right Bracket 155">
              <a:extLst>
                <a:ext uri="{FF2B5EF4-FFF2-40B4-BE49-F238E27FC236}">
                  <a16:creationId xmlns:a16="http://schemas.microsoft.com/office/drawing/2014/main" id="{8F59A1AA-1742-B75E-8312-CCA60607529B}"/>
                </a:ext>
              </a:extLst>
            </p:cNvPr>
            <p:cNvSpPr/>
            <p:nvPr/>
          </p:nvSpPr>
          <p:spPr>
            <a:xfrm>
              <a:off x="2162196" y="2662299"/>
              <a:ext cx="449487" cy="2260760"/>
            </a:xfrm>
            <a:prstGeom prst="rightBracket">
              <a:avLst>
                <a:gd name="adj" fmla="val 98747"/>
              </a:avLst>
            </a:prstGeom>
            <a:noFill/>
            <a:ln w="12700" cap="flat">
              <a:solidFill>
                <a:schemeClr val="bg1">
                  <a:lumMod val="50000"/>
                </a:schemeClr>
              </a:solidFill>
              <a:prstDash val="solid"/>
              <a:miter/>
            </a:ln>
            <a:scene3d>
              <a:camera prst="isometricOffAxis1Right">
                <a:rot lat="0" lon="0" rev="0"/>
              </a:camera>
              <a:lightRig rig="flood" dir="t"/>
            </a:scene3d>
          </p:spPr>
          <p:txBody>
            <a:bodyPr rot="0" spcFirstLastPara="0" vertOverflow="overflow" horzOverflow="overflow" vert="horz" wrap="square" lIns="91440" tIns="1463040" rIns="91440" bIns="9144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600"/>
                </a:spcBef>
                <a:spcAft>
                  <a:spcPts val="600"/>
                </a:spcAft>
                <a:buClrTx/>
                <a:buSzTx/>
                <a:buFontTx/>
                <a:buNone/>
                <a:tabLst/>
                <a:defRPr/>
              </a:pPr>
              <a:endParaRPr kumimoji="0" lang="en-US" sz="1765" b="0" i="0" u="none" strike="noStrike" kern="0" cap="none" spc="0" normalizeH="0" baseline="0" noProof="0">
                <a:ln>
                  <a:noFill/>
                </a:ln>
                <a:gradFill>
                  <a:gsLst>
                    <a:gs pos="0">
                      <a:srgbClr val="000000"/>
                    </a:gs>
                    <a:gs pos="100000">
                      <a:srgbClr val="000000"/>
                    </a:gs>
                  </a:gsLst>
                  <a:lin ang="5400000" scaled="1"/>
                </a:gradFill>
                <a:effectLst/>
                <a:uLnTx/>
                <a:uFillTx/>
                <a:latin typeface="Segoe Sans Display Semibold"/>
                <a:ea typeface="+mn-ea"/>
                <a:cs typeface="+mn-cs"/>
              </a:endParaRPr>
            </a:p>
          </p:txBody>
        </p:sp>
      </p:grpSp>
      <p:grpSp>
        <p:nvGrpSpPr>
          <p:cNvPr id="224" name="Group 223">
            <a:extLst>
              <a:ext uri="{FF2B5EF4-FFF2-40B4-BE49-F238E27FC236}">
                <a16:creationId xmlns:a16="http://schemas.microsoft.com/office/drawing/2014/main" id="{E8B28664-BDC9-BABE-4DEE-2645621A79CE}"/>
              </a:ext>
              <a:ext uri="{C183D7F6-B498-43B3-948B-1728B52AA6E4}">
                <adec:decorative xmlns:adec="http://schemas.microsoft.com/office/drawing/2017/decorative" val="1"/>
              </a:ext>
            </a:extLst>
          </p:cNvPr>
          <p:cNvGrpSpPr/>
          <p:nvPr/>
        </p:nvGrpSpPr>
        <p:grpSpPr>
          <a:xfrm>
            <a:off x="2713538" y="2678603"/>
            <a:ext cx="1662910" cy="2260760"/>
            <a:chOff x="2101024" y="2662299"/>
            <a:chExt cx="1709631" cy="2260760"/>
          </a:xfrm>
        </p:grpSpPr>
        <p:cxnSp>
          <p:nvCxnSpPr>
            <p:cNvPr id="225" name="Straight Connector 224">
              <a:extLst>
                <a:ext uri="{FF2B5EF4-FFF2-40B4-BE49-F238E27FC236}">
                  <a16:creationId xmlns:a16="http://schemas.microsoft.com/office/drawing/2014/main" id="{A447270B-D300-4D76-BF98-CB9C4BF2B63B}"/>
                </a:ext>
              </a:extLst>
            </p:cNvPr>
            <p:cNvCxnSpPr>
              <a:cxnSpLocks/>
            </p:cNvCxnSpPr>
            <p:nvPr/>
          </p:nvCxnSpPr>
          <p:spPr>
            <a:xfrm>
              <a:off x="2101024" y="3792679"/>
              <a:ext cx="1709631" cy="0"/>
            </a:xfrm>
            <a:prstGeom prst="line">
              <a:avLst/>
            </a:prstGeom>
            <a:noFill/>
            <a:ln w="12700" cap="flat">
              <a:solidFill>
                <a:schemeClr val="bg1">
                  <a:lumMod val="50000"/>
                </a:schemeClr>
              </a:solidFill>
              <a:prstDash val="solid"/>
              <a:miter/>
            </a:ln>
            <a:scene3d>
              <a:camera prst="isometricOffAxis1Right">
                <a:rot lat="0" lon="0" rev="0"/>
              </a:camera>
              <a:lightRig rig="flood" dir="t"/>
            </a:scene3d>
          </p:spPr>
        </p:cxnSp>
        <p:sp>
          <p:nvSpPr>
            <p:cNvPr id="226" name="Right Bracket 225">
              <a:extLst>
                <a:ext uri="{FF2B5EF4-FFF2-40B4-BE49-F238E27FC236}">
                  <a16:creationId xmlns:a16="http://schemas.microsoft.com/office/drawing/2014/main" id="{232955E2-8A34-0E3F-193E-5C22ACF65132}"/>
                </a:ext>
              </a:extLst>
            </p:cNvPr>
            <p:cNvSpPr/>
            <p:nvPr/>
          </p:nvSpPr>
          <p:spPr>
            <a:xfrm>
              <a:off x="2162196" y="2662299"/>
              <a:ext cx="449487" cy="2260760"/>
            </a:xfrm>
            <a:prstGeom prst="rightBracket">
              <a:avLst>
                <a:gd name="adj" fmla="val 98747"/>
              </a:avLst>
            </a:prstGeom>
            <a:noFill/>
            <a:ln w="12700" cap="flat">
              <a:solidFill>
                <a:schemeClr val="bg1">
                  <a:lumMod val="50000"/>
                </a:schemeClr>
              </a:solidFill>
              <a:prstDash val="solid"/>
              <a:miter/>
            </a:ln>
            <a:scene3d>
              <a:camera prst="isometricOffAxis1Right">
                <a:rot lat="0" lon="0" rev="0"/>
              </a:camera>
              <a:lightRig rig="flood" dir="t"/>
            </a:scene3d>
          </p:spPr>
          <p:txBody>
            <a:bodyPr rot="0" spcFirstLastPara="0" vertOverflow="overflow" horzOverflow="overflow" vert="horz" wrap="square" lIns="91440" tIns="1463040" rIns="91440" bIns="9144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600"/>
                </a:spcBef>
                <a:spcAft>
                  <a:spcPts val="600"/>
                </a:spcAft>
                <a:buClrTx/>
                <a:buSzTx/>
                <a:buFontTx/>
                <a:buNone/>
                <a:tabLst/>
                <a:defRPr/>
              </a:pPr>
              <a:endParaRPr kumimoji="0" lang="en-US" sz="1765" b="0" i="0" u="none" strike="noStrike" kern="0" cap="none" spc="0" normalizeH="0" baseline="0" noProof="0">
                <a:ln>
                  <a:noFill/>
                </a:ln>
                <a:gradFill>
                  <a:gsLst>
                    <a:gs pos="0">
                      <a:srgbClr val="000000"/>
                    </a:gs>
                    <a:gs pos="100000">
                      <a:srgbClr val="000000"/>
                    </a:gs>
                  </a:gsLst>
                  <a:lin ang="5400000" scaled="1"/>
                </a:gradFill>
                <a:effectLst/>
                <a:uLnTx/>
                <a:uFillTx/>
                <a:latin typeface="Segoe Sans Display Semibold"/>
                <a:ea typeface="+mn-ea"/>
                <a:cs typeface="+mn-cs"/>
              </a:endParaRPr>
            </a:p>
          </p:txBody>
        </p:sp>
      </p:grpSp>
      <p:sp>
        <p:nvSpPr>
          <p:cNvPr id="158" name="TextBox 157">
            <a:extLst>
              <a:ext uri="{FF2B5EF4-FFF2-40B4-BE49-F238E27FC236}">
                <a16:creationId xmlns:a16="http://schemas.microsoft.com/office/drawing/2014/main" id="{50B81BE1-38BC-4DA7-67B4-3B5D31B5755B}"/>
              </a:ext>
            </a:extLst>
          </p:cNvPr>
          <p:cNvSpPr txBox="1"/>
          <p:nvPr/>
        </p:nvSpPr>
        <p:spPr>
          <a:xfrm>
            <a:off x="1770727" y="3024197"/>
            <a:ext cx="939681" cy="307777"/>
          </a:xfrm>
          <a:prstGeom prst="rect">
            <a:avLst/>
          </a:prstGeom>
        </p:spPr>
        <p:txBody>
          <a:bodyPr wrap="none" anchor="ctr" anchorCtr="0">
            <a:spAutoFit/>
          </a:bodyPr>
          <a:lstStyle>
            <a:defPPr>
              <a:defRPr lang="en-US"/>
            </a:defPPr>
            <a:lvl1pPr marR="0" lvl="0" indent="0" algn="ctr" defTabSz="922530" fontAlgn="auto">
              <a:lnSpc>
                <a:spcPct val="100000"/>
              </a:lnSpc>
              <a:spcBef>
                <a:spcPts val="0"/>
              </a:spcBef>
              <a:spcAft>
                <a:spcPts val="606"/>
              </a:spcAft>
              <a:buClrTx/>
              <a:buSzTx/>
              <a:buFontTx/>
              <a:buNone/>
              <a:tabLst/>
              <a:defRPr sz="1600">
                <a:gradFill>
                  <a:gsLst>
                    <a:gs pos="8621">
                      <a:srgbClr val="FFFFFF"/>
                    </a:gs>
                    <a:gs pos="20225">
                      <a:srgbClr val="FFFFFF"/>
                    </a:gs>
                  </a:gsLst>
                  <a:lin ang="5400000" scaled="1"/>
                </a:gradFill>
                <a:latin typeface="Segoe UI Semibold"/>
              </a:defRPr>
            </a:lvl1pPr>
          </a:lstStyle>
          <a:p>
            <a:pPr marL="0" marR="0" lvl="0" indent="0" algn="ctr" defTabSz="922530" rtl="0" eaLnBrk="1" fontAlgn="auto" latinLnBrk="0" hangingPunct="1">
              <a:lnSpc>
                <a:spcPct val="100000"/>
              </a:lnSpc>
              <a:spcBef>
                <a:spcPts val="0"/>
              </a:spcBef>
              <a:spcAft>
                <a:spcPts val="606"/>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Display Semibold"/>
                <a:ea typeface="+mn-ea"/>
                <a:cs typeface="+mn-cs"/>
              </a:rPr>
              <a:t>Identities</a:t>
            </a:r>
          </a:p>
        </p:txBody>
      </p:sp>
      <p:sp>
        <p:nvSpPr>
          <p:cNvPr id="160" name="TextBox 159">
            <a:extLst>
              <a:ext uri="{FF2B5EF4-FFF2-40B4-BE49-F238E27FC236}">
                <a16:creationId xmlns:a16="http://schemas.microsoft.com/office/drawing/2014/main" id="{AA3C3881-61EB-049A-6019-67FE60F6AAAB}"/>
              </a:ext>
            </a:extLst>
          </p:cNvPr>
          <p:cNvSpPr txBox="1"/>
          <p:nvPr/>
        </p:nvSpPr>
        <p:spPr>
          <a:xfrm>
            <a:off x="1797529" y="4142310"/>
            <a:ext cx="886076" cy="307777"/>
          </a:xfrm>
          <a:prstGeom prst="rect">
            <a:avLst/>
          </a:prstGeom>
        </p:spPr>
        <p:txBody>
          <a:bodyPr wrap="none" anchor="ctr" anchorCtr="0">
            <a:spAutoFit/>
          </a:bodyPr>
          <a:lstStyle>
            <a:defPPr>
              <a:defRPr lang="en-US"/>
            </a:defPPr>
            <a:lvl1pPr marR="0" lvl="0" indent="0" algn="ctr" defTabSz="922530" fontAlgn="auto">
              <a:lnSpc>
                <a:spcPct val="100000"/>
              </a:lnSpc>
              <a:spcBef>
                <a:spcPts val="0"/>
              </a:spcBef>
              <a:spcAft>
                <a:spcPts val="606"/>
              </a:spcAft>
              <a:buClrTx/>
              <a:buSzTx/>
              <a:buFontTx/>
              <a:buNone/>
              <a:tabLst/>
              <a:defRPr sz="1600">
                <a:gradFill>
                  <a:gsLst>
                    <a:gs pos="8621">
                      <a:srgbClr val="FFFFFF"/>
                    </a:gs>
                    <a:gs pos="20225">
                      <a:srgbClr val="FFFFFF"/>
                    </a:gs>
                  </a:gsLst>
                  <a:lin ang="5400000" scaled="1"/>
                </a:gradFill>
                <a:latin typeface="Segoe UI Semibold"/>
              </a:defRPr>
            </a:lvl1pPr>
          </a:lstStyle>
          <a:p>
            <a:pPr marL="0" marR="0" lvl="0" indent="0" algn="ctr" defTabSz="922530" rtl="0" eaLnBrk="1" fontAlgn="auto" latinLnBrk="0" hangingPunct="1">
              <a:lnSpc>
                <a:spcPct val="100000"/>
              </a:lnSpc>
              <a:spcBef>
                <a:spcPts val="0"/>
              </a:spcBef>
              <a:spcAft>
                <a:spcPts val="606"/>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Display Semibold"/>
                <a:ea typeface="+mn-ea"/>
                <a:cs typeface="+mn-cs"/>
              </a:rPr>
              <a:t>Network</a:t>
            </a:r>
          </a:p>
        </p:txBody>
      </p:sp>
      <p:sp>
        <p:nvSpPr>
          <p:cNvPr id="161" name="TextBox 160">
            <a:extLst>
              <a:ext uri="{FF2B5EF4-FFF2-40B4-BE49-F238E27FC236}">
                <a16:creationId xmlns:a16="http://schemas.microsoft.com/office/drawing/2014/main" id="{C0E888A1-C4E3-05FE-D19D-47E51AF73E8A}"/>
              </a:ext>
            </a:extLst>
          </p:cNvPr>
          <p:cNvSpPr txBox="1"/>
          <p:nvPr/>
        </p:nvSpPr>
        <p:spPr>
          <a:xfrm>
            <a:off x="1742675" y="5298952"/>
            <a:ext cx="995785" cy="307777"/>
          </a:xfrm>
          <a:prstGeom prst="rect">
            <a:avLst/>
          </a:prstGeom>
        </p:spPr>
        <p:txBody>
          <a:bodyPr wrap="none" anchor="ctr" anchorCtr="0">
            <a:spAutoFit/>
          </a:bodyPr>
          <a:lstStyle>
            <a:defPPr>
              <a:defRPr lang="en-US"/>
            </a:defPPr>
            <a:lvl1pPr marR="0" lvl="0" indent="0" algn="ctr" defTabSz="922530" fontAlgn="auto">
              <a:lnSpc>
                <a:spcPct val="100000"/>
              </a:lnSpc>
              <a:spcBef>
                <a:spcPts val="0"/>
              </a:spcBef>
              <a:spcAft>
                <a:spcPts val="606"/>
              </a:spcAft>
              <a:buClrTx/>
              <a:buSzTx/>
              <a:buFontTx/>
              <a:buNone/>
              <a:tabLst/>
              <a:defRPr sz="1600">
                <a:gradFill>
                  <a:gsLst>
                    <a:gs pos="8621">
                      <a:srgbClr val="FFFFFF"/>
                    </a:gs>
                    <a:gs pos="20225">
                      <a:srgbClr val="FFFFFF"/>
                    </a:gs>
                  </a:gsLst>
                  <a:lin ang="5400000" scaled="1"/>
                </a:gradFill>
                <a:latin typeface="Segoe UI Semibold"/>
              </a:defRPr>
            </a:lvl1pPr>
          </a:lstStyle>
          <a:p>
            <a:pPr marL="0" marR="0" lvl="0" indent="0" algn="ctr" defTabSz="922530" rtl="0" eaLnBrk="1" fontAlgn="auto" latinLnBrk="0" hangingPunct="1">
              <a:lnSpc>
                <a:spcPct val="100000"/>
              </a:lnSpc>
              <a:spcBef>
                <a:spcPts val="0"/>
              </a:spcBef>
              <a:spcAft>
                <a:spcPts val="606"/>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Display Semibold"/>
                <a:ea typeface="+mn-ea"/>
                <a:cs typeface="+mn-cs"/>
              </a:rPr>
              <a:t>Endpoints</a:t>
            </a:r>
          </a:p>
        </p:txBody>
      </p:sp>
      <p:grpSp>
        <p:nvGrpSpPr>
          <p:cNvPr id="162" name="Group 161">
            <a:extLst>
              <a:ext uri="{FF2B5EF4-FFF2-40B4-BE49-F238E27FC236}">
                <a16:creationId xmlns:a16="http://schemas.microsoft.com/office/drawing/2014/main" id="{98C30766-4F94-C116-D674-14CD30552C09}"/>
              </a:ext>
              <a:ext uri="{C183D7F6-B498-43B3-948B-1728B52AA6E4}">
                <adec:decorative xmlns:adec="http://schemas.microsoft.com/office/drawing/2017/decorative" val="1"/>
              </a:ext>
            </a:extLst>
          </p:cNvPr>
          <p:cNvGrpSpPr/>
          <p:nvPr/>
        </p:nvGrpSpPr>
        <p:grpSpPr>
          <a:xfrm>
            <a:off x="1906475" y="4612503"/>
            <a:ext cx="668037" cy="668037"/>
            <a:chOff x="412526" y="5127791"/>
            <a:chExt cx="668037" cy="668037"/>
          </a:xfrm>
        </p:grpSpPr>
        <p:sp>
          <p:nvSpPr>
            <p:cNvPr id="163" name="Oval 162">
              <a:extLst>
                <a:ext uri="{FF2B5EF4-FFF2-40B4-BE49-F238E27FC236}">
                  <a16:creationId xmlns:a16="http://schemas.microsoft.com/office/drawing/2014/main" id="{1E5937F7-5AC6-E0D3-723E-442CA06CBC6E}"/>
                </a:ext>
              </a:extLst>
            </p:cNvPr>
            <p:cNvSpPr/>
            <p:nvPr/>
          </p:nvSpPr>
          <p:spPr bwMode="auto">
            <a:xfrm>
              <a:off x="412526" y="5127791"/>
              <a:ext cx="668037" cy="668037"/>
            </a:xfrm>
            <a:prstGeom prst="ellipse">
              <a:avLst/>
            </a:prstGeom>
            <a:solidFill>
              <a:schemeClr val="bg1"/>
            </a:solidFill>
            <a:ln w="28575">
              <a:solidFill>
                <a:srgbClr val="A4EE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Sans Display Semibold"/>
                <a:ea typeface="+mn-ea"/>
                <a:cs typeface="Segoe UI" pitchFamily="34" charset="0"/>
              </a:endParaRPr>
            </a:p>
          </p:txBody>
        </p:sp>
        <p:pic>
          <p:nvPicPr>
            <p:cNvPr id="164" name="Graphic 163">
              <a:extLst>
                <a:ext uri="{FF2B5EF4-FFF2-40B4-BE49-F238E27FC236}">
                  <a16:creationId xmlns:a16="http://schemas.microsoft.com/office/drawing/2014/main" id="{16CE7108-96A5-CE92-14BF-2EE0B2BA0FD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5017" y="5280282"/>
              <a:ext cx="363055" cy="363055"/>
            </a:xfrm>
            <a:prstGeom prst="rect">
              <a:avLst/>
            </a:prstGeom>
          </p:spPr>
        </p:pic>
      </p:grpSp>
      <p:grpSp>
        <p:nvGrpSpPr>
          <p:cNvPr id="165" name="Group 164">
            <a:extLst>
              <a:ext uri="{FF2B5EF4-FFF2-40B4-BE49-F238E27FC236}">
                <a16:creationId xmlns:a16="http://schemas.microsoft.com/office/drawing/2014/main" id="{5E8E80DD-60E5-2392-516D-856A7D26DD1D}"/>
              </a:ext>
              <a:ext uri="{C183D7F6-B498-43B3-948B-1728B52AA6E4}">
                <adec:decorative xmlns:adec="http://schemas.microsoft.com/office/drawing/2017/decorative" val="1"/>
              </a:ext>
            </a:extLst>
          </p:cNvPr>
          <p:cNvGrpSpPr/>
          <p:nvPr/>
        </p:nvGrpSpPr>
        <p:grpSpPr>
          <a:xfrm>
            <a:off x="1906475" y="2336862"/>
            <a:ext cx="668037" cy="668037"/>
            <a:chOff x="412526" y="1740643"/>
            <a:chExt cx="668037" cy="668037"/>
          </a:xfrm>
        </p:grpSpPr>
        <p:sp>
          <p:nvSpPr>
            <p:cNvPr id="166" name="Oval 165">
              <a:extLst>
                <a:ext uri="{FF2B5EF4-FFF2-40B4-BE49-F238E27FC236}">
                  <a16:creationId xmlns:a16="http://schemas.microsoft.com/office/drawing/2014/main" id="{DE03F7BC-30A1-ABF1-0AD6-845A34551777}"/>
                </a:ext>
              </a:extLst>
            </p:cNvPr>
            <p:cNvSpPr/>
            <p:nvPr/>
          </p:nvSpPr>
          <p:spPr bwMode="auto">
            <a:xfrm>
              <a:off x="412526" y="1740643"/>
              <a:ext cx="668037" cy="668037"/>
            </a:xfrm>
            <a:prstGeom prst="ellipse">
              <a:avLst/>
            </a:prstGeom>
            <a:solidFill>
              <a:schemeClr val="bg1"/>
            </a:solidFill>
            <a:ln w="28575">
              <a:solidFill>
                <a:srgbClr val="599FF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Sans Display Semibold"/>
                <a:ea typeface="+mn-ea"/>
                <a:cs typeface="Segoe UI" pitchFamily="34" charset="0"/>
              </a:endParaRPr>
            </a:p>
          </p:txBody>
        </p:sp>
        <p:pic>
          <p:nvPicPr>
            <p:cNvPr id="167" name="Graphic 166">
              <a:extLst>
                <a:ext uri="{FF2B5EF4-FFF2-40B4-BE49-F238E27FC236}">
                  <a16:creationId xmlns:a16="http://schemas.microsoft.com/office/drawing/2014/main" id="{1BE53A0B-6A40-9345-D34C-A3FD8017ECB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17352" y="1835945"/>
              <a:ext cx="458384" cy="458384"/>
            </a:xfrm>
            <a:prstGeom prst="rect">
              <a:avLst/>
            </a:prstGeom>
          </p:spPr>
        </p:pic>
      </p:grpSp>
      <p:grpSp>
        <p:nvGrpSpPr>
          <p:cNvPr id="168" name="Group 167">
            <a:extLst>
              <a:ext uri="{FF2B5EF4-FFF2-40B4-BE49-F238E27FC236}">
                <a16:creationId xmlns:a16="http://schemas.microsoft.com/office/drawing/2014/main" id="{5E3EBD27-B0BC-823F-7426-3D7648A7F10A}"/>
              </a:ext>
              <a:ext uri="{C183D7F6-B498-43B3-948B-1728B52AA6E4}">
                <adec:decorative xmlns:adec="http://schemas.microsoft.com/office/drawing/2017/decorative" val="1"/>
              </a:ext>
            </a:extLst>
          </p:cNvPr>
          <p:cNvGrpSpPr/>
          <p:nvPr/>
        </p:nvGrpSpPr>
        <p:grpSpPr>
          <a:xfrm>
            <a:off x="1906475" y="3461016"/>
            <a:ext cx="668037" cy="668037"/>
            <a:chOff x="412526" y="4015970"/>
            <a:chExt cx="668037" cy="668037"/>
          </a:xfrm>
        </p:grpSpPr>
        <p:sp>
          <p:nvSpPr>
            <p:cNvPr id="169" name="Oval 168">
              <a:extLst>
                <a:ext uri="{FF2B5EF4-FFF2-40B4-BE49-F238E27FC236}">
                  <a16:creationId xmlns:a16="http://schemas.microsoft.com/office/drawing/2014/main" id="{54B1D96A-4675-3AF8-F2A1-D0BB8920F289}"/>
                </a:ext>
              </a:extLst>
            </p:cNvPr>
            <p:cNvSpPr/>
            <p:nvPr/>
          </p:nvSpPr>
          <p:spPr bwMode="auto">
            <a:xfrm>
              <a:off x="412526" y="4015970"/>
              <a:ext cx="668037" cy="668037"/>
            </a:xfrm>
            <a:prstGeom prst="ellipse">
              <a:avLst/>
            </a:prstGeom>
            <a:solidFill>
              <a:schemeClr val="bg1"/>
            </a:solidFill>
            <a:ln w="28575">
              <a:solidFill>
                <a:srgbClr val="A5B8E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Sans Display Semibold"/>
                <a:ea typeface="+mn-ea"/>
                <a:cs typeface="Segoe UI" pitchFamily="34" charset="0"/>
              </a:endParaRPr>
            </a:p>
          </p:txBody>
        </p:sp>
        <p:pic>
          <p:nvPicPr>
            <p:cNvPr id="170" name="Graphic 169">
              <a:extLst>
                <a:ext uri="{FF2B5EF4-FFF2-40B4-BE49-F238E27FC236}">
                  <a16:creationId xmlns:a16="http://schemas.microsoft.com/office/drawing/2014/main" id="{6921C57C-2F21-C654-5115-2A667F0807A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23964" y="4127408"/>
              <a:ext cx="445160" cy="445160"/>
            </a:xfrm>
            <a:prstGeom prst="rect">
              <a:avLst/>
            </a:prstGeom>
          </p:spPr>
        </p:pic>
      </p:grpSp>
      <p:sp>
        <p:nvSpPr>
          <p:cNvPr id="230" name="TextBox 229">
            <a:extLst>
              <a:ext uri="{FF2B5EF4-FFF2-40B4-BE49-F238E27FC236}">
                <a16:creationId xmlns:a16="http://schemas.microsoft.com/office/drawing/2014/main" id="{9C21097E-D884-33D7-E87D-07C5F6513779}"/>
              </a:ext>
            </a:extLst>
          </p:cNvPr>
          <p:cNvSpPr txBox="1"/>
          <p:nvPr/>
        </p:nvSpPr>
        <p:spPr>
          <a:xfrm>
            <a:off x="9330111" y="3024197"/>
            <a:ext cx="1242649" cy="307777"/>
          </a:xfrm>
          <a:prstGeom prst="rect">
            <a:avLst/>
          </a:prstGeom>
        </p:spPr>
        <p:txBody>
          <a:bodyPr wrap="none" anchor="ctr" anchorCtr="0">
            <a:spAutoFit/>
          </a:bodyPr>
          <a:lstStyle>
            <a:defPPr>
              <a:defRPr lang="en-US"/>
            </a:defPPr>
            <a:lvl1pPr marR="0" lvl="0" indent="0" algn="ctr" defTabSz="922530" fontAlgn="auto">
              <a:lnSpc>
                <a:spcPct val="100000"/>
              </a:lnSpc>
              <a:spcBef>
                <a:spcPts val="0"/>
              </a:spcBef>
              <a:spcAft>
                <a:spcPts val="606"/>
              </a:spcAft>
              <a:buClrTx/>
              <a:buSzTx/>
              <a:buFontTx/>
              <a:buNone/>
              <a:tabLst/>
              <a:defRPr sz="1600">
                <a:gradFill>
                  <a:gsLst>
                    <a:gs pos="8621">
                      <a:srgbClr val="FFFFFF"/>
                    </a:gs>
                    <a:gs pos="20225">
                      <a:srgbClr val="FFFFFF"/>
                    </a:gs>
                  </a:gsLst>
                  <a:lin ang="5400000" scaled="1"/>
                </a:gradFill>
                <a:latin typeface="Segoe UI Semibold"/>
              </a:defRPr>
            </a:lvl1pPr>
          </a:lstStyle>
          <a:p>
            <a:pPr marL="0" marR="0" lvl="0" indent="0" algn="ctr" defTabSz="922530" rtl="0" eaLnBrk="1" fontAlgn="auto" latinLnBrk="0" hangingPunct="1">
              <a:lnSpc>
                <a:spcPct val="100000"/>
              </a:lnSpc>
              <a:spcBef>
                <a:spcPts val="0"/>
              </a:spcBef>
              <a:spcAft>
                <a:spcPts val="606"/>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Display Semibold"/>
                <a:ea typeface="+mn-ea"/>
                <a:cs typeface="+mn-cs"/>
              </a:rPr>
              <a:t>Applications</a:t>
            </a:r>
          </a:p>
        </p:txBody>
      </p:sp>
      <p:sp>
        <p:nvSpPr>
          <p:cNvPr id="231" name="TextBox 230">
            <a:extLst>
              <a:ext uri="{FF2B5EF4-FFF2-40B4-BE49-F238E27FC236}">
                <a16:creationId xmlns:a16="http://schemas.microsoft.com/office/drawing/2014/main" id="{9F9A36CD-647B-F3FE-864C-503339BF94F5}"/>
              </a:ext>
            </a:extLst>
          </p:cNvPr>
          <p:cNvSpPr txBox="1"/>
          <p:nvPr/>
        </p:nvSpPr>
        <p:spPr>
          <a:xfrm>
            <a:off x="9669945" y="4142310"/>
            <a:ext cx="562975" cy="307777"/>
          </a:xfrm>
          <a:prstGeom prst="rect">
            <a:avLst/>
          </a:prstGeom>
        </p:spPr>
        <p:txBody>
          <a:bodyPr wrap="none" anchor="ctr" anchorCtr="0">
            <a:spAutoFit/>
          </a:bodyPr>
          <a:lstStyle>
            <a:defPPr>
              <a:defRPr lang="en-US"/>
            </a:defPPr>
            <a:lvl1pPr marR="0" lvl="0" indent="0" algn="ctr" defTabSz="922530" fontAlgn="auto">
              <a:lnSpc>
                <a:spcPct val="100000"/>
              </a:lnSpc>
              <a:spcBef>
                <a:spcPts val="0"/>
              </a:spcBef>
              <a:spcAft>
                <a:spcPts val="606"/>
              </a:spcAft>
              <a:buClrTx/>
              <a:buSzTx/>
              <a:buFontTx/>
              <a:buNone/>
              <a:tabLst/>
              <a:defRPr sz="1600">
                <a:gradFill>
                  <a:gsLst>
                    <a:gs pos="8621">
                      <a:srgbClr val="FFFFFF"/>
                    </a:gs>
                    <a:gs pos="20225">
                      <a:srgbClr val="FFFFFF"/>
                    </a:gs>
                  </a:gsLst>
                  <a:lin ang="5400000" scaled="1"/>
                </a:gradFill>
                <a:latin typeface="Segoe UI Semibold"/>
              </a:defRPr>
            </a:lvl1pPr>
          </a:lstStyle>
          <a:p>
            <a:pPr marL="0" marR="0" lvl="0" indent="0" algn="ctr" defTabSz="922530" rtl="0" eaLnBrk="1" fontAlgn="auto" latinLnBrk="0" hangingPunct="1">
              <a:lnSpc>
                <a:spcPct val="100000"/>
              </a:lnSpc>
              <a:spcBef>
                <a:spcPts val="0"/>
              </a:spcBef>
              <a:spcAft>
                <a:spcPts val="606"/>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Display Semibold"/>
                <a:ea typeface="+mn-ea"/>
                <a:cs typeface="+mn-cs"/>
              </a:rPr>
              <a:t>Data</a:t>
            </a:r>
          </a:p>
        </p:txBody>
      </p:sp>
      <p:sp>
        <p:nvSpPr>
          <p:cNvPr id="232" name="TextBox 231">
            <a:extLst>
              <a:ext uri="{FF2B5EF4-FFF2-40B4-BE49-F238E27FC236}">
                <a16:creationId xmlns:a16="http://schemas.microsoft.com/office/drawing/2014/main" id="{5A988E24-53F7-A0A8-ADD4-E643950F0558}"/>
              </a:ext>
            </a:extLst>
          </p:cNvPr>
          <p:cNvSpPr txBox="1"/>
          <p:nvPr/>
        </p:nvSpPr>
        <p:spPr>
          <a:xfrm>
            <a:off x="9274422" y="5298952"/>
            <a:ext cx="1354025" cy="307777"/>
          </a:xfrm>
          <a:prstGeom prst="rect">
            <a:avLst/>
          </a:prstGeom>
        </p:spPr>
        <p:txBody>
          <a:bodyPr wrap="none" anchor="ctr" anchorCtr="0">
            <a:spAutoFit/>
          </a:bodyPr>
          <a:lstStyle>
            <a:defPPr>
              <a:defRPr lang="en-US"/>
            </a:defPPr>
            <a:lvl1pPr marR="0" lvl="0" indent="0" algn="ctr" defTabSz="922530" fontAlgn="auto">
              <a:lnSpc>
                <a:spcPct val="100000"/>
              </a:lnSpc>
              <a:spcBef>
                <a:spcPts val="0"/>
              </a:spcBef>
              <a:spcAft>
                <a:spcPts val="606"/>
              </a:spcAft>
              <a:buClrTx/>
              <a:buSzTx/>
              <a:buFontTx/>
              <a:buNone/>
              <a:tabLst/>
              <a:defRPr sz="1600">
                <a:gradFill>
                  <a:gsLst>
                    <a:gs pos="8621">
                      <a:srgbClr val="FFFFFF"/>
                    </a:gs>
                    <a:gs pos="20225">
                      <a:srgbClr val="FFFFFF"/>
                    </a:gs>
                  </a:gsLst>
                  <a:lin ang="5400000" scaled="1"/>
                </a:gradFill>
                <a:latin typeface="Segoe UI Semibold"/>
              </a:defRPr>
            </a:lvl1pPr>
          </a:lstStyle>
          <a:p>
            <a:pPr marL="0" marR="0" lvl="0" indent="0" algn="ctr" defTabSz="922530" rtl="0" eaLnBrk="1" fontAlgn="auto" latinLnBrk="0" hangingPunct="1">
              <a:lnSpc>
                <a:spcPct val="100000"/>
              </a:lnSpc>
              <a:spcBef>
                <a:spcPts val="0"/>
              </a:spcBef>
              <a:spcAft>
                <a:spcPts val="606"/>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Display Semibold"/>
                <a:ea typeface="+mn-ea"/>
                <a:cs typeface="+mn-cs"/>
              </a:rPr>
              <a:t>Infrastructure</a:t>
            </a:r>
          </a:p>
        </p:txBody>
      </p:sp>
      <p:sp>
        <p:nvSpPr>
          <p:cNvPr id="240" name="Oval 239">
            <a:extLst>
              <a:ext uri="{FF2B5EF4-FFF2-40B4-BE49-F238E27FC236}">
                <a16:creationId xmlns:a16="http://schemas.microsoft.com/office/drawing/2014/main" id="{C4BB346F-D243-0FB7-2CBB-C8CA3FB3CEA2}"/>
              </a:ext>
              <a:ext uri="{C183D7F6-B498-43B3-948B-1728B52AA6E4}">
                <adec:decorative xmlns:adec="http://schemas.microsoft.com/office/drawing/2017/decorative" val="1"/>
              </a:ext>
            </a:extLst>
          </p:cNvPr>
          <p:cNvSpPr/>
          <p:nvPr/>
        </p:nvSpPr>
        <p:spPr bwMode="auto">
          <a:xfrm>
            <a:off x="9617340" y="4612503"/>
            <a:ext cx="668037" cy="668037"/>
          </a:xfrm>
          <a:prstGeom prst="ellipse">
            <a:avLst/>
          </a:prstGeom>
          <a:solidFill>
            <a:schemeClr val="bg1"/>
          </a:solidFill>
          <a:ln w="28575">
            <a:solidFill>
              <a:srgbClr val="A4EE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Sans Display Semibold"/>
              <a:ea typeface="+mn-ea"/>
              <a:cs typeface="Segoe UI" pitchFamily="34" charset="0"/>
            </a:endParaRPr>
          </a:p>
        </p:txBody>
      </p:sp>
      <p:sp>
        <p:nvSpPr>
          <p:cNvPr id="238" name="Oval 237">
            <a:extLst>
              <a:ext uri="{FF2B5EF4-FFF2-40B4-BE49-F238E27FC236}">
                <a16:creationId xmlns:a16="http://schemas.microsoft.com/office/drawing/2014/main" id="{451BF78B-66A6-1D5E-DFF4-2C5F0A03506E}"/>
              </a:ext>
              <a:ext uri="{C183D7F6-B498-43B3-948B-1728B52AA6E4}">
                <adec:decorative xmlns:adec="http://schemas.microsoft.com/office/drawing/2017/decorative" val="1"/>
              </a:ext>
            </a:extLst>
          </p:cNvPr>
          <p:cNvSpPr/>
          <p:nvPr/>
        </p:nvSpPr>
        <p:spPr bwMode="auto">
          <a:xfrm>
            <a:off x="9617340" y="2336862"/>
            <a:ext cx="668037" cy="668037"/>
          </a:xfrm>
          <a:prstGeom prst="ellipse">
            <a:avLst/>
          </a:prstGeom>
          <a:solidFill>
            <a:schemeClr val="bg1"/>
          </a:solidFill>
          <a:ln w="28575">
            <a:solidFill>
              <a:srgbClr val="599FF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Sans Display Semibold"/>
              <a:ea typeface="+mn-ea"/>
              <a:cs typeface="Segoe UI" pitchFamily="34" charset="0"/>
            </a:endParaRPr>
          </a:p>
        </p:txBody>
      </p:sp>
      <p:sp>
        <p:nvSpPr>
          <p:cNvPr id="236" name="Oval 235">
            <a:extLst>
              <a:ext uri="{FF2B5EF4-FFF2-40B4-BE49-F238E27FC236}">
                <a16:creationId xmlns:a16="http://schemas.microsoft.com/office/drawing/2014/main" id="{A696BD9C-8C5F-4E4B-C356-CF3BCCE0A5AA}"/>
              </a:ext>
              <a:ext uri="{C183D7F6-B498-43B3-948B-1728B52AA6E4}">
                <adec:decorative xmlns:adec="http://schemas.microsoft.com/office/drawing/2017/decorative" val="1"/>
              </a:ext>
            </a:extLst>
          </p:cNvPr>
          <p:cNvSpPr/>
          <p:nvPr/>
        </p:nvSpPr>
        <p:spPr bwMode="auto">
          <a:xfrm>
            <a:off x="9617340" y="3461016"/>
            <a:ext cx="668037" cy="668037"/>
          </a:xfrm>
          <a:prstGeom prst="ellipse">
            <a:avLst/>
          </a:prstGeom>
          <a:solidFill>
            <a:schemeClr val="bg1"/>
          </a:solidFill>
          <a:ln w="28575">
            <a:solidFill>
              <a:srgbClr val="A5B8E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Sans Display Semibold"/>
              <a:ea typeface="+mn-ea"/>
              <a:cs typeface="Segoe UI" pitchFamily="34" charset="0"/>
            </a:endParaRPr>
          </a:p>
        </p:txBody>
      </p:sp>
      <p:sp>
        <p:nvSpPr>
          <p:cNvPr id="244" name="Rectangle: Rounded Corners 243">
            <a:extLst>
              <a:ext uri="{FF2B5EF4-FFF2-40B4-BE49-F238E27FC236}">
                <a16:creationId xmlns:a16="http://schemas.microsoft.com/office/drawing/2014/main" id="{5D9D3306-648D-9B2D-8630-AA31A81DBB6C}"/>
              </a:ext>
              <a:ext uri="{C183D7F6-B498-43B3-948B-1728B52AA6E4}">
                <adec:decorative xmlns:adec="http://schemas.microsoft.com/office/drawing/2017/decorative" val="1"/>
              </a:ext>
            </a:extLst>
          </p:cNvPr>
          <p:cNvSpPr/>
          <p:nvPr/>
        </p:nvSpPr>
        <p:spPr bwMode="auto">
          <a:xfrm>
            <a:off x="9163378" y="1921965"/>
            <a:ext cx="1563927" cy="3776853"/>
          </a:xfrm>
          <a:prstGeom prst="roundRect">
            <a:avLst/>
          </a:prstGeom>
          <a:noFill/>
          <a:ln w="28575" cap="flat" cmpd="sng" algn="ctr">
            <a:gradFill>
              <a:gsLst>
                <a:gs pos="0">
                  <a:srgbClr val="599FFD"/>
                </a:gs>
                <a:gs pos="100000">
                  <a:srgbClr val="FADC14"/>
                </a:gs>
              </a:gsLst>
              <a:lin ang="5400000" scaled="1"/>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91F2C"/>
              </a:solidFill>
              <a:effectLst/>
              <a:uLnTx/>
              <a:uFillTx/>
              <a:latin typeface="Segoe UI Variable Display"/>
              <a:ea typeface="+mn-ea"/>
              <a:cs typeface="Segoe UI" pitchFamily="34" charset="0"/>
            </a:endParaRPr>
          </a:p>
        </p:txBody>
      </p:sp>
      <p:sp>
        <p:nvSpPr>
          <p:cNvPr id="245" name="Graphic 105">
            <a:extLst>
              <a:ext uri="{FF2B5EF4-FFF2-40B4-BE49-F238E27FC236}">
                <a16:creationId xmlns:a16="http://schemas.microsoft.com/office/drawing/2014/main" id="{FCB6A602-0491-C1E3-8509-EF4D6449C5AD}"/>
              </a:ext>
              <a:ext uri="{C183D7F6-B498-43B3-948B-1728B52AA6E4}">
                <adec:decorative xmlns:adec="http://schemas.microsoft.com/office/drawing/2017/decorative" val="1"/>
              </a:ext>
            </a:extLst>
          </p:cNvPr>
          <p:cNvSpPr/>
          <p:nvPr/>
        </p:nvSpPr>
        <p:spPr>
          <a:xfrm>
            <a:off x="9859918" y="4794121"/>
            <a:ext cx="182880" cy="304800"/>
          </a:xfrm>
          <a:custGeom>
            <a:avLst/>
            <a:gdLst>
              <a:gd name="connsiteX0" fmla="*/ 49530 w 182880"/>
              <a:gd name="connsiteY0" fmla="*/ 60960 h 304800"/>
              <a:gd name="connsiteX1" fmla="*/ 38100 w 182880"/>
              <a:gd name="connsiteY1" fmla="*/ 72390 h 304800"/>
              <a:gd name="connsiteX2" fmla="*/ 49530 w 182880"/>
              <a:gd name="connsiteY2" fmla="*/ 83820 h 304800"/>
              <a:gd name="connsiteX3" fmla="*/ 133350 w 182880"/>
              <a:gd name="connsiteY3" fmla="*/ 83820 h 304800"/>
              <a:gd name="connsiteX4" fmla="*/ 144780 w 182880"/>
              <a:gd name="connsiteY4" fmla="*/ 72390 h 304800"/>
              <a:gd name="connsiteX5" fmla="*/ 133350 w 182880"/>
              <a:gd name="connsiteY5" fmla="*/ 60960 h 304800"/>
              <a:gd name="connsiteX6" fmla="*/ 49530 w 182880"/>
              <a:gd name="connsiteY6" fmla="*/ 60960 h 304800"/>
              <a:gd name="connsiteX7" fmla="*/ 38100 w 182880"/>
              <a:gd name="connsiteY7" fmla="*/ 240030 h 304800"/>
              <a:gd name="connsiteX8" fmla="*/ 49530 w 182880"/>
              <a:gd name="connsiteY8" fmla="*/ 228600 h 304800"/>
              <a:gd name="connsiteX9" fmla="*/ 133350 w 182880"/>
              <a:gd name="connsiteY9" fmla="*/ 228600 h 304800"/>
              <a:gd name="connsiteX10" fmla="*/ 144780 w 182880"/>
              <a:gd name="connsiteY10" fmla="*/ 240030 h 304800"/>
              <a:gd name="connsiteX11" fmla="*/ 133350 w 182880"/>
              <a:gd name="connsiteY11" fmla="*/ 251460 h 304800"/>
              <a:gd name="connsiteX12" fmla="*/ 49530 w 182880"/>
              <a:gd name="connsiteY12" fmla="*/ 251460 h 304800"/>
              <a:gd name="connsiteX13" fmla="*/ 38100 w 182880"/>
              <a:gd name="connsiteY13" fmla="*/ 240030 h 304800"/>
              <a:gd name="connsiteX14" fmla="*/ 49530 w 182880"/>
              <a:gd name="connsiteY14" fmla="*/ 182880 h 304800"/>
              <a:gd name="connsiteX15" fmla="*/ 38100 w 182880"/>
              <a:gd name="connsiteY15" fmla="*/ 194310 h 304800"/>
              <a:gd name="connsiteX16" fmla="*/ 49530 w 182880"/>
              <a:gd name="connsiteY16" fmla="*/ 205740 h 304800"/>
              <a:gd name="connsiteX17" fmla="*/ 133350 w 182880"/>
              <a:gd name="connsiteY17" fmla="*/ 205740 h 304800"/>
              <a:gd name="connsiteX18" fmla="*/ 144780 w 182880"/>
              <a:gd name="connsiteY18" fmla="*/ 194310 h 304800"/>
              <a:gd name="connsiteX19" fmla="*/ 133350 w 182880"/>
              <a:gd name="connsiteY19" fmla="*/ 182880 h 304800"/>
              <a:gd name="connsiteX20" fmla="*/ 49530 w 182880"/>
              <a:gd name="connsiteY20" fmla="*/ 182880 h 304800"/>
              <a:gd name="connsiteX21" fmla="*/ 0 w 182880"/>
              <a:gd name="connsiteY21" fmla="*/ 45720 h 304800"/>
              <a:gd name="connsiteX22" fmla="*/ 45720 w 182880"/>
              <a:gd name="connsiteY22" fmla="*/ 0 h 304800"/>
              <a:gd name="connsiteX23" fmla="*/ 137160 w 182880"/>
              <a:gd name="connsiteY23" fmla="*/ 0 h 304800"/>
              <a:gd name="connsiteX24" fmla="*/ 182880 w 182880"/>
              <a:gd name="connsiteY24" fmla="*/ 45720 h 304800"/>
              <a:gd name="connsiteX25" fmla="*/ 182880 w 182880"/>
              <a:gd name="connsiteY25" fmla="*/ 259080 h 304800"/>
              <a:gd name="connsiteX26" fmla="*/ 137160 w 182880"/>
              <a:gd name="connsiteY26" fmla="*/ 304800 h 304800"/>
              <a:gd name="connsiteX27" fmla="*/ 45720 w 182880"/>
              <a:gd name="connsiteY27" fmla="*/ 304800 h 304800"/>
              <a:gd name="connsiteX28" fmla="*/ 0 w 182880"/>
              <a:gd name="connsiteY28" fmla="*/ 259080 h 304800"/>
              <a:gd name="connsiteX29" fmla="*/ 0 w 182880"/>
              <a:gd name="connsiteY29" fmla="*/ 45720 h 304800"/>
              <a:gd name="connsiteX30" fmla="*/ 45720 w 182880"/>
              <a:gd name="connsiteY30" fmla="*/ 22860 h 304800"/>
              <a:gd name="connsiteX31" fmla="*/ 22860 w 182880"/>
              <a:gd name="connsiteY31" fmla="*/ 45720 h 304800"/>
              <a:gd name="connsiteX32" fmla="*/ 22860 w 182880"/>
              <a:gd name="connsiteY32" fmla="*/ 259080 h 304800"/>
              <a:gd name="connsiteX33" fmla="*/ 45720 w 182880"/>
              <a:gd name="connsiteY33" fmla="*/ 281940 h 304800"/>
              <a:gd name="connsiteX34" fmla="*/ 137160 w 182880"/>
              <a:gd name="connsiteY34" fmla="*/ 281940 h 304800"/>
              <a:gd name="connsiteX35" fmla="*/ 160020 w 182880"/>
              <a:gd name="connsiteY35" fmla="*/ 259080 h 304800"/>
              <a:gd name="connsiteX36" fmla="*/ 160020 w 182880"/>
              <a:gd name="connsiteY36" fmla="*/ 45720 h 304800"/>
              <a:gd name="connsiteX37" fmla="*/ 137160 w 182880"/>
              <a:gd name="connsiteY37" fmla="*/ 22860 h 304800"/>
              <a:gd name="connsiteX38" fmla="*/ 45720 w 182880"/>
              <a:gd name="connsiteY38" fmla="*/ 2286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82880" h="304800">
                <a:moveTo>
                  <a:pt x="49530" y="60960"/>
                </a:moveTo>
                <a:cubicBezTo>
                  <a:pt x="43217" y="60960"/>
                  <a:pt x="38100" y="66077"/>
                  <a:pt x="38100" y="72390"/>
                </a:cubicBezTo>
                <a:cubicBezTo>
                  <a:pt x="38100" y="78703"/>
                  <a:pt x="43217" y="83820"/>
                  <a:pt x="49530" y="83820"/>
                </a:cubicBezTo>
                <a:lnTo>
                  <a:pt x="133350" y="83820"/>
                </a:lnTo>
                <a:cubicBezTo>
                  <a:pt x="139662" y="83820"/>
                  <a:pt x="144780" y="78703"/>
                  <a:pt x="144780" y="72390"/>
                </a:cubicBezTo>
                <a:cubicBezTo>
                  <a:pt x="144780" y="66077"/>
                  <a:pt x="139662" y="60960"/>
                  <a:pt x="133350" y="60960"/>
                </a:cubicBezTo>
                <a:lnTo>
                  <a:pt x="49530" y="60960"/>
                </a:lnTo>
                <a:close/>
                <a:moveTo>
                  <a:pt x="38100" y="240030"/>
                </a:moveTo>
                <a:cubicBezTo>
                  <a:pt x="38100" y="233718"/>
                  <a:pt x="43217" y="228600"/>
                  <a:pt x="49530" y="228600"/>
                </a:cubicBezTo>
                <a:lnTo>
                  <a:pt x="133350" y="228600"/>
                </a:lnTo>
                <a:cubicBezTo>
                  <a:pt x="139662" y="228600"/>
                  <a:pt x="144780" y="233718"/>
                  <a:pt x="144780" y="240030"/>
                </a:cubicBezTo>
                <a:cubicBezTo>
                  <a:pt x="144780" y="246342"/>
                  <a:pt x="139662" y="251460"/>
                  <a:pt x="133350" y="251460"/>
                </a:cubicBezTo>
                <a:lnTo>
                  <a:pt x="49530" y="251460"/>
                </a:lnTo>
                <a:cubicBezTo>
                  <a:pt x="43217" y="251460"/>
                  <a:pt x="38100" y="246342"/>
                  <a:pt x="38100" y="240030"/>
                </a:cubicBezTo>
                <a:close/>
                <a:moveTo>
                  <a:pt x="49530" y="182880"/>
                </a:moveTo>
                <a:cubicBezTo>
                  <a:pt x="43217" y="182880"/>
                  <a:pt x="38100" y="187998"/>
                  <a:pt x="38100" y="194310"/>
                </a:cubicBezTo>
                <a:cubicBezTo>
                  <a:pt x="38100" y="200622"/>
                  <a:pt x="43217" y="205740"/>
                  <a:pt x="49530" y="205740"/>
                </a:cubicBezTo>
                <a:lnTo>
                  <a:pt x="133350" y="205740"/>
                </a:lnTo>
                <a:cubicBezTo>
                  <a:pt x="139662" y="205740"/>
                  <a:pt x="144780" y="200622"/>
                  <a:pt x="144780" y="194310"/>
                </a:cubicBezTo>
                <a:cubicBezTo>
                  <a:pt x="144780" y="187998"/>
                  <a:pt x="139662" y="182880"/>
                  <a:pt x="133350" y="182880"/>
                </a:cubicBezTo>
                <a:lnTo>
                  <a:pt x="49530" y="182880"/>
                </a:lnTo>
                <a:close/>
                <a:moveTo>
                  <a:pt x="0" y="45720"/>
                </a:moveTo>
                <a:cubicBezTo>
                  <a:pt x="0" y="20470"/>
                  <a:pt x="20470" y="0"/>
                  <a:pt x="45720" y="0"/>
                </a:cubicBezTo>
                <a:lnTo>
                  <a:pt x="137160" y="0"/>
                </a:lnTo>
                <a:cubicBezTo>
                  <a:pt x="162411" y="0"/>
                  <a:pt x="182880" y="20470"/>
                  <a:pt x="182880" y="45720"/>
                </a:cubicBezTo>
                <a:lnTo>
                  <a:pt x="182880" y="259080"/>
                </a:lnTo>
                <a:cubicBezTo>
                  <a:pt x="182880" y="284331"/>
                  <a:pt x="162411" y="304800"/>
                  <a:pt x="137160" y="304800"/>
                </a:cubicBezTo>
                <a:lnTo>
                  <a:pt x="45720" y="304800"/>
                </a:lnTo>
                <a:cubicBezTo>
                  <a:pt x="20470" y="304800"/>
                  <a:pt x="0" y="284331"/>
                  <a:pt x="0" y="259080"/>
                </a:cubicBezTo>
                <a:lnTo>
                  <a:pt x="0" y="45720"/>
                </a:lnTo>
                <a:close/>
                <a:moveTo>
                  <a:pt x="45720" y="22860"/>
                </a:moveTo>
                <a:cubicBezTo>
                  <a:pt x="33095" y="22860"/>
                  <a:pt x="22860" y="33095"/>
                  <a:pt x="22860" y="45720"/>
                </a:cubicBezTo>
                <a:lnTo>
                  <a:pt x="22860" y="259080"/>
                </a:lnTo>
                <a:cubicBezTo>
                  <a:pt x="22860" y="271705"/>
                  <a:pt x="33095" y="281940"/>
                  <a:pt x="45720" y="281940"/>
                </a:cubicBezTo>
                <a:lnTo>
                  <a:pt x="137160" y="281940"/>
                </a:lnTo>
                <a:cubicBezTo>
                  <a:pt x="149785" y="281940"/>
                  <a:pt x="160020" y="271705"/>
                  <a:pt x="160020" y="259080"/>
                </a:cubicBezTo>
                <a:lnTo>
                  <a:pt x="160020" y="45720"/>
                </a:lnTo>
                <a:cubicBezTo>
                  <a:pt x="160020" y="33095"/>
                  <a:pt x="149785" y="22860"/>
                  <a:pt x="137160" y="22860"/>
                </a:cubicBezTo>
                <a:lnTo>
                  <a:pt x="45720" y="22860"/>
                </a:lnTo>
                <a:close/>
              </a:path>
            </a:pathLst>
          </a:custGeom>
          <a:solidFill>
            <a:srgbClr val="212121"/>
          </a:solidFill>
          <a:ln w="1508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6" name="Graphic 92">
            <a:extLst>
              <a:ext uri="{FF2B5EF4-FFF2-40B4-BE49-F238E27FC236}">
                <a16:creationId xmlns:a16="http://schemas.microsoft.com/office/drawing/2014/main" id="{6298428F-7C1E-3BC0-0443-178BA69DCAB1}"/>
              </a:ext>
              <a:ext uri="{C183D7F6-B498-43B3-948B-1728B52AA6E4}">
                <adec:decorative xmlns:adec="http://schemas.microsoft.com/office/drawing/2017/decorative" val="1"/>
              </a:ext>
            </a:extLst>
          </p:cNvPr>
          <p:cNvSpPr/>
          <p:nvPr/>
        </p:nvSpPr>
        <p:spPr>
          <a:xfrm>
            <a:off x="9829438" y="3642634"/>
            <a:ext cx="243840" cy="304800"/>
          </a:xfrm>
          <a:custGeom>
            <a:avLst/>
            <a:gdLst>
              <a:gd name="connsiteX0" fmla="*/ 0 w 243840"/>
              <a:gd name="connsiteY0" fmla="*/ 60960 h 304800"/>
              <a:gd name="connsiteX1" fmla="*/ 11796 w 243840"/>
              <a:gd name="connsiteY1" fmla="*/ 33833 h 304800"/>
              <a:gd name="connsiteX2" fmla="*/ 39121 w 243840"/>
              <a:gd name="connsiteY2" fmla="*/ 15514 h 304800"/>
              <a:gd name="connsiteX3" fmla="*/ 121920 w 243840"/>
              <a:gd name="connsiteY3" fmla="*/ 0 h 304800"/>
              <a:gd name="connsiteX4" fmla="*/ 204719 w 243840"/>
              <a:gd name="connsiteY4" fmla="*/ 15514 h 304800"/>
              <a:gd name="connsiteX5" fmla="*/ 232044 w 243840"/>
              <a:gd name="connsiteY5" fmla="*/ 33833 h 304800"/>
              <a:gd name="connsiteX6" fmla="*/ 243840 w 243840"/>
              <a:gd name="connsiteY6" fmla="*/ 60960 h 304800"/>
              <a:gd name="connsiteX7" fmla="*/ 243840 w 243840"/>
              <a:gd name="connsiteY7" fmla="*/ 243840 h 304800"/>
              <a:gd name="connsiteX8" fmla="*/ 232044 w 243840"/>
              <a:gd name="connsiteY8" fmla="*/ 270967 h 304800"/>
              <a:gd name="connsiteX9" fmla="*/ 204719 w 243840"/>
              <a:gd name="connsiteY9" fmla="*/ 289301 h 304800"/>
              <a:gd name="connsiteX10" fmla="*/ 121920 w 243840"/>
              <a:gd name="connsiteY10" fmla="*/ 304800 h 304800"/>
              <a:gd name="connsiteX11" fmla="*/ 39121 w 243840"/>
              <a:gd name="connsiteY11" fmla="*/ 289301 h 304800"/>
              <a:gd name="connsiteX12" fmla="*/ 11796 w 243840"/>
              <a:gd name="connsiteY12" fmla="*/ 270967 h 304800"/>
              <a:gd name="connsiteX13" fmla="*/ 0 w 243840"/>
              <a:gd name="connsiteY13" fmla="*/ 243840 h 304800"/>
              <a:gd name="connsiteX14" fmla="*/ 0 w 243840"/>
              <a:gd name="connsiteY14" fmla="*/ 60960 h 304800"/>
              <a:gd name="connsiteX15" fmla="*/ 22860 w 243840"/>
              <a:gd name="connsiteY15" fmla="*/ 60960 h 304800"/>
              <a:gd name="connsiteX16" fmla="*/ 28423 w 243840"/>
              <a:gd name="connsiteY16" fmla="*/ 72390 h 304800"/>
              <a:gd name="connsiteX17" fmla="*/ 48463 w 243840"/>
              <a:gd name="connsiteY17" fmla="*/ 85557 h 304800"/>
              <a:gd name="connsiteX18" fmla="*/ 121920 w 243840"/>
              <a:gd name="connsiteY18" fmla="*/ 99060 h 304800"/>
              <a:gd name="connsiteX19" fmla="*/ 195377 w 243840"/>
              <a:gd name="connsiteY19" fmla="*/ 85557 h 304800"/>
              <a:gd name="connsiteX20" fmla="*/ 215417 w 243840"/>
              <a:gd name="connsiteY20" fmla="*/ 72390 h 304800"/>
              <a:gd name="connsiteX21" fmla="*/ 220980 w 243840"/>
              <a:gd name="connsiteY21" fmla="*/ 60960 h 304800"/>
              <a:gd name="connsiteX22" fmla="*/ 215417 w 243840"/>
              <a:gd name="connsiteY22" fmla="*/ 49530 h 304800"/>
              <a:gd name="connsiteX23" fmla="*/ 195377 w 243840"/>
              <a:gd name="connsiteY23" fmla="*/ 36363 h 304800"/>
              <a:gd name="connsiteX24" fmla="*/ 121920 w 243840"/>
              <a:gd name="connsiteY24" fmla="*/ 22860 h 304800"/>
              <a:gd name="connsiteX25" fmla="*/ 48463 w 243840"/>
              <a:gd name="connsiteY25" fmla="*/ 36363 h 304800"/>
              <a:gd name="connsiteX26" fmla="*/ 28423 w 243840"/>
              <a:gd name="connsiteY26" fmla="*/ 49530 h 304800"/>
              <a:gd name="connsiteX27" fmla="*/ 22860 w 243840"/>
              <a:gd name="connsiteY27" fmla="*/ 60960 h 304800"/>
              <a:gd name="connsiteX28" fmla="*/ 220980 w 243840"/>
              <a:gd name="connsiteY28" fmla="*/ 97414 h 304800"/>
              <a:gd name="connsiteX29" fmla="*/ 204719 w 243840"/>
              <a:gd name="connsiteY29" fmla="*/ 106406 h 304800"/>
              <a:gd name="connsiteX30" fmla="*/ 121920 w 243840"/>
              <a:gd name="connsiteY30" fmla="*/ 121920 h 304800"/>
              <a:gd name="connsiteX31" fmla="*/ 39121 w 243840"/>
              <a:gd name="connsiteY31" fmla="*/ 106406 h 304800"/>
              <a:gd name="connsiteX32" fmla="*/ 22860 w 243840"/>
              <a:gd name="connsiteY32" fmla="*/ 97414 h 304800"/>
              <a:gd name="connsiteX33" fmla="*/ 22860 w 243840"/>
              <a:gd name="connsiteY33" fmla="*/ 243840 h 304800"/>
              <a:gd name="connsiteX34" fmla="*/ 28423 w 243840"/>
              <a:gd name="connsiteY34" fmla="*/ 255270 h 304800"/>
              <a:gd name="connsiteX35" fmla="*/ 48463 w 243840"/>
              <a:gd name="connsiteY35" fmla="*/ 268437 h 304800"/>
              <a:gd name="connsiteX36" fmla="*/ 121920 w 243840"/>
              <a:gd name="connsiteY36" fmla="*/ 281940 h 304800"/>
              <a:gd name="connsiteX37" fmla="*/ 195377 w 243840"/>
              <a:gd name="connsiteY37" fmla="*/ 268437 h 304800"/>
              <a:gd name="connsiteX38" fmla="*/ 215417 w 243840"/>
              <a:gd name="connsiteY38" fmla="*/ 255270 h 304800"/>
              <a:gd name="connsiteX39" fmla="*/ 220980 w 243840"/>
              <a:gd name="connsiteY39" fmla="*/ 243840 h 304800"/>
              <a:gd name="connsiteX40" fmla="*/ 220980 w 243840"/>
              <a:gd name="connsiteY40" fmla="*/ 97414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3840" h="304800">
                <a:moveTo>
                  <a:pt x="0" y="60960"/>
                </a:moveTo>
                <a:cubicBezTo>
                  <a:pt x="0" y="50444"/>
                  <a:pt x="4801" y="41255"/>
                  <a:pt x="11796" y="33833"/>
                </a:cubicBezTo>
                <a:cubicBezTo>
                  <a:pt x="18730" y="26487"/>
                  <a:pt x="28240" y="20376"/>
                  <a:pt x="39121" y="15514"/>
                </a:cubicBezTo>
                <a:cubicBezTo>
                  <a:pt x="60899" y="5745"/>
                  <a:pt x="90175" y="0"/>
                  <a:pt x="121920" y="0"/>
                </a:cubicBezTo>
                <a:cubicBezTo>
                  <a:pt x="153665" y="0"/>
                  <a:pt x="182941" y="5745"/>
                  <a:pt x="204719" y="15514"/>
                </a:cubicBezTo>
                <a:cubicBezTo>
                  <a:pt x="215600" y="20391"/>
                  <a:pt x="225110" y="26487"/>
                  <a:pt x="232044" y="33833"/>
                </a:cubicBezTo>
                <a:cubicBezTo>
                  <a:pt x="239039" y="41255"/>
                  <a:pt x="243840" y="50444"/>
                  <a:pt x="243840" y="60960"/>
                </a:cubicBezTo>
                <a:lnTo>
                  <a:pt x="243840" y="243840"/>
                </a:lnTo>
                <a:cubicBezTo>
                  <a:pt x="243840" y="254356"/>
                  <a:pt x="239039" y="263545"/>
                  <a:pt x="232044" y="270967"/>
                </a:cubicBezTo>
                <a:cubicBezTo>
                  <a:pt x="225110" y="278313"/>
                  <a:pt x="215600" y="284424"/>
                  <a:pt x="204719" y="289301"/>
                </a:cubicBezTo>
                <a:cubicBezTo>
                  <a:pt x="182941" y="299055"/>
                  <a:pt x="153665" y="304800"/>
                  <a:pt x="121920" y="304800"/>
                </a:cubicBezTo>
                <a:cubicBezTo>
                  <a:pt x="90175" y="304800"/>
                  <a:pt x="60899" y="299055"/>
                  <a:pt x="39121" y="289301"/>
                </a:cubicBezTo>
                <a:cubicBezTo>
                  <a:pt x="28240" y="284424"/>
                  <a:pt x="18730" y="278328"/>
                  <a:pt x="11796" y="270967"/>
                </a:cubicBezTo>
                <a:cubicBezTo>
                  <a:pt x="4801" y="263545"/>
                  <a:pt x="0" y="254356"/>
                  <a:pt x="0" y="243840"/>
                </a:cubicBezTo>
                <a:lnTo>
                  <a:pt x="0" y="60960"/>
                </a:lnTo>
                <a:close/>
                <a:moveTo>
                  <a:pt x="22860" y="60960"/>
                </a:moveTo>
                <a:cubicBezTo>
                  <a:pt x="22860" y="64115"/>
                  <a:pt x="24232" y="67970"/>
                  <a:pt x="28423" y="72390"/>
                </a:cubicBezTo>
                <a:cubicBezTo>
                  <a:pt x="32675" y="76901"/>
                  <a:pt x="39350" y="81473"/>
                  <a:pt x="48463" y="85557"/>
                </a:cubicBezTo>
                <a:cubicBezTo>
                  <a:pt x="66675" y="93711"/>
                  <a:pt x="92644" y="99060"/>
                  <a:pt x="121920" y="99060"/>
                </a:cubicBezTo>
                <a:cubicBezTo>
                  <a:pt x="151196" y="99060"/>
                  <a:pt x="177165" y="93726"/>
                  <a:pt x="195377" y="85557"/>
                </a:cubicBezTo>
                <a:cubicBezTo>
                  <a:pt x="204490" y="81473"/>
                  <a:pt x="211165" y="76901"/>
                  <a:pt x="215417" y="72390"/>
                </a:cubicBezTo>
                <a:cubicBezTo>
                  <a:pt x="219608" y="67970"/>
                  <a:pt x="220980" y="64115"/>
                  <a:pt x="220980" y="60960"/>
                </a:cubicBezTo>
                <a:cubicBezTo>
                  <a:pt x="220980" y="57805"/>
                  <a:pt x="219608" y="53950"/>
                  <a:pt x="215417" y="49530"/>
                </a:cubicBezTo>
                <a:cubicBezTo>
                  <a:pt x="211165" y="45019"/>
                  <a:pt x="204490" y="40447"/>
                  <a:pt x="195377" y="36363"/>
                </a:cubicBezTo>
                <a:cubicBezTo>
                  <a:pt x="177165" y="28209"/>
                  <a:pt x="151181" y="22860"/>
                  <a:pt x="121920" y="22860"/>
                </a:cubicBezTo>
                <a:cubicBezTo>
                  <a:pt x="92644" y="22860"/>
                  <a:pt x="66675" y="28194"/>
                  <a:pt x="48463" y="36363"/>
                </a:cubicBezTo>
                <a:cubicBezTo>
                  <a:pt x="39350" y="40447"/>
                  <a:pt x="32675" y="45019"/>
                  <a:pt x="28423" y="49530"/>
                </a:cubicBezTo>
                <a:cubicBezTo>
                  <a:pt x="24232" y="53950"/>
                  <a:pt x="22860" y="57805"/>
                  <a:pt x="22860" y="60960"/>
                </a:cubicBezTo>
                <a:close/>
                <a:moveTo>
                  <a:pt x="220980" y="97414"/>
                </a:moveTo>
                <a:cubicBezTo>
                  <a:pt x="216103" y="100767"/>
                  <a:pt x="210617" y="103769"/>
                  <a:pt x="204719" y="106406"/>
                </a:cubicBezTo>
                <a:cubicBezTo>
                  <a:pt x="182941" y="116175"/>
                  <a:pt x="153665" y="121920"/>
                  <a:pt x="121920" y="121920"/>
                </a:cubicBezTo>
                <a:cubicBezTo>
                  <a:pt x="90175" y="121920"/>
                  <a:pt x="60899" y="116175"/>
                  <a:pt x="39121" y="106406"/>
                </a:cubicBezTo>
                <a:cubicBezTo>
                  <a:pt x="33443" y="103901"/>
                  <a:pt x="28000" y="100892"/>
                  <a:pt x="22860" y="97414"/>
                </a:cubicBezTo>
                <a:lnTo>
                  <a:pt x="22860" y="243840"/>
                </a:lnTo>
                <a:cubicBezTo>
                  <a:pt x="22860" y="246995"/>
                  <a:pt x="24232" y="250850"/>
                  <a:pt x="28423" y="255270"/>
                </a:cubicBezTo>
                <a:cubicBezTo>
                  <a:pt x="32675" y="259781"/>
                  <a:pt x="39350" y="264353"/>
                  <a:pt x="48463" y="268437"/>
                </a:cubicBezTo>
                <a:cubicBezTo>
                  <a:pt x="66675" y="276591"/>
                  <a:pt x="92644" y="281940"/>
                  <a:pt x="121920" y="281940"/>
                </a:cubicBezTo>
                <a:cubicBezTo>
                  <a:pt x="151196" y="281940"/>
                  <a:pt x="177165" y="276606"/>
                  <a:pt x="195377" y="268437"/>
                </a:cubicBezTo>
                <a:cubicBezTo>
                  <a:pt x="204490" y="264353"/>
                  <a:pt x="211165" y="259781"/>
                  <a:pt x="215417" y="255270"/>
                </a:cubicBezTo>
                <a:cubicBezTo>
                  <a:pt x="219608" y="250850"/>
                  <a:pt x="220980" y="246995"/>
                  <a:pt x="220980" y="243840"/>
                </a:cubicBezTo>
                <a:lnTo>
                  <a:pt x="220980" y="97414"/>
                </a:lnTo>
                <a:close/>
              </a:path>
            </a:pathLst>
          </a:custGeom>
          <a:solidFill>
            <a:srgbClr val="212121"/>
          </a:solidFill>
          <a:ln w="1508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pic>
        <p:nvPicPr>
          <p:cNvPr id="247" name="Graphic 246">
            <a:extLst>
              <a:ext uri="{FF2B5EF4-FFF2-40B4-BE49-F238E27FC236}">
                <a16:creationId xmlns:a16="http://schemas.microsoft.com/office/drawing/2014/main" id="{9422FA00-BBDA-655E-76EE-62F9EAD9F7BF}"/>
              </a:ext>
              <a:ext uri="{C183D7F6-B498-43B3-948B-1728B52AA6E4}">
                <adec:decorative xmlns:adec="http://schemas.microsoft.com/office/drawing/2017/decorative" val="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768478" y="2488000"/>
            <a:ext cx="365760" cy="365760"/>
          </a:xfrm>
          <a:prstGeom prst="rect">
            <a:avLst/>
          </a:prstGeom>
        </p:spPr>
      </p:pic>
      <p:grpSp>
        <p:nvGrpSpPr>
          <p:cNvPr id="255" name="Group 254">
            <a:extLst>
              <a:ext uri="{FF2B5EF4-FFF2-40B4-BE49-F238E27FC236}">
                <a16:creationId xmlns:a16="http://schemas.microsoft.com/office/drawing/2014/main" id="{2860250D-1FC1-B473-1645-2448D8F8F56D}"/>
              </a:ext>
              <a:ext uri="{C183D7F6-B498-43B3-948B-1728B52AA6E4}">
                <adec:decorative xmlns:adec="http://schemas.microsoft.com/office/drawing/2017/decorative" val="1"/>
              </a:ext>
            </a:extLst>
          </p:cNvPr>
          <p:cNvGrpSpPr/>
          <p:nvPr/>
        </p:nvGrpSpPr>
        <p:grpSpPr>
          <a:xfrm>
            <a:off x="10507739" y="4851319"/>
            <a:ext cx="442048" cy="442048"/>
            <a:chOff x="10507739" y="4851319"/>
            <a:chExt cx="442048" cy="442048"/>
          </a:xfrm>
        </p:grpSpPr>
        <p:sp>
          <p:nvSpPr>
            <p:cNvPr id="249" name="Oval 248">
              <a:extLst>
                <a:ext uri="{FF2B5EF4-FFF2-40B4-BE49-F238E27FC236}">
                  <a16:creationId xmlns:a16="http://schemas.microsoft.com/office/drawing/2014/main" id="{916911E7-1F50-3E02-2A02-CEC458487048}"/>
                </a:ext>
              </a:extLst>
            </p:cNvPr>
            <p:cNvSpPr/>
            <p:nvPr/>
          </p:nvSpPr>
          <p:spPr bwMode="auto">
            <a:xfrm>
              <a:off x="10507739" y="4851319"/>
              <a:ext cx="442048" cy="442048"/>
            </a:xfrm>
            <a:prstGeom prst="ellipse">
              <a:avLst/>
            </a:prstGeom>
            <a:solidFill>
              <a:schemeClr val="bg1"/>
            </a:solidFill>
            <a:ln w="28575" cap="flat" cmpd="sng" algn="ctr">
              <a:gradFill>
                <a:gsLst>
                  <a:gs pos="0">
                    <a:srgbClr val="599FFD"/>
                  </a:gs>
                  <a:gs pos="100000">
                    <a:srgbClr val="FADC14"/>
                  </a:gs>
                </a:gsLst>
                <a:lin ang="2400000" scaled="0"/>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91F2C"/>
                </a:solidFill>
                <a:effectLst/>
                <a:uLnTx/>
                <a:uFillTx/>
                <a:latin typeface="Segoe UI Variable Display"/>
                <a:ea typeface="+mn-ea"/>
                <a:cs typeface="Segoe UI" pitchFamily="34" charset="0"/>
              </a:endParaRPr>
            </a:p>
          </p:txBody>
        </p:sp>
        <p:pic>
          <p:nvPicPr>
            <p:cNvPr id="252" name="Graphic 251">
              <a:extLst>
                <a:ext uri="{FF2B5EF4-FFF2-40B4-BE49-F238E27FC236}">
                  <a16:creationId xmlns:a16="http://schemas.microsoft.com/office/drawing/2014/main" id="{F919ACE5-96FF-BB53-BDCC-6922D220D48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570833" y="4914413"/>
              <a:ext cx="315860" cy="315860"/>
            </a:xfrm>
            <a:prstGeom prst="rect">
              <a:avLst/>
            </a:prstGeom>
          </p:spPr>
        </p:pic>
      </p:grpSp>
      <p:grpSp>
        <p:nvGrpSpPr>
          <p:cNvPr id="254" name="Group 253">
            <a:extLst>
              <a:ext uri="{FF2B5EF4-FFF2-40B4-BE49-F238E27FC236}">
                <a16:creationId xmlns:a16="http://schemas.microsoft.com/office/drawing/2014/main" id="{7DDBF34D-D3E6-8F3F-93CE-AB7E2B8832FA}"/>
              </a:ext>
              <a:ext uri="{C183D7F6-B498-43B3-948B-1728B52AA6E4}">
                <adec:decorative xmlns:adec="http://schemas.microsoft.com/office/drawing/2017/decorative" val="1"/>
              </a:ext>
            </a:extLst>
          </p:cNvPr>
          <p:cNvGrpSpPr/>
          <p:nvPr/>
        </p:nvGrpSpPr>
        <p:grpSpPr>
          <a:xfrm>
            <a:off x="10507739" y="2327416"/>
            <a:ext cx="442048" cy="442048"/>
            <a:chOff x="10507739" y="2327416"/>
            <a:chExt cx="442048" cy="442048"/>
          </a:xfrm>
        </p:grpSpPr>
        <p:sp>
          <p:nvSpPr>
            <p:cNvPr id="248" name="Oval 247">
              <a:extLst>
                <a:ext uri="{FF2B5EF4-FFF2-40B4-BE49-F238E27FC236}">
                  <a16:creationId xmlns:a16="http://schemas.microsoft.com/office/drawing/2014/main" id="{C06509EA-AC8D-B52B-4FC7-EC697296AD50}"/>
                </a:ext>
              </a:extLst>
            </p:cNvPr>
            <p:cNvSpPr/>
            <p:nvPr/>
          </p:nvSpPr>
          <p:spPr bwMode="auto">
            <a:xfrm>
              <a:off x="10507739" y="2327416"/>
              <a:ext cx="442048" cy="442048"/>
            </a:xfrm>
            <a:prstGeom prst="ellipse">
              <a:avLst/>
            </a:prstGeom>
            <a:solidFill>
              <a:schemeClr val="bg1"/>
            </a:solidFill>
            <a:ln w="28575" cap="flat" cmpd="sng" algn="ctr">
              <a:gradFill>
                <a:gsLst>
                  <a:gs pos="0">
                    <a:srgbClr val="599FFD"/>
                  </a:gs>
                  <a:gs pos="100000">
                    <a:srgbClr val="FADC14"/>
                  </a:gs>
                </a:gsLst>
                <a:lin ang="2400000" scaled="0"/>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91F2C"/>
                </a:solidFill>
                <a:effectLst/>
                <a:uLnTx/>
                <a:uFillTx/>
                <a:latin typeface="Segoe UI Variable Display"/>
                <a:ea typeface="+mn-ea"/>
                <a:cs typeface="Segoe UI" pitchFamily="34" charset="0"/>
              </a:endParaRPr>
            </a:p>
          </p:txBody>
        </p:sp>
        <p:pic>
          <p:nvPicPr>
            <p:cNvPr id="253" name="Graphic 252">
              <a:extLst>
                <a:ext uri="{FF2B5EF4-FFF2-40B4-BE49-F238E27FC236}">
                  <a16:creationId xmlns:a16="http://schemas.microsoft.com/office/drawing/2014/main" id="{B551B3D4-B0F4-B208-2728-F1FACC35A1C3}"/>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545883" y="2365560"/>
              <a:ext cx="365760" cy="365760"/>
            </a:xfrm>
            <a:prstGeom prst="rect">
              <a:avLst/>
            </a:prstGeom>
          </p:spPr>
        </p:pic>
      </p:grpSp>
    </p:spTree>
    <p:custDataLst>
      <p:tags r:id="rId1"/>
    </p:custDataLst>
    <p:extLst>
      <p:ext uri="{BB962C8B-B14F-4D97-AF65-F5344CB8AC3E}">
        <p14:creationId xmlns:p14="http://schemas.microsoft.com/office/powerpoint/2010/main" val="1941282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5305C9A-6223-815E-E3D9-FC57FF859AEE}"/>
              </a:ext>
            </a:extLst>
          </p:cNvPr>
          <p:cNvPicPr>
            <a:picLocks noChangeAspect="1"/>
          </p:cNvPicPr>
          <p:nvPr/>
        </p:nvPicPr>
        <p:blipFill>
          <a:blip r:embed="rId3"/>
          <a:stretch>
            <a:fillRect/>
          </a:stretch>
        </p:blipFill>
        <p:spPr>
          <a:xfrm>
            <a:off x="-19750" y="-14095"/>
            <a:ext cx="12211749" cy="6872095"/>
          </a:xfrm>
          <a:prstGeom prst="rect">
            <a:avLst/>
          </a:prstGeom>
        </p:spPr>
      </p:pic>
      <p:sp>
        <p:nvSpPr>
          <p:cNvPr id="2" name="Rectangle 1">
            <a:extLst>
              <a:ext uri="{FF2B5EF4-FFF2-40B4-BE49-F238E27FC236}">
                <a16:creationId xmlns:a16="http://schemas.microsoft.com/office/drawing/2014/main" id="{BD02A635-C936-68BD-3BD3-8CAC76AEFAEB}"/>
              </a:ext>
            </a:extLst>
          </p:cNvPr>
          <p:cNvSpPr/>
          <p:nvPr/>
        </p:nvSpPr>
        <p:spPr>
          <a:xfrm>
            <a:off x="0" y="0"/>
            <a:ext cx="12192000" cy="6858000"/>
          </a:xfrm>
          <a:prstGeom prst="rect">
            <a:avLst/>
          </a:prstGeom>
          <a:solidFill>
            <a:schemeClr val="bg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11" name="Group 310">
            <a:extLst>
              <a:ext uri="{FF2B5EF4-FFF2-40B4-BE49-F238E27FC236}">
                <a16:creationId xmlns:a16="http://schemas.microsoft.com/office/drawing/2014/main" id="{D3364675-0B22-0D5B-2511-B3E8814CCB6E}"/>
              </a:ext>
              <a:ext uri="{C183D7F6-B498-43B3-948B-1728B52AA6E4}">
                <adec:decorative xmlns:adec="http://schemas.microsoft.com/office/drawing/2017/decorative" val="1"/>
              </a:ext>
            </a:extLst>
          </p:cNvPr>
          <p:cNvGrpSpPr/>
          <p:nvPr/>
        </p:nvGrpSpPr>
        <p:grpSpPr>
          <a:xfrm flipH="1">
            <a:off x="7440827" y="2976512"/>
            <a:ext cx="1662910" cy="2260760"/>
            <a:chOff x="2101024" y="2662299"/>
            <a:chExt cx="1709631" cy="2260760"/>
          </a:xfrm>
        </p:grpSpPr>
        <p:cxnSp>
          <p:nvCxnSpPr>
            <p:cNvPr id="312" name="Straight Connector 311">
              <a:extLst>
                <a:ext uri="{FF2B5EF4-FFF2-40B4-BE49-F238E27FC236}">
                  <a16:creationId xmlns:a16="http://schemas.microsoft.com/office/drawing/2014/main" id="{8B0B8623-D824-99E7-A338-266345C4937A}"/>
                </a:ext>
              </a:extLst>
            </p:cNvPr>
            <p:cNvCxnSpPr>
              <a:cxnSpLocks/>
            </p:cNvCxnSpPr>
            <p:nvPr/>
          </p:nvCxnSpPr>
          <p:spPr>
            <a:xfrm>
              <a:off x="2101024" y="3792679"/>
              <a:ext cx="1709631" cy="0"/>
            </a:xfrm>
            <a:prstGeom prst="line">
              <a:avLst/>
            </a:prstGeom>
            <a:noFill/>
            <a:ln w="12700" cap="flat">
              <a:solidFill>
                <a:schemeClr val="bg1">
                  <a:lumMod val="50000"/>
                </a:schemeClr>
              </a:solidFill>
              <a:prstDash val="solid"/>
              <a:miter/>
            </a:ln>
            <a:scene3d>
              <a:camera prst="isometricOffAxis1Right">
                <a:rot lat="0" lon="0" rev="0"/>
              </a:camera>
              <a:lightRig rig="flood" dir="t"/>
            </a:scene3d>
          </p:spPr>
        </p:cxnSp>
        <p:sp>
          <p:nvSpPr>
            <p:cNvPr id="313" name="Right Bracket 312">
              <a:extLst>
                <a:ext uri="{FF2B5EF4-FFF2-40B4-BE49-F238E27FC236}">
                  <a16:creationId xmlns:a16="http://schemas.microsoft.com/office/drawing/2014/main" id="{715D5F6B-99AF-1264-6B9B-5DFEC3B6C9A6}"/>
                </a:ext>
              </a:extLst>
            </p:cNvPr>
            <p:cNvSpPr/>
            <p:nvPr/>
          </p:nvSpPr>
          <p:spPr>
            <a:xfrm>
              <a:off x="2162196" y="2662299"/>
              <a:ext cx="449487" cy="2260760"/>
            </a:xfrm>
            <a:prstGeom prst="rightBracket">
              <a:avLst>
                <a:gd name="adj" fmla="val 98747"/>
              </a:avLst>
            </a:prstGeom>
            <a:noFill/>
            <a:ln w="12700" cap="flat">
              <a:solidFill>
                <a:schemeClr val="bg1">
                  <a:lumMod val="50000"/>
                </a:schemeClr>
              </a:solidFill>
              <a:prstDash val="solid"/>
              <a:miter/>
            </a:ln>
            <a:scene3d>
              <a:camera prst="isometricOffAxis1Right">
                <a:rot lat="0" lon="0" rev="0"/>
              </a:camera>
              <a:lightRig rig="flood" dir="t"/>
            </a:scene3d>
          </p:spPr>
          <p:txBody>
            <a:bodyPr rot="0" spcFirstLastPara="0" vertOverflow="overflow" horzOverflow="overflow" vert="horz" wrap="square" lIns="91440" tIns="1463040" rIns="91440" bIns="9144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600"/>
                </a:spcBef>
                <a:spcAft>
                  <a:spcPts val="600"/>
                </a:spcAft>
                <a:buClrTx/>
                <a:buSzTx/>
                <a:buFontTx/>
                <a:buNone/>
                <a:tabLst/>
                <a:defRPr/>
              </a:pPr>
              <a:endParaRPr kumimoji="0" lang="en-US" sz="1765" b="0" i="0" u="none" strike="noStrike" kern="0" cap="none" spc="0" normalizeH="0" baseline="0" noProof="0">
                <a:ln>
                  <a:noFill/>
                </a:ln>
                <a:gradFill>
                  <a:gsLst>
                    <a:gs pos="0">
                      <a:srgbClr val="000000"/>
                    </a:gs>
                    <a:gs pos="100000">
                      <a:srgbClr val="000000"/>
                    </a:gs>
                  </a:gsLst>
                  <a:lin ang="5400000" scaled="1"/>
                </a:gradFill>
                <a:effectLst/>
                <a:uLnTx/>
                <a:uFillTx/>
                <a:latin typeface="Segoe Sans Display Semibold"/>
                <a:ea typeface="+mn-ea"/>
                <a:cs typeface="+mn-cs"/>
              </a:endParaRPr>
            </a:p>
          </p:txBody>
        </p:sp>
      </p:grpSp>
      <p:grpSp>
        <p:nvGrpSpPr>
          <p:cNvPr id="181" name="Group 180">
            <a:extLst>
              <a:ext uri="{FF2B5EF4-FFF2-40B4-BE49-F238E27FC236}">
                <a16:creationId xmlns:a16="http://schemas.microsoft.com/office/drawing/2014/main" id="{2709FD5A-09CE-167C-A758-6176B1159133}"/>
              </a:ext>
              <a:ext uri="{C183D7F6-B498-43B3-948B-1728B52AA6E4}">
                <adec:decorative xmlns:adec="http://schemas.microsoft.com/office/drawing/2017/decorative" val="1"/>
              </a:ext>
            </a:extLst>
          </p:cNvPr>
          <p:cNvGrpSpPr/>
          <p:nvPr/>
        </p:nvGrpSpPr>
        <p:grpSpPr>
          <a:xfrm>
            <a:off x="3569862" y="2342186"/>
            <a:ext cx="3892326" cy="3529413"/>
            <a:chOff x="4325001" y="2262292"/>
            <a:chExt cx="3892326" cy="3529413"/>
          </a:xfrm>
        </p:grpSpPr>
        <p:sp>
          <p:nvSpPr>
            <p:cNvPr id="182" name="Oval 392">
              <a:extLst>
                <a:ext uri="{FF2B5EF4-FFF2-40B4-BE49-F238E27FC236}">
                  <a16:creationId xmlns:a16="http://schemas.microsoft.com/office/drawing/2014/main" id="{D20338DF-8B99-0B51-6167-94F52FF560D7}"/>
                </a:ext>
                <a:ext uri="{C183D7F6-B498-43B3-948B-1728B52AA6E4}">
                  <adec:decorative xmlns:adec="http://schemas.microsoft.com/office/drawing/2017/decorative" val="1"/>
                </a:ext>
              </a:extLst>
            </p:cNvPr>
            <p:cNvSpPr>
              <a:spLocks noChangeAspect="1"/>
            </p:cNvSpPr>
            <p:nvPr/>
          </p:nvSpPr>
          <p:spPr bwMode="auto">
            <a:xfrm>
              <a:off x="4390247" y="2324214"/>
              <a:ext cx="3827080" cy="3383280"/>
            </a:xfrm>
            <a:prstGeom prst="roundRect">
              <a:avLst>
                <a:gd name="adj" fmla="val 50000"/>
              </a:avLst>
            </a:prstGeom>
            <a:solidFill>
              <a:schemeClr val="bg1"/>
            </a:solidFill>
            <a:ln>
              <a:noFill/>
              <a:headEnd type="none" w="med" len="med"/>
              <a:tailEnd type="none" w="med" len="med"/>
            </a:ln>
            <a:effectLst>
              <a:innerShdw blurRad="508000" dist="63500" dir="16200000">
                <a:srgbClr val="B1B3B3">
                  <a:alpha val="25000"/>
                </a:srgb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183" name="TextBox 182">
              <a:extLst>
                <a:ext uri="{FF2B5EF4-FFF2-40B4-BE49-F238E27FC236}">
                  <a16:creationId xmlns:a16="http://schemas.microsoft.com/office/drawing/2014/main" id="{C5E46AF8-BF49-16E2-2C7C-CF5173FF87F5}"/>
                </a:ext>
                <a:ext uri="{C183D7F6-B498-43B3-948B-1728B52AA6E4}">
                  <adec:decorative xmlns:adec="http://schemas.microsoft.com/office/drawing/2017/decorative" val="1"/>
                </a:ext>
              </a:extLst>
            </p:cNvPr>
            <p:cNvSpPr txBox="1">
              <a:spLocks/>
            </p:cNvSpPr>
            <p:nvPr/>
          </p:nvSpPr>
          <p:spPr>
            <a:xfrm rot="5400000">
              <a:off x="4358053" y="2229240"/>
              <a:ext cx="3529413" cy="3595517"/>
            </a:xfrm>
            <a:prstGeom prst="rect">
              <a:avLst/>
            </a:prstGeom>
            <a:noFill/>
          </p:spPr>
          <p:txBody>
            <a:bodyPr spcFirstLastPara="1" wrap="square" numCol="1">
              <a:prstTxWarp prst="textArchUp">
                <a:avLst/>
              </a:prstTxWarp>
              <a:spAutoFit/>
            </a:bodyPr>
            <a:lstStyle>
              <a:defPPr>
                <a:defRPr lang="en-US"/>
              </a:defPPr>
              <a:lvl1pPr lvl="0" algn="ctr" defTabSz="922530">
                <a:spcAft>
                  <a:spcPts val="606"/>
                </a:spcAft>
                <a:defRPr sz="1600">
                  <a:gradFill>
                    <a:gsLst>
                      <a:gs pos="8621">
                        <a:srgbClr val="FFFFFF"/>
                      </a:gs>
                      <a:gs pos="20225">
                        <a:srgbClr val="FFFFFF"/>
                      </a:gs>
                    </a:gsLst>
                    <a:lin ang="5400000" scaled="1"/>
                  </a:gradFill>
                  <a:latin typeface="Segoe UI Semibold"/>
                </a:defRPr>
              </a:lvl1pPr>
            </a:lstStyle>
            <a:p>
              <a:pPr marL="0" marR="0" lvl="0" indent="0" algn="ctr" defTabSz="922530" rtl="0" eaLnBrk="1" fontAlgn="auto" latinLnBrk="0" hangingPunct="1">
                <a:lnSpc>
                  <a:spcPct val="100000"/>
                </a:lnSpc>
                <a:spcBef>
                  <a:spcPts val="0"/>
                </a:spcBef>
                <a:spcAft>
                  <a:spcPts val="606"/>
                </a:spcAft>
                <a:buClrTx/>
                <a:buSzTx/>
                <a:buFontTx/>
                <a:buNone/>
                <a:tabLst/>
                <a:defRPr/>
              </a:pPr>
              <a:r>
                <a:rPr kumimoji="0" lang="en-US" sz="1400" b="0" i="0" u="none" strike="noStrike" kern="0" cap="none" spc="0" normalizeH="0" baseline="0" noProof="0">
                  <a:ln>
                    <a:noFill/>
                  </a:ln>
                  <a:solidFill>
                    <a:srgbClr val="091F2C"/>
                  </a:solidFill>
                  <a:effectLst/>
                  <a:uLnTx/>
                  <a:uFillTx/>
                  <a:latin typeface="Segoe Sans Display Semibold"/>
                  <a:ea typeface="+mn-ea"/>
                  <a:cs typeface="+mn-cs"/>
                </a:rPr>
                <a:t>Security Service Edge</a:t>
              </a:r>
            </a:p>
          </p:txBody>
        </p:sp>
      </p:grpSp>
      <p:grpSp>
        <p:nvGrpSpPr>
          <p:cNvPr id="285" name="Group 284">
            <a:extLst>
              <a:ext uri="{FF2B5EF4-FFF2-40B4-BE49-F238E27FC236}">
                <a16:creationId xmlns:a16="http://schemas.microsoft.com/office/drawing/2014/main" id="{6C2F12B7-2317-C545-3B2E-488327196790}"/>
              </a:ext>
              <a:ext uri="{C183D7F6-B498-43B3-948B-1728B52AA6E4}">
                <adec:decorative xmlns:adec="http://schemas.microsoft.com/office/drawing/2017/decorative" val="1"/>
              </a:ext>
            </a:extLst>
          </p:cNvPr>
          <p:cNvGrpSpPr/>
          <p:nvPr/>
        </p:nvGrpSpPr>
        <p:grpSpPr>
          <a:xfrm>
            <a:off x="3558412" y="2269428"/>
            <a:ext cx="3383280" cy="3749040"/>
            <a:chOff x="4404359" y="2415325"/>
            <a:chExt cx="3383283" cy="3808814"/>
          </a:xfrm>
        </p:grpSpPr>
        <p:grpSp>
          <p:nvGrpSpPr>
            <p:cNvPr id="286" name="Group 285">
              <a:extLst>
                <a:ext uri="{FF2B5EF4-FFF2-40B4-BE49-F238E27FC236}">
                  <a16:creationId xmlns:a16="http://schemas.microsoft.com/office/drawing/2014/main" id="{E9783C02-7DAC-991F-EC39-70FDF22285D5}"/>
                </a:ext>
              </a:extLst>
            </p:cNvPr>
            <p:cNvGrpSpPr/>
            <p:nvPr/>
          </p:nvGrpSpPr>
          <p:grpSpPr>
            <a:xfrm>
              <a:off x="4404359" y="2563654"/>
              <a:ext cx="3383281" cy="3410470"/>
              <a:chOff x="4404359" y="2099614"/>
              <a:chExt cx="3383281" cy="3410470"/>
            </a:xfrm>
          </p:grpSpPr>
          <p:sp>
            <p:nvSpPr>
              <p:cNvPr id="307" name="Oval 306">
                <a:extLst>
                  <a:ext uri="{FF2B5EF4-FFF2-40B4-BE49-F238E27FC236}">
                    <a16:creationId xmlns:a16="http://schemas.microsoft.com/office/drawing/2014/main" id="{3A3B59AB-4BF5-E070-AF4B-535D501254DC}"/>
                  </a:ext>
                </a:extLst>
              </p:cNvPr>
              <p:cNvSpPr/>
              <p:nvPr/>
            </p:nvSpPr>
            <p:spPr bwMode="auto">
              <a:xfrm flipV="1">
                <a:off x="4404360" y="2126804"/>
                <a:ext cx="3383280" cy="3383280"/>
              </a:xfrm>
              <a:prstGeom prst="ellipse">
                <a:avLst/>
              </a:prstGeom>
              <a:noFill/>
              <a:ln w="9525" cap="flat" cmpd="sng" algn="ctr">
                <a:noFill/>
                <a:prstDash val="solid"/>
                <a:headEnd type="none" w="med" len="med"/>
                <a:tailEnd type="none" w="med" len="med"/>
              </a:ln>
              <a:effectLst>
                <a:innerShdw blurRad="114300" dist="63500" dir="13500000">
                  <a:srgbClr val="000000">
                    <a:alpha val="60000"/>
                  </a:srgbClr>
                </a:inn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grpSp>
            <p:nvGrpSpPr>
              <p:cNvPr id="308" name="Group 307">
                <a:extLst>
                  <a:ext uri="{FF2B5EF4-FFF2-40B4-BE49-F238E27FC236}">
                    <a16:creationId xmlns:a16="http://schemas.microsoft.com/office/drawing/2014/main" id="{CEBE4313-B548-DF0A-F720-B1B57396427B}"/>
                  </a:ext>
                  <a:ext uri="{C183D7F6-B498-43B3-948B-1728B52AA6E4}">
                    <adec:decorative xmlns:adec="http://schemas.microsoft.com/office/drawing/2017/decorative" val="1"/>
                  </a:ext>
                </a:extLst>
              </p:cNvPr>
              <p:cNvGrpSpPr/>
              <p:nvPr/>
            </p:nvGrpSpPr>
            <p:grpSpPr>
              <a:xfrm>
                <a:off x="4404359" y="2099614"/>
                <a:ext cx="3383281" cy="3383280"/>
                <a:chOff x="4167293" y="1859050"/>
                <a:chExt cx="2107934" cy="2107933"/>
              </a:xfrm>
            </p:grpSpPr>
            <p:sp>
              <p:nvSpPr>
                <p:cNvPr id="309" name="Block Arc 308">
                  <a:extLst>
                    <a:ext uri="{FF2B5EF4-FFF2-40B4-BE49-F238E27FC236}">
                      <a16:creationId xmlns:a16="http://schemas.microsoft.com/office/drawing/2014/main" id="{3B82434E-5AFA-85C4-5924-413AD77A6834}"/>
                    </a:ext>
                  </a:extLst>
                </p:cNvPr>
                <p:cNvSpPr/>
                <p:nvPr/>
              </p:nvSpPr>
              <p:spPr bwMode="auto">
                <a:xfrm rot="16200000" flipV="1">
                  <a:off x="4167294" y="1859050"/>
                  <a:ext cx="2107933" cy="2107933"/>
                </a:xfrm>
                <a:prstGeom prst="blockArc">
                  <a:avLst>
                    <a:gd name="adj1" fmla="val 16214270"/>
                    <a:gd name="adj2" fmla="val 5426204"/>
                    <a:gd name="adj3" fmla="val 13240"/>
                  </a:avLst>
                </a:prstGeom>
                <a:gradFill flip="none" rotWithShape="1">
                  <a:gsLst>
                    <a:gs pos="66000">
                      <a:srgbClr val="A5B8EE">
                        <a:alpha val="50000"/>
                      </a:srgbClr>
                    </a:gs>
                    <a:gs pos="6000">
                      <a:schemeClr val="bg1"/>
                    </a:gs>
                    <a:gs pos="100000">
                      <a:srgbClr val="599FFD">
                        <a:alpha val="80000"/>
                      </a:srgbClr>
                    </a:gs>
                  </a:gsLst>
                  <a:lin ang="0" scaled="0"/>
                  <a:tileRect/>
                </a:gradFill>
                <a:ln w="9525" cap="flat" cmpd="sng" algn="ctr">
                  <a:noFill/>
                  <a:prstDash val="solid"/>
                  <a:headEnd type="none" w="med" len="med"/>
                  <a:tailEnd type="none" w="med" len="med"/>
                </a:ln>
                <a:effectLst>
                  <a:innerShdw blurRad="114300" dist="63500" dir="13500000">
                    <a:schemeClr val="bg1">
                      <a:alpha val="45000"/>
                    </a:schemeClr>
                  </a:inn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310" name="Arc 309">
                  <a:extLst>
                    <a:ext uri="{FF2B5EF4-FFF2-40B4-BE49-F238E27FC236}">
                      <a16:creationId xmlns:a16="http://schemas.microsoft.com/office/drawing/2014/main" id="{96A206BF-14AF-60EE-1C49-B325BBEABA8C}"/>
                    </a:ext>
                  </a:extLst>
                </p:cNvPr>
                <p:cNvSpPr/>
                <p:nvPr/>
              </p:nvSpPr>
              <p:spPr bwMode="auto">
                <a:xfrm>
                  <a:off x="4167293" y="1859050"/>
                  <a:ext cx="2107933" cy="2107933"/>
                </a:xfrm>
                <a:prstGeom prst="arc">
                  <a:avLst>
                    <a:gd name="adj1" fmla="val 10835151"/>
                    <a:gd name="adj2" fmla="val 21581104"/>
                  </a:avLst>
                </a:prstGeom>
                <a:noFill/>
                <a:ln w="15875" cap="flat" cmpd="sng" algn="ctr">
                  <a:gradFill flip="none" rotWithShape="1">
                    <a:gsLst>
                      <a:gs pos="100000">
                        <a:schemeClr val="bg1"/>
                      </a:gs>
                      <a:gs pos="0">
                        <a:srgbClr val="599FFD"/>
                      </a:gs>
                      <a:gs pos="29000">
                        <a:srgbClr val="A5B8EE"/>
                      </a:gs>
                    </a:gsLst>
                    <a:path path="circle">
                      <a:fillToRect l="50000" t="50000" r="50000" b="50000"/>
                    </a:path>
                    <a:tileRect/>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Sans Display"/>
                    <a:ea typeface="+mn-ea"/>
                    <a:cs typeface="Segoe UI" pitchFamily="34" charset="0"/>
                  </a:endParaRPr>
                </a:p>
              </p:txBody>
            </p:sp>
          </p:grpSp>
        </p:grpSp>
        <p:grpSp>
          <p:nvGrpSpPr>
            <p:cNvPr id="287" name="Group 286">
              <a:extLst>
                <a:ext uri="{FF2B5EF4-FFF2-40B4-BE49-F238E27FC236}">
                  <a16:creationId xmlns:a16="http://schemas.microsoft.com/office/drawing/2014/main" id="{9778C464-F362-50E8-DBB9-2574AD0C93A1}"/>
                </a:ext>
              </a:extLst>
            </p:cNvPr>
            <p:cNvGrpSpPr/>
            <p:nvPr/>
          </p:nvGrpSpPr>
          <p:grpSpPr>
            <a:xfrm>
              <a:off x="4997936" y="3155463"/>
              <a:ext cx="2196125" cy="2196125"/>
              <a:chOff x="4724400" y="2881925"/>
              <a:chExt cx="2743201" cy="2743200"/>
            </a:xfrm>
          </p:grpSpPr>
          <p:grpSp>
            <p:nvGrpSpPr>
              <p:cNvPr id="295" name="Group 294">
                <a:extLst>
                  <a:ext uri="{FF2B5EF4-FFF2-40B4-BE49-F238E27FC236}">
                    <a16:creationId xmlns:a16="http://schemas.microsoft.com/office/drawing/2014/main" id="{9D1D91F9-9043-ECAD-0962-4ABD5446DCF1}"/>
                  </a:ext>
                </a:extLst>
              </p:cNvPr>
              <p:cNvGrpSpPr/>
              <p:nvPr/>
            </p:nvGrpSpPr>
            <p:grpSpPr>
              <a:xfrm>
                <a:off x="4724400" y="2881925"/>
                <a:ext cx="2743201" cy="2743200"/>
                <a:chOff x="3056353" y="2009587"/>
                <a:chExt cx="3200401" cy="3200400"/>
              </a:xfrm>
            </p:grpSpPr>
            <p:sp>
              <p:nvSpPr>
                <p:cNvPr id="305" name="Oval 304">
                  <a:extLst>
                    <a:ext uri="{FF2B5EF4-FFF2-40B4-BE49-F238E27FC236}">
                      <a16:creationId xmlns:a16="http://schemas.microsoft.com/office/drawing/2014/main" id="{A2D1EAC9-E391-60F2-D427-B92EE5855655}"/>
                    </a:ext>
                    <a:ext uri="{C183D7F6-B498-43B3-948B-1728B52AA6E4}">
                      <adec:decorative xmlns:adec="http://schemas.microsoft.com/office/drawing/2017/decorative" val="1"/>
                    </a:ext>
                  </a:extLst>
                </p:cNvPr>
                <p:cNvSpPr/>
                <p:nvPr/>
              </p:nvSpPr>
              <p:spPr bwMode="auto">
                <a:xfrm flipH="1">
                  <a:off x="3056353" y="2009587"/>
                  <a:ext cx="3200400" cy="3200400"/>
                </a:xfrm>
                <a:prstGeom prst="ellipse">
                  <a:avLst/>
                </a:prstGeom>
                <a:solidFill>
                  <a:schemeClr val="bg1"/>
                </a:solidFill>
                <a:ln w="9525" cap="flat" cmpd="sng" algn="ctr">
                  <a:noFill/>
                  <a:prstDash val="solid"/>
                  <a:headEnd type="none" w="med" len="med"/>
                  <a:tailEnd type="none" w="med" len="med"/>
                </a:ln>
                <a:effectLst>
                  <a:outerShdw blurRad="254000" dist="190500" dir="3300000" algn="ctr" rotWithShape="0">
                    <a:srgbClr val="000000">
                      <a:alpha val="40000"/>
                    </a:srgbClr>
                  </a:outerShdw>
                </a:effectLst>
              </p:spPr>
              <p:txBody>
                <a:bodyPr rot="0" spcFirstLastPara="0" vertOverflow="overflow" horzOverflow="overflow" vert="horz" wrap="square" lIns="137160" tIns="91440" rIns="137160" bIns="137160" numCol="1" spcCol="0" rtlCol="0" fromWordArt="0" anchor="t" anchorCtr="0" forceAA="0" compatLnSpc="1">
                  <a:prstTxWarp prst="textNoShape">
                    <a:avLst/>
                  </a:prstTxWarp>
                  <a:noAutofit/>
                </a:bodyPr>
                <a:lstStyle/>
                <a:p>
                  <a:pPr marL="0" marR="0" lvl="0" indent="0" algn="l" defTabSz="932754" rtl="0" eaLnBrk="1" fontAlgn="auto" latinLnBrk="0" hangingPunct="1">
                    <a:lnSpc>
                      <a:spcPct val="100000"/>
                    </a:lnSpc>
                    <a:spcBef>
                      <a:spcPts val="0"/>
                    </a:spcBef>
                    <a:spcAft>
                      <a:spcPts val="600"/>
                    </a:spcAft>
                    <a:buClrTx/>
                    <a:buSzPct val="90000"/>
                    <a:buFontTx/>
                    <a:buNone/>
                    <a:tabLst/>
                    <a:defRPr/>
                  </a:pPr>
                  <a:endParaRPr kumimoji="0" lang="en-US" sz="1400" b="0" i="0" u="none" strike="noStrike" kern="0" cap="none" spc="0" normalizeH="0" baseline="0" noProof="0">
                    <a:ln>
                      <a:noFill/>
                    </a:ln>
                    <a:gradFill>
                      <a:gsLst>
                        <a:gs pos="0">
                          <a:srgbClr val="091F2C"/>
                        </a:gs>
                        <a:gs pos="100000">
                          <a:srgbClr val="091F2C"/>
                        </a:gs>
                      </a:gsLst>
                      <a:lin ang="0" scaled="0"/>
                    </a:gradFill>
                    <a:effectLst/>
                    <a:uLnTx/>
                    <a:uFillTx/>
                    <a:latin typeface="Segoe Sans Display"/>
                    <a:ea typeface="+mn-ea"/>
                    <a:cs typeface="Segoe Sans Display Semilight" pitchFamily="2" charset="0"/>
                  </a:endParaRPr>
                </a:p>
              </p:txBody>
            </p:sp>
            <p:sp>
              <p:nvSpPr>
                <p:cNvPr id="306" name="Oval 305">
                  <a:extLst>
                    <a:ext uri="{FF2B5EF4-FFF2-40B4-BE49-F238E27FC236}">
                      <a16:creationId xmlns:a16="http://schemas.microsoft.com/office/drawing/2014/main" id="{5CC6A869-094E-27EA-D900-98E84D7ABA28}"/>
                    </a:ext>
                    <a:ext uri="{C183D7F6-B498-43B3-948B-1728B52AA6E4}">
                      <adec:decorative xmlns:adec="http://schemas.microsoft.com/office/drawing/2017/decorative" val="1"/>
                    </a:ext>
                  </a:extLst>
                </p:cNvPr>
                <p:cNvSpPr/>
                <p:nvPr/>
              </p:nvSpPr>
              <p:spPr bwMode="auto">
                <a:xfrm flipH="1">
                  <a:off x="3056354" y="2009587"/>
                  <a:ext cx="3200400" cy="3200400"/>
                </a:xfrm>
                <a:prstGeom prst="ellipse">
                  <a:avLst/>
                </a:prstGeom>
                <a:gradFill>
                  <a:gsLst>
                    <a:gs pos="66000">
                      <a:srgbClr val="A5B8EE">
                        <a:alpha val="50000"/>
                      </a:srgbClr>
                    </a:gs>
                    <a:gs pos="6000">
                      <a:srgbClr val="FADC14">
                        <a:alpha val="48000"/>
                      </a:srgbClr>
                    </a:gs>
                    <a:gs pos="100000">
                      <a:srgbClr val="599FFD">
                        <a:alpha val="50000"/>
                      </a:srgbClr>
                    </a:gs>
                  </a:gsLst>
                  <a:lin ang="0" scaled="0"/>
                </a:gradFill>
                <a:ln w="6350" cap="flat" cmpd="sng" algn="ctr">
                  <a:noFill/>
                  <a:prstDash val="solid"/>
                  <a:headEnd type="none" w="med" len="med"/>
                  <a:tailEnd type="none" w="med" len="med"/>
                </a:ln>
                <a:effectLst>
                  <a:innerShdw blurRad="1270000" dist="508000" dir="18600000">
                    <a:srgbClr val="56AEF9">
                      <a:alpha val="20000"/>
                    </a:srgbClr>
                  </a:innerShdw>
                </a:effectLst>
              </p:spPr>
              <p:txBody>
                <a:bodyPr rot="0" spcFirstLastPara="0" vertOverflow="overflow" horzOverflow="overflow" vert="horz" wrap="square" lIns="182880" tIns="1737360" rIns="182880" bIns="548640" numCol="1" spcCol="0" rtlCol="0" fromWordArt="0" anchor="ctr" anchorCtr="0" forceAA="0" compatLnSpc="1">
                  <a:prstTxWarp prst="textNoShape">
                    <a:avLst/>
                  </a:prstTxWarp>
                  <a:noAutofit/>
                </a:bodyPr>
                <a:lstStyle/>
                <a:p>
                  <a:pPr marL="0" marR="0" lvl="0" indent="0" algn="ctr" defTabSz="1403951" rtl="0" eaLnBrk="1" fontAlgn="base" latinLnBrk="0" hangingPunct="1">
                    <a:lnSpc>
                      <a:spcPct val="100000"/>
                    </a:lnSpc>
                    <a:spcBef>
                      <a:spcPct val="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Sans Display"/>
                    <a:ea typeface="+mn-ea"/>
                    <a:cs typeface="Segoe UI Semibold"/>
                  </a:endParaRPr>
                </a:p>
              </p:txBody>
            </p:sp>
          </p:grpSp>
          <p:grpSp>
            <p:nvGrpSpPr>
              <p:cNvPr id="296" name="Group 295">
                <a:extLst>
                  <a:ext uri="{FF2B5EF4-FFF2-40B4-BE49-F238E27FC236}">
                    <a16:creationId xmlns:a16="http://schemas.microsoft.com/office/drawing/2014/main" id="{7843D852-4540-DFA9-6C20-2CEA40511944}"/>
                  </a:ext>
                </a:extLst>
              </p:cNvPr>
              <p:cNvGrpSpPr/>
              <p:nvPr/>
            </p:nvGrpSpPr>
            <p:grpSpPr>
              <a:xfrm>
                <a:off x="4822197" y="3036605"/>
                <a:ext cx="2567854" cy="2459653"/>
                <a:chOff x="4846945" y="2829771"/>
                <a:chExt cx="2567854" cy="2459653"/>
              </a:xfrm>
            </p:grpSpPr>
            <p:sp>
              <p:nvSpPr>
                <p:cNvPr id="297" name="TextBox 296">
                  <a:extLst>
                    <a:ext uri="{FF2B5EF4-FFF2-40B4-BE49-F238E27FC236}">
                      <a16:creationId xmlns:a16="http://schemas.microsoft.com/office/drawing/2014/main" id="{32639A5C-66A4-09C1-5840-740C211F901D}"/>
                    </a:ext>
                    <a:ext uri="{C183D7F6-B498-43B3-948B-1728B52AA6E4}">
                      <adec:decorative xmlns:adec="http://schemas.microsoft.com/office/drawing/2017/decorative" val="1"/>
                    </a:ext>
                  </a:extLst>
                </p:cNvPr>
                <p:cNvSpPr txBox="1"/>
                <p:nvPr/>
              </p:nvSpPr>
              <p:spPr>
                <a:xfrm>
                  <a:off x="4846945" y="3838017"/>
                  <a:ext cx="594474" cy="398602"/>
                </a:xfrm>
                <a:prstGeom prst="rect">
                  <a:avLst/>
                </a:prstGeom>
              </p:spPr>
              <p:txBody>
                <a:bodyPr wrap="none" lIns="36000" tIns="36000" rIns="36000" bIns="36000">
                  <a:spAutoFit/>
                </a:bodyPr>
                <a:lstStyle>
                  <a:defPPr>
                    <a:defRPr lang="en-US"/>
                  </a:defPPr>
                  <a:lvl1pPr marR="0" lvl="0" indent="0" algn="ctr" defTabSz="790704" fontAlgn="auto">
                    <a:lnSpc>
                      <a:spcPct val="90000"/>
                    </a:lnSpc>
                    <a:spcBef>
                      <a:spcPts val="0"/>
                    </a:spcBef>
                    <a:spcAft>
                      <a:spcPts val="0"/>
                    </a:spcAft>
                    <a:buClrTx/>
                    <a:buSzTx/>
                    <a:buFontTx/>
                    <a:buNone/>
                    <a:tabLst/>
                    <a:defRPr sz="1400">
                      <a:gradFill>
                        <a:gsLst>
                          <a:gs pos="8621">
                            <a:srgbClr val="FFFFFF"/>
                          </a:gs>
                          <a:gs pos="20225">
                            <a:srgbClr val="FFFFFF"/>
                          </a:gs>
                        </a:gsLst>
                        <a:lin ang="5400000" scaled="1"/>
                      </a:gradFill>
                      <a:latin typeface="Segoe UI"/>
                    </a:defRPr>
                  </a:lvl1pPr>
                </a:lstStyle>
                <a:p>
                  <a:pPr marL="0" marR="0" lvl="0" indent="0" algn="ctr" defTabSz="790704"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Display Semibold"/>
                      <a:ea typeface="+mn-ea"/>
                      <a:cs typeface="+mn-cs"/>
                    </a:rPr>
                    <a:t>Unified </a:t>
                  </a:r>
                  <a:br>
                    <a:rPr kumimoji="0" lang="en-US" sz="1000" b="0" i="0" u="none" strike="noStrike" kern="1200" cap="none" spc="0" normalizeH="0" baseline="0" noProof="0">
                      <a:ln>
                        <a:noFill/>
                      </a:ln>
                      <a:solidFill>
                        <a:srgbClr val="000000"/>
                      </a:solidFill>
                      <a:effectLst/>
                      <a:uLnTx/>
                      <a:uFillTx/>
                      <a:latin typeface="Segoe Sans Display Semibold"/>
                      <a:ea typeface="+mn-ea"/>
                      <a:cs typeface="+mn-cs"/>
                    </a:rPr>
                  </a:br>
                  <a:r>
                    <a:rPr kumimoji="0" lang="en-US" sz="1000" b="0" i="0" u="none" strike="noStrike" kern="1200" cap="none" spc="0" normalizeH="0" baseline="0" noProof="0">
                      <a:ln>
                        <a:noFill/>
                      </a:ln>
                      <a:solidFill>
                        <a:srgbClr val="000000"/>
                      </a:solidFill>
                      <a:effectLst/>
                      <a:uLnTx/>
                      <a:uFillTx/>
                      <a:latin typeface="Segoe Sans Display Semibold"/>
                      <a:ea typeface="+mn-ea"/>
                      <a:cs typeface="+mn-cs"/>
                    </a:rPr>
                    <a:t>policies</a:t>
                  </a:r>
                </a:p>
              </p:txBody>
            </p:sp>
            <p:sp>
              <p:nvSpPr>
                <p:cNvPr id="298" name="Arc 297">
                  <a:extLst>
                    <a:ext uri="{FF2B5EF4-FFF2-40B4-BE49-F238E27FC236}">
                      <a16:creationId xmlns:a16="http://schemas.microsoft.com/office/drawing/2014/main" id="{74EE094D-3305-F98F-E70D-7D27E381811F}"/>
                    </a:ext>
                    <a:ext uri="{C183D7F6-B498-43B3-948B-1728B52AA6E4}">
                      <adec:decorative xmlns:adec="http://schemas.microsoft.com/office/drawing/2017/decorative" val="1"/>
                    </a:ext>
                  </a:extLst>
                </p:cNvPr>
                <p:cNvSpPr>
                  <a:spLocks noChangeAspect="1"/>
                </p:cNvSpPr>
                <p:nvPr/>
              </p:nvSpPr>
              <p:spPr>
                <a:xfrm>
                  <a:off x="4942510" y="2843467"/>
                  <a:ext cx="2297786" cy="2297780"/>
                </a:xfrm>
                <a:prstGeom prst="arc">
                  <a:avLst>
                    <a:gd name="adj1" fmla="val 1325407"/>
                    <a:gd name="adj2" fmla="val 3919548"/>
                  </a:avLst>
                </a:prstGeom>
                <a:noFill/>
                <a:ln w="19050" cap="flat" cmpd="sng" algn="ctr">
                  <a:solidFill>
                    <a:schemeClr val="tx1"/>
                  </a:solidFill>
                  <a:prstDash val="solid"/>
                  <a:headEnd type="arrow" w="lg" len="med"/>
                  <a:tailEnd type="none" w="lg" len="med"/>
                </a:ln>
                <a:effectLst/>
              </p:spPr>
              <p:txBody>
                <a:bodyPr rtlCol="0" anchor="ctr"/>
                <a:lstStyle/>
                <a:p>
                  <a:pPr marL="0" marR="0" lvl="0" indent="0" algn="ctr" defTabSz="798316"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353535"/>
                    </a:solidFill>
                    <a:effectLst/>
                    <a:uLnTx/>
                    <a:uFillTx/>
                    <a:latin typeface="Segoe Sans Display Semibold"/>
                    <a:ea typeface="+mn-ea"/>
                    <a:cs typeface="+mn-cs"/>
                  </a:endParaRPr>
                </a:p>
              </p:txBody>
            </p:sp>
            <p:sp>
              <p:nvSpPr>
                <p:cNvPr id="299" name="TextBox 298">
                  <a:extLst>
                    <a:ext uri="{FF2B5EF4-FFF2-40B4-BE49-F238E27FC236}">
                      <a16:creationId xmlns:a16="http://schemas.microsoft.com/office/drawing/2014/main" id="{ECABA87B-A73E-8180-1815-A6EEB0D17844}"/>
                    </a:ext>
                    <a:ext uri="{C183D7F6-B498-43B3-948B-1728B52AA6E4}">
                      <adec:decorative xmlns:adec="http://schemas.microsoft.com/office/drawing/2017/decorative" val="1"/>
                    </a:ext>
                  </a:extLst>
                </p:cNvPr>
                <p:cNvSpPr txBox="1"/>
                <p:nvPr/>
              </p:nvSpPr>
              <p:spPr>
                <a:xfrm>
                  <a:off x="5743857" y="4838419"/>
                  <a:ext cx="698623" cy="398602"/>
                </a:xfrm>
                <a:prstGeom prst="rect">
                  <a:avLst/>
                </a:prstGeom>
              </p:spPr>
              <p:txBody>
                <a:bodyPr wrap="none" lIns="36000" tIns="36000" rIns="36000" bIns="36000">
                  <a:spAutoFit/>
                </a:bodyPr>
                <a:lstStyle>
                  <a:defPPr>
                    <a:defRPr lang="en-US"/>
                  </a:defPPr>
                  <a:lvl1pPr marR="0" lvl="0" indent="0" algn="ctr" defTabSz="790704" fontAlgn="auto">
                    <a:lnSpc>
                      <a:spcPct val="90000"/>
                    </a:lnSpc>
                    <a:spcBef>
                      <a:spcPts val="0"/>
                    </a:spcBef>
                    <a:spcAft>
                      <a:spcPts val="0"/>
                    </a:spcAft>
                    <a:buClrTx/>
                    <a:buSzTx/>
                    <a:buFontTx/>
                    <a:buNone/>
                    <a:tabLst/>
                    <a:defRPr sz="1400">
                      <a:gradFill>
                        <a:gsLst>
                          <a:gs pos="8621">
                            <a:srgbClr val="FFFFFF"/>
                          </a:gs>
                          <a:gs pos="20225">
                            <a:srgbClr val="FFFFFF"/>
                          </a:gs>
                        </a:gsLst>
                        <a:lin ang="5400000" scaled="1"/>
                      </a:gradFill>
                      <a:latin typeface="Segoe UI"/>
                    </a:defRPr>
                  </a:lvl1pPr>
                </a:lstStyle>
                <a:p>
                  <a:pPr marL="0" marR="0" lvl="0" indent="0" algn="ctr" defTabSz="790704"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Display Semibold"/>
                      <a:ea typeface="+mn-ea"/>
                      <a:cs typeface="+mn-cs"/>
                    </a:rPr>
                    <a:t>Effective </a:t>
                  </a:r>
                  <a:br>
                    <a:rPr kumimoji="0" lang="en-US" sz="1000" b="0" i="0" u="none" strike="noStrike" kern="1200" cap="none" spc="0" normalizeH="0" baseline="0" noProof="0">
                      <a:ln>
                        <a:noFill/>
                      </a:ln>
                      <a:solidFill>
                        <a:srgbClr val="000000"/>
                      </a:solidFill>
                      <a:effectLst/>
                      <a:uLnTx/>
                      <a:uFillTx/>
                      <a:latin typeface="Segoe Sans Display Semibold"/>
                      <a:ea typeface="+mn-ea"/>
                      <a:cs typeface="+mn-cs"/>
                    </a:rPr>
                  </a:br>
                  <a:r>
                    <a:rPr kumimoji="0" lang="en-US" sz="1000" b="0" i="0" u="none" strike="noStrike" kern="1200" cap="none" spc="0" normalizeH="0" baseline="0" noProof="0">
                      <a:ln>
                        <a:noFill/>
                      </a:ln>
                      <a:solidFill>
                        <a:srgbClr val="000000"/>
                      </a:solidFill>
                      <a:effectLst/>
                      <a:uLnTx/>
                      <a:uFillTx/>
                      <a:latin typeface="Segoe Sans Display Semibold"/>
                      <a:ea typeface="+mn-ea"/>
                      <a:cs typeface="+mn-cs"/>
                    </a:rPr>
                    <a:t>policy</a:t>
                  </a:r>
                </a:p>
              </p:txBody>
            </p:sp>
            <p:sp>
              <p:nvSpPr>
                <p:cNvPr id="300" name="TextBox 299">
                  <a:extLst>
                    <a:ext uri="{FF2B5EF4-FFF2-40B4-BE49-F238E27FC236}">
                      <a16:creationId xmlns:a16="http://schemas.microsoft.com/office/drawing/2014/main" id="{C9CF908F-13E8-626E-8BCC-C0B2156942F5}"/>
                    </a:ext>
                    <a:ext uri="{C183D7F6-B498-43B3-948B-1728B52AA6E4}">
                      <adec:decorative xmlns:adec="http://schemas.microsoft.com/office/drawing/2017/decorative" val="1"/>
                    </a:ext>
                  </a:extLst>
                </p:cNvPr>
                <p:cNvSpPr txBox="1"/>
                <p:nvPr/>
              </p:nvSpPr>
              <p:spPr>
                <a:xfrm>
                  <a:off x="6606548" y="3741067"/>
                  <a:ext cx="808251" cy="556468"/>
                </a:xfrm>
                <a:prstGeom prst="rect">
                  <a:avLst/>
                </a:prstGeom>
              </p:spPr>
              <p:txBody>
                <a:bodyPr wrap="none" lIns="36000" tIns="36000" rIns="36000" bIns="36000">
                  <a:spAutoFit/>
                </a:bodyPr>
                <a:lstStyle>
                  <a:defPPr>
                    <a:defRPr lang="en-US"/>
                  </a:defPPr>
                  <a:lvl1pPr marR="0" lvl="0" indent="0" algn="ctr" defTabSz="790704" fontAlgn="auto">
                    <a:lnSpc>
                      <a:spcPct val="90000"/>
                    </a:lnSpc>
                    <a:spcBef>
                      <a:spcPts val="0"/>
                    </a:spcBef>
                    <a:spcAft>
                      <a:spcPts val="0"/>
                    </a:spcAft>
                    <a:buClrTx/>
                    <a:buSzTx/>
                    <a:buFontTx/>
                    <a:buNone/>
                    <a:tabLst/>
                    <a:defRPr sz="1400">
                      <a:gradFill>
                        <a:gsLst>
                          <a:gs pos="8621">
                            <a:srgbClr val="FFFFFF"/>
                          </a:gs>
                          <a:gs pos="20225">
                            <a:srgbClr val="FFFFFF"/>
                          </a:gs>
                        </a:gsLst>
                        <a:lin ang="5400000" scaled="1"/>
                      </a:gradFill>
                      <a:latin typeface="Segoe UI"/>
                    </a:defRPr>
                  </a:lvl1pPr>
                </a:lstStyle>
                <a:p>
                  <a:pPr marL="0" marR="0" lvl="0" indent="0" algn="ctr" defTabSz="790704"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Display Semibold"/>
                      <a:ea typeface="+mn-ea"/>
                      <a:cs typeface="+mn-cs"/>
                    </a:rPr>
                    <a:t>Real-time </a:t>
                  </a:r>
                  <a:br>
                    <a:rPr kumimoji="0" lang="en-US" sz="1000" b="0" i="0" u="none" strike="noStrike" kern="1200" cap="none" spc="0" normalizeH="0" baseline="0" noProof="0">
                      <a:ln>
                        <a:noFill/>
                      </a:ln>
                      <a:solidFill>
                        <a:srgbClr val="000000"/>
                      </a:solidFill>
                      <a:effectLst/>
                      <a:uLnTx/>
                      <a:uFillTx/>
                      <a:latin typeface="Segoe Sans Display Semibold"/>
                      <a:ea typeface="+mn-ea"/>
                      <a:cs typeface="+mn-cs"/>
                    </a:rPr>
                  </a:br>
                  <a:r>
                    <a:rPr kumimoji="0" lang="en-US" sz="1000" b="0" i="0" u="none" strike="noStrike" kern="1200" cap="none" spc="0" normalizeH="0" baseline="0" noProof="0">
                      <a:ln>
                        <a:noFill/>
                      </a:ln>
                      <a:solidFill>
                        <a:srgbClr val="000000"/>
                      </a:solidFill>
                      <a:effectLst/>
                      <a:uLnTx/>
                      <a:uFillTx/>
                      <a:latin typeface="Segoe Sans Display Semibold"/>
                      <a:ea typeface="+mn-ea"/>
                      <a:cs typeface="+mn-cs"/>
                    </a:rPr>
                    <a:t>evaluation </a:t>
                  </a:r>
                  <a:br>
                    <a:rPr kumimoji="0" lang="en-US" sz="1000" b="0" i="0" u="none" strike="noStrike" kern="1200" cap="none" spc="0" normalizeH="0" baseline="0" noProof="0">
                      <a:ln>
                        <a:noFill/>
                      </a:ln>
                      <a:solidFill>
                        <a:srgbClr val="000000"/>
                      </a:solidFill>
                      <a:effectLst/>
                      <a:uLnTx/>
                      <a:uFillTx/>
                      <a:latin typeface="Segoe Sans Display Semibold"/>
                      <a:ea typeface="+mn-ea"/>
                      <a:cs typeface="+mn-cs"/>
                    </a:rPr>
                  </a:br>
                  <a:r>
                    <a:rPr kumimoji="0" lang="en-US" sz="1000" b="0" i="0" u="none" strike="noStrike" kern="1200" cap="none" spc="0" normalizeH="0" baseline="0" noProof="0">
                      <a:ln>
                        <a:noFill/>
                      </a:ln>
                      <a:solidFill>
                        <a:srgbClr val="000000"/>
                      </a:solidFill>
                      <a:effectLst/>
                      <a:uLnTx/>
                      <a:uFillTx/>
                      <a:latin typeface="Segoe Sans Display Semibold"/>
                      <a:ea typeface="+mn-ea"/>
                      <a:cs typeface="+mn-cs"/>
                    </a:rPr>
                    <a:t>engine</a:t>
                  </a:r>
                </a:p>
              </p:txBody>
            </p:sp>
            <p:sp>
              <p:nvSpPr>
                <p:cNvPr id="301" name="TextBox 300">
                  <a:extLst>
                    <a:ext uri="{FF2B5EF4-FFF2-40B4-BE49-F238E27FC236}">
                      <a16:creationId xmlns:a16="http://schemas.microsoft.com/office/drawing/2014/main" id="{8C6C88C3-D843-4DDB-568D-E57447357A65}"/>
                    </a:ext>
                    <a:ext uri="{C183D7F6-B498-43B3-948B-1728B52AA6E4}">
                      <adec:decorative xmlns:adec="http://schemas.microsoft.com/office/drawing/2017/decorative" val="1"/>
                    </a:ext>
                  </a:extLst>
                </p:cNvPr>
                <p:cNvSpPr txBox="1"/>
                <p:nvPr/>
              </p:nvSpPr>
              <p:spPr>
                <a:xfrm>
                  <a:off x="5749335" y="2829771"/>
                  <a:ext cx="687659" cy="398602"/>
                </a:xfrm>
                <a:prstGeom prst="rect">
                  <a:avLst/>
                </a:prstGeom>
              </p:spPr>
              <p:txBody>
                <a:bodyPr wrap="none" lIns="36000" tIns="36000" rIns="36000" bIns="36000">
                  <a:spAutoFit/>
                </a:bodyPr>
                <a:lstStyle>
                  <a:defPPr>
                    <a:defRPr lang="en-US"/>
                  </a:defPPr>
                  <a:lvl1pPr defTabSz="896215">
                    <a:lnSpc>
                      <a:spcPct val="90000"/>
                    </a:lnSpc>
                    <a:defRPr sz="1372" kern="100">
                      <a:solidFill>
                        <a:srgbClr val="353535"/>
                      </a:solidFill>
                      <a:latin typeface="Segoe UI"/>
                      <a:ea typeface="ＭＳ Ｐゴシック" charset="0"/>
                    </a:defRPr>
                  </a:lvl1pPr>
                </a:lstStyle>
                <a:p>
                  <a:pPr marL="0" marR="0" lvl="0" indent="0" algn="ctr" defTabSz="790704"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Display Semibold"/>
                      <a:ea typeface="ＭＳ Ｐゴシック" charset="0"/>
                      <a:cs typeface="+mn-cs"/>
                    </a:rPr>
                    <a:t>Machine </a:t>
                  </a:r>
                  <a:br>
                    <a:rPr kumimoji="0" lang="en-US" sz="1000" b="0" i="0" u="none" strike="noStrike" kern="1200" cap="none" spc="0" normalizeH="0" baseline="0" noProof="0">
                      <a:ln>
                        <a:noFill/>
                      </a:ln>
                      <a:solidFill>
                        <a:srgbClr val="000000"/>
                      </a:solidFill>
                      <a:effectLst/>
                      <a:uLnTx/>
                      <a:uFillTx/>
                      <a:latin typeface="Segoe Sans Display Semibold"/>
                      <a:ea typeface="ＭＳ Ｐゴシック" charset="0"/>
                      <a:cs typeface="+mn-cs"/>
                    </a:rPr>
                  </a:br>
                  <a:r>
                    <a:rPr kumimoji="0" lang="en-US" sz="1000" b="0" i="0" u="none" strike="noStrike" kern="1200" cap="none" spc="0" normalizeH="0" baseline="0" noProof="0">
                      <a:ln>
                        <a:noFill/>
                      </a:ln>
                      <a:solidFill>
                        <a:srgbClr val="000000"/>
                      </a:solidFill>
                      <a:effectLst/>
                      <a:uLnTx/>
                      <a:uFillTx/>
                      <a:latin typeface="Segoe Sans Display Semibold"/>
                      <a:ea typeface="ＭＳ Ｐゴシック" charset="0"/>
                      <a:cs typeface="+mn-cs"/>
                    </a:rPr>
                    <a:t>learning</a:t>
                  </a:r>
                </a:p>
              </p:txBody>
            </p:sp>
            <p:sp>
              <p:nvSpPr>
                <p:cNvPr id="302" name="Arc 301">
                  <a:extLst>
                    <a:ext uri="{FF2B5EF4-FFF2-40B4-BE49-F238E27FC236}">
                      <a16:creationId xmlns:a16="http://schemas.microsoft.com/office/drawing/2014/main" id="{9B523101-A615-68EE-15CB-4BDC015636E6}"/>
                    </a:ext>
                    <a:ext uri="{C183D7F6-B498-43B3-948B-1728B52AA6E4}">
                      <adec:decorative xmlns:adec="http://schemas.microsoft.com/office/drawing/2017/decorative" val="1"/>
                    </a:ext>
                  </a:extLst>
                </p:cNvPr>
                <p:cNvSpPr>
                  <a:spLocks noChangeAspect="1"/>
                </p:cNvSpPr>
                <p:nvPr/>
              </p:nvSpPr>
              <p:spPr>
                <a:xfrm rot="16200000">
                  <a:off x="4942510" y="2991641"/>
                  <a:ext cx="2297786" cy="2297780"/>
                </a:xfrm>
                <a:prstGeom prst="arc">
                  <a:avLst>
                    <a:gd name="adj1" fmla="val 1325407"/>
                    <a:gd name="adj2" fmla="val 3919548"/>
                  </a:avLst>
                </a:prstGeom>
                <a:noFill/>
                <a:ln w="19050" cap="flat" cmpd="sng" algn="ctr">
                  <a:solidFill>
                    <a:schemeClr val="tx1"/>
                  </a:solidFill>
                  <a:prstDash val="solid"/>
                  <a:headEnd type="none" w="lg" len="med"/>
                  <a:tailEnd type="arrow" w="lg" len="med"/>
                </a:ln>
                <a:effectLst/>
              </p:spPr>
              <p:txBody>
                <a:bodyPr rtlCol="0" anchor="ctr"/>
                <a:lstStyle/>
                <a:p>
                  <a:pPr marL="0" marR="0" lvl="0" indent="0" algn="ctr" defTabSz="798316"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353535"/>
                    </a:solidFill>
                    <a:effectLst/>
                    <a:uLnTx/>
                    <a:uFillTx/>
                    <a:latin typeface="Segoe Sans Display Semibold"/>
                    <a:ea typeface="+mn-ea"/>
                    <a:cs typeface="+mn-cs"/>
                  </a:endParaRPr>
                </a:p>
              </p:txBody>
            </p:sp>
            <p:sp>
              <p:nvSpPr>
                <p:cNvPr id="303" name="Arc 302">
                  <a:extLst>
                    <a:ext uri="{FF2B5EF4-FFF2-40B4-BE49-F238E27FC236}">
                      <a16:creationId xmlns:a16="http://schemas.microsoft.com/office/drawing/2014/main" id="{85ED9A1C-208A-CE63-AFE9-46FC280C7B03}"/>
                    </a:ext>
                    <a:ext uri="{C183D7F6-B498-43B3-948B-1728B52AA6E4}">
                      <adec:decorative xmlns:adec="http://schemas.microsoft.com/office/drawing/2017/decorative" val="1"/>
                    </a:ext>
                  </a:extLst>
                </p:cNvPr>
                <p:cNvSpPr>
                  <a:spLocks noChangeAspect="1"/>
                </p:cNvSpPr>
                <p:nvPr/>
              </p:nvSpPr>
              <p:spPr>
                <a:xfrm rot="10800000">
                  <a:off x="4942510" y="2991641"/>
                  <a:ext cx="2297786" cy="2297780"/>
                </a:xfrm>
                <a:prstGeom prst="arc">
                  <a:avLst>
                    <a:gd name="adj1" fmla="val 1325407"/>
                    <a:gd name="adj2" fmla="val 3919548"/>
                  </a:avLst>
                </a:prstGeom>
                <a:noFill/>
                <a:ln w="19050" cap="flat" cmpd="sng" algn="ctr">
                  <a:solidFill>
                    <a:schemeClr val="tx1"/>
                  </a:solidFill>
                  <a:prstDash val="solid"/>
                  <a:headEnd type="arrow" w="lg" len="med"/>
                  <a:tailEnd type="arrow" w="lg" len="med"/>
                </a:ln>
                <a:effectLst/>
              </p:spPr>
              <p:txBody>
                <a:bodyPr rtlCol="0" anchor="ctr"/>
                <a:lstStyle/>
                <a:p>
                  <a:pPr marL="0" marR="0" lvl="0" indent="0" algn="ctr" defTabSz="798316"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353535"/>
                    </a:solidFill>
                    <a:effectLst/>
                    <a:uLnTx/>
                    <a:uFillTx/>
                    <a:latin typeface="Segoe Sans Display Semibold"/>
                    <a:ea typeface="+mn-ea"/>
                    <a:cs typeface="+mn-cs"/>
                  </a:endParaRPr>
                </a:p>
              </p:txBody>
            </p:sp>
            <p:sp>
              <p:nvSpPr>
                <p:cNvPr id="304" name="Arc 303">
                  <a:extLst>
                    <a:ext uri="{FF2B5EF4-FFF2-40B4-BE49-F238E27FC236}">
                      <a16:creationId xmlns:a16="http://schemas.microsoft.com/office/drawing/2014/main" id="{87CC3FC8-7038-7A47-6E8E-FB5189A4A68C}"/>
                    </a:ext>
                    <a:ext uri="{C183D7F6-B498-43B3-948B-1728B52AA6E4}">
                      <adec:decorative xmlns:adec="http://schemas.microsoft.com/office/drawing/2017/decorative" val="1"/>
                    </a:ext>
                  </a:extLst>
                </p:cNvPr>
                <p:cNvSpPr>
                  <a:spLocks noChangeAspect="1"/>
                </p:cNvSpPr>
                <p:nvPr/>
              </p:nvSpPr>
              <p:spPr>
                <a:xfrm rot="5660062">
                  <a:off x="4942510" y="2843467"/>
                  <a:ext cx="2297786" cy="2297780"/>
                </a:xfrm>
                <a:prstGeom prst="arc">
                  <a:avLst>
                    <a:gd name="adj1" fmla="val 1325407"/>
                    <a:gd name="adj2" fmla="val 3919548"/>
                  </a:avLst>
                </a:prstGeom>
                <a:noFill/>
                <a:ln w="19050" cap="flat" cmpd="sng" algn="ctr">
                  <a:solidFill>
                    <a:schemeClr val="tx1"/>
                  </a:solidFill>
                  <a:prstDash val="solid"/>
                  <a:headEnd type="arrow" w="lg" len="med"/>
                  <a:tailEnd type="none" w="lg" len="med"/>
                </a:ln>
                <a:effectLst/>
              </p:spPr>
              <p:txBody>
                <a:bodyPr rtlCol="0" anchor="ctr"/>
                <a:lstStyle/>
                <a:p>
                  <a:pPr marL="0" marR="0" lvl="0" indent="0" algn="ctr" defTabSz="798316"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353535"/>
                    </a:solidFill>
                    <a:effectLst/>
                    <a:uLnTx/>
                    <a:uFillTx/>
                    <a:latin typeface="Segoe Sans Display Semibold"/>
                    <a:ea typeface="+mn-ea"/>
                    <a:cs typeface="+mn-cs"/>
                  </a:endParaRPr>
                </a:p>
              </p:txBody>
            </p:sp>
          </p:grpSp>
        </p:grpSp>
        <p:grpSp>
          <p:nvGrpSpPr>
            <p:cNvPr id="288" name="Group 287">
              <a:extLst>
                <a:ext uri="{FF2B5EF4-FFF2-40B4-BE49-F238E27FC236}">
                  <a16:creationId xmlns:a16="http://schemas.microsoft.com/office/drawing/2014/main" id="{A8654E6B-3922-6C0D-C88A-34923F8D2571}"/>
                </a:ext>
              </a:extLst>
            </p:cNvPr>
            <p:cNvGrpSpPr/>
            <p:nvPr/>
          </p:nvGrpSpPr>
          <p:grpSpPr>
            <a:xfrm flipV="1">
              <a:off x="4404360" y="2532927"/>
              <a:ext cx="3383282" cy="3410472"/>
              <a:chOff x="4404360" y="2099612"/>
              <a:chExt cx="3383282" cy="3410472"/>
            </a:xfrm>
          </p:grpSpPr>
          <p:sp>
            <p:nvSpPr>
              <p:cNvPr id="291" name="Oval 290">
                <a:extLst>
                  <a:ext uri="{FF2B5EF4-FFF2-40B4-BE49-F238E27FC236}">
                    <a16:creationId xmlns:a16="http://schemas.microsoft.com/office/drawing/2014/main" id="{D1802C4E-DE46-A1D4-19AB-82E4B825F866}"/>
                  </a:ext>
                </a:extLst>
              </p:cNvPr>
              <p:cNvSpPr/>
              <p:nvPr/>
            </p:nvSpPr>
            <p:spPr bwMode="auto">
              <a:xfrm flipV="1">
                <a:off x="4404360" y="2126804"/>
                <a:ext cx="3383280" cy="3383280"/>
              </a:xfrm>
              <a:prstGeom prst="ellipse">
                <a:avLst/>
              </a:prstGeom>
              <a:noFill/>
              <a:ln w="9525" cap="flat" cmpd="sng" algn="ctr">
                <a:noFill/>
                <a:prstDash val="solid"/>
                <a:headEnd type="none" w="med" len="med"/>
                <a:tailEnd type="none" w="med" len="med"/>
              </a:ln>
              <a:effectLst>
                <a:innerShdw blurRad="114300" dist="63500" dir="13500000">
                  <a:srgbClr val="000000">
                    <a:alpha val="60000"/>
                  </a:srgbClr>
                </a:inn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grpSp>
            <p:nvGrpSpPr>
              <p:cNvPr id="292" name="Group 291">
                <a:extLst>
                  <a:ext uri="{FF2B5EF4-FFF2-40B4-BE49-F238E27FC236}">
                    <a16:creationId xmlns:a16="http://schemas.microsoft.com/office/drawing/2014/main" id="{4297B25C-405E-2971-BD43-DF6B26B8E771}"/>
                  </a:ext>
                  <a:ext uri="{C183D7F6-B498-43B3-948B-1728B52AA6E4}">
                    <adec:decorative xmlns:adec="http://schemas.microsoft.com/office/drawing/2017/decorative" val="1"/>
                  </a:ext>
                </a:extLst>
              </p:cNvPr>
              <p:cNvGrpSpPr/>
              <p:nvPr/>
            </p:nvGrpSpPr>
            <p:grpSpPr>
              <a:xfrm>
                <a:off x="4404360" y="2099612"/>
                <a:ext cx="3383282" cy="3383281"/>
                <a:chOff x="4167292" y="1859049"/>
                <a:chExt cx="2107934" cy="2107934"/>
              </a:xfrm>
            </p:grpSpPr>
            <p:sp>
              <p:nvSpPr>
                <p:cNvPr id="293" name="Block Arc 292">
                  <a:extLst>
                    <a:ext uri="{FF2B5EF4-FFF2-40B4-BE49-F238E27FC236}">
                      <a16:creationId xmlns:a16="http://schemas.microsoft.com/office/drawing/2014/main" id="{7DE761EC-01C3-A438-6CB3-0BCC87008F8E}"/>
                    </a:ext>
                  </a:extLst>
                </p:cNvPr>
                <p:cNvSpPr/>
                <p:nvPr/>
              </p:nvSpPr>
              <p:spPr bwMode="auto">
                <a:xfrm rot="16200000" flipV="1">
                  <a:off x="4167292" y="1859049"/>
                  <a:ext cx="2107933" cy="2107933"/>
                </a:xfrm>
                <a:prstGeom prst="blockArc">
                  <a:avLst>
                    <a:gd name="adj1" fmla="val 16214270"/>
                    <a:gd name="adj2" fmla="val 5426204"/>
                    <a:gd name="adj3" fmla="val 13240"/>
                  </a:avLst>
                </a:prstGeom>
                <a:gradFill flip="none" rotWithShape="1">
                  <a:gsLst>
                    <a:gs pos="66000">
                      <a:srgbClr val="A5B8EE">
                        <a:alpha val="50000"/>
                      </a:srgbClr>
                    </a:gs>
                    <a:gs pos="6000">
                      <a:schemeClr val="bg1"/>
                    </a:gs>
                    <a:gs pos="100000">
                      <a:srgbClr val="599FFD">
                        <a:alpha val="80000"/>
                      </a:srgbClr>
                    </a:gs>
                  </a:gsLst>
                  <a:lin ang="0" scaled="0"/>
                  <a:tileRect/>
                </a:gradFill>
                <a:ln w="9525" cap="flat" cmpd="sng" algn="ctr">
                  <a:noFill/>
                  <a:prstDash val="solid"/>
                  <a:headEnd type="none" w="med" len="med"/>
                  <a:tailEnd type="none" w="med" len="med"/>
                </a:ln>
                <a:effectLst>
                  <a:innerShdw blurRad="114300" dist="63500" dir="13500000">
                    <a:schemeClr val="bg1">
                      <a:alpha val="45000"/>
                    </a:schemeClr>
                  </a:inn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94" name="Arc 293">
                  <a:extLst>
                    <a:ext uri="{FF2B5EF4-FFF2-40B4-BE49-F238E27FC236}">
                      <a16:creationId xmlns:a16="http://schemas.microsoft.com/office/drawing/2014/main" id="{AF381A7F-807C-4EE6-B718-B9DA6AC6E2AA}"/>
                    </a:ext>
                  </a:extLst>
                </p:cNvPr>
                <p:cNvSpPr/>
                <p:nvPr/>
              </p:nvSpPr>
              <p:spPr bwMode="auto">
                <a:xfrm>
                  <a:off x="4167293" y="1859050"/>
                  <a:ext cx="2107933" cy="2107933"/>
                </a:xfrm>
                <a:prstGeom prst="arc">
                  <a:avLst>
                    <a:gd name="adj1" fmla="val 10835151"/>
                    <a:gd name="adj2" fmla="val 21581104"/>
                  </a:avLst>
                </a:prstGeom>
                <a:noFill/>
                <a:ln w="15875" cap="flat" cmpd="sng" algn="ctr">
                  <a:gradFill flip="none" rotWithShape="1">
                    <a:gsLst>
                      <a:gs pos="100000">
                        <a:schemeClr val="bg1"/>
                      </a:gs>
                      <a:gs pos="0">
                        <a:srgbClr val="599FFD"/>
                      </a:gs>
                      <a:gs pos="29000">
                        <a:srgbClr val="A5B8EE"/>
                      </a:gs>
                    </a:gsLst>
                    <a:path path="circle">
                      <a:fillToRect l="50000" t="50000" r="50000" b="50000"/>
                    </a:path>
                    <a:tileRect/>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grpSp>
        </p:grpSp>
        <p:sp>
          <p:nvSpPr>
            <p:cNvPr id="289" name="Continuous Access Evaluation">
              <a:extLst>
                <a:ext uri="{FF2B5EF4-FFF2-40B4-BE49-F238E27FC236}">
                  <a16:creationId xmlns:a16="http://schemas.microsoft.com/office/drawing/2014/main" id="{18D2E52C-D5ED-7958-63A5-50D183ADA4D3}"/>
                </a:ext>
                <a:ext uri="{C183D7F6-B498-43B3-948B-1728B52AA6E4}">
                  <adec:decorative xmlns:adec="http://schemas.microsoft.com/office/drawing/2017/decorative" val="1"/>
                </a:ext>
              </a:extLst>
            </p:cNvPr>
            <p:cNvSpPr txBox="1">
              <a:spLocks/>
            </p:cNvSpPr>
            <p:nvPr/>
          </p:nvSpPr>
          <p:spPr>
            <a:xfrm>
              <a:off x="4587240" y="2840859"/>
              <a:ext cx="3017520" cy="3383280"/>
            </a:xfrm>
            <a:prstGeom prst="rect">
              <a:avLst/>
            </a:prstGeom>
            <a:noFill/>
          </p:spPr>
          <p:txBody>
            <a:bodyPr spcFirstLastPara="1" wrap="square" numCol="1">
              <a:prstTxWarp prst="textArchUp">
                <a:avLst/>
              </a:prstTxWarp>
              <a:spAutoFit/>
            </a:bodyPr>
            <a:lstStyle>
              <a:defPPr>
                <a:defRPr lang="en-US"/>
              </a:defPPr>
              <a:lvl1pPr marR="0" lvl="0" indent="0" algn="ctr" defTabSz="922530" fontAlgn="auto">
                <a:lnSpc>
                  <a:spcPct val="100000"/>
                </a:lnSpc>
                <a:spcBef>
                  <a:spcPts val="0"/>
                </a:spcBef>
                <a:spcAft>
                  <a:spcPts val="606"/>
                </a:spcAft>
                <a:buClrTx/>
                <a:buSzTx/>
                <a:buFontTx/>
                <a:buNone/>
                <a:tabLst/>
                <a:defRPr kumimoji="0" sz="1600" b="0" i="0" u="none" strike="noStrike" cap="none" spc="0" normalizeH="0" baseline="0">
                  <a:ln>
                    <a:noFill/>
                  </a:ln>
                  <a:gradFill>
                    <a:gsLst>
                      <a:gs pos="8621">
                        <a:srgbClr val="FFFFFF"/>
                      </a:gs>
                      <a:gs pos="20225">
                        <a:srgbClr val="FFFFFF"/>
                      </a:gs>
                    </a:gsLst>
                    <a:lin ang="5400000" scaled="1"/>
                  </a:gradFill>
                  <a:effectLst/>
                  <a:uLnTx/>
                  <a:uFillTx/>
                  <a:latin typeface="Segoe UI Semibold"/>
                </a:defRPr>
              </a:lvl1pPr>
            </a:lstStyle>
            <a:p>
              <a:pPr marL="0" marR="0" lvl="0" indent="0" algn="ctr" defTabSz="922530" rtl="0" eaLnBrk="1" fontAlgn="auto" latinLnBrk="0" hangingPunct="1">
                <a:lnSpc>
                  <a:spcPct val="100000"/>
                </a:lnSpc>
                <a:spcBef>
                  <a:spcPts val="0"/>
                </a:spcBef>
                <a:spcAft>
                  <a:spcPts val="606"/>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Semibold"/>
                  <a:ea typeface="+mn-ea"/>
                  <a:cs typeface="+mn-cs"/>
                </a:rPr>
                <a:t>Continuous Access Evaluation</a:t>
              </a:r>
            </a:p>
          </p:txBody>
        </p:sp>
        <p:sp>
          <p:nvSpPr>
            <p:cNvPr id="290" name="Text: Security Service Edge">
              <a:extLst>
                <a:ext uri="{FF2B5EF4-FFF2-40B4-BE49-F238E27FC236}">
                  <a16:creationId xmlns:a16="http://schemas.microsoft.com/office/drawing/2014/main" id="{73E1CAB4-FE2D-47ED-1D12-97B323CE243B}"/>
                </a:ext>
                <a:ext uri="{C183D7F6-B498-43B3-948B-1728B52AA6E4}">
                  <adec:decorative xmlns:adec="http://schemas.microsoft.com/office/drawing/2017/decorative" val="1"/>
                </a:ext>
              </a:extLst>
            </p:cNvPr>
            <p:cNvSpPr txBox="1">
              <a:spLocks/>
            </p:cNvSpPr>
            <p:nvPr/>
          </p:nvSpPr>
          <p:spPr>
            <a:xfrm>
              <a:off x="4587241" y="2415325"/>
              <a:ext cx="3017520" cy="3383280"/>
            </a:xfrm>
            <a:prstGeom prst="rect">
              <a:avLst/>
            </a:prstGeom>
            <a:noFill/>
          </p:spPr>
          <p:txBody>
            <a:bodyPr spcFirstLastPara="1" wrap="square" numCol="1">
              <a:prstTxWarp prst="textArchDown">
                <a:avLst>
                  <a:gd name="adj" fmla="val 862028"/>
                </a:avLst>
              </a:prstTxWarp>
              <a:spAutoFit/>
            </a:bodyPr>
            <a:lstStyle>
              <a:defPPr>
                <a:defRPr lang="en-US"/>
              </a:defPPr>
              <a:lvl1pPr lvl="0" algn="ctr" defTabSz="922530">
                <a:spcAft>
                  <a:spcPts val="606"/>
                </a:spcAft>
                <a:defRPr sz="1600">
                  <a:gradFill>
                    <a:gsLst>
                      <a:gs pos="8621">
                        <a:srgbClr val="FFFFFF"/>
                      </a:gs>
                      <a:gs pos="20225">
                        <a:srgbClr val="FFFFFF"/>
                      </a:gs>
                    </a:gsLst>
                    <a:lin ang="5400000" scaled="1"/>
                  </a:gradFill>
                  <a:latin typeface="Segoe UI Semibold"/>
                </a:defRPr>
              </a:lvl1pPr>
            </a:lstStyle>
            <a:p>
              <a:pPr marL="0" marR="0" lvl="0" indent="0" algn="ctr" defTabSz="922530" rtl="0" eaLnBrk="1" fontAlgn="auto" latinLnBrk="0" hangingPunct="1">
                <a:lnSpc>
                  <a:spcPct val="100000"/>
                </a:lnSpc>
                <a:spcBef>
                  <a:spcPts val="0"/>
                </a:spcBef>
                <a:spcAft>
                  <a:spcPts val="606"/>
                </a:spcAft>
                <a:buClrTx/>
                <a:buSzTx/>
                <a:buFontTx/>
                <a:buNone/>
                <a:tabLst/>
                <a:defRPr/>
              </a:pPr>
              <a:r>
                <a:rPr kumimoji="0" lang="en-US" sz="1400" b="0" i="0" u="none" strike="noStrike" kern="0" cap="none" spc="0" normalizeH="0" baseline="0" noProof="0">
                  <a:ln>
                    <a:noFill/>
                  </a:ln>
                  <a:solidFill>
                    <a:srgbClr val="091F2C"/>
                  </a:solidFill>
                  <a:effectLst/>
                  <a:uLnTx/>
                  <a:uFillTx/>
                  <a:latin typeface="Segoe Sans Display Semibold"/>
                  <a:ea typeface="+mn-ea"/>
                  <a:cs typeface="+mn-cs"/>
                </a:rPr>
                <a:t>Security Service Edge</a:t>
              </a:r>
            </a:p>
          </p:txBody>
        </p:sp>
      </p:grpSp>
      <p:sp>
        <p:nvSpPr>
          <p:cNvPr id="12" name="Title 11">
            <a:extLst>
              <a:ext uri="{FF2B5EF4-FFF2-40B4-BE49-F238E27FC236}">
                <a16:creationId xmlns:a16="http://schemas.microsoft.com/office/drawing/2014/main" id="{57404C0B-C64B-545D-E404-303CE1E66736}"/>
              </a:ext>
            </a:extLst>
          </p:cNvPr>
          <p:cNvSpPr>
            <a:spLocks noGrp="1"/>
          </p:cNvSpPr>
          <p:nvPr>
            <p:ph type="title"/>
          </p:nvPr>
        </p:nvSpPr>
        <p:spPr>
          <a:xfrm>
            <a:off x="588963" y="457200"/>
            <a:ext cx="11017250" cy="1005840"/>
          </a:xfrm>
        </p:spPr>
        <p:txBody>
          <a:bodyPr>
            <a:normAutofit fontScale="90000"/>
          </a:bodyPr>
          <a:lstStyle/>
          <a:p>
            <a:pPr algn="ctr"/>
            <a:r>
              <a:rPr lang="en-US">
                <a:gradFill>
                  <a:gsLst>
                    <a:gs pos="0">
                      <a:srgbClr val="0360DB"/>
                    </a:gs>
                    <a:gs pos="100000">
                      <a:srgbClr val="207EFC"/>
                    </a:gs>
                  </a:gsLst>
                  <a:path path="circle">
                    <a:fillToRect t="100000" r="100000"/>
                  </a:path>
                </a:gradFill>
              </a:rPr>
              <a:t>Enhance Conditional Access </a:t>
            </a:r>
            <a:r>
              <a:rPr lang="en-US" noProof="0"/>
              <a:t>with </a:t>
            </a:r>
            <a:br>
              <a:rPr lang="en-US" noProof="0"/>
            </a:br>
            <a:r>
              <a:rPr lang="en-US" noProof="0"/>
              <a:t>new conditions and controls</a:t>
            </a:r>
            <a:endParaRPr lang="en-CA"/>
          </a:p>
        </p:txBody>
      </p:sp>
      <p:sp>
        <p:nvSpPr>
          <p:cNvPr id="184" name="Rounded Rectangle 174">
            <a:extLst>
              <a:ext uri="{FF2B5EF4-FFF2-40B4-BE49-F238E27FC236}">
                <a16:creationId xmlns:a16="http://schemas.microsoft.com/office/drawing/2014/main" id="{C6B7F4C2-288E-6599-906C-249272F39976}"/>
              </a:ext>
              <a:ext uri="{C183D7F6-B498-43B3-948B-1728B52AA6E4}">
                <adec:decorative xmlns:adec="http://schemas.microsoft.com/office/drawing/2017/decorative" val="1"/>
              </a:ext>
            </a:extLst>
          </p:cNvPr>
          <p:cNvSpPr/>
          <p:nvPr/>
        </p:nvSpPr>
        <p:spPr bwMode="auto">
          <a:xfrm>
            <a:off x="8936735" y="2003772"/>
            <a:ext cx="2670048" cy="4206240"/>
          </a:xfrm>
          <a:prstGeom prst="roundRect">
            <a:avLst>
              <a:gd name="adj" fmla="val 5043"/>
            </a:avLst>
          </a:prstGeom>
          <a:solidFill>
            <a:schemeClr val="bg1"/>
          </a:solidFill>
          <a:ln>
            <a:noFill/>
            <a:headEnd type="none" w="med" len="med"/>
            <a:tailEnd type="none" w="med" len="med"/>
          </a:ln>
          <a:effectLst>
            <a:innerShdw blurRad="508000" dist="63500" dir="16200000">
              <a:srgbClr val="B1B3B3">
                <a:alpha val="25000"/>
              </a:srgb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20040" rIns="91440" bIns="91440" numCol="1" spcCol="0" rtlCol="0" fromWordArt="0" anchor="t" anchorCtr="0" forceAA="0" compatLnSpc="1">
            <a:prstTxWarp prst="textNoShape">
              <a:avLst/>
            </a:prstTxWarp>
            <a:noAutofit/>
          </a:bodyPr>
          <a:lstStyle/>
          <a:p>
            <a:pPr marL="0" marR="0" lvl="0" indent="0" algn="ctr" defTabSz="932754" rtl="0" eaLnBrk="1" fontAlgn="auto" latinLnBrk="0" hangingPunct="1">
              <a:lnSpc>
                <a:spcPct val="100000"/>
              </a:lnSpc>
              <a:spcBef>
                <a:spcPts val="0"/>
              </a:spcBef>
              <a:spcAft>
                <a:spcPts val="300"/>
              </a:spcAft>
              <a:buClrTx/>
              <a:buSzTx/>
              <a:buFontTx/>
              <a:buNone/>
              <a:tabLst/>
              <a:defRPr/>
            </a:pPr>
            <a:endParaRPr kumimoji="0" lang="en-US" sz="1400" b="0" i="0" u="none" strike="noStrike" kern="0" cap="none" spc="-10" normalizeH="0" baseline="0" noProof="0">
              <a:ln>
                <a:noFill/>
              </a:ln>
              <a:solidFill>
                <a:srgbClr val="8DC8E8"/>
              </a:solidFill>
              <a:effectLst/>
              <a:uLnTx/>
              <a:uFillTx/>
              <a:latin typeface="Segoe Sans Display Semibold" pitchFamily="2" charset="0"/>
              <a:ea typeface="+mn-ea"/>
              <a:cs typeface="Segoe Sans Display Semibold" pitchFamily="2" charset="0"/>
            </a:endParaRPr>
          </a:p>
        </p:txBody>
      </p:sp>
      <p:grpSp>
        <p:nvGrpSpPr>
          <p:cNvPr id="185" name="Group 184">
            <a:extLst>
              <a:ext uri="{FF2B5EF4-FFF2-40B4-BE49-F238E27FC236}">
                <a16:creationId xmlns:a16="http://schemas.microsoft.com/office/drawing/2014/main" id="{18C092A3-6DD6-59BF-BBF3-3F04DAB33205}"/>
              </a:ext>
              <a:ext uri="{C183D7F6-B498-43B3-948B-1728B52AA6E4}">
                <adec:decorative xmlns:adec="http://schemas.microsoft.com/office/drawing/2017/decorative" val="1"/>
              </a:ext>
            </a:extLst>
          </p:cNvPr>
          <p:cNvGrpSpPr/>
          <p:nvPr/>
        </p:nvGrpSpPr>
        <p:grpSpPr>
          <a:xfrm>
            <a:off x="1921366" y="2406407"/>
            <a:ext cx="1629365" cy="3400970"/>
            <a:chOff x="3289229" y="2165657"/>
            <a:chExt cx="842741" cy="3643068"/>
          </a:xfrm>
        </p:grpSpPr>
        <p:cxnSp>
          <p:nvCxnSpPr>
            <p:cNvPr id="186" name="Straight Connector 185">
              <a:extLst>
                <a:ext uri="{FF2B5EF4-FFF2-40B4-BE49-F238E27FC236}">
                  <a16:creationId xmlns:a16="http://schemas.microsoft.com/office/drawing/2014/main" id="{BC39675F-4D96-567E-D433-DB3B787A55CA}"/>
                </a:ext>
              </a:extLst>
            </p:cNvPr>
            <p:cNvCxnSpPr>
              <a:cxnSpLocks/>
            </p:cNvCxnSpPr>
            <p:nvPr/>
          </p:nvCxnSpPr>
          <p:spPr>
            <a:xfrm>
              <a:off x="3679709" y="3983563"/>
              <a:ext cx="452261" cy="0"/>
            </a:xfrm>
            <a:prstGeom prst="line">
              <a:avLst/>
            </a:prstGeom>
            <a:noFill/>
            <a:ln w="12700" cap="flat">
              <a:solidFill>
                <a:schemeClr val="bg1">
                  <a:lumMod val="50000"/>
                </a:schemeClr>
              </a:solidFill>
              <a:prstDash val="solid"/>
              <a:miter/>
            </a:ln>
            <a:scene3d>
              <a:camera prst="isometricOffAxis1Right">
                <a:rot lat="0" lon="0" rev="0"/>
              </a:camera>
              <a:lightRig rig="flood" dir="t"/>
            </a:scene3d>
          </p:spPr>
        </p:cxnSp>
        <p:sp>
          <p:nvSpPr>
            <p:cNvPr id="187" name="Arc 186">
              <a:extLst>
                <a:ext uri="{FF2B5EF4-FFF2-40B4-BE49-F238E27FC236}">
                  <a16:creationId xmlns:a16="http://schemas.microsoft.com/office/drawing/2014/main" id="{8316452E-2897-3D62-A26E-2FAFBFB78FBD}"/>
                </a:ext>
              </a:extLst>
            </p:cNvPr>
            <p:cNvSpPr/>
            <p:nvPr/>
          </p:nvSpPr>
          <p:spPr>
            <a:xfrm rot="5400000" flipH="1">
              <a:off x="3280400" y="2174486"/>
              <a:ext cx="408138" cy="390480"/>
            </a:xfrm>
            <a:prstGeom prst="arc">
              <a:avLst>
                <a:gd name="adj1" fmla="val 16200000"/>
                <a:gd name="adj2" fmla="val 200472"/>
              </a:avLst>
            </a:prstGeom>
            <a:noFill/>
            <a:ln w="12700" cap="flat">
              <a:solidFill>
                <a:schemeClr val="bg1">
                  <a:lumMod val="50000"/>
                </a:schemeClr>
              </a:solidFill>
              <a:prstDash val="solid"/>
              <a:miter/>
            </a:ln>
            <a:scene3d>
              <a:camera prst="isometricOffAxis1Right">
                <a:rot lat="0" lon="0" rev="0"/>
              </a:camera>
              <a:lightRig rig="flood" dir="t"/>
            </a:scene3d>
          </p:spPr>
          <p:txBody>
            <a:bodyPr rot="0" spcFirstLastPara="0" vertOverflow="overflow" horzOverflow="overflow" vert="horz" wrap="square" lIns="91440" tIns="14630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endParaRPr kumimoji="0" lang="en-US" sz="1800" b="0" i="0" u="none" strike="noStrike" kern="0" cap="none" spc="0" normalizeH="0" baseline="0" noProof="0">
                <a:ln>
                  <a:noFill/>
                </a:ln>
                <a:gradFill>
                  <a:gsLst>
                    <a:gs pos="0">
                      <a:srgbClr val="000000"/>
                    </a:gs>
                    <a:gs pos="100000">
                      <a:srgbClr val="000000"/>
                    </a:gs>
                  </a:gsLst>
                  <a:lin ang="5400000" scaled="1"/>
                </a:gradFill>
                <a:effectLst/>
                <a:uLnTx/>
                <a:uFillTx/>
                <a:latin typeface="Segoe Sans Display Semibold"/>
                <a:ea typeface="+mn-ea"/>
                <a:cs typeface="+mn-cs"/>
              </a:endParaRPr>
            </a:p>
          </p:txBody>
        </p:sp>
        <p:sp>
          <p:nvSpPr>
            <p:cNvPr id="188" name="Arc 187">
              <a:extLst>
                <a:ext uri="{FF2B5EF4-FFF2-40B4-BE49-F238E27FC236}">
                  <a16:creationId xmlns:a16="http://schemas.microsoft.com/office/drawing/2014/main" id="{6A799B21-EB3E-DAD1-1A62-E0A056BF6FBD}"/>
                </a:ext>
              </a:extLst>
            </p:cNvPr>
            <p:cNvSpPr/>
            <p:nvPr/>
          </p:nvSpPr>
          <p:spPr>
            <a:xfrm rot="10800000" flipH="1">
              <a:off x="3289230" y="5396113"/>
              <a:ext cx="390480" cy="412612"/>
            </a:xfrm>
            <a:prstGeom prst="arc">
              <a:avLst>
                <a:gd name="adj1" fmla="val 16200000"/>
                <a:gd name="adj2" fmla="val 200472"/>
              </a:avLst>
            </a:prstGeom>
            <a:noFill/>
            <a:ln w="12700" cap="flat">
              <a:solidFill>
                <a:schemeClr val="bg1">
                  <a:lumMod val="50000"/>
                </a:schemeClr>
              </a:solidFill>
              <a:prstDash val="solid"/>
              <a:miter/>
            </a:ln>
            <a:scene3d>
              <a:camera prst="isometricOffAxis1Right">
                <a:rot lat="0" lon="0" rev="0"/>
              </a:camera>
              <a:lightRig rig="flood" dir="t"/>
            </a:scene3d>
          </p:spPr>
          <p:txBody>
            <a:bodyPr rot="0" spcFirstLastPara="0" vertOverflow="overflow" horzOverflow="overflow" vert="horz" wrap="square" lIns="91440" tIns="14630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endParaRPr kumimoji="0" lang="en-US" sz="1800" b="0" i="0" u="none" strike="noStrike" kern="0" cap="none" spc="0" normalizeH="0" baseline="0" noProof="0">
                <a:ln>
                  <a:noFill/>
                </a:ln>
                <a:gradFill>
                  <a:gsLst>
                    <a:gs pos="0">
                      <a:srgbClr val="000000"/>
                    </a:gs>
                    <a:gs pos="100000">
                      <a:srgbClr val="000000"/>
                    </a:gs>
                  </a:gsLst>
                  <a:lin ang="5400000" scaled="1"/>
                </a:gradFill>
                <a:effectLst/>
                <a:uLnTx/>
                <a:uFillTx/>
                <a:latin typeface="Segoe Sans Display Semibold"/>
                <a:ea typeface="+mn-ea"/>
                <a:cs typeface="+mn-cs"/>
              </a:endParaRPr>
            </a:p>
          </p:txBody>
        </p:sp>
        <p:cxnSp>
          <p:nvCxnSpPr>
            <p:cNvPr id="189" name="Straight Connector 188">
              <a:extLst>
                <a:ext uri="{FF2B5EF4-FFF2-40B4-BE49-F238E27FC236}">
                  <a16:creationId xmlns:a16="http://schemas.microsoft.com/office/drawing/2014/main" id="{E3F48DD0-7F6E-8FF3-8A22-5579ADB0FBEB}"/>
                </a:ext>
              </a:extLst>
            </p:cNvPr>
            <p:cNvCxnSpPr>
              <a:cxnSpLocks/>
            </p:cNvCxnSpPr>
            <p:nvPr/>
          </p:nvCxnSpPr>
          <p:spPr>
            <a:xfrm flipV="1">
              <a:off x="3679709" y="2364709"/>
              <a:ext cx="0" cy="3237709"/>
            </a:xfrm>
            <a:prstGeom prst="line">
              <a:avLst/>
            </a:prstGeom>
            <a:noFill/>
            <a:ln w="12700" cap="flat">
              <a:solidFill>
                <a:schemeClr val="bg1">
                  <a:lumMod val="50000"/>
                </a:schemeClr>
              </a:solidFill>
              <a:prstDash val="solid"/>
              <a:miter/>
            </a:ln>
            <a:scene3d>
              <a:camera prst="isometricOffAxis1Right">
                <a:rot lat="0" lon="0" rev="0"/>
              </a:camera>
              <a:lightRig rig="flood" dir="t"/>
            </a:scene3d>
          </p:spPr>
        </p:cxnSp>
        <p:cxnSp>
          <p:nvCxnSpPr>
            <p:cNvPr id="190" name="Straight Connector 189">
              <a:extLst>
                <a:ext uri="{FF2B5EF4-FFF2-40B4-BE49-F238E27FC236}">
                  <a16:creationId xmlns:a16="http://schemas.microsoft.com/office/drawing/2014/main" id="{24F99524-CB96-B792-7827-856FE292D870}"/>
                </a:ext>
              </a:extLst>
            </p:cNvPr>
            <p:cNvCxnSpPr>
              <a:cxnSpLocks/>
            </p:cNvCxnSpPr>
            <p:nvPr/>
          </p:nvCxnSpPr>
          <p:spPr>
            <a:xfrm>
              <a:off x="3474842" y="2892708"/>
              <a:ext cx="204867" cy="0"/>
            </a:xfrm>
            <a:prstGeom prst="line">
              <a:avLst/>
            </a:prstGeom>
            <a:noFill/>
            <a:ln w="12700" cap="flat">
              <a:solidFill>
                <a:schemeClr val="bg1">
                  <a:lumMod val="50000"/>
                </a:schemeClr>
              </a:solidFill>
              <a:prstDash val="solid"/>
              <a:miter/>
            </a:ln>
            <a:scene3d>
              <a:camera prst="isometricOffAxis1Right">
                <a:rot lat="0" lon="0" rev="0"/>
              </a:camera>
              <a:lightRig rig="flood" dir="t"/>
            </a:scene3d>
          </p:spPr>
        </p:cxnSp>
        <p:cxnSp>
          <p:nvCxnSpPr>
            <p:cNvPr id="191" name="Straight Connector 190">
              <a:extLst>
                <a:ext uri="{FF2B5EF4-FFF2-40B4-BE49-F238E27FC236}">
                  <a16:creationId xmlns:a16="http://schemas.microsoft.com/office/drawing/2014/main" id="{B8434DE0-A237-C022-FF09-C2ED3AA82A6F}"/>
                </a:ext>
              </a:extLst>
            </p:cNvPr>
            <p:cNvCxnSpPr>
              <a:cxnSpLocks/>
            </p:cNvCxnSpPr>
            <p:nvPr/>
          </p:nvCxnSpPr>
          <p:spPr>
            <a:xfrm>
              <a:off x="3474842" y="5081676"/>
              <a:ext cx="204867" cy="0"/>
            </a:xfrm>
            <a:prstGeom prst="line">
              <a:avLst/>
            </a:prstGeom>
            <a:noFill/>
            <a:ln w="12700" cap="flat">
              <a:solidFill>
                <a:schemeClr val="bg1">
                  <a:lumMod val="50000"/>
                </a:schemeClr>
              </a:solidFill>
              <a:prstDash val="solid"/>
              <a:miter/>
            </a:ln>
            <a:scene3d>
              <a:camera prst="isometricOffAxis1Right">
                <a:rot lat="0" lon="0" rev="0"/>
              </a:camera>
              <a:lightRig rig="flood" dir="t"/>
            </a:scene3d>
          </p:spPr>
        </p:cxnSp>
        <p:cxnSp>
          <p:nvCxnSpPr>
            <p:cNvPr id="192" name="Straight Connector 191">
              <a:extLst>
                <a:ext uri="{FF2B5EF4-FFF2-40B4-BE49-F238E27FC236}">
                  <a16:creationId xmlns:a16="http://schemas.microsoft.com/office/drawing/2014/main" id="{9D9C10F8-D5E2-784C-541F-973C72E0CF28}"/>
                </a:ext>
              </a:extLst>
            </p:cNvPr>
            <p:cNvCxnSpPr>
              <a:cxnSpLocks/>
            </p:cNvCxnSpPr>
            <p:nvPr/>
          </p:nvCxnSpPr>
          <p:spPr>
            <a:xfrm>
              <a:off x="3474842" y="4352300"/>
              <a:ext cx="204867" cy="0"/>
            </a:xfrm>
            <a:prstGeom prst="line">
              <a:avLst/>
            </a:prstGeom>
            <a:noFill/>
            <a:ln w="12700" cap="flat">
              <a:solidFill>
                <a:schemeClr val="bg1">
                  <a:lumMod val="50000"/>
                </a:schemeClr>
              </a:solidFill>
              <a:prstDash val="solid"/>
              <a:miter/>
            </a:ln>
            <a:scene3d>
              <a:camera prst="isometricOffAxis1Right">
                <a:rot lat="0" lon="0" rev="0"/>
              </a:camera>
              <a:lightRig rig="flood" dir="t"/>
            </a:scene3d>
          </p:spPr>
        </p:cxnSp>
        <p:cxnSp>
          <p:nvCxnSpPr>
            <p:cNvPr id="193" name="Straight Connector 192">
              <a:extLst>
                <a:ext uri="{FF2B5EF4-FFF2-40B4-BE49-F238E27FC236}">
                  <a16:creationId xmlns:a16="http://schemas.microsoft.com/office/drawing/2014/main" id="{7B0287A0-BF7B-853D-7EA4-BE587D1D18F6}"/>
                </a:ext>
              </a:extLst>
            </p:cNvPr>
            <p:cNvCxnSpPr>
              <a:cxnSpLocks/>
            </p:cNvCxnSpPr>
            <p:nvPr/>
          </p:nvCxnSpPr>
          <p:spPr>
            <a:xfrm>
              <a:off x="3474842" y="3625994"/>
              <a:ext cx="204867" cy="0"/>
            </a:xfrm>
            <a:prstGeom prst="line">
              <a:avLst/>
            </a:prstGeom>
            <a:noFill/>
            <a:ln w="12700" cap="flat">
              <a:solidFill>
                <a:schemeClr val="bg1">
                  <a:lumMod val="50000"/>
                </a:schemeClr>
              </a:solidFill>
              <a:prstDash val="solid"/>
              <a:miter/>
            </a:ln>
            <a:scene3d>
              <a:camera prst="isometricOffAxis1Right">
                <a:rot lat="0" lon="0" rev="0"/>
              </a:camera>
              <a:lightRig rig="flood" dir="t"/>
            </a:scene3d>
          </p:spPr>
        </p:cxnSp>
      </p:grpSp>
      <p:grpSp>
        <p:nvGrpSpPr>
          <p:cNvPr id="240" name="Group 239">
            <a:extLst>
              <a:ext uri="{FF2B5EF4-FFF2-40B4-BE49-F238E27FC236}">
                <a16:creationId xmlns:a16="http://schemas.microsoft.com/office/drawing/2014/main" id="{72677D7F-D312-EC1F-2F46-CA529C370F90}"/>
              </a:ext>
              <a:ext uri="{C183D7F6-B498-43B3-948B-1728B52AA6E4}">
                <adec:decorative xmlns:adec="http://schemas.microsoft.com/office/drawing/2017/decorative" val="1"/>
              </a:ext>
            </a:extLst>
          </p:cNvPr>
          <p:cNvGrpSpPr/>
          <p:nvPr/>
        </p:nvGrpSpPr>
        <p:grpSpPr>
          <a:xfrm>
            <a:off x="2945759" y="3924012"/>
            <a:ext cx="365760" cy="365760"/>
            <a:chOff x="3612633" y="3993401"/>
            <a:chExt cx="520249" cy="520249"/>
          </a:xfrm>
        </p:grpSpPr>
        <p:sp>
          <p:nvSpPr>
            <p:cNvPr id="241" name="Oval 240">
              <a:extLst>
                <a:ext uri="{FF2B5EF4-FFF2-40B4-BE49-F238E27FC236}">
                  <a16:creationId xmlns:a16="http://schemas.microsoft.com/office/drawing/2014/main" id="{EDDB71CE-765D-A6F7-CC1C-75F46639FC5B}"/>
                </a:ext>
                <a:ext uri="{C183D7F6-B498-43B3-948B-1728B52AA6E4}">
                  <adec:decorative xmlns:adec="http://schemas.microsoft.com/office/drawing/2017/decorative" val="1"/>
                </a:ext>
              </a:extLst>
            </p:cNvPr>
            <p:cNvSpPr/>
            <p:nvPr/>
          </p:nvSpPr>
          <p:spPr bwMode="auto">
            <a:xfrm>
              <a:off x="3612633" y="3993401"/>
              <a:ext cx="520249" cy="520249"/>
            </a:xfrm>
            <a:prstGeom prst="ellipse">
              <a:avLst/>
            </a:prstGeom>
            <a:solidFill>
              <a:srgbClr val="FFFFFF"/>
            </a:solidFill>
            <a:ln w="19050" cap="flat" cmpd="sng" algn="ctr">
              <a:gradFill>
                <a:gsLst>
                  <a:gs pos="0">
                    <a:srgbClr val="599FFD"/>
                  </a:gs>
                  <a:gs pos="100000">
                    <a:srgbClr val="FADC14"/>
                  </a:gs>
                </a:gsLst>
                <a:lin ang="5400000" scaled="1"/>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CA" sz="2000" b="0" i="0" u="none" strike="noStrike" kern="0" cap="none" spc="0" normalizeH="0" baseline="0" noProof="0">
                <a:ln>
                  <a:noFill/>
                </a:ln>
                <a:solidFill>
                  <a:srgbClr val="091F2C"/>
                </a:solidFill>
                <a:effectLst/>
                <a:uLnTx/>
                <a:uFillTx/>
                <a:latin typeface="Segoe UI Variable Display"/>
                <a:ea typeface="+mn-ea"/>
                <a:cs typeface="Segoe UI" pitchFamily="34" charset="0"/>
              </a:endParaRPr>
            </a:p>
          </p:txBody>
        </p:sp>
        <p:pic>
          <p:nvPicPr>
            <p:cNvPr id="242" name="Graphic 241">
              <a:extLst>
                <a:ext uri="{FF2B5EF4-FFF2-40B4-BE49-F238E27FC236}">
                  <a16:creationId xmlns:a16="http://schemas.microsoft.com/office/drawing/2014/main" id="{FCC614D9-DC68-D568-4418-B41F9673B5B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689877" y="4070645"/>
              <a:ext cx="365760" cy="365760"/>
            </a:xfrm>
            <a:prstGeom prst="rect">
              <a:avLst/>
            </a:prstGeom>
          </p:spPr>
        </p:pic>
      </p:grpSp>
      <p:grpSp>
        <p:nvGrpSpPr>
          <p:cNvPr id="243" name="Group 242">
            <a:extLst>
              <a:ext uri="{FF2B5EF4-FFF2-40B4-BE49-F238E27FC236}">
                <a16:creationId xmlns:a16="http://schemas.microsoft.com/office/drawing/2014/main" id="{525DC8DD-910A-F20E-5CEB-96D4168C3CF0}"/>
              </a:ext>
              <a:ext uri="{C183D7F6-B498-43B3-948B-1728B52AA6E4}">
                <adec:decorative xmlns:adec="http://schemas.microsoft.com/office/drawing/2017/decorative" val="1"/>
              </a:ext>
            </a:extLst>
          </p:cNvPr>
          <p:cNvGrpSpPr/>
          <p:nvPr/>
        </p:nvGrpSpPr>
        <p:grpSpPr>
          <a:xfrm>
            <a:off x="588262" y="2003772"/>
            <a:ext cx="1737360" cy="4206240"/>
            <a:chOff x="1549115" y="1705863"/>
            <a:chExt cx="2194560" cy="4206240"/>
          </a:xfrm>
        </p:grpSpPr>
        <p:sp>
          <p:nvSpPr>
            <p:cNvPr id="244" name="Rounded Rectangle 174">
              <a:extLst>
                <a:ext uri="{FF2B5EF4-FFF2-40B4-BE49-F238E27FC236}">
                  <a16:creationId xmlns:a16="http://schemas.microsoft.com/office/drawing/2014/main" id="{8B240537-2D3C-829A-DB60-F1CC97598DE0}"/>
                </a:ext>
                <a:ext uri="{C183D7F6-B498-43B3-948B-1728B52AA6E4}">
                  <adec:decorative xmlns:adec="http://schemas.microsoft.com/office/drawing/2017/decorative" val="1"/>
                </a:ext>
              </a:extLst>
            </p:cNvPr>
            <p:cNvSpPr/>
            <p:nvPr/>
          </p:nvSpPr>
          <p:spPr bwMode="auto">
            <a:xfrm>
              <a:off x="1549115" y="1705863"/>
              <a:ext cx="2194560" cy="4206240"/>
            </a:xfrm>
            <a:prstGeom prst="roundRect">
              <a:avLst>
                <a:gd name="adj" fmla="val 8617"/>
              </a:avLst>
            </a:prstGeom>
            <a:solidFill>
              <a:schemeClr val="bg1"/>
            </a:solidFill>
            <a:ln>
              <a:noFill/>
              <a:headEnd type="none" w="med" len="med"/>
              <a:tailEnd type="none" w="med" len="med"/>
            </a:ln>
            <a:effectLst>
              <a:innerShdw blurRad="508000" dist="63500" dir="16200000">
                <a:srgbClr val="B1B3B3">
                  <a:alpha val="25000"/>
                </a:srgb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20040" rIns="91440" bIns="91440" numCol="1" spcCol="0" rtlCol="0" fromWordArt="0" anchor="t" anchorCtr="0" forceAA="0" compatLnSpc="1">
              <a:prstTxWarp prst="textNoShape">
                <a:avLst/>
              </a:prstTxWarp>
              <a:noAutofit/>
            </a:bodyPr>
            <a:lstStyle/>
            <a:p>
              <a:pPr marL="0" marR="0" lvl="0" indent="0" algn="ctr" defTabSz="932754" rtl="0" eaLnBrk="1" fontAlgn="auto" latinLnBrk="0" hangingPunct="1">
                <a:lnSpc>
                  <a:spcPct val="100000"/>
                </a:lnSpc>
                <a:spcBef>
                  <a:spcPts val="0"/>
                </a:spcBef>
                <a:spcAft>
                  <a:spcPts val="300"/>
                </a:spcAft>
                <a:buClrTx/>
                <a:buSzTx/>
                <a:buFontTx/>
                <a:buNone/>
                <a:tabLst/>
                <a:defRPr/>
              </a:pPr>
              <a:endParaRPr kumimoji="0" lang="en-US" sz="1400" b="0" i="0" u="none" strike="noStrike" kern="0" cap="none" spc="-10" normalizeH="0" baseline="0" noProof="0">
                <a:ln>
                  <a:noFill/>
                </a:ln>
                <a:solidFill>
                  <a:srgbClr val="8DC8E8"/>
                </a:solidFill>
                <a:effectLst/>
                <a:uLnTx/>
                <a:uFillTx/>
                <a:latin typeface="Segoe Sans Display Semibold" pitchFamily="2" charset="0"/>
                <a:ea typeface="+mn-ea"/>
                <a:cs typeface="Segoe Sans Display Semibold" pitchFamily="2" charset="0"/>
              </a:endParaRPr>
            </a:p>
          </p:txBody>
        </p:sp>
        <p:sp>
          <p:nvSpPr>
            <p:cNvPr id="245" name="TextBox 244">
              <a:extLst>
                <a:ext uri="{FF2B5EF4-FFF2-40B4-BE49-F238E27FC236}">
                  <a16:creationId xmlns:a16="http://schemas.microsoft.com/office/drawing/2014/main" id="{A3B23D8B-89CD-BCF7-FA83-60AA864E9DF6}"/>
                </a:ext>
                <a:ext uri="{C183D7F6-B498-43B3-948B-1728B52AA6E4}">
                  <adec:decorative xmlns:adec="http://schemas.microsoft.com/office/drawing/2017/decorative" val="1"/>
                </a:ext>
              </a:extLst>
            </p:cNvPr>
            <p:cNvSpPr txBox="1"/>
            <p:nvPr/>
          </p:nvSpPr>
          <p:spPr>
            <a:xfrm>
              <a:off x="1833829" y="2000454"/>
              <a:ext cx="1625133" cy="461665"/>
            </a:xfrm>
            <a:prstGeom prst="rect">
              <a:avLst/>
            </a:prstGeom>
          </p:spPr>
          <p:txBody>
            <a:bodyPr wrap="none" anchor="ctr" anchorCtr="0">
              <a:spAutoFit/>
            </a:bodyPr>
            <a:lstStyle>
              <a:defPPr>
                <a:defRPr lang="en-US"/>
              </a:defPPr>
              <a:lvl1pPr marR="0" lvl="0" indent="0" algn="ctr" defTabSz="922530" fontAlgn="auto">
                <a:lnSpc>
                  <a:spcPct val="100000"/>
                </a:lnSpc>
                <a:spcBef>
                  <a:spcPts val="0"/>
                </a:spcBef>
                <a:spcAft>
                  <a:spcPts val="606"/>
                </a:spcAft>
                <a:buClrTx/>
                <a:buSzTx/>
                <a:buFontTx/>
                <a:buNone/>
                <a:tabLst/>
                <a:defRPr sz="1400">
                  <a:gradFill>
                    <a:gsLst>
                      <a:gs pos="8621">
                        <a:srgbClr val="FFFFFF"/>
                      </a:gs>
                      <a:gs pos="20225">
                        <a:srgbClr val="FFFFFF"/>
                      </a:gs>
                    </a:gsLst>
                    <a:lin ang="5400000" scaled="1"/>
                  </a:gradFill>
                  <a:latin typeface="Segoe UI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40" normalizeH="0" baseline="0" noProof="0">
                  <a:ln w="3175">
                    <a:noFill/>
                  </a:ln>
                  <a:gradFill>
                    <a:gsLst>
                      <a:gs pos="0">
                        <a:srgbClr val="0360DB"/>
                      </a:gs>
                      <a:gs pos="80000">
                        <a:srgbClr val="207EFC"/>
                      </a:gs>
                    </a:gsLst>
                    <a:path path="circle">
                      <a:fillToRect l="100000" t="100000"/>
                    </a:path>
                  </a:gradFill>
                  <a:effectLst/>
                  <a:uLnTx/>
                  <a:uFillTx/>
                  <a:latin typeface="Segoe Sans Display Semibold"/>
                  <a:ea typeface="+mn-ea"/>
                  <a:cs typeface="Segoe UI" panose="020B0502040204020203" pitchFamily="34" charset="0"/>
                </a:rPr>
                <a:t>Identity/workload, </a:t>
              </a:r>
              <a:br>
                <a:rPr kumimoji="0" lang="en-US" sz="1200" b="0" i="0" u="none" strike="noStrike" kern="1200" cap="none" spc="-40" normalizeH="0" baseline="0" noProof="0">
                  <a:ln w="3175">
                    <a:noFill/>
                  </a:ln>
                  <a:gradFill>
                    <a:gsLst>
                      <a:gs pos="0">
                        <a:srgbClr val="0360DB"/>
                      </a:gs>
                      <a:gs pos="80000">
                        <a:srgbClr val="207EFC"/>
                      </a:gs>
                    </a:gsLst>
                    <a:path path="circle">
                      <a:fillToRect l="100000" t="100000"/>
                    </a:path>
                  </a:gradFill>
                  <a:effectLst/>
                  <a:uLnTx/>
                  <a:uFillTx/>
                  <a:latin typeface="Segoe Sans Display Semibold"/>
                  <a:ea typeface="+mn-ea"/>
                  <a:cs typeface="Segoe UI" panose="020B0502040204020203" pitchFamily="34" charset="0"/>
                </a:rPr>
              </a:br>
              <a:r>
                <a:rPr kumimoji="0" lang="en-US" sz="1200" b="0" i="0" u="none" strike="noStrike" kern="1200" cap="none" spc="-40" normalizeH="0" baseline="0" noProof="0">
                  <a:ln w="3175">
                    <a:noFill/>
                  </a:ln>
                  <a:gradFill>
                    <a:gsLst>
                      <a:gs pos="0">
                        <a:srgbClr val="0360DB"/>
                      </a:gs>
                      <a:gs pos="80000">
                        <a:srgbClr val="207EFC"/>
                      </a:gs>
                    </a:gsLst>
                    <a:path path="circle">
                      <a:fillToRect l="100000" t="100000"/>
                    </a:path>
                  </a:gradFill>
                  <a:effectLst/>
                  <a:uLnTx/>
                  <a:uFillTx/>
                  <a:latin typeface="Segoe Sans Display Semibold"/>
                  <a:ea typeface="+mn-ea"/>
                  <a:cs typeface="Segoe UI" panose="020B0502040204020203" pitchFamily="34" charset="0"/>
                </a:rPr>
                <a:t>groups, roles</a:t>
              </a:r>
            </a:p>
          </p:txBody>
        </p:sp>
        <p:sp>
          <p:nvSpPr>
            <p:cNvPr id="246" name="TextBox 245">
              <a:extLst>
                <a:ext uri="{FF2B5EF4-FFF2-40B4-BE49-F238E27FC236}">
                  <a16:creationId xmlns:a16="http://schemas.microsoft.com/office/drawing/2014/main" id="{9CF93E27-D456-8A86-04FF-4B0093E3690D}"/>
                </a:ext>
                <a:ext uri="{C183D7F6-B498-43B3-948B-1728B52AA6E4}">
                  <adec:decorative xmlns:adec="http://schemas.microsoft.com/office/drawing/2017/decorative" val="1"/>
                </a:ext>
              </a:extLst>
            </p:cNvPr>
            <p:cNvSpPr txBox="1"/>
            <p:nvPr/>
          </p:nvSpPr>
          <p:spPr>
            <a:xfrm>
              <a:off x="2361505" y="4181760"/>
              <a:ext cx="569793" cy="276999"/>
            </a:xfrm>
            <a:prstGeom prst="rect">
              <a:avLst/>
            </a:prstGeom>
          </p:spPr>
          <p:txBody>
            <a:bodyPr wrap="none" anchor="ctr" anchorCtr="0">
              <a:spAutoFit/>
            </a:bodyPr>
            <a:lstStyle>
              <a:defPPr>
                <a:defRPr lang="en-US"/>
              </a:defPPr>
              <a:lvl1pPr marR="0" lvl="0" indent="0" algn="ctr" defTabSz="922530" fontAlgn="auto">
                <a:lnSpc>
                  <a:spcPct val="100000"/>
                </a:lnSpc>
                <a:spcBef>
                  <a:spcPts val="0"/>
                </a:spcBef>
                <a:spcAft>
                  <a:spcPts val="606"/>
                </a:spcAft>
                <a:buClrTx/>
                <a:buSzTx/>
                <a:buFontTx/>
                <a:buNone/>
                <a:tabLst/>
                <a:defRPr sz="1400">
                  <a:gradFill>
                    <a:gsLst>
                      <a:gs pos="8621">
                        <a:srgbClr val="FFFFFF"/>
                      </a:gs>
                      <a:gs pos="20225">
                        <a:srgbClr val="FFFFFF"/>
                      </a:gs>
                    </a:gsLst>
                    <a:lin ang="5400000" scaled="1"/>
                  </a:gradFill>
                  <a:latin typeface="Segoe UI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40" normalizeH="0" baseline="0" noProof="0">
                  <a:ln w="3175">
                    <a:noFill/>
                  </a:ln>
                  <a:gradFill>
                    <a:gsLst>
                      <a:gs pos="0">
                        <a:srgbClr val="0360DB"/>
                      </a:gs>
                      <a:gs pos="80000">
                        <a:srgbClr val="207EFC"/>
                      </a:gs>
                    </a:gsLst>
                    <a:path path="circle">
                      <a:fillToRect l="100000" t="100000"/>
                    </a:path>
                  </a:gradFill>
                  <a:effectLst/>
                  <a:uLnTx/>
                  <a:uFillTx/>
                  <a:latin typeface="Segoe Sans Display Semibold"/>
                  <a:ea typeface="+mn-ea"/>
                  <a:cs typeface="Segoe UI" panose="020B0502040204020203" pitchFamily="34" charset="0"/>
                </a:rPr>
                <a:t>Risk</a:t>
              </a:r>
            </a:p>
          </p:txBody>
        </p:sp>
        <p:sp>
          <p:nvSpPr>
            <p:cNvPr id="247" name="TextBox 246">
              <a:extLst>
                <a:ext uri="{FF2B5EF4-FFF2-40B4-BE49-F238E27FC236}">
                  <a16:creationId xmlns:a16="http://schemas.microsoft.com/office/drawing/2014/main" id="{74CDDAEF-FADF-8F42-4915-87548ABFF0EA}"/>
                </a:ext>
                <a:ext uri="{C183D7F6-B498-43B3-948B-1728B52AA6E4}">
                  <adec:decorative xmlns:adec="http://schemas.microsoft.com/office/drawing/2017/decorative" val="1"/>
                </a:ext>
              </a:extLst>
            </p:cNvPr>
            <p:cNvSpPr txBox="1"/>
            <p:nvPr/>
          </p:nvSpPr>
          <p:spPr>
            <a:xfrm>
              <a:off x="1649917" y="3392234"/>
              <a:ext cx="1992956" cy="461665"/>
            </a:xfrm>
            <a:prstGeom prst="rect">
              <a:avLst/>
            </a:prstGeom>
          </p:spPr>
          <p:txBody>
            <a:bodyPr wrap="square" anchor="ctr" anchorCtr="0">
              <a:spAutoFit/>
            </a:bodyPr>
            <a:lstStyle>
              <a:defPPr>
                <a:defRPr lang="en-US"/>
              </a:defPPr>
              <a:lvl1pPr marR="0" lvl="0" indent="0" algn="ctr" defTabSz="922530" fontAlgn="auto">
                <a:lnSpc>
                  <a:spcPct val="100000"/>
                </a:lnSpc>
                <a:spcBef>
                  <a:spcPts val="0"/>
                </a:spcBef>
                <a:spcAft>
                  <a:spcPts val="606"/>
                </a:spcAft>
                <a:buClrTx/>
                <a:buSzTx/>
                <a:buFontTx/>
                <a:buNone/>
                <a:tabLst/>
                <a:defRPr sz="1400">
                  <a:gradFill>
                    <a:gsLst>
                      <a:gs pos="8621">
                        <a:srgbClr val="FFFFFF"/>
                      </a:gs>
                      <a:gs pos="20225">
                        <a:srgbClr val="FFFFFF"/>
                      </a:gs>
                    </a:gsLst>
                    <a:lin ang="5400000" scaled="1"/>
                  </a:gradFill>
                  <a:latin typeface="Segoe UI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40" normalizeH="0" baseline="0" noProof="0">
                  <a:ln w="3175">
                    <a:noFill/>
                  </a:ln>
                  <a:gradFill>
                    <a:gsLst>
                      <a:gs pos="0">
                        <a:srgbClr val="0360DB"/>
                      </a:gs>
                      <a:gs pos="80000">
                        <a:srgbClr val="207EFC"/>
                      </a:gs>
                    </a:gsLst>
                    <a:path path="circle">
                      <a:fillToRect l="100000" t="100000"/>
                    </a:path>
                  </a:gradFill>
                  <a:effectLst/>
                  <a:uLnTx/>
                  <a:uFillTx/>
                  <a:latin typeface="Segoe Sans Display Semibold"/>
                  <a:ea typeface="+mn-ea"/>
                  <a:cs typeface="Segoe UI" panose="020B0502040204020203" pitchFamily="34" charset="0"/>
                </a:rPr>
                <a:t>Trusted &amp; </a:t>
              </a:r>
              <a:br>
                <a:rPr kumimoji="0" lang="en-US" sz="1200" b="0" i="0" u="none" strike="noStrike" kern="1200" cap="none" spc="-40" normalizeH="0" baseline="0" noProof="0">
                  <a:ln w="3175">
                    <a:noFill/>
                  </a:ln>
                  <a:gradFill>
                    <a:gsLst>
                      <a:gs pos="0">
                        <a:srgbClr val="0360DB"/>
                      </a:gs>
                      <a:gs pos="80000">
                        <a:srgbClr val="207EFC"/>
                      </a:gs>
                    </a:gsLst>
                    <a:path path="circle">
                      <a:fillToRect l="100000" t="100000"/>
                    </a:path>
                  </a:gradFill>
                  <a:effectLst/>
                  <a:uLnTx/>
                  <a:uFillTx/>
                  <a:latin typeface="Segoe Sans Display Semibold"/>
                  <a:ea typeface="+mn-ea"/>
                  <a:cs typeface="Segoe UI" panose="020B0502040204020203" pitchFamily="34" charset="0"/>
                </a:rPr>
              </a:br>
              <a:r>
                <a:rPr kumimoji="0" lang="en-US" sz="1200" b="0" i="0" u="none" strike="noStrike" kern="1200" cap="none" spc="-40" normalizeH="0" baseline="0" noProof="0">
                  <a:ln w="3175">
                    <a:noFill/>
                  </a:ln>
                  <a:gradFill>
                    <a:gsLst>
                      <a:gs pos="0">
                        <a:srgbClr val="0360DB"/>
                      </a:gs>
                      <a:gs pos="80000">
                        <a:srgbClr val="207EFC"/>
                      </a:gs>
                    </a:gsLst>
                    <a:path path="circle">
                      <a:fillToRect l="100000" t="100000"/>
                    </a:path>
                  </a:gradFill>
                  <a:effectLst/>
                  <a:uLnTx/>
                  <a:uFillTx/>
                  <a:latin typeface="Segoe Sans Display Semibold"/>
                  <a:ea typeface="+mn-ea"/>
                  <a:cs typeface="Segoe UI" panose="020B0502040204020203" pitchFamily="34" charset="0"/>
                </a:rPr>
                <a:t>compliant devices</a:t>
              </a:r>
            </a:p>
          </p:txBody>
        </p:sp>
        <p:sp>
          <p:nvSpPr>
            <p:cNvPr id="248" name="TextBox 247">
              <a:extLst>
                <a:ext uri="{FF2B5EF4-FFF2-40B4-BE49-F238E27FC236}">
                  <a16:creationId xmlns:a16="http://schemas.microsoft.com/office/drawing/2014/main" id="{47C47F48-EA6B-140F-7405-E245641DC07E}"/>
                </a:ext>
                <a:ext uri="{C183D7F6-B498-43B3-948B-1728B52AA6E4}">
                  <adec:decorative xmlns:adec="http://schemas.microsoft.com/office/drawing/2017/decorative" val="1"/>
                </a:ext>
              </a:extLst>
            </p:cNvPr>
            <p:cNvSpPr txBox="1"/>
            <p:nvPr/>
          </p:nvSpPr>
          <p:spPr>
            <a:xfrm>
              <a:off x="1939118" y="2787374"/>
              <a:ext cx="1414557" cy="276999"/>
            </a:xfrm>
            <a:prstGeom prst="rect">
              <a:avLst/>
            </a:prstGeom>
          </p:spPr>
          <p:txBody>
            <a:bodyPr wrap="none" anchor="ctr" anchorCtr="0">
              <a:spAutoFit/>
            </a:bodyPr>
            <a:lstStyle>
              <a:defPPr>
                <a:defRPr lang="en-US"/>
              </a:defPPr>
              <a:lvl1pPr marR="0" lvl="0" indent="0" algn="ctr" defTabSz="922530" fontAlgn="auto">
                <a:lnSpc>
                  <a:spcPct val="100000"/>
                </a:lnSpc>
                <a:spcBef>
                  <a:spcPts val="0"/>
                </a:spcBef>
                <a:spcAft>
                  <a:spcPts val="606"/>
                </a:spcAft>
                <a:buClrTx/>
                <a:buSzTx/>
                <a:buFontTx/>
                <a:buNone/>
                <a:tabLst/>
                <a:defRPr sz="1400">
                  <a:gradFill>
                    <a:gsLst>
                      <a:gs pos="8621">
                        <a:srgbClr val="FFFFFF"/>
                      </a:gs>
                      <a:gs pos="20225">
                        <a:srgbClr val="FFFFFF"/>
                      </a:gs>
                    </a:gsLst>
                    <a:lin ang="5400000" scaled="1"/>
                  </a:gradFill>
                  <a:latin typeface="Segoe UI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40" normalizeH="0" baseline="0" noProof="0">
                  <a:ln w="3175">
                    <a:noFill/>
                  </a:ln>
                  <a:gradFill>
                    <a:gsLst>
                      <a:gs pos="0">
                        <a:srgbClr val="0360DB"/>
                      </a:gs>
                      <a:gs pos="80000">
                        <a:srgbClr val="207EFC"/>
                      </a:gs>
                    </a:gsLst>
                    <a:path path="circle">
                      <a:fillToRect l="100000" t="100000"/>
                    </a:path>
                  </a:gradFill>
                  <a:effectLst/>
                  <a:uLnTx/>
                  <a:uFillTx/>
                  <a:latin typeface="Segoe Sans Display Semibold"/>
                  <a:ea typeface="+mn-ea"/>
                  <a:cs typeface="Segoe UI" panose="020B0502040204020203" pitchFamily="34" charset="0"/>
                </a:rPr>
                <a:t>Apps and data</a:t>
              </a:r>
            </a:p>
          </p:txBody>
        </p:sp>
        <p:sp>
          <p:nvSpPr>
            <p:cNvPr id="249" name="TextBox 248">
              <a:extLst>
                <a:ext uri="{FF2B5EF4-FFF2-40B4-BE49-F238E27FC236}">
                  <a16:creationId xmlns:a16="http://schemas.microsoft.com/office/drawing/2014/main" id="{E2C24888-40FE-2D6A-7AD6-8932987C006A}"/>
                </a:ext>
                <a:ext uri="{C183D7F6-B498-43B3-948B-1728B52AA6E4}">
                  <adec:decorative xmlns:adec="http://schemas.microsoft.com/office/drawing/2017/decorative" val="1"/>
                </a:ext>
              </a:extLst>
            </p:cNvPr>
            <p:cNvSpPr txBox="1"/>
            <p:nvPr/>
          </p:nvSpPr>
          <p:spPr>
            <a:xfrm>
              <a:off x="2219905" y="4770158"/>
              <a:ext cx="852981" cy="276999"/>
            </a:xfrm>
            <a:prstGeom prst="rect">
              <a:avLst/>
            </a:prstGeom>
          </p:spPr>
          <p:txBody>
            <a:bodyPr wrap="none" anchor="ctr" anchorCtr="0">
              <a:spAutoFit/>
            </a:bodyPr>
            <a:lstStyle>
              <a:defPPr>
                <a:defRPr lang="en-US"/>
              </a:defPPr>
              <a:lvl1pPr marR="0" lvl="0" indent="0" algn="ctr" defTabSz="922530" fontAlgn="auto">
                <a:lnSpc>
                  <a:spcPct val="100000"/>
                </a:lnSpc>
                <a:spcBef>
                  <a:spcPts val="0"/>
                </a:spcBef>
                <a:spcAft>
                  <a:spcPts val="606"/>
                </a:spcAft>
                <a:buClrTx/>
                <a:buSzTx/>
                <a:buFontTx/>
                <a:buNone/>
                <a:tabLst/>
                <a:defRPr sz="1400">
                  <a:gradFill>
                    <a:gsLst>
                      <a:gs pos="8621">
                        <a:srgbClr val="FFFFFF"/>
                      </a:gs>
                      <a:gs pos="20225">
                        <a:srgbClr val="FFFFFF"/>
                      </a:gs>
                    </a:gsLst>
                    <a:lin ang="5400000" scaled="1"/>
                  </a:gradFill>
                  <a:latin typeface="Segoe UI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40" normalizeH="0" baseline="0" noProof="0">
                  <a:ln w="3175">
                    <a:noFill/>
                  </a:ln>
                  <a:gradFill>
                    <a:gsLst>
                      <a:gs pos="0">
                        <a:srgbClr val="0360DB"/>
                      </a:gs>
                      <a:gs pos="80000">
                        <a:srgbClr val="207EFC"/>
                      </a:gs>
                    </a:gsLst>
                    <a:path path="circle">
                      <a:fillToRect l="100000" t="100000"/>
                    </a:path>
                  </a:gradFill>
                  <a:effectLst/>
                  <a:uLnTx/>
                  <a:uFillTx/>
                  <a:latin typeface="Segoe Sans Display Semibold"/>
                  <a:ea typeface="+mn-ea"/>
                  <a:cs typeface="Segoe UI" panose="020B0502040204020203" pitchFamily="34" charset="0"/>
                </a:rPr>
                <a:t>Location</a:t>
              </a:r>
            </a:p>
          </p:txBody>
        </p:sp>
        <p:sp>
          <p:nvSpPr>
            <p:cNvPr id="250" name="TextBox 249">
              <a:extLst>
                <a:ext uri="{FF2B5EF4-FFF2-40B4-BE49-F238E27FC236}">
                  <a16:creationId xmlns:a16="http://schemas.microsoft.com/office/drawing/2014/main" id="{A2CE32FF-ABE2-D7B1-092E-FB3FAACC2E98}"/>
                </a:ext>
                <a:ext uri="{C183D7F6-B498-43B3-948B-1728B52AA6E4}">
                  <adec:decorative xmlns:adec="http://schemas.microsoft.com/office/drawing/2017/decorative" val="1"/>
                </a:ext>
              </a:extLst>
            </p:cNvPr>
            <p:cNvSpPr txBox="1"/>
            <p:nvPr/>
          </p:nvSpPr>
          <p:spPr>
            <a:xfrm>
              <a:off x="1821555" y="5358556"/>
              <a:ext cx="1649683" cy="276999"/>
            </a:xfrm>
            <a:prstGeom prst="rect">
              <a:avLst/>
            </a:prstGeom>
          </p:spPr>
          <p:txBody>
            <a:bodyPr wrap="none" anchor="ctr" anchorCtr="0">
              <a:spAutoFit/>
            </a:bodyPr>
            <a:lstStyle>
              <a:defPPr>
                <a:defRPr lang="en-US"/>
              </a:defPPr>
              <a:lvl1pPr marR="0" lvl="0" indent="0" algn="ctr" defTabSz="922530" fontAlgn="auto">
                <a:lnSpc>
                  <a:spcPct val="100000"/>
                </a:lnSpc>
                <a:spcBef>
                  <a:spcPts val="0"/>
                </a:spcBef>
                <a:spcAft>
                  <a:spcPts val="606"/>
                </a:spcAft>
                <a:buClrTx/>
                <a:buSzTx/>
                <a:buFontTx/>
                <a:buNone/>
                <a:tabLst/>
                <a:defRPr sz="1400">
                  <a:gradFill>
                    <a:gsLst>
                      <a:gs pos="8621">
                        <a:srgbClr val="FFFFFF"/>
                      </a:gs>
                      <a:gs pos="20225">
                        <a:srgbClr val="FFFFFF"/>
                      </a:gs>
                    </a:gsLst>
                    <a:lin ang="5400000" scaled="1"/>
                  </a:gradFill>
                  <a:latin typeface="Segoe UI Semibold"/>
                </a:defRPr>
              </a:lvl1pPr>
            </a:lstStyle>
            <a:p>
              <a:pPr marL="0" marR="0" lvl="0" indent="0" algn="ctr" defTabSz="914400" rtl="0" eaLnBrk="1" fontAlgn="auto" latinLnBrk="0" hangingPunct="1">
                <a:lnSpc>
                  <a:spcPct val="100000"/>
                </a:lnSpc>
                <a:spcBef>
                  <a:spcPts val="0"/>
                </a:spcBef>
                <a:spcAft>
                  <a:spcPts val="606"/>
                </a:spcAft>
                <a:buClrTx/>
                <a:buSzTx/>
                <a:buFontTx/>
                <a:buNone/>
                <a:tabLst/>
                <a:defRPr/>
              </a:pPr>
              <a:r>
                <a:rPr kumimoji="0" lang="en-US" sz="1200" b="0" i="0" u="none" strike="noStrike" kern="1200" cap="none" spc="-40" normalizeH="0" baseline="0" noProof="0">
                  <a:ln w="3175">
                    <a:noFill/>
                  </a:ln>
                  <a:gradFill>
                    <a:gsLst>
                      <a:gs pos="0">
                        <a:srgbClr val="0360DB"/>
                      </a:gs>
                      <a:gs pos="80000">
                        <a:srgbClr val="207EFC"/>
                      </a:gs>
                    </a:gsLst>
                    <a:path path="circle">
                      <a:fillToRect l="100000" t="100000"/>
                    </a:path>
                  </a:gradFill>
                  <a:effectLst/>
                  <a:uLnTx/>
                  <a:uFillTx/>
                  <a:latin typeface="Segoe Sans Display Semibold"/>
                  <a:ea typeface="+mn-ea"/>
                  <a:cs typeface="Segoe UI" panose="020B0502040204020203" pitchFamily="34" charset="0"/>
                </a:rPr>
                <a:t>Compliant network</a:t>
              </a:r>
            </a:p>
          </p:txBody>
        </p:sp>
        <p:cxnSp>
          <p:nvCxnSpPr>
            <p:cNvPr id="251" name="Straight Connector 250">
              <a:extLst>
                <a:ext uri="{FF2B5EF4-FFF2-40B4-BE49-F238E27FC236}">
                  <a16:creationId xmlns:a16="http://schemas.microsoft.com/office/drawing/2014/main" id="{47E3F5E4-2B39-27C5-7D31-5A1A89F2D24B}"/>
                </a:ext>
                <a:ext uri="{C183D7F6-B498-43B3-948B-1728B52AA6E4}">
                  <adec:decorative xmlns:adec="http://schemas.microsoft.com/office/drawing/2017/decorative" val="1"/>
                </a:ext>
              </a:extLst>
            </p:cNvPr>
            <p:cNvCxnSpPr>
              <a:cxnSpLocks/>
            </p:cNvCxnSpPr>
            <p:nvPr/>
          </p:nvCxnSpPr>
          <p:spPr>
            <a:xfrm>
              <a:off x="1890482" y="3219306"/>
              <a:ext cx="1511826" cy="0"/>
            </a:xfrm>
            <a:prstGeom prst="line">
              <a:avLst/>
            </a:prstGeom>
            <a:noFill/>
            <a:ln w="12700" cap="flat">
              <a:solidFill>
                <a:schemeClr val="bg1">
                  <a:lumMod val="50000"/>
                </a:schemeClr>
              </a:solidFill>
              <a:prstDash val="solid"/>
              <a:miter/>
            </a:ln>
            <a:scene3d>
              <a:camera prst="isometricOffAxis1Right">
                <a:rot lat="0" lon="0" rev="0"/>
              </a:camera>
              <a:lightRig rig="flood" dir="t"/>
            </a:scene3d>
          </p:spPr>
        </p:cxnSp>
        <p:cxnSp>
          <p:nvCxnSpPr>
            <p:cNvPr id="252" name="Straight Connector 251">
              <a:extLst>
                <a:ext uri="{FF2B5EF4-FFF2-40B4-BE49-F238E27FC236}">
                  <a16:creationId xmlns:a16="http://schemas.microsoft.com/office/drawing/2014/main" id="{1FBFA6CB-4E30-2CD9-97CE-D1AE0D90B39F}"/>
                </a:ext>
                <a:ext uri="{C183D7F6-B498-43B3-948B-1728B52AA6E4}">
                  <adec:decorative xmlns:adec="http://schemas.microsoft.com/office/drawing/2017/decorative" val="1"/>
                </a:ext>
              </a:extLst>
            </p:cNvPr>
            <p:cNvCxnSpPr>
              <a:cxnSpLocks/>
            </p:cNvCxnSpPr>
            <p:nvPr/>
          </p:nvCxnSpPr>
          <p:spPr>
            <a:xfrm>
              <a:off x="1890482" y="4026827"/>
              <a:ext cx="1511826" cy="0"/>
            </a:xfrm>
            <a:prstGeom prst="line">
              <a:avLst/>
            </a:prstGeom>
            <a:noFill/>
            <a:ln w="12700" cap="flat">
              <a:solidFill>
                <a:schemeClr val="bg1">
                  <a:lumMod val="50000"/>
                </a:schemeClr>
              </a:solidFill>
              <a:prstDash val="solid"/>
              <a:miter/>
            </a:ln>
            <a:scene3d>
              <a:camera prst="isometricOffAxis1Right">
                <a:rot lat="0" lon="0" rev="0"/>
              </a:camera>
              <a:lightRig rig="flood" dir="t"/>
            </a:scene3d>
          </p:spPr>
        </p:cxnSp>
        <p:cxnSp>
          <p:nvCxnSpPr>
            <p:cNvPr id="253" name="Straight Connector 252">
              <a:extLst>
                <a:ext uri="{FF2B5EF4-FFF2-40B4-BE49-F238E27FC236}">
                  <a16:creationId xmlns:a16="http://schemas.microsoft.com/office/drawing/2014/main" id="{514FC87D-B059-7FDC-B0C1-341157E809D7}"/>
                </a:ext>
                <a:ext uri="{C183D7F6-B498-43B3-948B-1728B52AA6E4}">
                  <adec:decorative xmlns:adec="http://schemas.microsoft.com/office/drawing/2017/decorative" val="1"/>
                </a:ext>
              </a:extLst>
            </p:cNvPr>
            <p:cNvCxnSpPr>
              <a:cxnSpLocks/>
            </p:cNvCxnSpPr>
            <p:nvPr/>
          </p:nvCxnSpPr>
          <p:spPr>
            <a:xfrm>
              <a:off x="1890482" y="4613692"/>
              <a:ext cx="1511826" cy="0"/>
            </a:xfrm>
            <a:prstGeom prst="line">
              <a:avLst/>
            </a:prstGeom>
            <a:noFill/>
            <a:ln w="12700" cap="flat">
              <a:solidFill>
                <a:schemeClr val="bg1">
                  <a:lumMod val="50000"/>
                </a:schemeClr>
              </a:solidFill>
              <a:prstDash val="solid"/>
              <a:miter/>
            </a:ln>
            <a:scene3d>
              <a:camera prst="isometricOffAxis1Right">
                <a:rot lat="0" lon="0" rev="0"/>
              </a:camera>
              <a:lightRig rig="flood" dir="t"/>
            </a:scene3d>
          </p:spPr>
        </p:cxnSp>
        <p:cxnSp>
          <p:nvCxnSpPr>
            <p:cNvPr id="254" name="Straight Connector 253">
              <a:extLst>
                <a:ext uri="{FF2B5EF4-FFF2-40B4-BE49-F238E27FC236}">
                  <a16:creationId xmlns:a16="http://schemas.microsoft.com/office/drawing/2014/main" id="{64319230-67FD-B8AE-AD17-7911A403DBF8}"/>
                </a:ext>
                <a:ext uri="{C183D7F6-B498-43B3-948B-1728B52AA6E4}">
                  <adec:decorative xmlns:adec="http://schemas.microsoft.com/office/drawing/2017/decorative" val="1"/>
                </a:ext>
              </a:extLst>
            </p:cNvPr>
            <p:cNvCxnSpPr>
              <a:cxnSpLocks/>
            </p:cNvCxnSpPr>
            <p:nvPr/>
          </p:nvCxnSpPr>
          <p:spPr>
            <a:xfrm>
              <a:off x="1890482" y="5203623"/>
              <a:ext cx="1511826" cy="0"/>
            </a:xfrm>
            <a:prstGeom prst="line">
              <a:avLst/>
            </a:prstGeom>
            <a:noFill/>
            <a:ln w="12700" cap="flat">
              <a:solidFill>
                <a:schemeClr val="bg1">
                  <a:lumMod val="50000"/>
                </a:schemeClr>
              </a:solidFill>
              <a:prstDash val="solid"/>
              <a:miter/>
            </a:ln>
            <a:scene3d>
              <a:camera prst="isometricOffAxis1Right">
                <a:rot lat="0" lon="0" rev="0"/>
              </a:camera>
              <a:lightRig rig="flood" dir="t"/>
            </a:scene3d>
          </p:spPr>
        </p:cxnSp>
        <p:cxnSp>
          <p:nvCxnSpPr>
            <p:cNvPr id="255" name="Straight Connector 254">
              <a:extLst>
                <a:ext uri="{FF2B5EF4-FFF2-40B4-BE49-F238E27FC236}">
                  <a16:creationId xmlns:a16="http://schemas.microsoft.com/office/drawing/2014/main" id="{AD60D5D5-6BA4-CB82-038F-DB87C4BCD298}"/>
                </a:ext>
                <a:ext uri="{C183D7F6-B498-43B3-948B-1728B52AA6E4}">
                  <adec:decorative xmlns:adec="http://schemas.microsoft.com/office/drawing/2017/decorative" val="1"/>
                </a:ext>
              </a:extLst>
            </p:cNvPr>
            <p:cNvCxnSpPr>
              <a:cxnSpLocks/>
            </p:cNvCxnSpPr>
            <p:nvPr/>
          </p:nvCxnSpPr>
          <p:spPr>
            <a:xfrm>
              <a:off x="1890482" y="2632441"/>
              <a:ext cx="1511826" cy="0"/>
            </a:xfrm>
            <a:prstGeom prst="line">
              <a:avLst/>
            </a:prstGeom>
            <a:noFill/>
            <a:ln w="12700" cap="flat">
              <a:solidFill>
                <a:schemeClr val="bg1">
                  <a:lumMod val="50000"/>
                </a:schemeClr>
              </a:solidFill>
              <a:prstDash val="solid"/>
              <a:miter/>
            </a:ln>
            <a:scene3d>
              <a:camera prst="isometricOffAxis1Right">
                <a:rot lat="0" lon="0" rev="0"/>
              </a:camera>
              <a:lightRig rig="flood" dir="t"/>
            </a:scene3d>
          </p:spPr>
        </p:cxnSp>
      </p:grpSp>
      <p:grpSp>
        <p:nvGrpSpPr>
          <p:cNvPr id="256" name="Group 255">
            <a:extLst>
              <a:ext uri="{FF2B5EF4-FFF2-40B4-BE49-F238E27FC236}">
                <a16:creationId xmlns:a16="http://schemas.microsoft.com/office/drawing/2014/main" id="{BDAA5CA8-9A49-36E0-688D-79CB81AFB251}"/>
              </a:ext>
              <a:ext uri="{C183D7F6-B498-43B3-948B-1728B52AA6E4}">
                <adec:decorative xmlns:adec="http://schemas.microsoft.com/office/drawing/2017/decorative" val="1"/>
              </a:ext>
            </a:extLst>
          </p:cNvPr>
          <p:cNvGrpSpPr/>
          <p:nvPr/>
        </p:nvGrpSpPr>
        <p:grpSpPr>
          <a:xfrm>
            <a:off x="8336114" y="3141061"/>
            <a:ext cx="822960" cy="1931663"/>
            <a:chOff x="8528228" y="3141886"/>
            <a:chExt cx="822960" cy="1931663"/>
          </a:xfrm>
          <a:solidFill>
            <a:srgbClr val="0D2637"/>
          </a:solidFill>
        </p:grpSpPr>
        <p:sp>
          <p:nvSpPr>
            <p:cNvPr id="257" name="Rectangle: Rounded Corners 18">
              <a:extLst>
                <a:ext uri="{FF2B5EF4-FFF2-40B4-BE49-F238E27FC236}">
                  <a16:creationId xmlns:a16="http://schemas.microsoft.com/office/drawing/2014/main" id="{C086E704-7625-A3F9-D608-FC7FC56B1EB6}"/>
                </a:ext>
                <a:ext uri="{C183D7F6-B498-43B3-948B-1728B52AA6E4}">
                  <adec:decorative xmlns:adec="http://schemas.microsoft.com/office/drawing/2017/decorative" val="1"/>
                </a:ext>
              </a:extLst>
            </p:cNvPr>
            <p:cNvSpPr>
              <a:spLocks/>
            </p:cNvSpPr>
            <p:nvPr/>
          </p:nvSpPr>
          <p:spPr bwMode="auto">
            <a:xfrm>
              <a:off x="8528228" y="3141886"/>
              <a:ext cx="822960" cy="365760"/>
            </a:xfrm>
            <a:prstGeom prst="roundRect">
              <a:avLst>
                <a:gd name="adj" fmla="val 50000"/>
              </a:avLst>
            </a:prstGeom>
            <a:solidFill>
              <a:schemeClr val="bg1"/>
            </a:solidFill>
            <a:ln w="22225" cap="flat" cmpd="sng" algn="ctr">
              <a:solidFill>
                <a:srgbClr val="599FFD"/>
              </a:solidFill>
              <a:prstDash val="solid"/>
              <a:headEnd type="none" w="med" len="med"/>
              <a:tailEnd type="none" w="med" len="med"/>
            </a:ln>
            <a:effectLst>
              <a:outerShdw blurRad="127000" algn="ctr" rotWithShape="0">
                <a:prstClr val="black">
                  <a:alpha val="20000"/>
                </a:prstClr>
              </a:outerShdw>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20000"/>
                </a:spcBef>
                <a:spcAft>
                  <a:spcPts val="0"/>
                </a:spcAft>
                <a:buClrTx/>
                <a:buSzPct val="90000"/>
                <a:buFontTx/>
                <a:buNone/>
                <a:tabLst/>
                <a:defRPr/>
              </a:pPr>
              <a:r>
                <a:rPr kumimoji="0" lang="en-US" sz="1100" b="0" i="0" u="none" strike="noStrike" kern="0" cap="none" spc="0" normalizeH="0" baseline="0" noProof="0">
                  <a:ln>
                    <a:noFill/>
                  </a:ln>
                  <a:solidFill>
                    <a:srgbClr val="000000"/>
                  </a:solidFill>
                  <a:effectLst/>
                  <a:uLnTx/>
                  <a:uFillTx/>
                  <a:latin typeface="Segoe Sans Display Semibold"/>
                  <a:ea typeface="+mn-ea"/>
                  <a:cs typeface="Segoe UI Semibold" panose="020B0702040204020203" pitchFamily="34" charset="0"/>
                </a:rPr>
                <a:t>Allow</a:t>
              </a:r>
            </a:p>
          </p:txBody>
        </p:sp>
        <p:sp>
          <p:nvSpPr>
            <p:cNvPr id="258" name="Rectangle: Rounded Corners 18">
              <a:extLst>
                <a:ext uri="{FF2B5EF4-FFF2-40B4-BE49-F238E27FC236}">
                  <a16:creationId xmlns:a16="http://schemas.microsoft.com/office/drawing/2014/main" id="{769517EC-D6D3-CAD5-5820-F7867C7F059F}"/>
                </a:ext>
                <a:ext uri="{C183D7F6-B498-43B3-948B-1728B52AA6E4}">
                  <adec:decorative xmlns:adec="http://schemas.microsoft.com/office/drawing/2017/decorative" val="1"/>
                </a:ext>
              </a:extLst>
            </p:cNvPr>
            <p:cNvSpPr>
              <a:spLocks/>
            </p:cNvSpPr>
            <p:nvPr/>
          </p:nvSpPr>
          <p:spPr bwMode="auto">
            <a:xfrm>
              <a:off x="8528228" y="4185822"/>
              <a:ext cx="822960" cy="365760"/>
            </a:xfrm>
            <a:prstGeom prst="roundRect">
              <a:avLst>
                <a:gd name="adj" fmla="val 50000"/>
              </a:avLst>
            </a:prstGeom>
            <a:solidFill>
              <a:schemeClr val="bg1"/>
            </a:solidFill>
            <a:ln w="22225" cap="flat" cmpd="sng" algn="ctr">
              <a:solidFill>
                <a:srgbClr val="A5B8EE"/>
              </a:solidFill>
              <a:prstDash val="solid"/>
              <a:headEnd type="none" w="med" len="med"/>
              <a:tailEnd type="none" w="med" len="med"/>
            </a:ln>
            <a:effectLst>
              <a:outerShdw blurRad="127000" algn="ctr" rotWithShape="0">
                <a:prstClr val="black">
                  <a:alpha val="20000"/>
                </a:prstClr>
              </a:outerShdw>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20000"/>
                </a:spcBef>
                <a:spcAft>
                  <a:spcPts val="0"/>
                </a:spcAft>
                <a:buClrTx/>
                <a:buSzPct val="90000"/>
                <a:buFontTx/>
                <a:buNone/>
                <a:tabLst/>
                <a:defRPr/>
              </a:pPr>
              <a:r>
                <a:rPr kumimoji="0" lang="en-US" sz="1100" b="0" i="0" u="none" strike="noStrike" kern="0" cap="none" spc="0" normalizeH="0" baseline="0" noProof="0">
                  <a:ln>
                    <a:noFill/>
                  </a:ln>
                  <a:solidFill>
                    <a:srgbClr val="000000"/>
                  </a:solidFill>
                  <a:effectLst/>
                  <a:uLnTx/>
                  <a:uFillTx/>
                  <a:latin typeface="Segoe Sans Display Semibold"/>
                  <a:ea typeface="+mn-ea"/>
                  <a:cs typeface="Segoe UI Semibold" panose="020B0702040204020203" pitchFamily="34" charset="0"/>
                </a:rPr>
                <a:t>Block</a:t>
              </a:r>
            </a:p>
          </p:txBody>
        </p:sp>
        <p:sp>
          <p:nvSpPr>
            <p:cNvPr id="259" name="Rectangle: Rounded Corners 18">
              <a:extLst>
                <a:ext uri="{FF2B5EF4-FFF2-40B4-BE49-F238E27FC236}">
                  <a16:creationId xmlns:a16="http://schemas.microsoft.com/office/drawing/2014/main" id="{7E54E530-317A-0E5F-88B9-D6897B548B45}"/>
                </a:ext>
                <a:ext uri="{C183D7F6-B498-43B3-948B-1728B52AA6E4}">
                  <adec:decorative xmlns:adec="http://schemas.microsoft.com/office/drawing/2017/decorative" val="1"/>
                </a:ext>
              </a:extLst>
            </p:cNvPr>
            <p:cNvSpPr>
              <a:spLocks/>
            </p:cNvSpPr>
            <p:nvPr/>
          </p:nvSpPr>
          <p:spPr bwMode="auto">
            <a:xfrm>
              <a:off x="8528228" y="3663854"/>
              <a:ext cx="822960" cy="365760"/>
            </a:xfrm>
            <a:prstGeom prst="roundRect">
              <a:avLst>
                <a:gd name="adj" fmla="val 50000"/>
              </a:avLst>
            </a:prstGeom>
            <a:solidFill>
              <a:schemeClr val="bg1"/>
            </a:solidFill>
            <a:ln w="22225" cap="flat" cmpd="sng" algn="ctr">
              <a:solidFill>
                <a:srgbClr val="FADC14"/>
              </a:solidFill>
              <a:prstDash val="solid"/>
              <a:headEnd type="none" w="med" len="med"/>
              <a:tailEnd type="none" w="med" len="med"/>
            </a:ln>
            <a:effectLst>
              <a:outerShdw blurRad="127000" algn="ctr" rotWithShape="0">
                <a:prstClr val="black">
                  <a:alpha val="20000"/>
                </a:prstClr>
              </a:outerShdw>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20000"/>
                </a:spcBef>
                <a:spcAft>
                  <a:spcPts val="0"/>
                </a:spcAft>
                <a:buClrTx/>
                <a:buSzPct val="90000"/>
                <a:buFontTx/>
                <a:buNone/>
                <a:tabLst/>
                <a:defRPr/>
              </a:pPr>
              <a:r>
                <a:rPr kumimoji="0" lang="en-US" sz="1100" b="0" i="0" u="none" strike="noStrike" kern="0" cap="none" spc="0" normalizeH="0" baseline="0" noProof="0">
                  <a:ln>
                    <a:noFill/>
                  </a:ln>
                  <a:solidFill>
                    <a:srgbClr val="000000"/>
                  </a:solidFill>
                  <a:effectLst/>
                  <a:uLnTx/>
                  <a:uFillTx/>
                  <a:latin typeface="Segoe Sans Display Semibold"/>
                  <a:ea typeface="+mn-ea"/>
                  <a:cs typeface="Segoe UI Semibold" panose="020B0702040204020203" pitchFamily="34" charset="0"/>
                </a:rPr>
                <a:t>Require</a:t>
              </a:r>
            </a:p>
          </p:txBody>
        </p:sp>
        <p:sp>
          <p:nvSpPr>
            <p:cNvPr id="260" name="Rectangle: Rounded Corners 18">
              <a:extLst>
                <a:ext uri="{FF2B5EF4-FFF2-40B4-BE49-F238E27FC236}">
                  <a16:creationId xmlns:a16="http://schemas.microsoft.com/office/drawing/2014/main" id="{1641E55D-32F8-D9DB-C878-D53279B34F53}"/>
                </a:ext>
                <a:ext uri="{C183D7F6-B498-43B3-948B-1728B52AA6E4}">
                  <adec:decorative xmlns:adec="http://schemas.microsoft.com/office/drawing/2017/decorative" val="1"/>
                </a:ext>
              </a:extLst>
            </p:cNvPr>
            <p:cNvSpPr>
              <a:spLocks/>
            </p:cNvSpPr>
            <p:nvPr/>
          </p:nvSpPr>
          <p:spPr bwMode="auto">
            <a:xfrm>
              <a:off x="8528228" y="4707789"/>
              <a:ext cx="822960" cy="365760"/>
            </a:xfrm>
            <a:prstGeom prst="roundRect">
              <a:avLst>
                <a:gd name="adj" fmla="val 50000"/>
              </a:avLst>
            </a:prstGeom>
            <a:solidFill>
              <a:schemeClr val="bg1"/>
            </a:solidFill>
            <a:ln w="22225" cap="flat" cmpd="sng" algn="ctr">
              <a:solidFill>
                <a:srgbClr val="E2F9D9"/>
              </a:solidFill>
              <a:prstDash val="solid"/>
              <a:headEnd type="none" w="med" len="med"/>
              <a:tailEnd type="none" w="med" len="med"/>
            </a:ln>
            <a:effectLst>
              <a:outerShdw blurRad="127000" algn="ctr" rotWithShape="0">
                <a:prstClr val="black">
                  <a:alpha val="20000"/>
                </a:prstClr>
              </a:outerShdw>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20000"/>
                </a:spcBef>
                <a:spcAft>
                  <a:spcPts val="0"/>
                </a:spcAft>
                <a:buClrTx/>
                <a:buSzPct val="90000"/>
                <a:buFontTx/>
                <a:buNone/>
                <a:tabLst/>
                <a:defRPr/>
              </a:pPr>
              <a:r>
                <a:rPr kumimoji="0" lang="en-US" sz="1100" b="0" i="0" u="none" strike="noStrike" kern="0" cap="none" spc="0" normalizeH="0" baseline="0" noProof="0">
                  <a:ln>
                    <a:noFill/>
                  </a:ln>
                  <a:solidFill>
                    <a:srgbClr val="000000"/>
                  </a:solidFill>
                  <a:effectLst/>
                  <a:uLnTx/>
                  <a:uFillTx/>
                  <a:latin typeface="Segoe Sans Display Semibold"/>
                  <a:ea typeface="+mn-ea"/>
                  <a:cs typeface="Segoe UI Semibold" panose="020B0702040204020203" pitchFamily="34" charset="0"/>
                </a:rPr>
                <a:t>Restrict</a:t>
              </a:r>
            </a:p>
          </p:txBody>
        </p:sp>
      </p:grpSp>
      <p:sp>
        <p:nvSpPr>
          <p:cNvPr id="261" name="TextBox 260">
            <a:extLst>
              <a:ext uri="{FF2B5EF4-FFF2-40B4-BE49-F238E27FC236}">
                <a16:creationId xmlns:a16="http://schemas.microsoft.com/office/drawing/2014/main" id="{D91C2219-32CA-711E-879D-7B790F3DBE6F}"/>
              </a:ext>
            </a:extLst>
          </p:cNvPr>
          <p:cNvSpPr txBox="1"/>
          <p:nvPr/>
        </p:nvSpPr>
        <p:spPr>
          <a:xfrm>
            <a:off x="1137143" y="1597026"/>
            <a:ext cx="639599" cy="276999"/>
          </a:xfrm>
          <a:prstGeom prst="rect">
            <a:avLst/>
          </a:prstGeom>
          <a:noFill/>
        </p:spPr>
        <p:txBody>
          <a:bodyPr wrap="none" lIns="0" tIns="0" rIns="0" bIns="0" rtlCol="0">
            <a:spAutoFit/>
          </a:bodyPr>
          <a:lstStyle/>
          <a:p>
            <a:pPr marL="0" marR="0" lvl="0" indent="0" algn="ctr" defTabSz="922530" rtl="0" eaLnBrk="1" fontAlgn="auto" latinLnBrk="0" hangingPunct="1">
              <a:lnSpc>
                <a:spcPct val="100000"/>
              </a:lnSpc>
              <a:spcBef>
                <a:spcPts val="0"/>
              </a:spcBef>
              <a:spcAft>
                <a:spcPts val="606"/>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Sans Display Semibold"/>
                <a:ea typeface="+mn-ea"/>
                <a:cs typeface="+mn-cs"/>
              </a:rPr>
              <a:t>Signal</a:t>
            </a:r>
          </a:p>
        </p:txBody>
      </p:sp>
      <p:sp>
        <p:nvSpPr>
          <p:cNvPr id="262" name="TextBox 261">
            <a:extLst>
              <a:ext uri="{FF2B5EF4-FFF2-40B4-BE49-F238E27FC236}">
                <a16:creationId xmlns:a16="http://schemas.microsoft.com/office/drawing/2014/main" id="{3280D472-D159-16DB-A47A-671A304336B0}"/>
              </a:ext>
            </a:extLst>
          </p:cNvPr>
          <p:cNvSpPr txBox="1"/>
          <p:nvPr/>
        </p:nvSpPr>
        <p:spPr>
          <a:xfrm>
            <a:off x="4920795" y="1597026"/>
            <a:ext cx="900888" cy="276999"/>
          </a:xfrm>
          <a:prstGeom prst="rect">
            <a:avLst/>
          </a:prstGeom>
          <a:noFill/>
        </p:spPr>
        <p:txBody>
          <a:bodyPr wrap="none" lIns="0" tIns="0" rIns="0" bIns="0" rtlCol="0">
            <a:spAutoFit/>
          </a:bodyPr>
          <a:lstStyle/>
          <a:p>
            <a:pPr marL="0" marR="0" lvl="0" indent="0" algn="ctr" defTabSz="922530" rtl="0" eaLnBrk="1" fontAlgn="auto" latinLnBrk="0" hangingPunct="1">
              <a:lnSpc>
                <a:spcPct val="100000"/>
              </a:lnSpc>
              <a:spcBef>
                <a:spcPts val="0"/>
              </a:spcBef>
              <a:spcAft>
                <a:spcPts val="606"/>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Sans Display Semibold"/>
                <a:ea typeface="+mn-ea"/>
                <a:cs typeface="+mn-cs"/>
              </a:rPr>
              <a:t>Decision</a:t>
            </a:r>
          </a:p>
        </p:txBody>
      </p:sp>
      <p:sp>
        <p:nvSpPr>
          <p:cNvPr id="263" name="TextBox 262">
            <a:extLst>
              <a:ext uri="{FF2B5EF4-FFF2-40B4-BE49-F238E27FC236}">
                <a16:creationId xmlns:a16="http://schemas.microsoft.com/office/drawing/2014/main" id="{73237F9D-EC10-EFA0-4C85-BF41DE99E0AD}"/>
              </a:ext>
            </a:extLst>
          </p:cNvPr>
          <p:cNvSpPr txBox="1"/>
          <p:nvPr/>
        </p:nvSpPr>
        <p:spPr>
          <a:xfrm>
            <a:off x="9596606" y="1597026"/>
            <a:ext cx="1350306" cy="276999"/>
          </a:xfrm>
          <a:prstGeom prst="rect">
            <a:avLst/>
          </a:prstGeom>
          <a:noFill/>
        </p:spPr>
        <p:txBody>
          <a:bodyPr wrap="none" lIns="0" tIns="0" rIns="0" bIns="0" rtlCol="0">
            <a:spAutoFit/>
          </a:bodyPr>
          <a:lstStyle/>
          <a:p>
            <a:pPr marL="0" marR="0" lvl="0" indent="0" algn="ctr" defTabSz="922530" rtl="0" eaLnBrk="1" fontAlgn="auto" latinLnBrk="0" hangingPunct="1">
              <a:lnSpc>
                <a:spcPct val="100000"/>
              </a:lnSpc>
              <a:spcBef>
                <a:spcPts val="0"/>
              </a:spcBef>
              <a:spcAft>
                <a:spcPts val="606"/>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Sans Display Semibold"/>
                <a:ea typeface="+mn-ea"/>
                <a:cs typeface="+mn-cs"/>
              </a:rPr>
              <a:t>Enforcement</a:t>
            </a:r>
          </a:p>
        </p:txBody>
      </p:sp>
      <p:cxnSp>
        <p:nvCxnSpPr>
          <p:cNvPr id="264" name="Straight Connector 263">
            <a:extLst>
              <a:ext uri="{FF2B5EF4-FFF2-40B4-BE49-F238E27FC236}">
                <a16:creationId xmlns:a16="http://schemas.microsoft.com/office/drawing/2014/main" id="{0C768B98-EDA3-6362-0FAA-CD7C7392953F}"/>
              </a:ext>
              <a:ext uri="{C183D7F6-B498-43B3-948B-1728B52AA6E4}">
                <adec:decorative xmlns:adec="http://schemas.microsoft.com/office/drawing/2017/decorative" val="1"/>
              </a:ext>
            </a:extLst>
          </p:cNvPr>
          <p:cNvCxnSpPr>
            <a:cxnSpLocks/>
          </p:cNvCxnSpPr>
          <p:nvPr/>
        </p:nvCxnSpPr>
        <p:spPr>
          <a:xfrm>
            <a:off x="9265919" y="3287515"/>
            <a:ext cx="2011680" cy="0"/>
          </a:xfrm>
          <a:prstGeom prst="line">
            <a:avLst/>
          </a:prstGeom>
          <a:noFill/>
          <a:ln w="12700" cap="flat">
            <a:solidFill>
              <a:schemeClr val="bg1">
                <a:lumMod val="50000"/>
              </a:schemeClr>
            </a:solidFill>
            <a:prstDash val="solid"/>
            <a:miter/>
          </a:ln>
          <a:scene3d>
            <a:camera prst="isometricOffAxis1Right">
              <a:rot lat="0" lon="0" rev="0"/>
            </a:camera>
            <a:lightRig rig="flood" dir="t"/>
          </a:scene3d>
        </p:spPr>
      </p:cxnSp>
      <p:sp>
        <p:nvSpPr>
          <p:cNvPr id="265" name="TextBox 264">
            <a:extLst>
              <a:ext uri="{FF2B5EF4-FFF2-40B4-BE49-F238E27FC236}">
                <a16:creationId xmlns:a16="http://schemas.microsoft.com/office/drawing/2014/main" id="{BFA4D0A7-285C-EE5B-B855-3B5FFADDF00D}"/>
              </a:ext>
            </a:extLst>
          </p:cNvPr>
          <p:cNvSpPr txBox="1"/>
          <p:nvPr/>
        </p:nvSpPr>
        <p:spPr>
          <a:xfrm>
            <a:off x="9448799" y="2891654"/>
            <a:ext cx="164592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40" normalizeH="0" baseline="0" noProof="0">
                <a:ln w="3175">
                  <a:noFill/>
                </a:ln>
                <a:gradFill>
                  <a:gsLst>
                    <a:gs pos="0">
                      <a:srgbClr val="0360DB"/>
                    </a:gs>
                    <a:gs pos="80000">
                      <a:srgbClr val="207EFC"/>
                    </a:gs>
                  </a:gsLst>
                  <a:path path="circle">
                    <a:fillToRect l="100000" t="100000"/>
                  </a:path>
                </a:gradFill>
                <a:effectLst/>
                <a:uLnTx/>
                <a:uFillTx/>
                <a:latin typeface="Segoe Sans Display Semibold"/>
                <a:ea typeface="+mn-ea"/>
                <a:cs typeface="Segoe UI" panose="020B0502040204020203" pitchFamily="34" charset="0"/>
              </a:rPr>
              <a:t>IaaS, PaaS, Datacenter</a:t>
            </a:r>
          </a:p>
        </p:txBody>
      </p:sp>
      <p:grpSp>
        <p:nvGrpSpPr>
          <p:cNvPr id="266" name="Group 265">
            <a:extLst>
              <a:ext uri="{FF2B5EF4-FFF2-40B4-BE49-F238E27FC236}">
                <a16:creationId xmlns:a16="http://schemas.microsoft.com/office/drawing/2014/main" id="{E69DC2E6-408A-E8A8-80F0-D169A3DD294E}"/>
              </a:ext>
              <a:ext uri="{C183D7F6-B498-43B3-948B-1728B52AA6E4}">
                <adec:decorative xmlns:adec="http://schemas.microsoft.com/office/drawing/2017/decorative" val="1"/>
              </a:ext>
            </a:extLst>
          </p:cNvPr>
          <p:cNvGrpSpPr/>
          <p:nvPr/>
        </p:nvGrpSpPr>
        <p:grpSpPr>
          <a:xfrm>
            <a:off x="9256780" y="2371182"/>
            <a:ext cx="2029958" cy="351579"/>
            <a:chOff x="9073317" y="2150392"/>
            <a:chExt cx="2029958" cy="351579"/>
          </a:xfrm>
        </p:grpSpPr>
        <p:grpSp>
          <p:nvGrpSpPr>
            <p:cNvPr id="267" name="Group 266">
              <a:extLst>
                <a:ext uri="{FF2B5EF4-FFF2-40B4-BE49-F238E27FC236}">
                  <a16:creationId xmlns:a16="http://schemas.microsoft.com/office/drawing/2014/main" id="{B2B7EA9A-4132-C50F-57FD-A5CAEDE69658}"/>
                </a:ext>
              </a:extLst>
            </p:cNvPr>
            <p:cNvGrpSpPr/>
            <p:nvPr/>
          </p:nvGrpSpPr>
          <p:grpSpPr>
            <a:xfrm>
              <a:off x="10321858" y="2180102"/>
              <a:ext cx="376399" cy="292159"/>
              <a:chOff x="10321857" y="2180103"/>
              <a:chExt cx="376399" cy="292159"/>
            </a:xfrm>
          </p:grpSpPr>
          <p:sp>
            <p:nvSpPr>
              <p:cNvPr id="271" name="Freeform: Shape 400">
                <a:extLst>
                  <a:ext uri="{FF2B5EF4-FFF2-40B4-BE49-F238E27FC236}">
                    <a16:creationId xmlns:a16="http://schemas.microsoft.com/office/drawing/2014/main" id="{FD8E18E0-688D-B452-9B3D-A8C291DFF965}"/>
                  </a:ext>
                </a:extLst>
              </p:cNvPr>
              <p:cNvSpPr/>
              <p:nvPr/>
            </p:nvSpPr>
            <p:spPr>
              <a:xfrm>
                <a:off x="10367258" y="2180103"/>
                <a:ext cx="239249" cy="104700"/>
              </a:xfrm>
              <a:custGeom>
                <a:avLst/>
                <a:gdLst>
                  <a:gd name="connsiteX0" fmla="*/ 160496 w 198501"/>
                  <a:gd name="connsiteY0" fmla="*/ 69209 h 90069"/>
                  <a:gd name="connsiteX1" fmla="*/ 170021 w 198501"/>
                  <a:gd name="connsiteY1" fmla="*/ 69209 h 90069"/>
                  <a:gd name="connsiteX2" fmla="*/ 197168 w 198501"/>
                  <a:gd name="connsiteY2" fmla="*/ 42063 h 90069"/>
                  <a:gd name="connsiteX3" fmla="*/ 198501 w 198501"/>
                  <a:gd name="connsiteY3" fmla="*/ 30538 h 90069"/>
                  <a:gd name="connsiteX4" fmla="*/ 26280 w 198501"/>
                  <a:gd name="connsiteY4" fmla="*/ 41274 h 90069"/>
                  <a:gd name="connsiteX5" fmla="*/ 0 w 198501"/>
                  <a:gd name="connsiteY5" fmla="*/ 90069 h 90069"/>
                  <a:gd name="connsiteX6" fmla="*/ 9525 w 198501"/>
                  <a:gd name="connsiteY6" fmla="*/ 89498 h 90069"/>
                  <a:gd name="connsiteX7" fmla="*/ 63818 w 198501"/>
                  <a:gd name="connsiteY7" fmla="*/ 80544 h 90069"/>
                  <a:gd name="connsiteX8" fmla="*/ 68009 w 198501"/>
                  <a:gd name="connsiteY8" fmla="*/ 76258 h 90069"/>
                  <a:gd name="connsiteX9" fmla="*/ 160687 w 198501"/>
                  <a:gd name="connsiteY9" fmla="*/ 69209 h 90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501" h="90069">
                    <a:moveTo>
                      <a:pt x="160496" y="69209"/>
                    </a:moveTo>
                    <a:lnTo>
                      <a:pt x="170021" y="69209"/>
                    </a:lnTo>
                    <a:lnTo>
                      <a:pt x="197168" y="42063"/>
                    </a:lnTo>
                    <a:lnTo>
                      <a:pt x="198501" y="30538"/>
                    </a:lnTo>
                    <a:cubicBezTo>
                      <a:pt x="147979" y="-14055"/>
                      <a:pt x="70873" y="-9248"/>
                      <a:pt x="26280" y="41274"/>
                    </a:cubicBezTo>
                    <a:cubicBezTo>
                      <a:pt x="13893" y="55308"/>
                      <a:pt x="4901" y="72004"/>
                      <a:pt x="0" y="90069"/>
                    </a:cubicBezTo>
                    <a:cubicBezTo>
                      <a:pt x="3024" y="88830"/>
                      <a:pt x="6374" y="88629"/>
                      <a:pt x="9525" y="89498"/>
                    </a:cubicBezTo>
                    <a:lnTo>
                      <a:pt x="63818" y="80544"/>
                    </a:lnTo>
                    <a:cubicBezTo>
                      <a:pt x="63818" y="80544"/>
                      <a:pt x="66580" y="75972"/>
                      <a:pt x="68009" y="76258"/>
                    </a:cubicBezTo>
                    <a:cubicBezTo>
                      <a:pt x="92159" y="49734"/>
                      <a:pt x="132802" y="46643"/>
                      <a:pt x="160687" y="69209"/>
                    </a:cubicBezTo>
                    <a:close/>
                  </a:path>
                </a:pathLst>
              </a:custGeom>
              <a:solidFill>
                <a:srgbClr val="EA4335"/>
              </a:solidFill>
              <a:ln w="9525" cap="flat">
                <a:noFill/>
                <a:prstDash val="solid"/>
                <a:miter/>
              </a:ln>
            </p:spPr>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gradFill>
                    <a:gsLst>
                      <a:gs pos="8621">
                        <a:srgbClr val="000000"/>
                      </a:gs>
                      <a:gs pos="20225">
                        <a:srgbClr val="000000"/>
                      </a:gs>
                    </a:gsLst>
                    <a:lin ang="5400000" scaled="1"/>
                  </a:gradFill>
                  <a:effectLst/>
                  <a:uLnTx/>
                  <a:uFillTx/>
                  <a:latin typeface="Segoe Sans Display Semibold"/>
                  <a:ea typeface="+mn-ea"/>
                  <a:cs typeface="+mn-cs"/>
                </a:endParaRPr>
              </a:p>
            </p:txBody>
          </p:sp>
          <p:sp>
            <p:nvSpPr>
              <p:cNvPr id="272" name="Freeform: Shape 401">
                <a:extLst>
                  <a:ext uri="{FF2B5EF4-FFF2-40B4-BE49-F238E27FC236}">
                    <a16:creationId xmlns:a16="http://schemas.microsoft.com/office/drawing/2014/main" id="{39E5623C-266F-8C4E-EB53-5FE237FDBD01}"/>
                  </a:ext>
                </a:extLst>
              </p:cNvPr>
              <p:cNvSpPr/>
              <p:nvPr/>
            </p:nvSpPr>
            <p:spPr>
              <a:xfrm>
                <a:off x="10501231" y="2215712"/>
                <a:ext cx="197025" cy="256550"/>
              </a:xfrm>
              <a:custGeom>
                <a:avLst/>
                <a:gdLst>
                  <a:gd name="connsiteX0" fmla="*/ 124682 w 163468"/>
                  <a:gd name="connsiteY0" fmla="*/ 59436 h 220696"/>
                  <a:gd name="connsiteX1" fmla="*/ 87820 w 163468"/>
                  <a:gd name="connsiteY1" fmla="*/ 0 h 220696"/>
                  <a:gd name="connsiteX2" fmla="*/ 49720 w 163468"/>
                  <a:gd name="connsiteY2" fmla="*/ 38100 h 220696"/>
                  <a:gd name="connsiteX3" fmla="*/ 74581 w 163468"/>
                  <a:gd name="connsiteY3" fmla="*/ 91821 h 220696"/>
                  <a:gd name="connsiteX4" fmla="*/ 74581 w 163468"/>
                  <a:gd name="connsiteY4" fmla="*/ 98584 h 220696"/>
                  <a:gd name="connsiteX5" fmla="*/ 108490 w 163468"/>
                  <a:gd name="connsiteY5" fmla="*/ 132493 h 220696"/>
                  <a:gd name="connsiteX6" fmla="*/ 74581 w 163468"/>
                  <a:gd name="connsiteY6" fmla="*/ 166402 h 220696"/>
                  <a:gd name="connsiteX7" fmla="*/ 6763 w 163468"/>
                  <a:gd name="connsiteY7" fmla="*/ 166402 h 220696"/>
                  <a:gd name="connsiteX8" fmla="*/ 0 w 163468"/>
                  <a:gd name="connsiteY8" fmla="*/ 173260 h 220696"/>
                  <a:gd name="connsiteX9" fmla="*/ 0 w 163468"/>
                  <a:gd name="connsiteY9" fmla="*/ 213932 h 220696"/>
                  <a:gd name="connsiteX10" fmla="*/ 6763 w 163468"/>
                  <a:gd name="connsiteY10" fmla="*/ 220694 h 220696"/>
                  <a:gd name="connsiteX11" fmla="*/ 74581 w 163468"/>
                  <a:gd name="connsiteY11" fmla="*/ 220694 h 220696"/>
                  <a:gd name="connsiteX12" fmla="*/ 163466 w 163468"/>
                  <a:gd name="connsiteY12" fmla="*/ 133182 h 220696"/>
                  <a:gd name="connsiteX13" fmla="*/ 124682 w 163468"/>
                  <a:gd name="connsiteY13" fmla="*/ 59436 h 220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3468" h="220696">
                    <a:moveTo>
                      <a:pt x="124682" y="59436"/>
                    </a:moveTo>
                    <a:cubicBezTo>
                      <a:pt x="118442" y="36458"/>
                      <a:pt x="105631" y="15801"/>
                      <a:pt x="87820" y="0"/>
                    </a:cubicBezTo>
                    <a:lnTo>
                      <a:pt x="49720" y="38100"/>
                    </a:lnTo>
                    <a:cubicBezTo>
                      <a:pt x="65809" y="51246"/>
                      <a:pt x="74973" y="71049"/>
                      <a:pt x="74581" y="91821"/>
                    </a:cubicBezTo>
                    <a:lnTo>
                      <a:pt x="74581" y="98584"/>
                    </a:lnTo>
                    <a:cubicBezTo>
                      <a:pt x="93308" y="98584"/>
                      <a:pt x="108490" y="113766"/>
                      <a:pt x="108490" y="132493"/>
                    </a:cubicBezTo>
                    <a:cubicBezTo>
                      <a:pt x="108490" y="151220"/>
                      <a:pt x="93308" y="166402"/>
                      <a:pt x="74581" y="166402"/>
                    </a:cubicBezTo>
                    <a:lnTo>
                      <a:pt x="6763" y="166402"/>
                    </a:lnTo>
                    <a:lnTo>
                      <a:pt x="0" y="173260"/>
                    </a:lnTo>
                    <a:lnTo>
                      <a:pt x="0" y="213932"/>
                    </a:lnTo>
                    <a:lnTo>
                      <a:pt x="6763" y="220694"/>
                    </a:lnTo>
                    <a:lnTo>
                      <a:pt x="74581" y="220694"/>
                    </a:lnTo>
                    <a:cubicBezTo>
                      <a:pt x="123292" y="221073"/>
                      <a:pt x="163087" y="181893"/>
                      <a:pt x="163466" y="133182"/>
                    </a:cubicBezTo>
                    <a:cubicBezTo>
                      <a:pt x="163696" y="103658"/>
                      <a:pt x="149139" y="75977"/>
                      <a:pt x="124682" y="59436"/>
                    </a:cubicBezTo>
                    <a:close/>
                  </a:path>
                </a:pathLst>
              </a:custGeom>
              <a:solidFill>
                <a:srgbClr val="4285F4"/>
              </a:solidFill>
              <a:ln w="9525" cap="flat">
                <a:noFill/>
                <a:prstDash val="solid"/>
                <a:miter/>
              </a:ln>
            </p:spPr>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gradFill>
                    <a:gsLst>
                      <a:gs pos="8621">
                        <a:srgbClr val="000000"/>
                      </a:gs>
                      <a:gs pos="20225">
                        <a:srgbClr val="000000"/>
                      </a:gs>
                    </a:gsLst>
                    <a:lin ang="5400000" scaled="1"/>
                  </a:gradFill>
                  <a:effectLst/>
                  <a:uLnTx/>
                  <a:uFillTx/>
                  <a:latin typeface="Segoe Sans Display Semibold"/>
                  <a:ea typeface="+mn-ea"/>
                  <a:cs typeface="+mn-cs"/>
                </a:endParaRPr>
              </a:p>
            </p:txBody>
          </p:sp>
          <p:sp>
            <p:nvSpPr>
              <p:cNvPr id="273" name="Freeform: Shape 402">
                <a:extLst>
                  <a:ext uri="{FF2B5EF4-FFF2-40B4-BE49-F238E27FC236}">
                    <a16:creationId xmlns:a16="http://schemas.microsoft.com/office/drawing/2014/main" id="{90FDA572-E21B-C2AE-1B4D-786CC56DA91A}"/>
                  </a:ext>
                </a:extLst>
              </p:cNvPr>
              <p:cNvSpPr/>
              <p:nvPr/>
            </p:nvSpPr>
            <p:spPr>
              <a:xfrm>
                <a:off x="10363354" y="2405162"/>
                <a:ext cx="145914" cy="66656"/>
              </a:xfrm>
              <a:custGeom>
                <a:avLst/>
                <a:gdLst>
                  <a:gd name="connsiteX0" fmla="*/ 53245 w 121062"/>
                  <a:gd name="connsiteY0" fmla="*/ 57341 h 57341"/>
                  <a:gd name="connsiteX1" fmla="*/ 121063 w 121062"/>
                  <a:gd name="connsiteY1" fmla="*/ 57341 h 57341"/>
                  <a:gd name="connsiteX2" fmla="*/ 121063 w 121062"/>
                  <a:gd name="connsiteY2" fmla="*/ 3048 h 57341"/>
                  <a:gd name="connsiteX3" fmla="*/ 53245 w 121062"/>
                  <a:gd name="connsiteY3" fmla="*/ 3048 h 57341"/>
                  <a:gd name="connsiteX4" fmla="*/ 39243 w 121062"/>
                  <a:gd name="connsiteY4" fmla="*/ 0 h 57341"/>
                  <a:gd name="connsiteX5" fmla="*/ 29718 w 121062"/>
                  <a:gd name="connsiteY5" fmla="*/ 2953 h 57341"/>
                  <a:gd name="connsiteX6" fmla="*/ 2381 w 121062"/>
                  <a:gd name="connsiteY6" fmla="*/ 30099 h 57341"/>
                  <a:gd name="connsiteX7" fmla="*/ 0 w 121062"/>
                  <a:gd name="connsiteY7" fmla="*/ 39624 h 57341"/>
                  <a:gd name="connsiteX8" fmla="*/ 53245 w 121062"/>
                  <a:gd name="connsiteY8" fmla="*/ 57341 h 57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062" h="57341">
                    <a:moveTo>
                      <a:pt x="53245" y="57341"/>
                    </a:moveTo>
                    <a:lnTo>
                      <a:pt x="121063" y="57341"/>
                    </a:lnTo>
                    <a:lnTo>
                      <a:pt x="121063" y="3048"/>
                    </a:lnTo>
                    <a:lnTo>
                      <a:pt x="53245" y="3048"/>
                    </a:lnTo>
                    <a:cubicBezTo>
                      <a:pt x="48413" y="3047"/>
                      <a:pt x="43638" y="2008"/>
                      <a:pt x="39243" y="0"/>
                    </a:cubicBezTo>
                    <a:lnTo>
                      <a:pt x="29718" y="2953"/>
                    </a:lnTo>
                    <a:lnTo>
                      <a:pt x="2381" y="30099"/>
                    </a:lnTo>
                    <a:lnTo>
                      <a:pt x="0" y="39624"/>
                    </a:lnTo>
                    <a:cubicBezTo>
                      <a:pt x="15330" y="51200"/>
                      <a:pt x="34035" y="57424"/>
                      <a:pt x="53245" y="57341"/>
                    </a:cubicBezTo>
                    <a:close/>
                  </a:path>
                </a:pathLst>
              </a:custGeom>
              <a:solidFill>
                <a:srgbClr val="34A853"/>
              </a:solidFill>
              <a:ln w="9525" cap="flat">
                <a:noFill/>
                <a:prstDash val="solid"/>
                <a:miter/>
              </a:ln>
            </p:spPr>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gradFill>
                    <a:gsLst>
                      <a:gs pos="8621">
                        <a:srgbClr val="000000"/>
                      </a:gs>
                      <a:gs pos="20225">
                        <a:srgbClr val="000000"/>
                      </a:gs>
                    </a:gsLst>
                    <a:lin ang="5400000" scaled="1"/>
                  </a:gradFill>
                  <a:effectLst/>
                  <a:uLnTx/>
                  <a:uFillTx/>
                  <a:latin typeface="Segoe Sans Display Semibold"/>
                  <a:ea typeface="+mn-ea"/>
                  <a:cs typeface="+mn-cs"/>
                </a:endParaRPr>
              </a:p>
            </p:txBody>
          </p:sp>
          <p:sp>
            <p:nvSpPr>
              <p:cNvPr id="274" name="Freeform: Shape 403">
                <a:extLst>
                  <a:ext uri="{FF2B5EF4-FFF2-40B4-BE49-F238E27FC236}">
                    <a16:creationId xmlns:a16="http://schemas.microsoft.com/office/drawing/2014/main" id="{96F04AC1-A791-3E86-79CE-01A6D2FB6A96}"/>
                  </a:ext>
                </a:extLst>
              </p:cNvPr>
              <p:cNvSpPr/>
              <p:nvPr/>
            </p:nvSpPr>
            <p:spPr>
              <a:xfrm>
                <a:off x="10321857" y="2267088"/>
                <a:ext cx="190396" cy="183801"/>
              </a:xfrm>
              <a:custGeom>
                <a:avLst/>
                <a:gdLst>
                  <a:gd name="connsiteX0" fmla="*/ 87675 w 157969"/>
                  <a:gd name="connsiteY0" fmla="*/ 1 h 158115"/>
                  <a:gd name="connsiteX1" fmla="*/ 2 w 157969"/>
                  <a:gd name="connsiteY1" fmla="*/ 88727 h 158115"/>
                  <a:gd name="connsiteX2" fmla="*/ 34430 w 157969"/>
                  <a:gd name="connsiteY2" fmla="*/ 158116 h 158115"/>
                  <a:gd name="connsiteX3" fmla="*/ 73768 w 157969"/>
                  <a:gd name="connsiteY3" fmla="*/ 118777 h 158115"/>
                  <a:gd name="connsiteX4" fmla="*/ 56828 w 157969"/>
                  <a:gd name="connsiteY4" fmla="*/ 73915 h 158115"/>
                  <a:gd name="connsiteX5" fmla="*/ 101691 w 157969"/>
                  <a:gd name="connsiteY5" fmla="*/ 56974 h 158115"/>
                  <a:gd name="connsiteX6" fmla="*/ 118631 w 157969"/>
                  <a:gd name="connsiteY6" fmla="*/ 73915 h 158115"/>
                  <a:gd name="connsiteX7" fmla="*/ 157969 w 157969"/>
                  <a:gd name="connsiteY7" fmla="*/ 34576 h 158115"/>
                  <a:gd name="connsiteX8" fmla="*/ 87675 w 157969"/>
                  <a:gd name="connsiteY8" fmla="*/ 1 h 158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969" h="158115">
                    <a:moveTo>
                      <a:pt x="87675" y="1"/>
                    </a:moveTo>
                    <a:cubicBezTo>
                      <a:pt x="38963" y="292"/>
                      <a:pt x="-289" y="40016"/>
                      <a:pt x="2" y="88727"/>
                    </a:cubicBezTo>
                    <a:cubicBezTo>
                      <a:pt x="164" y="115928"/>
                      <a:pt x="12868" y="141533"/>
                      <a:pt x="34430" y="158116"/>
                    </a:cubicBezTo>
                    <a:lnTo>
                      <a:pt x="73768" y="118777"/>
                    </a:lnTo>
                    <a:cubicBezTo>
                      <a:pt x="56702" y="111067"/>
                      <a:pt x="49117" y="90981"/>
                      <a:pt x="56828" y="73915"/>
                    </a:cubicBezTo>
                    <a:cubicBezTo>
                      <a:pt x="64538" y="56848"/>
                      <a:pt x="84624" y="49264"/>
                      <a:pt x="101691" y="56974"/>
                    </a:cubicBezTo>
                    <a:cubicBezTo>
                      <a:pt x="109211" y="60372"/>
                      <a:pt x="115233" y="66395"/>
                      <a:pt x="118631" y="73915"/>
                    </a:cubicBezTo>
                    <a:lnTo>
                      <a:pt x="157969" y="34576"/>
                    </a:lnTo>
                    <a:cubicBezTo>
                      <a:pt x="141232" y="12695"/>
                      <a:pt x="115223" y="-98"/>
                      <a:pt x="87675" y="1"/>
                    </a:cubicBezTo>
                    <a:close/>
                  </a:path>
                </a:pathLst>
              </a:custGeom>
              <a:solidFill>
                <a:srgbClr val="FBBC05"/>
              </a:solidFill>
              <a:ln w="9525" cap="flat">
                <a:noFill/>
                <a:prstDash val="solid"/>
                <a:miter/>
              </a:ln>
            </p:spPr>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gradFill>
                    <a:gsLst>
                      <a:gs pos="8621">
                        <a:srgbClr val="000000"/>
                      </a:gs>
                      <a:gs pos="20225">
                        <a:srgbClr val="000000"/>
                      </a:gs>
                    </a:gsLst>
                    <a:lin ang="5400000" scaled="1"/>
                  </a:gradFill>
                  <a:effectLst/>
                  <a:uLnTx/>
                  <a:uFillTx/>
                  <a:latin typeface="Segoe Sans Display Semibold"/>
                  <a:ea typeface="+mn-ea"/>
                  <a:cs typeface="+mn-cs"/>
                </a:endParaRPr>
              </a:p>
            </p:txBody>
          </p:sp>
        </p:grpSp>
        <p:pic>
          <p:nvPicPr>
            <p:cNvPr id="268" name="Graphic 198">
              <a:extLst>
                <a:ext uri="{FF2B5EF4-FFF2-40B4-BE49-F238E27FC236}">
                  <a16:creationId xmlns:a16="http://schemas.microsoft.com/office/drawing/2014/main" id="{456140FF-6CDC-7833-BAC6-18BAE2E8C1E0}"/>
                </a:ext>
              </a:extLst>
            </p:cNvPr>
            <p:cNvPicPr>
              <a:picLocks noChangeAspect="1"/>
            </p:cNvPicPr>
            <p:nvPr/>
          </p:nvPicPr>
          <p:blipFill>
            <a:blip r:embed="rId6">
              <a:lum bright="-100000"/>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9649043" y="2187998"/>
              <a:ext cx="461619" cy="276366"/>
            </a:xfrm>
            <a:prstGeom prst="rect">
              <a:avLst/>
            </a:prstGeom>
          </p:spPr>
        </p:pic>
        <p:pic>
          <p:nvPicPr>
            <p:cNvPr id="269" name="Graphic 268">
              <a:extLst>
                <a:ext uri="{FF2B5EF4-FFF2-40B4-BE49-F238E27FC236}">
                  <a16:creationId xmlns:a16="http://schemas.microsoft.com/office/drawing/2014/main" id="{E78F5DD3-9481-BD7C-DE76-C1CA30945B8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073317" y="2150392"/>
              <a:ext cx="364530" cy="351579"/>
            </a:xfrm>
            <a:prstGeom prst="rect">
              <a:avLst/>
            </a:prstGeom>
          </p:spPr>
        </p:pic>
        <p:sp>
          <p:nvSpPr>
            <p:cNvPr id="270" name="Graphic 44">
              <a:extLst>
                <a:ext uri="{FF2B5EF4-FFF2-40B4-BE49-F238E27FC236}">
                  <a16:creationId xmlns:a16="http://schemas.microsoft.com/office/drawing/2014/main" id="{A032C2EC-1BB1-B0F6-A762-3AD8FC241D2E}"/>
                </a:ext>
              </a:extLst>
            </p:cNvPr>
            <p:cNvSpPr/>
            <p:nvPr/>
          </p:nvSpPr>
          <p:spPr>
            <a:xfrm>
              <a:off x="10909453" y="2164663"/>
              <a:ext cx="193822" cy="323036"/>
            </a:xfrm>
            <a:custGeom>
              <a:avLst/>
              <a:gdLst>
                <a:gd name="connsiteX0" fmla="*/ 49530 w 182880"/>
                <a:gd name="connsiteY0" fmla="*/ 60960 h 304800"/>
                <a:gd name="connsiteX1" fmla="*/ 38100 w 182880"/>
                <a:gd name="connsiteY1" fmla="*/ 72390 h 304800"/>
                <a:gd name="connsiteX2" fmla="*/ 49530 w 182880"/>
                <a:gd name="connsiteY2" fmla="*/ 83820 h 304800"/>
                <a:gd name="connsiteX3" fmla="*/ 133350 w 182880"/>
                <a:gd name="connsiteY3" fmla="*/ 83820 h 304800"/>
                <a:gd name="connsiteX4" fmla="*/ 144780 w 182880"/>
                <a:gd name="connsiteY4" fmla="*/ 72390 h 304800"/>
                <a:gd name="connsiteX5" fmla="*/ 133350 w 182880"/>
                <a:gd name="connsiteY5" fmla="*/ 60960 h 304800"/>
                <a:gd name="connsiteX6" fmla="*/ 49530 w 182880"/>
                <a:gd name="connsiteY6" fmla="*/ 60960 h 304800"/>
                <a:gd name="connsiteX7" fmla="*/ 38100 w 182880"/>
                <a:gd name="connsiteY7" fmla="*/ 240030 h 304800"/>
                <a:gd name="connsiteX8" fmla="*/ 49530 w 182880"/>
                <a:gd name="connsiteY8" fmla="*/ 228600 h 304800"/>
                <a:gd name="connsiteX9" fmla="*/ 133350 w 182880"/>
                <a:gd name="connsiteY9" fmla="*/ 228600 h 304800"/>
                <a:gd name="connsiteX10" fmla="*/ 144780 w 182880"/>
                <a:gd name="connsiteY10" fmla="*/ 240030 h 304800"/>
                <a:gd name="connsiteX11" fmla="*/ 133350 w 182880"/>
                <a:gd name="connsiteY11" fmla="*/ 251460 h 304800"/>
                <a:gd name="connsiteX12" fmla="*/ 49530 w 182880"/>
                <a:gd name="connsiteY12" fmla="*/ 251460 h 304800"/>
                <a:gd name="connsiteX13" fmla="*/ 38100 w 182880"/>
                <a:gd name="connsiteY13" fmla="*/ 240030 h 304800"/>
                <a:gd name="connsiteX14" fmla="*/ 49530 w 182880"/>
                <a:gd name="connsiteY14" fmla="*/ 182880 h 304800"/>
                <a:gd name="connsiteX15" fmla="*/ 38100 w 182880"/>
                <a:gd name="connsiteY15" fmla="*/ 194310 h 304800"/>
                <a:gd name="connsiteX16" fmla="*/ 49530 w 182880"/>
                <a:gd name="connsiteY16" fmla="*/ 205740 h 304800"/>
                <a:gd name="connsiteX17" fmla="*/ 133350 w 182880"/>
                <a:gd name="connsiteY17" fmla="*/ 205740 h 304800"/>
                <a:gd name="connsiteX18" fmla="*/ 144780 w 182880"/>
                <a:gd name="connsiteY18" fmla="*/ 194310 h 304800"/>
                <a:gd name="connsiteX19" fmla="*/ 133350 w 182880"/>
                <a:gd name="connsiteY19" fmla="*/ 182880 h 304800"/>
                <a:gd name="connsiteX20" fmla="*/ 49530 w 182880"/>
                <a:gd name="connsiteY20" fmla="*/ 182880 h 304800"/>
                <a:gd name="connsiteX21" fmla="*/ 0 w 182880"/>
                <a:gd name="connsiteY21" fmla="*/ 45720 h 304800"/>
                <a:gd name="connsiteX22" fmla="*/ 45720 w 182880"/>
                <a:gd name="connsiteY22" fmla="*/ 0 h 304800"/>
                <a:gd name="connsiteX23" fmla="*/ 137160 w 182880"/>
                <a:gd name="connsiteY23" fmla="*/ 0 h 304800"/>
                <a:gd name="connsiteX24" fmla="*/ 182880 w 182880"/>
                <a:gd name="connsiteY24" fmla="*/ 45720 h 304800"/>
                <a:gd name="connsiteX25" fmla="*/ 182880 w 182880"/>
                <a:gd name="connsiteY25" fmla="*/ 259080 h 304800"/>
                <a:gd name="connsiteX26" fmla="*/ 137160 w 182880"/>
                <a:gd name="connsiteY26" fmla="*/ 304800 h 304800"/>
                <a:gd name="connsiteX27" fmla="*/ 45720 w 182880"/>
                <a:gd name="connsiteY27" fmla="*/ 304800 h 304800"/>
                <a:gd name="connsiteX28" fmla="*/ 0 w 182880"/>
                <a:gd name="connsiteY28" fmla="*/ 259080 h 304800"/>
                <a:gd name="connsiteX29" fmla="*/ 0 w 182880"/>
                <a:gd name="connsiteY29" fmla="*/ 45720 h 304800"/>
                <a:gd name="connsiteX30" fmla="*/ 45720 w 182880"/>
                <a:gd name="connsiteY30" fmla="*/ 22860 h 304800"/>
                <a:gd name="connsiteX31" fmla="*/ 22860 w 182880"/>
                <a:gd name="connsiteY31" fmla="*/ 45720 h 304800"/>
                <a:gd name="connsiteX32" fmla="*/ 22860 w 182880"/>
                <a:gd name="connsiteY32" fmla="*/ 259080 h 304800"/>
                <a:gd name="connsiteX33" fmla="*/ 45720 w 182880"/>
                <a:gd name="connsiteY33" fmla="*/ 281940 h 304800"/>
                <a:gd name="connsiteX34" fmla="*/ 137160 w 182880"/>
                <a:gd name="connsiteY34" fmla="*/ 281940 h 304800"/>
                <a:gd name="connsiteX35" fmla="*/ 160020 w 182880"/>
                <a:gd name="connsiteY35" fmla="*/ 259080 h 304800"/>
                <a:gd name="connsiteX36" fmla="*/ 160020 w 182880"/>
                <a:gd name="connsiteY36" fmla="*/ 45720 h 304800"/>
                <a:gd name="connsiteX37" fmla="*/ 137160 w 182880"/>
                <a:gd name="connsiteY37" fmla="*/ 22860 h 304800"/>
                <a:gd name="connsiteX38" fmla="*/ 45720 w 182880"/>
                <a:gd name="connsiteY38" fmla="*/ 2286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82880" h="304800">
                  <a:moveTo>
                    <a:pt x="49530" y="60960"/>
                  </a:moveTo>
                  <a:cubicBezTo>
                    <a:pt x="43217" y="60960"/>
                    <a:pt x="38100" y="66077"/>
                    <a:pt x="38100" y="72390"/>
                  </a:cubicBezTo>
                  <a:cubicBezTo>
                    <a:pt x="38100" y="78703"/>
                    <a:pt x="43217" y="83820"/>
                    <a:pt x="49530" y="83820"/>
                  </a:cubicBezTo>
                  <a:lnTo>
                    <a:pt x="133350" y="83820"/>
                  </a:lnTo>
                  <a:cubicBezTo>
                    <a:pt x="139662" y="83820"/>
                    <a:pt x="144780" y="78703"/>
                    <a:pt x="144780" y="72390"/>
                  </a:cubicBezTo>
                  <a:cubicBezTo>
                    <a:pt x="144780" y="66077"/>
                    <a:pt x="139662" y="60960"/>
                    <a:pt x="133350" y="60960"/>
                  </a:cubicBezTo>
                  <a:lnTo>
                    <a:pt x="49530" y="60960"/>
                  </a:lnTo>
                  <a:close/>
                  <a:moveTo>
                    <a:pt x="38100" y="240030"/>
                  </a:moveTo>
                  <a:cubicBezTo>
                    <a:pt x="38100" y="233718"/>
                    <a:pt x="43217" y="228600"/>
                    <a:pt x="49530" y="228600"/>
                  </a:cubicBezTo>
                  <a:lnTo>
                    <a:pt x="133350" y="228600"/>
                  </a:lnTo>
                  <a:cubicBezTo>
                    <a:pt x="139662" y="228600"/>
                    <a:pt x="144780" y="233718"/>
                    <a:pt x="144780" y="240030"/>
                  </a:cubicBezTo>
                  <a:cubicBezTo>
                    <a:pt x="144780" y="246342"/>
                    <a:pt x="139662" y="251460"/>
                    <a:pt x="133350" y="251460"/>
                  </a:cubicBezTo>
                  <a:lnTo>
                    <a:pt x="49530" y="251460"/>
                  </a:lnTo>
                  <a:cubicBezTo>
                    <a:pt x="43217" y="251460"/>
                    <a:pt x="38100" y="246342"/>
                    <a:pt x="38100" y="240030"/>
                  </a:cubicBezTo>
                  <a:close/>
                  <a:moveTo>
                    <a:pt x="49530" y="182880"/>
                  </a:moveTo>
                  <a:cubicBezTo>
                    <a:pt x="43217" y="182880"/>
                    <a:pt x="38100" y="187998"/>
                    <a:pt x="38100" y="194310"/>
                  </a:cubicBezTo>
                  <a:cubicBezTo>
                    <a:pt x="38100" y="200622"/>
                    <a:pt x="43217" y="205740"/>
                    <a:pt x="49530" y="205740"/>
                  </a:cubicBezTo>
                  <a:lnTo>
                    <a:pt x="133350" y="205740"/>
                  </a:lnTo>
                  <a:cubicBezTo>
                    <a:pt x="139662" y="205740"/>
                    <a:pt x="144780" y="200622"/>
                    <a:pt x="144780" y="194310"/>
                  </a:cubicBezTo>
                  <a:cubicBezTo>
                    <a:pt x="144780" y="187998"/>
                    <a:pt x="139662" y="182880"/>
                    <a:pt x="133350" y="182880"/>
                  </a:cubicBezTo>
                  <a:lnTo>
                    <a:pt x="49530" y="182880"/>
                  </a:lnTo>
                  <a:close/>
                  <a:moveTo>
                    <a:pt x="0" y="45720"/>
                  </a:moveTo>
                  <a:cubicBezTo>
                    <a:pt x="0" y="20470"/>
                    <a:pt x="20470" y="0"/>
                    <a:pt x="45720" y="0"/>
                  </a:cubicBezTo>
                  <a:lnTo>
                    <a:pt x="137160" y="0"/>
                  </a:lnTo>
                  <a:cubicBezTo>
                    <a:pt x="162411" y="0"/>
                    <a:pt x="182880" y="20470"/>
                    <a:pt x="182880" y="45720"/>
                  </a:cubicBezTo>
                  <a:lnTo>
                    <a:pt x="182880" y="259080"/>
                  </a:lnTo>
                  <a:cubicBezTo>
                    <a:pt x="182880" y="284331"/>
                    <a:pt x="162411" y="304800"/>
                    <a:pt x="137160" y="304800"/>
                  </a:cubicBezTo>
                  <a:lnTo>
                    <a:pt x="45720" y="304800"/>
                  </a:lnTo>
                  <a:cubicBezTo>
                    <a:pt x="20470" y="304800"/>
                    <a:pt x="0" y="284331"/>
                    <a:pt x="0" y="259080"/>
                  </a:cubicBezTo>
                  <a:lnTo>
                    <a:pt x="0" y="45720"/>
                  </a:lnTo>
                  <a:close/>
                  <a:moveTo>
                    <a:pt x="45720" y="22860"/>
                  </a:moveTo>
                  <a:cubicBezTo>
                    <a:pt x="33095" y="22860"/>
                    <a:pt x="22860" y="33095"/>
                    <a:pt x="22860" y="45720"/>
                  </a:cubicBezTo>
                  <a:lnTo>
                    <a:pt x="22860" y="259080"/>
                  </a:lnTo>
                  <a:cubicBezTo>
                    <a:pt x="22860" y="271705"/>
                    <a:pt x="33095" y="281940"/>
                    <a:pt x="45720" y="281940"/>
                  </a:cubicBezTo>
                  <a:lnTo>
                    <a:pt x="137160" y="281940"/>
                  </a:lnTo>
                  <a:cubicBezTo>
                    <a:pt x="149785" y="281940"/>
                    <a:pt x="160020" y="271705"/>
                    <a:pt x="160020" y="259080"/>
                  </a:cubicBezTo>
                  <a:lnTo>
                    <a:pt x="160020" y="45720"/>
                  </a:lnTo>
                  <a:cubicBezTo>
                    <a:pt x="160020" y="33095"/>
                    <a:pt x="149785" y="22860"/>
                    <a:pt x="137160" y="22860"/>
                  </a:cubicBezTo>
                  <a:lnTo>
                    <a:pt x="45720" y="22860"/>
                  </a:lnTo>
                  <a:close/>
                </a:path>
              </a:pathLst>
            </a:custGeom>
            <a:solidFill>
              <a:schemeClr val="tx1"/>
            </a:solid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Display"/>
                <a:ea typeface="+mn-ea"/>
                <a:cs typeface="+mn-cs"/>
              </a:endParaRPr>
            </a:p>
          </p:txBody>
        </p:sp>
      </p:grpSp>
      <p:sp>
        <p:nvSpPr>
          <p:cNvPr id="275" name="TextBox 274">
            <a:extLst>
              <a:ext uri="{FF2B5EF4-FFF2-40B4-BE49-F238E27FC236}">
                <a16:creationId xmlns:a16="http://schemas.microsoft.com/office/drawing/2014/main" id="{EC42C3CF-8CA6-478F-9CBF-ACCD693A3638}"/>
              </a:ext>
            </a:extLst>
          </p:cNvPr>
          <p:cNvSpPr txBox="1"/>
          <p:nvPr/>
        </p:nvSpPr>
        <p:spPr>
          <a:xfrm>
            <a:off x="9329928" y="3922183"/>
            <a:ext cx="1883663"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40" normalizeH="0" baseline="0" noProof="0">
                <a:ln w="3175">
                  <a:noFill/>
                </a:ln>
                <a:gradFill>
                  <a:gsLst>
                    <a:gs pos="0">
                      <a:srgbClr val="0360DB"/>
                    </a:gs>
                    <a:gs pos="80000">
                      <a:srgbClr val="207EFC"/>
                    </a:gs>
                  </a:gsLst>
                  <a:path path="circle">
                    <a:fillToRect l="100000" t="100000"/>
                  </a:path>
                </a:gradFill>
                <a:effectLst/>
                <a:uLnTx/>
                <a:uFillTx/>
                <a:latin typeface="Segoe Sans Display Semibold"/>
                <a:ea typeface="+mn-ea"/>
                <a:cs typeface="Segoe UI" panose="020B0502040204020203" pitchFamily="34" charset="0"/>
              </a:rPr>
              <a:t>Microsoft 365</a:t>
            </a:r>
          </a:p>
        </p:txBody>
      </p:sp>
      <p:cxnSp>
        <p:nvCxnSpPr>
          <p:cNvPr id="277" name="Straight Connector 276">
            <a:extLst>
              <a:ext uri="{FF2B5EF4-FFF2-40B4-BE49-F238E27FC236}">
                <a16:creationId xmlns:a16="http://schemas.microsoft.com/office/drawing/2014/main" id="{A7B72A91-E153-6C76-B338-8A13245A266A}"/>
              </a:ext>
              <a:ext uri="{C183D7F6-B498-43B3-948B-1728B52AA6E4}">
                <adec:decorative xmlns:adec="http://schemas.microsoft.com/office/drawing/2017/decorative" val="1"/>
              </a:ext>
            </a:extLst>
          </p:cNvPr>
          <p:cNvCxnSpPr>
            <a:cxnSpLocks/>
          </p:cNvCxnSpPr>
          <p:nvPr/>
        </p:nvCxnSpPr>
        <p:spPr>
          <a:xfrm>
            <a:off x="9265919" y="4286240"/>
            <a:ext cx="2011680" cy="0"/>
          </a:xfrm>
          <a:prstGeom prst="line">
            <a:avLst/>
          </a:prstGeom>
          <a:noFill/>
          <a:ln w="12700" cap="flat">
            <a:solidFill>
              <a:schemeClr val="bg1">
                <a:lumMod val="50000"/>
              </a:schemeClr>
            </a:solidFill>
            <a:prstDash val="solid"/>
            <a:miter/>
          </a:ln>
          <a:scene3d>
            <a:camera prst="isometricOffAxis1Right">
              <a:rot lat="0" lon="0" rev="0"/>
            </a:camera>
            <a:lightRig rig="flood" dir="t"/>
          </a:scene3d>
        </p:spPr>
      </p:cxnSp>
      <p:pic>
        <p:nvPicPr>
          <p:cNvPr id="279" name="Icon: M365">
            <a:extLst>
              <a:ext uri="{FF2B5EF4-FFF2-40B4-BE49-F238E27FC236}">
                <a16:creationId xmlns:a16="http://schemas.microsoft.com/office/drawing/2014/main" id="{B572EF9B-DA81-1831-120A-76759593DD53}"/>
              </a:ext>
              <a:ext uri="{C183D7F6-B498-43B3-948B-1728B52AA6E4}">
                <adec:decorative xmlns:adec="http://schemas.microsoft.com/office/drawing/2017/decorative" val="1"/>
              </a:ext>
            </a:extLst>
          </p:cNvPr>
          <p:cNvPicPr>
            <a:picLocks noChangeAspect="1"/>
          </p:cNvPicPr>
          <p:nvPr/>
        </p:nvPicPr>
        <p:blipFill>
          <a:blip r:embed="rId10">
            <a:extLst>
              <a:ext uri="{96DAC541-7B7A-43D3-8B79-37D633B846F1}">
                <asvg:svgBlip xmlns:asvg="http://schemas.microsoft.com/office/drawing/2016/SVG/main" r:embed="rId11"/>
              </a:ext>
            </a:extLst>
          </a:blip>
          <a:srcRect l="4251" r="4251"/>
          <a:stretch/>
        </p:blipFill>
        <p:spPr>
          <a:xfrm>
            <a:off x="10097759" y="3445890"/>
            <a:ext cx="348000" cy="396639"/>
          </a:xfrm>
          <a:prstGeom prst="rect">
            <a:avLst/>
          </a:prstGeom>
          <a:effectLst/>
        </p:spPr>
      </p:pic>
      <p:pic>
        <p:nvPicPr>
          <p:cNvPr id="284" name="Graphic 283">
            <a:extLst>
              <a:ext uri="{FF2B5EF4-FFF2-40B4-BE49-F238E27FC236}">
                <a16:creationId xmlns:a16="http://schemas.microsoft.com/office/drawing/2014/main" id="{42658D73-B3FB-A6C7-4575-09B750F7449D}"/>
              </a:ext>
              <a:ext uri="{C183D7F6-B498-43B3-948B-1728B52AA6E4}">
                <adec:decorative xmlns:adec="http://schemas.microsoft.com/office/drawing/2017/decorative" val="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079383" y="5345066"/>
            <a:ext cx="384753" cy="384753"/>
          </a:xfrm>
          <a:prstGeom prst="rect">
            <a:avLst/>
          </a:prstGeom>
        </p:spPr>
      </p:pic>
      <p:sp>
        <p:nvSpPr>
          <p:cNvPr id="314" name="TextBox 313">
            <a:extLst>
              <a:ext uri="{FF2B5EF4-FFF2-40B4-BE49-F238E27FC236}">
                <a16:creationId xmlns:a16="http://schemas.microsoft.com/office/drawing/2014/main" id="{9D0A4678-6FEC-9A4D-7DBB-DB0177D873FD}"/>
              </a:ext>
            </a:extLst>
          </p:cNvPr>
          <p:cNvSpPr txBox="1"/>
          <p:nvPr/>
        </p:nvSpPr>
        <p:spPr>
          <a:xfrm>
            <a:off x="9329928" y="4898468"/>
            <a:ext cx="1883663"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40" normalizeH="0" baseline="0" noProof="0">
                <a:ln w="3175">
                  <a:noFill/>
                </a:ln>
                <a:gradFill>
                  <a:gsLst>
                    <a:gs pos="0">
                      <a:srgbClr val="0360DB"/>
                    </a:gs>
                    <a:gs pos="80000">
                      <a:srgbClr val="207EFC"/>
                    </a:gs>
                  </a:gsLst>
                  <a:path path="circle">
                    <a:fillToRect l="100000" t="100000"/>
                  </a:path>
                </a:gradFill>
                <a:effectLst/>
                <a:uLnTx/>
                <a:uFillTx/>
                <a:latin typeface="Segoe Sans Display Semibold"/>
                <a:ea typeface="+mn-ea"/>
                <a:cs typeface="Segoe UI" panose="020B0502040204020203" pitchFamily="34" charset="0"/>
              </a:rPr>
              <a:t>Microsoft 365</a:t>
            </a:r>
          </a:p>
        </p:txBody>
      </p:sp>
      <p:sp>
        <p:nvSpPr>
          <p:cNvPr id="276" name="TextBox 275">
            <a:extLst>
              <a:ext uri="{FF2B5EF4-FFF2-40B4-BE49-F238E27FC236}">
                <a16:creationId xmlns:a16="http://schemas.microsoft.com/office/drawing/2014/main" id="{D5CC4350-2321-F9F2-2E3C-1AC802AF8F8F}"/>
              </a:ext>
            </a:extLst>
          </p:cNvPr>
          <p:cNvSpPr txBox="1"/>
          <p:nvPr/>
        </p:nvSpPr>
        <p:spPr>
          <a:xfrm>
            <a:off x="9494519" y="5791841"/>
            <a:ext cx="155448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40" normalizeH="0" baseline="0" noProof="0">
                <a:ln w="3175">
                  <a:noFill/>
                </a:ln>
                <a:gradFill>
                  <a:gsLst>
                    <a:gs pos="0">
                      <a:srgbClr val="0360DB"/>
                    </a:gs>
                    <a:gs pos="80000">
                      <a:srgbClr val="207EFC"/>
                    </a:gs>
                  </a:gsLst>
                  <a:path path="circle">
                    <a:fillToRect l="100000" t="100000"/>
                  </a:path>
                </a:gradFill>
                <a:effectLst/>
                <a:uLnTx/>
                <a:uFillTx/>
                <a:latin typeface="Segoe Sans Display Semibold"/>
                <a:ea typeface="+mn-ea"/>
                <a:cs typeface="Segoe UI" panose="020B0502040204020203" pitchFamily="34" charset="0"/>
              </a:rPr>
              <a:t>On-premises</a:t>
            </a:r>
          </a:p>
        </p:txBody>
      </p:sp>
      <p:cxnSp>
        <p:nvCxnSpPr>
          <p:cNvPr id="315" name="Straight Connector 314">
            <a:extLst>
              <a:ext uri="{FF2B5EF4-FFF2-40B4-BE49-F238E27FC236}">
                <a16:creationId xmlns:a16="http://schemas.microsoft.com/office/drawing/2014/main" id="{FB9B2B50-8039-07E6-6751-0E10C1D2563D}"/>
              </a:ext>
              <a:ext uri="{C183D7F6-B498-43B3-948B-1728B52AA6E4}">
                <adec:decorative xmlns:adec="http://schemas.microsoft.com/office/drawing/2017/decorative" val="1"/>
              </a:ext>
            </a:extLst>
          </p:cNvPr>
          <p:cNvCxnSpPr>
            <a:cxnSpLocks/>
          </p:cNvCxnSpPr>
          <p:nvPr/>
        </p:nvCxnSpPr>
        <p:spPr>
          <a:xfrm>
            <a:off x="9265919" y="5262525"/>
            <a:ext cx="2011680" cy="0"/>
          </a:xfrm>
          <a:prstGeom prst="line">
            <a:avLst/>
          </a:prstGeom>
          <a:noFill/>
          <a:ln w="12700" cap="flat">
            <a:solidFill>
              <a:schemeClr val="bg1">
                <a:lumMod val="50000"/>
              </a:schemeClr>
            </a:solidFill>
            <a:prstDash val="solid"/>
            <a:miter/>
          </a:ln>
          <a:scene3d>
            <a:camera prst="isometricOffAxis1Right">
              <a:rot lat="0" lon="0" rev="0"/>
            </a:camera>
            <a:lightRig rig="flood" dir="t"/>
          </a:scene3d>
        </p:spPr>
      </p:cxnSp>
      <p:sp>
        <p:nvSpPr>
          <p:cNvPr id="316" name="Graphic 860">
            <a:extLst>
              <a:ext uri="{FF2B5EF4-FFF2-40B4-BE49-F238E27FC236}">
                <a16:creationId xmlns:a16="http://schemas.microsoft.com/office/drawing/2014/main" id="{E98DF939-DB43-8AC4-B747-FD732073C3B6}"/>
              </a:ext>
              <a:ext uri="{C183D7F6-B498-43B3-948B-1728B52AA6E4}">
                <adec:decorative xmlns:adec="http://schemas.microsoft.com/office/drawing/2017/decorative" val="1"/>
              </a:ext>
            </a:extLst>
          </p:cNvPr>
          <p:cNvSpPr/>
          <p:nvPr/>
        </p:nvSpPr>
        <p:spPr>
          <a:xfrm>
            <a:off x="10091348" y="4465631"/>
            <a:ext cx="360822" cy="360805"/>
          </a:xfrm>
          <a:custGeom>
            <a:avLst/>
            <a:gdLst>
              <a:gd name="connsiteX0" fmla="*/ 143339 w 286677"/>
              <a:gd name="connsiteY0" fmla="*/ 0 h 286663"/>
              <a:gd name="connsiteX1" fmla="*/ 286677 w 286677"/>
              <a:gd name="connsiteY1" fmla="*/ 143339 h 286663"/>
              <a:gd name="connsiteX2" fmla="*/ 143339 w 286677"/>
              <a:gd name="connsiteY2" fmla="*/ 286663 h 286663"/>
              <a:gd name="connsiteX3" fmla="*/ 0 w 286677"/>
              <a:gd name="connsiteY3" fmla="*/ 143339 h 286663"/>
              <a:gd name="connsiteX4" fmla="*/ 143339 w 286677"/>
              <a:gd name="connsiteY4" fmla="*/ 0 h 286663"/>
              <a:gd name="connsiteX5" fmla="*/ 185457 w 286677"/>
              <a:gd name="connsiteY5" fmla="*/ 207814 h 286663"/>
              <a:gd name="connsiteX6" fmla="*/ 101206 w 286677"/>
              <a:gd name="connsiteY6" fmla="*/ 207814 h 286663"/>
              <a:gd name="connsiteX7" fmla="*/ 143324 w 286677"/>
              <a:gd name="connsiteY7" fmla="*/ 265167 h 286663"/>
              <a:gd name="connsiteX8" fmla="*/ 185443 w 286677"/>
              <a:gd name="connsiteY8" fmla="*/ 207814 h 286663"/>
              <a:gd name="connsiteX9" fmla="*/ 78978 w 286677"/>
              <a:gd name="connsiteY9" fmla="*/ 207814 h 286663"/>
              <a:gd name="connsiteX10" fmla="*/ 39940 w 286677"/>
              <a:gd name="connsiteY10" fmla="*/ 207814 h 286663"/>
              <a:gd name="connsiteX11" fmla="*/ 98612 w 286677"/>
              <a:gd name="connsiteY11" fmla="*/ 256697 h 286663"/>
              <a:gd name="connsiteX12" fmla="*/ 80411 w 286677"/>
              <a:gd name="connsiteY12" fmla="*/ 213489 h 286663"/>
              <a:gd name="connsiteX13" fmla="*/ 78949 w 286677"/>
              <a:gd name="connsiteY13" fmla="*/ 207828 h 286663"/>
              <a:gd name="connsiteX14" fmla="*/ 246723 w 286677"/>
              <a:gd name="connsiteY14" fmla="*/ 207814 h 286663"/>
              <a:gd name="connsiteX15" fmla="*/ 207714 w 286677"/>
              <a:gd name="connsiteY15" fmla="*/ 207814 h 286663"/>
              <a:gd name="connsiteX16" fmla="*/ 188037 w 286677"/>
              <a:gd name="connsiteY16" fmla="*/ 256697 h 286663"/>
              <a:gd name="connsiteX17" fmla="*/ 244071 w 286677"/>
              <a:gd name="connsiteY17" fmla="*/ 211884 h 286663"/>
              <a:gd name="connsiteX18" fmla="*/ 246723 w 286677"/>
              <a:gd name="connsiteY18" fmla="*/ 207828 h 286663"/>
              <a:gd name="connsiteX19" fmla="*/ 73031 w 286677"/>
              <a:gd name="connsiteY19" fmla="*/ 114662 h 286663"/>
              <a:gd name="connsiteX20" fmla="*/ 24893 w 286677"/>
              <a:gd name="connsiteY20" fmla="*/ 114662 h 286663"/>
              <a:gd name="connsiteX21" fmla="*/ 24821 w 286677"/>
              <a:gd name="connsiteY21" fmla="*/ 114906 h 286663"/>
              <a:gd name="connsiteX22" fmla="*/ 21482 w 286677"/>
              <a:gd name="connsiteY22" fmla="*/ 143339 h 286663"/>
              <a:gd name="connsiteX23" fmla="*/ 29293 w 286677"/>
              <a:gd name="connsiteY23" fmla="*/ 186332 h 286663"/>
              <a:gd name="connsiteX24" fmla="*/ 74765 w 286677"/>
              <a:gd name="connsiteY24" fmla="*/ 186332 h 286663"/>
              <a:gd name="connsiteX25" fmla="*/ 73002 w 286677"/>
              <a:gd name="connsiteY25" fmla="*/ 114677 h 286663"/>
              <a:gd name="connsiteX26" fmla="*/ 192021 w 286677"/>
              <a:gd name="connsiteY26" fmla="*/ 114662 h 286663"/>
              <a:gd name="connsiteX27" fmla="*/ 94656 w 286677"/>
              <a:gd name="connsiteY27" fmla="*/ 114662 h 286663"/>
              <a:gd name="connsiteX28" fmla="*/ 96591 w 286677"/>
              <a:gd name="connsiteY28" fmla="*/ 186317 h 286663"/>
              <a:gd name="connsiteX29" fmla="*/ 190086 w 286677"/>
              <a:gd name="connsiteY29" fmla="*/ 186317 h 286663"/>
              <a:gd name="connsiteX30" fmla="*/ 192021 w 286677"/>
              <a:gd name="connsiteY30" fmla="*/ 114662 h 286663"/>
              <a:gd name="connsiteX31" fmla="*/ 261784 w 286677"/>
              <a:gd name="connsiteY31" fmla="*/ 114662 h 286663"/>
              <a:gd name="connsiteX32" fmla="*/ 213661 w 286677"/>
              <a:gd name="connsiteY32" fmla="*/ 114662 h 286663"/>
              <a:gd name="connsiteX33" fmla="*/ 215022 w 286677"/>
              <a:gd name="connsiteY33" fmla="*/ 143324 h 286663"/>
              <a:gd name="connsiteX34" fmla="*/ 211898 w 286677"/>
              <a:gd name="connsiteY34" fmla="*/ 186317 h 286663"/>
              <a:gd name="connsiteX35" fmla="*/ 257370 w 286677"/>
              <a:gd name="connsiteY35" fmla="*/ 186317 h 286663"/>
              <a:gd name="connsiteX36" fmla="*/ 265167 w 286677"/>
              <a:gd name="connsiteY36" fmla="*/ 143324 h 286663"/>
              <a:gd name="connsiteX37" fmla="*/ 261784 w 286677"/>
              <a:gd name="connsiteY37" fmla="*/ 114662 h 286663"/>
              <a:gd name="connsiteX38" fmla="*/ 98626 w 286677"/>
              <a:gd name="connsiteY38" fmla="*/ 29966 h 286663"/>
              <a:gd name="connsiteX39" fmla="*/ 98296 w 286677"/>
              <a:gd name="connsiteY39" fmla="*/ 30081 h 286663"/>
              <a:gd name="connsiteX40" fmla="*/ 32273 w 286677"/>
              <a:gd name="connsiteY40" fmla="*/ 93166 h 286663"/>
              <a:gd name="connsiteX41" fmla="*/ 75954 w 286677"/>
              <a:gd name="connsiteY41" fmla="*/ 93166 h 286663"/>
              <a:gd name="connsiteX42" fmla="*/ 98640 w 286677"/>
              <a:gd name="connsiteY42" fmla="*/ 29966 h 286663"/>
              <a:gd name="connsiteX43" fmla="*/ 143339 w 286677"/>
              <a:gd name="connsiteY43" fmla="*/ 21497 h 286663"/>
              <a:gd name="connsiteX44" fmla="*/ 141676 w 286677"/>
              <a:gd name="connsiteY44" fmla="*/ 21568 h 286663"/>
              <a:gd name="connsiteX45" fmla="*/ 97909 w 286677"/>
              <a:gd name="connsiteY45" fmla="*/ 93166 h 286663"/>
              <a:gd name="connsiteX46" fmla="*/ 188797 w 286677"/>
              <a:gd name="connsiteY46" fmla="*/ 93166 h 286663"/>
              <a:gd name="connsiteX47" fmla="*/ 145159 w 286677"/>
              <a:gd name="connsiteY47" fmla="*/ 21582 h 286663"/>
              <a:gd name="connsiteX48" fmla="*/ 143339 w 286677"/>
              <a:gd name="connsiteY48" fmla="*/ 21511 h 286663"/>
              <a:gd name="connsiteX49" fmla="*/ 188051 w 286677"/>
              <a:gd name="connsiteY49" fmla="*/ 29952 h 286663"/>
              <a:gd name="connsiteX50" fmla="*/ 189585 w 286677"/>
              <a:gd name="connsiteY50" fmla="*/ 32460 h 286663"/>
              <a:gd name="connsiteX51" fmla="*/ 210723 w 286677"/>
              <a:gd name="connsiteY51" fmla="*/ 93180 h 286663"/>
              <a:gd name="connsiteX52" fmla="*/ 254404 w 286677"/>
              <a:gd name="connsiteY52" fmla="*/ 93180 h 286663"/>
              <a:gd name="connsiteX53" fmla="*/ 192222 w 286677"/>
              <a:gd name="connsiteY53" fmla="*/ 31700 h 286663"/>
              <a:gd name="connsiteX54" fmla="*/ 188051 w 286677"/>
              <a:gd name="connsiteY54" fmla="*/ 29966 h 286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6677" h="286663">
                <a:moveTo>
                  <a:pt x="143339" y="0"/>
                </a:moveTo>
                <a:cubicBezTo>
                  <a:pt x="222503" y="0"/>
                  <a:pt x="286677" y="64174"/>
                  <a:pt x="286677" y="143339"/>
                </a:cubicBezTo>
                <a:cubicBezTo>
                  <a:pt x="286677" y="222489"/>
                  <a:pt x="222503" y="286663"/>
                  <a:pt x="143339" y="286663"/>
                </a:cubicBezTo>
                <a:cubicBezTo>
                  <a:pt x="64174" y="286663"/>
                  <a:pt x="0" y="222489"/>
                  <a:pt x="0" y="143339"/>
                </a:cubicBezTo>
                <a:cubicBezTo>
                  <a:pt x="0" y="64174"/>
                  <a:pt x="64174" y="0"/>
                  <a:pt x="143339" y="0"/>
                </a:cubicBezTo>
                <a:close/>
                <a:moveTo>
                  <a:pt x="185457" y="207814"/>
                </a:moveTo>
                <a:lnTo>
                  <a:pt x="101206" y="207814"/>
                </a:lnTo>
                <a:cubicBezTo>
                  <a:pt x="110549" y="242409"/>
                  <a:pt x="126801" y="265167"/>
                  <a:pt x="143324" y="265167"/>
                </a:cubicBezTo>
                <a:cubicBezTo>
                  <a:pt x="159848" y="265167"/>
                  <a:pt x="176099" y="242409"/>
                  <a:pt x="185443" y="207814"/>
                </a:cubicBezTo>
                <a:close/>
                <a:moveTo>
                  <a:pt x="78978" y="207814"/>
                </a:moveTo>
                <a:lnTo>
                  <a:pt x="39940" y="207814"/>
                </a:lnTo>
                <a:cubicBezTo>
                  <a:pt x="53777" y="229954"/>
                  <a:pt x="74337" y="247084"/>
                  <a:pt x="98612" y="256697"/>
                </a:cubicBezTo>
                <a:cubicBezTo>
                  <a:pt x="91131" y="244945"/>
                  <a:pt x="84954" y="230242"/>
                  <a:pt x="80411" y="213489"/>
                </a:cubicBezTo>
                <a:lnTo>
                  <a:pt x="78949" y="207828"/>
                </a:lnTo>
                <a:close/>
                <a:moveTo>
                  <a:pt x="246723" y="207814"/>
                </a:moveTo>
                <a:lnTo>
                  <a:pt x="207714" y="207814"/>
                </a:lnTo>
                <a:cubicBezTo>
                  <a:pt x="203070" y="226946"/>
                  <a:pt x="196363" y="243641"/>
                  <a:pt x="188037" y="256697"/>
                </a:cubicBezTo>
                <a:cubicBezTo>
                  <a:pt x="210777" y="247701"/>
                  <a:pt x="230298" y="232092"/>
                  <a:pt x="244071" y="211884"/>
                </a:cubicBezTo>
                <a:lnTo>
                  <a:pt x="246723" y="207828"/>
                </a:lnTo>
                <a:close/>
                <a:moveTo>
                  <a:pt x="73031" y="114662"/>
                </a:moveTo>
                <a:lnTo>
                  <a:pt x="24893" y="114662"/>
                </a:lnTo>
                <a:lnTo>
                  <a:pt x="24821" y="114906"/>
                </a:lnTo>
                <a:cubicBezTo>
                  <a:pt x="22598" y="124220"/>
                  <a:pt x="21477" y="133763"/>
                  <a:pt x="21482" y="143339"/>
                </a:cubicBezTo>
                <a:cubicBezTo>
                  <a:pt x="21482" y="158472"/>
                  <a:pt x="24248" y="172961"/>
                  <a:pt x="29293" y="186332"/>
                </a:cubicBezTo>
                <a:lnTo>
                  <a:pt x="74765" y="186332"/>
                </a:lnTo>
                <a:cubicBezTo>
                  <a:pt x="71304" y="162604"/>
                  <a:pt x="70712" y="138546"/>
                  <a:pt x="73002" y="114677"/>
                </a:cubicBezTo>
                <a:close/>
                <a:moveTo>
                  <a:pt x="192021" y="114662"/>
                </a:moveTo>
                <a:lnTo>
                  <a:pt x="94656" y="114662"/>
                </a:lnTo>
                <a:cubicBezTo>
                  <a:pt x="92135" y="138528"/>
                  <a:pt x="92785" y="162622"/>
                  <a:pt x="96591" y="186317"/>
                </a:cubicBezTo>
                <a:lnTo>
                  <a:pt x="190086" y="186317"/>
                </a:lnTo>
                <a:cubicBezTo>
                  <a:pt x="193890" y="162622"/>
                  <a:pt x="194540" y="138528"/>
                  <a:pt x="192021" y="114662"/>
                </a:cubicBezTo>
                <a:close/>
                <a:moveTo>
                  <a:pt x="261784" y="114662"/>
                </a:moveTo>
                <a:lnTo>
                  <a:pt x="213661" y="114662"/>
                </a:lnTo>
                <a:cubicBezTo>
                  <a:pt x="214549" y="123934"/>
                  <a:pt x="215022" y="133536"/>
                  <a:pt x="215022" y="143324"/>
                </a:cubicBezTo>
                <a:cubicBezTo>
                  <a:pt x="215045" y="157713"/>
                  <a:pt x="214002" y="172084"/>
                  <a:pt x="211898" y="186317"/>
                </a:cubicBezTo>
                <a:lnTo>
                  <a:pt x="257370" y="186317"/>
                </a:lnTo>
                <a:cubicBezTo>
                  <a:pt x="262545" y="172575"/>
                  <a:pt x="265187" y="158008"/>
                  <a:pt x="265167" y="143324"/>
                </a:cubicBezTo>
                <a:cubicBezTo>
                  <a:pt x="265167" y="133450"/>
                  <a:pt x="263991" y="123834"/>
                  <a:pt x="261784" y="114662"/>
                </a:cubicBezTo>
                <a:close/>
                <a:moveTo>
                  <a:pt x="98626" y="29966"/>
                </a:moveTo>
                <a:lnTo>
                  <a:pt x="98296" y="30081"/>
                </a:lnTo>
                <a:cubicBezTo>
                  <a:pt x="68967" y="41792"/>
                  <a:pt x="45307" y="64399"/>
                  <a:pt x="32273" y="93166"/>
                </a:cubicBezTo>
                <a:lnTo>
                  <a:pt x="75954" y="93166"/>
                </a:lnTo>
                <a:cubicBezTo>
                  <a:pt x="80454" y="68058"/>
                  <a:pt x="88279" y="46189"/>
                  <a:pt x="98640" y="29966"/>
                </a:cubicBezTo>
                <a:close/>
                <a:moveTo>
                  <a:pt x="143339" y="21497"/>
                </a:moveTo>
                <a:lnTo>
                  <a:pt x="141676" y="21568"/>
                </a:lnTo>
                <a:cubicBezTo>
                  <a:pt x="123562" y="23231"/>
                  <a:pt x="106021" y="51921"/>
                  <a:pt x="97909" y="93166"/>
                </a:cubicBezTo>
                <a:lnTo>
                  <a:pt x="188797" y="93166"/>
                </a:lnTo>
                <a:cubicBezTo>
                  <a:pt x="180685" y="52036"/>
                  <a:pt x="163244" y="23388"/>
                  <a:pt x="145159" y="21582"/>
                </a:cubicBezTo>
                <a:lnTo>
                  <a:pt x="143339" y="21511"/>
                </a:lnTo>
                <a:close/>
                <a:moveTo>
                  <a:pt x="188051" y="29952"/>
                </a:moveTo>
                <a:lnTo>
                  <a:pt x="189585" y="32460"/>
                </a:lnTo>
                <a:cubicBezTo>
                  <a:pt x="199172" y="48396"/>
                  <a:pt x="206452" y="69319"/>
                  <a:pt x="210723" y="93180"/>
                </a:cubicBezTo>
                <a:lnTo>
                  <a:pt x="254404" y="93180"/>
                </a:lnTo>
                <a:cubicBezTo>
                  <a:pt x="241963" y="65723"/>
                  <a:pt x="219819" y="43829"/>
                  <a:pt x="192222" y="31700"/>
                </a:cubicBezTo>
                <a:lnTo>
                  <a:pt x="188051" y="29966"/>
                </a:lnTo>
                <a:close/>
              </a:path>
            </a:pathLst>
          </a:custGeom>
          <a:solidFill>
            <a:schemeClr val="tx1"/>
          </a:solid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Tree>
    <p:extLst>
      <p:ext uri="{BB962C8B-B14F-4D97-AF65-F5344CB8AC3E}">
        <p14:creationId xmlns:p14="http://schemas.microsoft.com/office/powerpoint/2010/main" val="31379457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1"/>
                                        </p:tgtEl>
                                        <p:attrNameLst>
                                          <p:attrName>style.visibility</p:attrName>
                                        </p:attrNameLst>
                                      </p:cBhvr>
                                      <p:to>
                                        <p:strVal val="visible"/>
                                      </p:to>
                                    </p:set>
                                    <p:animEffect transition="in" filter="fade">
                                      <p:cBhvr>
                                        <p:cTn id="7" dur="500"/>
                                        <p:tgtEl>
                                          <p:spTgt spid="181"/>
                                        </p:tgtEl>
                                      </p:cBhvr>
                                    </p:animEffect>
                                  </p:childTnLst>
                                </p:cTn>
                              </p:par>
                              <p:par>
                                <p:cTn id="8" presetID="42" presetClass="path" presetSubtype="0" decel="100000" fill="hold" nodeType="withEffect">
                                  <p:stCondLst>
                                    <p:cond delay="0"/>
                                  </p:stCondLst>
                                  <p:childTnLst>
                                    <p:animMotion origin="layout" path="M -0.01718 -0.00023 L -3.95833E-6 -2.59259E-6 " pathEditMode="relative" rAng="0" ptsTypes="AA">
                                      <p:cBhvr>
                                        <p:cTn id="9" dur="500" fill="hold"/>
                                        <p:tgtEl>
                                          <p:spTgt spid="181"/>
                                        </p:tgtEl>
                                        <p:attrNameLst>
                                          <p:attrName>ppt_x</p:attrName>
                                          <p:attrName>ppt_y</p:attrName>
                                        </p:attrNameLst>
                                      </p:cBhvr>
                                      <p:rCtr x="859" y="0"/>
                                    </p:animMotion>
                                  </p:childTnLst>
                                </p:cTn>
                              </p:par>
                              <p:par>
                                <p:cTn id="10" presetID="10" presetClass="entr" presetSubtype="0" fill="hold" grpId="0" nodeType="withEffect">
                                  <p:stCondLst>
                                    <p:cond delay="0"/>
                                  </p:stCondLst>
                                  <p:childTnLst>
                                    <p:set>
                                      <p:cBhvr>
                                        <p:cTn id="11" dur="1" fill="hold">
                                          <p:stCondLst>
                                            <p:cond delay="0"/>
                                          </p:stCondLst>
                                        </p:cTn>
                                        <p:tgtEl>
                                          <p:spTgt spid="261"/>
                                        </p:tgtEl>
                                        <p:attrNameLst>
                                          <p:attrName>style.visibility</p:attrName>
                                        </p:attrNameLst>
                                      </p:cBhvr>
                                      <p:to>
                                        <p:strVal val="visible"/>
                                      </p:to>
                                    </p:set>
                                    <p:animEffect transition="in" filter="fade">
                                      <p:cBhvr>
                                        <p:cTn id="12" dur="500"/>
                                        <p:tgtEl>
                                          <p:spTgt spid="261"/>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62"/>
                                        </p:tgtEl>
                                        <p:attrNameLst>
                                          <p:attrName>style.visibility</p:attrName>
                                        </p:attrNameLst>
                                      </p:cBhvr>
                                      <p:to>
                                        <p:strVal val="visible"/>
                                      </p:to>
                                    </p:set>
                                    <p:animEffect transition="in" filter="fade">
                                      <p:cBhvr>
                                        <p:cTn id="15" dur="500"/>
                                        <p:tgtEl>
                                          <p:spTgt spid="262"/>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63"/>
                                        </p:tgtEl>
                                        <p:attrNameLst>
                                          <p:attrName>style.visibility</p:attrName>
                                        </p:attrNameLst>
                                      </p:cBhvr>
                                      <p:to>
                                        <p:strVal val="visible"/>
                                      </p:to>
                                    </p:set>
                                    <p:animEffect transition="in" filter="fade">
                                      <p:cBhvr>
                                        <p:cTn id="18" dur="500"/>
                                        <p:tgtEl>
                                          <p:spTgt spid="263"/>
                                        </p:tgtEl>
                                      </p:cBhvr>
                                    </p:animEffect>
                                  </p:childTnLst>
                                </p:cTn>
                              </p:par>
                              <p:par>
                                <p:cTn id="19" presetID="10" presetClass="entr" presetSubtype="0" fill="hold" nodeType="withEffect">
                                  <p:stCondLst>
                                    <p:cond delay="0"/>
                                  </p:stCondLst>
                                  <p:childTnLst>
                                    <p:set>
                                      <p:cBhvr>
                                        <p:cTn id="20" dur="1" fill="hold">
                                          <p:stCondLst>
                                            <p:cond delay="0"/>
                                          </p:stCondLst>
                                        </p:cTn>
                                        <p:tgtEl>
                                          <p:spTgt spid="285"/>
                                        </p:tgtEl>
                                        <p:attrNameLst>
                                          <p:attrName>style.visibility</p:attrName>
                                        </p:attrNameLst>
                                      </p:cBhvr>
                                      <p:to>
                                        <p:strVal val="visible"/>
                                      </p:to>
                                    </p:set>
                                    <p:animEffect transition="in" filter="fade">
                                      <p:cBhvr>
                                        <p:cTn id="21" dur="500"/>
                                        <p:tgtEl>
                                          <p:spTgt spid="285"/>
                                        </p:tgtEl>
                                      </p:cBhvr>
                                    </p:animEffect>
                                  </p:childTnLst>
                                </p:cTn>
                              </p:par>
                              <p:par>
                                <p:cTn id="22" presetID="42" presetClass="path" presetSubtype="0" decel="100000" fill="hold" nodeType="withEffect">
                                  <p:stCondLst>
                                    <p:cond delay="0"/>
                                  </p:stCondLst>
                                  <p:childTnLst>
                                    <p:animMotion origin="layout" path="M 1.04167E-6 0.03889 L 1.04167E-6 3.33333E-6 " pathEditMode="relative" rAng="0" ptsTypes="AA">
                                      <p:cBhvr>
                                        <p:cTn id="23" dur="500" fill="hold"/>
                                        <p:tgtEl>
                                          <p:spTgt spid="285"/>
                                        </p:tgtEl>
                                        <p:attrNameLst>
                                          <p:attrName>ppt_x</p:attrName>
                                          <p:attrName>ppt_y</p:attrName>
                                        </p:attrNameLst>
                                      </p:cBhvr>
                                      <p:rCtr x="0" y="-1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1" grpId="0"/>
      <p:bldP spid="262" grpId="0"/>
      <p:bldP spid="26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4A3A0AB-F2B6-3BC2-FEA3-604EC6A25991}"/>
              </a:ext>
            </a:extLst>
          </p:cNvPr>
          <p:cNvPicPr>
            <a:picLocks noChangeAspect="1"/>
          </p:cNvPicPr>
          <p:nvPr/>
        </p:nvPicPr>
        <p:blipFill>
          <a:blip r:embed="rId4"/>
          <a:stretch>
            <a:fillRect/>
          </a:stretch>
        </p:blipFill>
        <p:spPr>
          <a:xfrm>
            <a:off x="-19750" y="-14095"/>
            <a:ext cx="12211749" cy="6872095"/>
          </a:xfrm>
          <a:prstGeom prst="rect">
            <a:avLst/>
          </a:prstGeom>
        </p:spPr>
      </p:pic>
      <p:sp>
        <p:nvSpPr>
          <p:cNvPr id="2" name="Rectangle 1">
            <a:extLst>
              <a:ext uri="{FF2B5EF4-FFF2-40B4-BE49-F238E27FC236}">
                <a16:creationId xmlns:a16="http://schemas.microsoft.com/office/drawing/2014/main" id="{3A7AE314-37CD-8257-9458-91AB6AFD8B95}"/>
              </a:ext>
            </a:extLst>
          </p:cNvPr>
          <p:cNvSpPr/>
          <p:nvPr/>
        </p:nvSpPr>
        <p:spPr>
          <a:xfrm>
            <a:off x="0" y="0"/>
            <a:ext cx="12192000" cy="6858000"/>
          </a:xfrm>
          <a:prstGeom prst="rect">
            <a:avLst/>
          </a:prstGeom>
          <a:solidFill>
            <a:schemeClr val="bg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11">
            <a:extLst>
              <a:ext uri="{FF2B5EF4-FFF2-40B4-BE49-F238E27FC236}">
                <a16:creationId xmlns:a16="http://schemas.microsoft.com/office/drawing/2014/main" id="{57404C0B-C64B-545D-E404-303CE1E66736}"/>
              </a:ext>
            </a:extLst>
          </p:cNvPr>
          <p:cNvSpPr>
            <a:spLocks noGrp="1"/>
          </p:cNvSpPr>
          <p:nvPr>
            <p:ph type="title"/>
          </p:nvPr>
        </p:nvSpPr>
        <p:spPr>
          <a:xfrm>
            <a:off x="588263" y="457200"/>
            <a:ext cx="11018520" cy="553998"/>
          </a:xfrm>
        </p:spPr>
        <p:txBody>
          <a:bodyPr>
            <a:normAutofit fontScale="90000"/>
          </a:bodyPr>
          <a:lstStyle/>
          <a:p>
            <a:pPr algn="ctr"/>
            <a:r>
              <a:rPr lang="en-US" dirty="0">
                <a:gradFill>
                  <a:gsLst>
                    <a:gs pos="0">
                      <a:srgbClr val="0360DB"/>
                    </a:gs>
                    <a:gs pos="100000">
                      <a:srgbClr val="207EFC"/>
                    </a:gs>
                  </a:gsLst>
                  <a:path path="circle">
                    <a:fillToRect t="100000" r="100000"/>
                  </a:path>
                </a:gradFill>
              </a:rPr>
              <a:t>Enhance Conditional Access </a:t>
            </a:r>
            <a:r>
              <a:rPr lang="en-US" noProof="0" dirty="0"/>
              <a:t>with </a:t>
            </a:r>
            <a:br>
              <a:rPr lang="en-US" noProof="0" dirty="0"/>
            </a:br>
            <a:r>
              <a:rPr lang="en-US" noProof="0" dirty="0"/>
              <a:t>new conditions and controls </a:t>
            </a:r>
            <a:endParaRPr lang="en-CA" dirty="0"/>
          </a:p>
        </p:txBody>
      </p:sp>
      <p:grpSp>
        <p:nvGrpSpPr>
          <p:cNvPr id="180" name="Group 179">
            <a:extLst>
              <a:ext uri="{FF2B5EF4-FFF2-40B4-BE49-F238E27FC236}">
                <a16:creationId xmlns:a16="http://schemas.microsoft.com/office/drawing/2014/main" id="{4CB6194A-5E15-8604-1D5E-0146C12FBF06}"/>
              </a:ext>
              <a:ext uri="{C183D7F6-B498-43B3-948B-1728B52AA6E4}">
                <adec:decorative xmlns:adec="http://schemas.microsoft.com/office/drawing/2017/decorative" val="1"/>
              </a:ext>
            </a:extLst>
          </p:cNvPr>
          <p:cNvGrpSpPr/>
          <p:nvPr/>
        </p:nvGrpSpPr>
        <p:grpSpPr>
          <a:xfrm flipH="1">
            <a:off x="7440827" y="2976512"/>
            <a:ext cx="1662910" cy="2260760"/>
            <a:chOff x="2101024" y="2662299"/>
            <a:chExt cx="1709631" cy="2260760"/>
          </a:xfrm>
        </p:grpSpPr>
        <p:cxnSp>
          <p:nvCxnSpPr>
            <p:cNvPr id="181" name="Straight Connector 180">
              <a:extLst>
                <a:ext uri="{FF2B5EF4-FFF2-40B4-BE49-F238E27FC236}">
                  <a16:creationId xmlns:a16="http://schemas.microsoft.com/office/drawing/2014/main" id="{DA07BAC6-A3D7-1F78-9744-1DE06CFD153E}"/>
                </a:ext>
              </a:extLst>
            </p:cNvPr>
            <p:cNvCxnSpPr>
              <a:cxnSpLocks/>
            </p:cNvCxnSpPr>
            <p:nvPr/>
          </p:nvCxnSpPr>
          <p:spPr>
            <a:xfrm>
              <a:off x="2101024" y="3792679"/>
              <a:ext cx="1709631" cy="0"/>
            </a:xfrm>
            <a:prstGeom prst="line">
              <a:avLst/>
            </a:prstGeom>
            <a:noFill/>
            <a:ln w="12700" cap="flat">
              <a:solidFill>
                <a:srgbClr val="FFFFFF">
                  <a:lumMod val="50000"/>
                </a:srgbClr>
              </a:solidFill>
              <a:prstDash val="solid"/>
              <a:miter/>
            </a:ln>
            <a:scene3d>
              <a:camera prst="isometricOffAxis1Right">
                <a:rot lat="0" lon="0" rev="0"/>
              </a:camera>
              <a:lightRig rig="flood" dir="t"/>
            </a:scene3d>
          </p:spPr>
        </p:cxnSp>
        <p:sp>
          <p:nvSpPr>
            <p:cNvPr id="182" name="Right Bracket 181">
              <a:extLst>
                <a:ext uri="{FF2B5EF4-FFF2-40B4-BE49-F238E27FC236}">
                  <a16:creationId xmlns:a16="http://schemas.microsoft.com/office/drawing/2014/main" id="{B09D25A4-8320-622C-41FE-6046F9307973}"/>
                </a:ext>
              </a:extLst>
            </p:cNvPr>
            <p:cNvSpPr/>
            <p:nvPr/>
          </p:nvSpPr>
          <p:spPr>
            <a:xfrm>
              <a:off x="2162196" y="2662299"/>
              <a:ext cx="449487" cy="2260760"/>
            </a:xfrm>
            <a:prstGeom prst="rightBracket">
              <a:avLst>
                <a:gd name="adj" fmla="val 98747"/>
              </a:avLst>
            </a:prstGeom>
            <a:noFill/>
            <a:ln w="12700" cap="flat">
              <a:solidFill>
                <a:srgbClr val="FFFFFF">
                  <a:lumMod val="50000"/>
                </a:srgbClr>
              </a:solidFill>
              <a:prstDash val="solid"/>
              <a:miter/>
            </a:ln>
            <a:scene3d>
              <a:camera prst="isometricOffAxis1Right">
                <a:rot lat="0" lon="0" rev="0"/>
              </a:camera>
              <a:lightRig rig="flood" dir="t"/>
            </a:scene3d>
          </p:spPr>
          <p:txBody>
            <a:bodyPr rot="0" spcFirstLastPara="0" vertOverflow="overflow" horzOverflow="overflow" vert="horz" wrap="square" lIns="91440" tIns="1463040" rIns="91440" bIns="9144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600"/>
                </a:spcBef>
                <a:spcAft>
                  <a:spcPts val="600"/>
                </a:spcAft>
                <a:buClrTx/>
                <a:buSzTx/>
                <a:buFontTx/>
                <a:buNone/>
                <a:tabLst/>
                <a:defRPr/>
              </a:pPr>
              <a:endParaRPr kumimoji="0" lang="en-US" sz="1765" b="0" i="0" u="none" strike="noStrike" kern="0" cap="none" spc="0" normalizeH="0" baseline="0" noProof="0">
                <a:ln>
                  <a:noFill/>
                </a:ln>
                <a:gradFill>
                  <a:gsLst>
                    <a:gs pos="0">
                      <a:srgbClr val="000000"/>
                    </a:gs>
                    <a:gs pos="100000">
                      <a:srgbClr val="000000"/>
                    </a:gs>
                  </a:gsLst>
                  <a:lin ang="5400000" scaled="1"/>
                </a:gradFill>
                <a:effectLst/>
                <a:uLnTx/>
                <a:uFillTx/>
                <a:latin typeface="Segoe Sans Display Semibold"/>
                <a:ea typeface="+mn-ea"/>
                <a:cs typeface="+mn-cs"/>
              </a:endParaRPr>
            </a:p>
          </p:txBody>
        </p:sp>
      </p:grpSp>
      <p:grpSp>
        <p:nvGrpSpPr>
          <p:cNvPr id="183" name="Group 182">
            <a:extLst>
              <a:ext uri="{FF2B5EF4-FFF2-40B4-BE49-F238E27FC236}">
                <a16:creationId xmlns:a16="http://schemas.microsoft.com/office/drawing/2014/main" id="{D5234901-2515-EF32-2EBD-E7EAFA0FE949}"/>
              </a:ext>
              <a:ext uri="{C183D7F6-B498-43B3-948B-1728B52AA6E4}">
                <adec:decorative xmlns:adec="http://schemas.microsoft.com/office/drawing/2017/decorative" val="1"/>
              </a:ext>
            </a:extLst>
          </p:cNvPr>
          <p:cNvGrpSpPr/>
          <p:nvPr/>
        </p:nvGrpSpPr>
        <p:grpSpPr>
          <a:xfrm>
            <a:off x="3569862" y="2342186"/>
            <a:ext cx="3892326" cy="3529413"/>
            <a:chOff x="4325001" y="2262292"/>
            <a:chExt cx="3892326" cy="3529413"/>
          </a:xfrm>
        </p:grpSpPr>
        <p:sp>
          <p:nvSpPr>
            <p:cNvPr id="184" name="Oval 392">
              <a:extLst>
                <a:ext uri="{FF2B5EF4-FFF2-40B4-BE49-F238E27FC236}">
                  <a16:creationId xmlns:a16="http://schemas.microsoft.com/office/drawing/2014/main" id="{BC9423E9-3B4C-8494-8F2E-6E66042C6028}"/>
                </a:ext>
                <a:ext uri="{C183D7F6-B498-43B3-948B-1728B52AA6E4}">
                  <adec:decorative xmlns:adec="http://schemas.microsoft.com/office/drawing/2017/decorative" val="1"/>
                </a:ext>
              </a:extLst>
            </p:cNvPr>
            <p:cNvSpPr>
              <a:spLocks noChangeAspect="1"/>
            </p:cNvSpPr>
            <p:nvPr/>
          </p:nvSpPr>
          <p:spPr bwMode="auto">
            <a:xfrm>
              <a:off x="4390247" y="2324214"/>
              <a:ext cx="3827080" cy="3383280"/>
            </a:xfrm>
            <a:prstGeom prst="roundRect">
              <a:avLst>
                <a:gd name="adj" fmla="val 50000"/>
              </a:avLst>
            </a:prstGeom>
            <a:solidFill>
              <a:srgbClr val="FFFFFF"/>
            </a:solidFill>
            <a:ln w="9525" cap="flat" cmpd="sng" algn="ctr">
              <a:noFill/>
              <a:prstDash val="solid"/>
              <a:headEnd type="none" w="med" len="med"/>
              <a:tailEnd type="none" w="med" len="med"/>
            </a:ln>
            <a:effectLst>
              <a:innerShdw blurRad="508000" dist="63500" dir="16200000">
                <a:srgbClr val="B1B3B3">
                  <a:alpha val="25000"/>
                </a:srgbClr>
              </a:inn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Display"/>
                <a:ea typeface="+mn-ea"/>
                <a:cs typeface="Segoe UI" pitchFamily="34" charset="0"/>
              </a:endParaRPr>
            </a:p>
          </p:txBody>
        </p:sp>
        <p:sp>
          <p:nvSpPr>
            <p:cNvPr id="185" name="TextBox 184">
              <a:extLst>
                <a:ext uri="{FF2B5EF4-FFF2-40B4-BE49-F238E27FC236}">
                  <a16:creationId xmlns:a16="http://schemas.microsoft.com/office/drawing/2014/main" id="{DB9F6209-BF7D-25DA-AF97-B0D9F685E751}"/>
                </a:ext>
                <a:ext uri="{C183D7F6-B498-43B3-948B-1728B52AA6E4}">
                  <adec:decorative xmlns:adec="http://schemas.microsoft.com/office/drawing/2017/decorative" val="1"/>
                </a:ext>
              </a:extLst>
            </p:cNvPr>
            <p:cNvSpPr txBox="1">
              <a:spLocks/>
            </p:cNvSpPr>
            <p:nvPr/>
          </p:nvSpPr>
          <p:spPr>
            <a:xfrm rot="5400000">
              <a:off x="4358053" y="2229240"/>
              <a:ext cx="3529413" cy="3595517"/>
            </a:xfrm>
            <a:prstGeom prst="rect">
              <a:avLst/>
            </a:prstGeom>
            <a:noFill/>
          </p:spPr>
          <p:txBody>
            <a:bodyPr spcFirstLastPara="1" wrap="square" numCol="1">
              <a:prstTxWarp prst="textArchUp">
                <a:avLst/>
              </a:prstTxWarp>
              <a:spAutoFit/>
            </a:bodyPr>
            <a:lstStyle>
              <a:defPPr>
                <a:defRPr lang="en-US"/>
              </a:defPPr>
              <a:lvl1pPr lvl="0" algn="ctr" defTabSz="922530">
                <a:spcAft>
                  <a:spcPts val="606"/>
                </a:spcAft>
                <a:defRPr sz="1600">
                  <a:gradFill>
                    <a:gsLst>
                      <a:gs pos="8621">
                        <a:srgbClr val="FFFFFF"/>
                      </a:gs>
                      <a:gs pos="20225">
                        <a:srgbClr val="FFFFFF"/>
                      </a:gs>
                    </a:gsLst>
                    <a:lin ang="5400000" scaled="1"/>
                  </a:gradFill>
                  <a:latin typeface="Segoe UI Semibold"/>
                </a:defRPr>
              </a:lvl1pPr>
            </a:lstStyle>
            <a:p>
              <a:pPr marL="0" marR="0" lvl="0" indent="0" algn="ctr" defTabSz="922530" rtl="0" eaLnBrk="1" fontAlgn="auto" latinLnBrk="0" hangingPunct="1">
                <a:lnSpc>
                  <a:spcPct val="100000"/>
                </a:lnSpc>
                <a:spcBef>
                  <a:spcPts val="0"/>
                </a:spcBef>
                <a:spcAft>
                  <a:spcPts val="606"/>
                </a:spcAft>
                <a:buClrTx/>
                <a:buSzTx/>
                <a:buFontTx/>
                <a:buNone/>
                <a:tabLst/>
                <a:defRPr/>
              </a:pPr>
              <a:r>
                <a:rPr kumimoji="0" lang="en-US" sz="1400" b="0" i="0" u="none" strike="noStrike" kern="0" cap="none" spc="0" normalizeH="0" baseline="0" noProof="0">
                  <a:ln>
                    <a:noFill/>
                  </a:ln>
                  <a:solidFill>
                    <a:srgbClr val="091F2C"/>
                  </a:solidFill>
                  <a:effectLst/>
                  <a:uLnTx/>
                  <a:uFillTx/>
                  <a:latin typeface="Segoe Sans Display Semibold"/>
                  <a:ea typeface="+mn-ea"/>
                  <a:cs typeface="+mn-cs"/>
                </a:rPr>
                <a:t>Security Service Edge</a:t>
              </a:r>
            </a:p>
          </p:txBody>
        </p:sp>
      </p:grpSp>
      <p:grpSp>
        <p:nvGrpSpPr>
          <p:cNvPr id="186" name="Group 185">
            <a:extLst>
              <a:ext uri="{FF2B5EF4-FFF2-40B4-BE49-F238E27FC236}">
                <a16:creationId xmlns:a16="http://schemas.microsoft.com/office/drawing/2014/main" id="{B92689E4-B09F-19A9-CCB6-6491147B11C6}"/>
              </a:ext>
              <a:ext uri="{C183D7F6-B498-43B3-948B-1728B52AA6E4}">
                <adec:decorative xmlns:adec="http://schemas.microsoft.com/office/drawing/2017/decorative" val="1"/>
              </a:ext>
            </a:extLst>
          </p:cNvPr>
          <p:cNvGrpSpPr/>
          <p:nvPr/>
        </p:nvGrpSpPr>
        <p:grpSpPr>
          <a:xfrm>
            <a:off x="3558412" y="2269428"/>
            <a:ext cx="3383280" cy="3749040"/>
            <a:chOff x="4404359" y="2415325"/>
            <a:chExt cx="3383283" cy="3808814"/>
          </a:xfrm>
        </p:grpSpPr>
        <p:grpSp>
          <p:nvGrpSpPr>
            <p:cNvPr id="187" name="Group 186">
              <a:extLst>
                <a:ext uri="{FF2B5EF4-FFF2-40B4-BE49-F238E27FC236}">
                  <a16:creationId xmlns:a16="http://schemas.microsoft.com/office/drawing/2014/main" id="{968C654C-8F0C-7B18-1F86-C6974513018A}"/>
                </a:ext>
              </a:extLst>
            </p:cNvPr>
            <p:cNvGrpSpPr/>
            <p:nvPr/>
          </p:nvGrpSpPr>
          <p:grpSpPr>
            <a:xfrm>
              <a:off x="4404359" y="2563654"/>
              <a:ext cx="3383281" cy="3410470"/>
              <a:chOff x="4404359" y="2099614"/>
              <a:chExt cx="3383281" cy="3410470"/>
            </a:xfrm>
          </p:grpSpPr>
          <p:sp>
            <p:nvSpPr>
              <p:cNvPr id="208" name="Oval 207">
                <a:extLst>
                  <a:ext uri="{FF2B5EF4-FFF2-40B4-BE49-F238E27FC236}">
                    <a16:creationId xmlns:a16="http://schemas.microsoft.com/office/drawing/2014/main" id="{8F0CC83F-88D9-9942-A321-E942670DC5FB}"/>
                  </a:ext>
                </a:extLst>
              </p:cNvPr>
              <p:cNvSpPr/>
              <p:nvPr/>
            </p:nvSpPr>
            <p:spPr bwMode="auto">
              <a:xfrm flipV="1">
                <a:off x="4404360" y="2126804"/>
                <a:ext cx="3383280" cy="3383280"/>
              </a:xfrm>
              <a:prstGeom prst="ellipse">
                <a:avLst/>
              </a:prstGeom>
              <a:noFill/>
              <a:ln w="9525" cap="flat" cmpd="sng" algn="ctr">
                <a:noFill/>
                <a:prstDash val="solid"/>
                <a:headEnd type="none" w="med" len="med"/>
                <a:tailEnd type="none" w="med" len="med"/>
              </a:ln>
              <a:effectLst>
                <a:innerShdw blurRad="114300" dist="63500" dir="13500000">
                  <a:srgbClr val="000000">
                    <a:alpha val="60000"/>
                  </a:srgbClr>
                </a:inn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grpSp>
            <p:nvGrpSpPr>
              <p:cNvPr id="209" name="Group 208">
                <a:extLst>
                  <a:ext uri="{FF2B5EF4-FFF2-40B4-BE49-F238E27FC236}">
                    <a16:creationId xmlns:a16="http://schemas.microsoft.com/office/drawing/2014/main" id="{88D15799-CD94-181D-36C5-3749F57A0D12}"/>
                  </a:ext>
                  <a:ext uri="{C183D7F6-B498-43B3-948B-1728B52AA6E4}">
                    <adec:decorative xmlns:adec="http://schemas.microsoft.com/office/drawing/2017/decorative" val="1"/>
                  </a:ext>
                </a:extLst>
              </p:cNvPr>
              <p:cNvGrpSpPr/>
              <p:nvPr/>
            </p:nvGrpSpPr>
            <p:grpSpPr>
              <a:xfrm>
                <a:off x="4404359" y="2099614"/>
                <a:ext cx="3383281" cy="3383280"/>
                <a:chOff x="4167293" y="1859050"/>
                <a:chExt cx="2107934" cy="2107933"/>
              </a:xfrm>
            </p:grpSpPr>
            <p:sp>
              <p:nvSpPr>
                <p:cNvPr id="210" name="Block Arc 209">
                  <a:extLst>
                    <a:ext uri="{FF2B5EF4-FFF2-40B4-BE49-F238E27FC236}">
                      <a16:creationId xmlns:a16="http://schemas.microsoft.com/office/drawing/2014/main" id="{0D964B59-1AEB-788C-FB8F-1475493848AF}"/>
                    </a:ext>
                  </a:extLst>
                </p:cNvPr>
                <p:cNvSpPr/>
                <p:nvPr/>
              </p:nvSpPr>
              <p:spPr bwMode="auto">
                <a:xfrm rot="16200000" flipV="1">
                  <a:off x="4167294" y="1859050"/>
                  <a:ext cx="2107933" cy="2107933"/>
                </a:xfrm>
                <a:prstGeom prst="blockArc">
                  <a:avLst>
                    <a:gd name="adj1" fmla="val 16214270"/>
                    <a:gd name="adj2" fmla="val 5426204"/>
                    <a:gd name="adj3" fmla="val 13240"/>
                  </a:avLst>
                </a:prstGeom>
                <a:gradFill flip="none" rotWithShape="1">
                  <a:gsLst>
                    <a:gs pos="66000">
                      <a:srgbClr val="A5B8EE">
                        <a:alpha val="50000"/>
                      </a:srgbClr>
                    </a:gs>
                    <a:gs pos="6000">
                      <a:srgbClr val="FFFFFF"/>
                    </a:gs>
                    <a:gs pos="100000">
                      <a:srgbClr val="599FFD">
                        <a:alpha val="80000"/>
                      </a:srgbClr>
                    </a:gs>
                  </a:gsLst>
                  <a:lin ang="0" scaled="0"/>
                  <a:tileRect/>
                </a:gradFill>
                <a:ln w="9525" cap="flat" cmpd="sng" algn="ctr">
                  <a:noFill/>
                  <a:prstDash val="solid"/>
                  <a:headEnd type="none" w="med" len="med"/>
                  <a:tailEnd type="none" w="med" len="med"/>
                </a:ln>
                <a:effectLst>
                  <a:innerShdw blurRad="114300" dist="63500" dir="13500000">
                    <a:srgbClr val="FFFFFF">
                      <a:alpha val="45000"/>
                    </a:srgbClr>
                  </a:inn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1" name="Arc 210">
                  <a:extLst>
                    <a:ext uri="{FF2B5EF4-FFF2-40B4-BE49-F238E27FC236}">
                      <a16:creationId xmlns:a16="http://schemas.microsoft.com/office/drawing/2014/main" id="{273CD1D2-5633-BC39-E6B1-F742C730E362}"/>
                    </a:ext>
                  </a:extLst>
                </p:cNvPr>
                <p:cNvSpPr/>
                <p:nvPr/>
              </p:nvSpPr>
              <p:spPr bwMode="auto">
                <a:xfrm>
                  <a:off x="4167293" y="1859050"/>
                  <a:ext cx="2107933" cy="2107933"/>
                </a:xfrm>
                <a:prstGeom prst="arc">
                  <a:avLst>
                    <a:gd name="adj1" fmla="val 10835151"/>
                    <a:gd name="adj2" fmla="val 21581104"/>
                  </a:avLst>
                </a:prstGeom>
                <a:noFill/>
                <a:ln w="15875" cap="flat" cmpd="sng" algn="ctr">
                  <a:gradFill flip="none" rotWithShape="1">
                    <a:gsLst>
                      <a:gs pos="100000">
                        <a:srgbClr val="FFFFFF"/>
                      </a:gs>
                      <a:gs pos="0">
                        <a:srgbClr val="599FFD"/>
                      </a:gs>
                      <a:gs pos="29000">
                        <a:srgbClr val="A5B8EE"/>
                      </a:gs>
                    </a:gsLst>
                    <a:path path="circle">
                      <a:fillToRect l="50000" t="50000" r="50000" b="50000"/>
                    </a:path>
                    <a:tileRect/>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Sans Display"/>
                    <a:ea typeface="+mn-ea"/>
                    <a:cs typeface="Segoe UI" pitchFamily="34" charset="0"/>
                  </a:endParaRPr>
                </a:p>
              </p:txBody>
            </p:sp>
          </p:grpSp>
        </p:grpSp>
        <p:grpSp>
          <p:nvGrpSpPr>
            <p:cNvPr id="188" name="Group 187">
              <a:extLst>
                <a:ext uri="{FF2B5EF4-FFF2-40B4-BE49-F238E27FC236}">
                  <a16:creationId xmlns:a16="http://schemas.microsoft.com/office/drawing/2014/main" id="{FCF246EA-CA56-86B9-64CF-98BC448E6C7B}"/>
                </a:ext>
              </a:extLst>
            </p:cNvPr>
            <p:cNvGrpSpPr/>
            <p:nvPr/>
          </p:nvGrpSpPr>
          <p:grpSpPr>
            <a:xfrm>
              <a:off x="4997936" y="3155463"/>
              <a:ext cx="2196125" cy="2196125"/>
              <a:chOff x="4724400" y="2881925"/>
              <a:chExt cx="2743201" cy="2743200"/>
            </a:xfrm>
          </p:grpSpPr>
          <p:grpSp>
            <p:nvGrpSpPr>
              <p:cNvPr id="196" name="Group 195">
                <a:extLst>
                  <a:ext uri="{FF2B5EF4-FFF2-40B4-BE49-F238E27FC236}">
                    <a16:creationId xmlns:a16="http://schemas.microsoft.com/office/drawing/2014/main" id="{67B3ED32-E1B6-862F-0D18-1ABD1C7E5BED}"/>
                  </a:ext>
                </a:extLst>
              </p:cNvPr>
              <p:cNvGrpSpPr/>
              <p:nvPr/>
            </p:nvGrpSpPr>
            <p:grpSpPr>
              <a:xfrm>
                <a:off x="4724400" y="2881925"/>
                <a:ext cx="2743201" cy="2743200"/>
                <a:chOff x="3056353" y="2009587"/>
                <a:chExt cx="3200401" cy="3200400"/>
              </a:xfrm>
            </p:grpSpPr>
            <p:sp>
              <p:nvSpPr>
                <p:cNvPr id="206" name="Oval 205">
                  <a:extLst>
                    <a:ext uri="{FF2B5EF4-FFF2-40B4-BE49-F238E27FC236}">
                      <a16:creationId xmlns:a16="http://schemas.microsoft.com/office/drawing/2014/main" id="{426FD534-9F92-6CE4-8DE3-2B9AB020C8D7}"/>
                    </a:ext>
                    <a:ext uri="{C183D7F6-B498-43B3-948B-1728B52AA6E4}">
                      <adec:decorative xmlns:adec="http://schemas.microsoft.com/office/drawing/2017/decorative" val="1"/>
                    </a:ext>
                  </a:extLst>
                </p:cNvPr>
                <p:cNvSpPr/>
                <p:nvPr/>
              </p:nvSpPr>
              <p:spPr bwMode="auto">
                <a:xfrm flipH="1">
                  <a:off x="3056353" y="2009587"/>
                  <a:ext cx="3200400" cy="3200400"/>
                </a:xfrm>
                <a:prstGeom prst="ellipse">
                  <a:avLst/>
                </a:prstGeom>
                <a:solidFill>
                  <a:srgbClr val="FFFFFF"/>
                </a:solidFill>
                <a:ln w="9525" cap="flat" cmpd="sng" algn="ctr">
                  <a:noFill/>
                  <a:prstDash val="solid"/>
                  <a:headEnd type="none" w="med" len="med"/>
                  <a:tailEnd type="none" w="med" len="med"/>
                </a:ln>
                <a:effectLst>
                  <a:outerShdw blurRad="254000" dist="190500" dir="3300000" algn="ctr" rotWithShape="0">
                    <a:srgbClr val="000000">
                      <a:alpha val="40000"/>
                    </a:srgbClr>
                  </a:outerShdw>
                </a:effectLst>
              </p:spPr>
              <p:txBody>
                <a:bodyPr rot="0" spcFirstLastPara="0" vertOverflow="overflow" horzOverflow="overflow" vert="horz" wrap="square" lIns="137160" tIns="91440" rIns="137160" bIns="137160" numCol="1" spcCol="0" rtlCol="0" fromWordArt="0" anchor="t" anchorCtr="0" forceAA="0" compatLnSpc="1">
                  <a:prstTxWarp prst="textNoShape">
                    <a:avLst/>
                  </a:prstTxWarp>
                  <a:noAutofit/>
                </a:bodyPr>
                <a:lstStyle/>
                <a:p>
                  <a:pPr marL="0" marR="0" lvl="0" indent="0" algn="l" defTabSz="932754" rtl="0" eaLnBrk="1" fontAlgn="auto" latinLnBrk="0" hangingPunct="1">
                    <a:lnSpc>
                      <a:spcPct val="100000"/>
                    </a:lnSpc>
                    <a:spcBef>
                      <a:spcPts val="0"/>
                    </a:spcBef>
                    <a:spcAft>
                      <a:spcPts val="600"/>
                    </a:spcAft>
                    <a:buClrTx/>
                    <a:buSzPct val="90000"/>
                    <a:buFontTx/>
                    <a:buNone/>
                    <a:tabLst/>
                    <a:defRPr/>
                  </a:pPr>
                  <a:endParaRPr kumimoji="0" lang="en-US" sz="1400" b="0" i="0" u="none" strike="noStrike" kern="0" cap="none" spc="0" normalizeH="0" baseline="0" noProof="0">
                    <a:ln>
                      <a:noFill/>
                    </a:ln>
                    <a:gradFill>
                      <a:gsLst>
                        <a:gs pos="0">
                          <a:srgbClr val="091F2C"/>
                        </a:gs>
                        <a:gs pos="100000">
                          <a:srgbClr val="091F2C"/>
                        </a:gs>
                      </a:gsLst>
                      <a:lin ang="0" scaled="0"/>
                    </a:gradFill>
                    <a:effectLst/>
                    <a:uLnTx/>
                    <a:uFillTx/>
                    <a:latin typeface="Segoe Sans Display"/>
                    <a:ea typeface="+mn-ea"/>
                    <a:cs typeface="Segoe Sans Display Semilight" pitchFamily="2" charset="0"/>
                  </a:endParaRPr>
                </a:p>
              </p:txBody>
            </p:sp>
            <p:sp>
              <p:nvSpPr>
                <p:cNvPr id="207" name="Oval 206">
                  <a:extLst>
                    <a:ext uri="{FF2B5EF4-FFF2-40B4-BE49-F238E27FC236}">
                      <a16:creationId xmlns:a16="http://schemas.microsoft.com/office/drawing/2014/main" id="{A15D1E54-A33A-14EA-B400-71FC778733D8}"/>
                    </a:ext>
                    <a:ext uri="{C183D7F6-B498-43B3-948B-1728B52AA6E4}">
                      <adec:decorative xmlns:adec="http://schemas.microsoft.com/office/drawing/2017/decorative" val="1"/>
                    </a:ext>
                  </a:extLst>
                </p:cNvPr>
                <p:cNvSpPr/>
                <p:nvPr/>
              </p:nvSpPr>
              <p:spPr bwMode="auto">
                <a:xfrm flipH="1">
                  <a:off x="3056354" y="2009587"/>
                  <a:ext cx="3200400" cy="3200400"/>
                </a:xfrm>
                <a:prstGeom prst="ellipse">
                  <a:avLst/>
                </a:prstGeom>
                <a:gradFill>
                  <a:gsLst>
                    <a:gs pos="66000">
                      <a:srgbClr val="A5B8EE">
                        <a:alpha val="50000"/>
                      </a:srgbClr>
                    </a:gs>
                    <a:gs pos="6000">
                      <a:srgbClr val="FADC14">
                        <a:alpha val="48000"/>
                      </a:srgbClr>
                    </a:gs>
                    <a:gs pos="100000">
                      <a:srgbClr val="599FFD">
                        <a:alpha val="50000"/>
                      </a:srgbClr>
                    </a:gs>
                  </a:gsLst>
                  <a:lin ang="0" scaled="0"/>
                </a:gradFill>
                <a:ln w="6350" cap="flat" cmpd="sng" algn="ctr">
                  <a:noFill/>
                  <a:prstDash val="solid"/>
                  <a:headEnd type="none" w="med" len="med"/>
                  <a:tailEnd type="none" w="med" len="med"/>
                </a:ln>
                <a:effectLst>
                  <a:innerShdw blurRad="1270000" dist="508000" dir="18600000">
                    <a:srgbClr val="56AEF9">
                      <a:alpha val="20000"/>
                    </a:srgbClr>
                  </a:innerShdw>
                </a:effectLst>
              </p:spPr>
              <p:txBody>
                <a:bodyPr rot="0" spcFirstLastPara="0" vertOverflow="overflow" horzOverflow="overflow" vert="horz" wrap="square" lIns="182880" tIns="1737360" rIns="182880" bIns="548640" numCol="1" spcCol="0" rtlCol="0" fromWordArt="0" anchor="ctr" anchorCtr="0" forceAA="0" compatLnSpc="1">
                  <a:prstTxWarp prst="textNoShape">
                    <a:avLst/>
                  </a:prstTxWarp>
                  <a:noAutofit/>
                </a:bodyPr>
                <a:lstStyle/>
                <a:p>
                  <a:pPr marL="0" marR="0" lvl="0" indent="0" algn="ctr" defTabSz="1403951" rtl="0" eaLnBrk="1" fontAlgn="base" latinLnBrk="0" hangingPunct="1">
                    <a:lnSpc>
                      <a:spcPct val="100000"/>
                    </a:lnSpc>
                    <a:spcBef>
                      <a:spcPct val="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Sans Display"/>
                    <a:ea typeface="+mn-ea"/>
                    <a:cs typeface="Segoe UI Semibold"/>
                  </a:endParaRPr>
                </a:p>
              </p:txBody>
            </p:sp>
          </p:grpSp>
          <p:grpSp>
            <p:nvGrpSpPr>
              <p:cNvPr id="197" name="Group 196">
                <a:extLst>
                  <a:ext uri="{FF2B5EF4-FFF2-40B4-BE49-F238E27FC236}">
                    <a16:creationId xmlns:a16="http://schemas.microsoft.com/office/drawing/2014/main" id="{07775EBA-D66D-FAEE-417B-299DCDF4B55A}"/>
                  </a:ext>
                </a:extLst>
              </p:cNvPr>
              <p:cNvGrpSpPr/>
              <p:nvPr/>
            </p:nvGrpSpPr>
            <p:grpSpPr>
              <a:xfrm>
                <a:off x="4822197" y="3036605"/>
                <a:ext cx="2567854" cy="2459653"/>
                <a:chOff x="4846945" y="2829771"/>
                <a:chExt cx="2567854" cy="2459653"/>
              </a:xfrm>
            </p:grpSpPr>
            <p:sp>
              <p:nvSpPr>
                <p:cNvPr id="198" name="TextBox 197">
                  <a:extLst>
                    <a:ext uri="{FF2B5EF4-FFF2-40B4-BE49-F238E27FC236}">
                      <a16:creationId xmlns:a16="http://schemas.microsoft.com/office/drawing/2014/main" id="{6735585C-F3D2-C806-8985-81FA31F820E1}"/>
                    </a:ext>
                    <a:ext uri="{C183D7F6-B498-43B3-948B-1728B52AA6E4}">
                      <adec:decorative xmlns:adec="http://schemas.microsoft.com/office/drawing/2017/decorative" val="1"/>
                    </a:ext>
                  </a:extLst>
                </p:cNvPr>
                <p:cNvSpPr txBox="1"/>
                <p:nvPr/>
              </p:nvSpPr>
              <p:spPr>
                <a:xfrm>
                  <a:off x="4846945" y="3838017"/>
                  <a:ext cx="594474" cy="398602"/>
                </a:xfrm>
                <a:prstGeom prst="rect">
                  <a:avLst/>
                </a:prstGeom>
              </p:spPr>
              <p:txBody>
                <a:bodyPr wrap="none" lIns="36000" tIns="36000" rIns="36000" bIns="36000">
                  <a:spAutoFit/>
                </a:bodyPr>
                <a:lstStyle>
                  <a:defPPr>
                    <a:defRPr lang="en-US"/>
                  </a:defPPr>
                  <a:lvl1pPr marR="0" lvl="0" indent="0" algn="ctr" defTabSz="790704" fontAlgn="auto">
                    <a:lnSpc>
                      <a:spcPct val="90000"/>
                    </a:lnSpc>
                    <a:spcBef>
                      <a:spcPts val="0"/>
                    </a:spcBef>
                    <a:spcAft>
                      <a:spcPts val="0"/>
                    </a:spcAft>
                    <a:buClrTx/>
                    <a:buSzTx/>
                    <a:buFontTx/>
                    <a:buNone/>
                    <a:tabLst/>
                    <a:defRPr sz="1400">
                      <a:gradFill>
                        <a:gsLst>
                          <a:gs pos="8621">
                            <a:srgbClr val="FFFFFF"/>
                          </a:gs>
                          <a:gs pos="20225">
                            <a:srgbClr val="FFFFFF"/>
                          </a:gs>
                        </a:gsLst>
                        <a:lin ang="5400000" scaled="1"/>
                      </a:gradFill>
                      <a:latin typeface="Segoe UI"/>
                    </a:defRPr>
                  </a:lvl1pPr>
                </a:lstStyle>
                <a:p>
                  <a:pPr marL="0" marR="0" lvl="0" indent="0" algn="ctr" defTabSz="790704" rtl="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Sans Display Semibold"/>
                      <a:ea typeface="+mn-ea"/>
                      <a:cs typeface="+mn-cs"/>
                    </a:rPr>
                    <a:t>Unified </a:t>
                  </a:r>
                  <a:br>
                    <a:rPr kumimoji="0" lang="en-US" sz="1000" b="0" i="0" u="none" strike="noStrike" kern="0" cap="none" spc="0" normalizeH="0" baseline="0" noProof="0">
                      <a:ln>
                        <a:noFill/>
                      </a:ln>
                      <a:solidFill>
                        <a:srgbClr val="000000"/>
                      </a:solidFill>
                      <a:effectLst/>
                      <a:uLnTx/>
                      <a:uFillTx/>
                      <a:latin typeface="Segoe Sans Display Semibold"/>
                      <a:ea typeface="+mn-ea"/>
                      <a:cs typeface="+mn-cs"/>
                    </a:rPr>
                  </a:br>
                  <a:r>
                    <a:rPr kumimoji="0" lang="en-US" sz="1000" b="0" i="0" u="none" strike="noStrike" kern="0" cap="none" spc="0" normalizeH="0" baseline="0" noProof="0">
                      <a:ln>
                        <a:noFill/>
                      </a:ln>
                      <a:solidFill>
                        <a:srgbClr val="000000"/>
                      </a:solidFill>
                      <a:effectLst/>
                      <a:uLnTx/>
                      <a:uFillTx/>
                      <a:latin typeface="Segoe Sans Display Semibold"/>
                      <a:ea typeface="+mn-ea"/>
                      <a:cs typeface="+mn-cs"/>
                    </a:rPr>
                    <a:t>policies</a:t>
                  </a:r>
                </a:p>
              </p:txBody>
            </p:sp>
            <p:sp>
              <p:nvSpPr>
                <p:cNvPr id="199" name="Arc 198">
                  <a:extLst>
                    <a:ext uri="{FF2B5EF4-FFF2-40B4-BE49-F238E27FC236}">
                      <a16:creationId xmlns:a16="http://schemas.microsoft.com/office/drawing/2014/main" id="{1738AA35-DE3D-3CB4-5D51-D43B42F41B4A}"/>
                    </a:ext>
                    <a:ext uri="{C183D7F6-B498-43B3-948B-1728B52AA6E4}">
                      <adec:decorative xmlns:adec="http://schemas.microsoft.com/office/drawing/2017/decorative" val="1"/>
                    </a:ext>
                  </a:extLst>
                </p:cNvPr>
                <p:cNvSpPr>
                  <a:spLocks noChangeAspect="1"/>
                </p:cNvSpPr>
                <p:nvPr/>
              </p:nvSpPr>
              <p:spPr>
                <a:xfrm>
                  <a:off x="4942510" y="2843467"/>
                  <a:ext cx="2297786" cy="2297780"/>
                </a:xfrm>
                <a:prstGeom prst="arc">
                  <a:avLst>
                    <a:gd name="adj1" fmla="val 1325407"/>
                    <a:gd name="adj2" fmla="val 3919548"/>
                  </a:avLst>
                </a:prstGeom>
                <a:noFill/>
                <a:ln w="19050" cap="flat" cmpd="sng" algn="ctr">
                  <a:solidFill>
                    <a:srgbClr val="000000"/>
                  </a:solidFill>
                  <a:prstDash val="solid"/>
                  <a:headEnd type="arrow" w="lg" len="med"/>
                  <a:tailEnd type="none" w="lg" len="med"/>
                </a:ln>
                <a:effectLst/>
              </p:spPr>
              <p:txBody>
                <a:bodyPr rtlCol="0" anchor="ctr"/>
                <a:lstStyle/>
                <a:p>
                  <a:pPr marL="0" marR="0" lvl="0" indent="0" algn="ctr" defTabSz="798316"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353535"/>
                    </a:solidFill>
                    <a:effectLst/>
                    <a:uLnTx/>
                    <a:uFillTx/>
                    <a:latin typeface="Segoe Sans Display Semibold"/>
                    <a:ea typeface="+mn-ea"/>
                    <a:cs typeface="+mn-cs"/>
                  </a:endParaRPr>
                </a:p>
              </p:txBody>
            </p:sp>
            <p:sp>
              <p:nvSpPr>
                <p:cNvPr id="200" name="TextBox 199">
                  <a:extLst>
                    <a:ext uri="{FF2B5EF4-FFF2-40B4-BE49-F238E27FC236}">
                      <a16:creationId xmlns:a16="http://schemas.microsoft.com/office/drawing/2014/main" id="{E7DE96ED-49B9-0FA7-F0E8-77114E92A014}"/>
                    </a:ext>
                    <a:ext uri="{C183D7F6-B498-43B3-948B-1728B52AA6E4}">
                      <adec:decorative xmlns:adec="http://schemas.microsoft.com/office/drawing/2017/decorative" val="1"/>
                    </a:ext>
                  </a:extLst>
                </p:cNvPr>
                <p:cNvSpPr txBox="1"/>
                <p:nvPr/>
              </p:nvSpPr>
              <p:spPr>
                <a:xfrm>
                  <a:off x="5743857" y="4838419"/>
                  <a:ext cx="698623" cy="398602"/>
                </a:xfrm>
                <a:prstGeom prst="rect">
                  <a:avLst/>
                </a:prstGeom>
              </p:spPr>
              <p:txBody>
                <a:bodyPr wrap="none" lIns="36000" tIns="36000" rIns="36000" bIns="36000">
                  <a:spAutoFit/>
                </a:bodyPr>
                <a:lstStyle>
                  <a:defPPr>
                    <a:defRPr lang="en-US"/>
                  </a:defPPr>
                  <a:lvl1pPr marR="0" lvl="0" indent="0" algn="ctr" defTabSz="790704" fontAlgn="auto">
                    <a:lnSpc>
                      <a:spcPct val="90000"/>
                    </a:lnSpc>
                    <a:spcBef>
                      <a:spcPts val="0"/>
                    </a:spcBef>
                    <a:spcAft>
                      <a:spcPts val="0"/>
                    </a:spcAft>
                    <a:buClrTx/>
                    <a:buSzTx/>
                    <a:buFontTx/>
                    <a:buNone/>
                    <a:tabLst/>
                    <a:defRPr sz="1400">
                      <a:gradFill>
                        <a:gsLst>
                          <a:gs pos="8621">
                            <a:srgbClr val="FFFFFF"/>
                          </a:gs>
                          <a:gs pos="20225">
                            <a:srgbClr val="FFFFFF"/>
                          </a:gs>
                        </a:gsLst>
                        <a:lin ang="5400000" scaled="1"/>
                      </a:gradFill>
                      <a:latin typeface="Segoe UI"/>
                    </a:defRPr>
                  </a:lvl1pPr>
                </a:lstStyle>
                <a:p>
                  <a:pPr marL="0" marR="0" lvl="0" indent="0" algn="ctr" defTabSz="790704" rtl="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Sans Display Semibold"/>
                      <a:ea typeface="+mn-ea"/>
                      <a:cs typeface="+mn-cs"/>
                    </a:rPr>
                    <a:t>Effective </a:t>
                  </a:r>
                  <a:br>
                    <a:rPr kumimoji="0" lang="en-US" sz="1000" b="0" i="0" u="none" strike="noStrike" kern="0" cap="none" spc="0" normalizeH="0" baseline="0" noProof="0">
                      <a:ln>
                        <a:noFill/>
                      </a:ln>
                      <a:solidFill>
                        <a:srgbClr val="000000"/>
                      </a:solidFill>
                      <a:effectLst/>
                      <a:uLnTx/>
                      <a:uFillTx/>
                      <a:latin typeface="Segoe Sans Display Semibold"/>
                      <a:ea typeface="+mn-ea"/>
                      <a:cs typeface="+mn-cs"/>
                    </a:rPr>
                  </a:br>
                  <a:r>
                    <a:rPr kumimoji="0" lang="en-US" sz="1000" b="0" i="0" u="none" strike="noStrike" kern="0" cap="none" spc="0" normalizeH="0" baseline="0" noProof="0">
                      <a:ln>
                        <a:noFill/>
                      </a:ln>
                      <a:solidFill>
                        <a:srgbClr val="000000"/>
                      </a:solidFill>
                      <a:effectLst/>
                      <a:uLnTx/>
                      <a:uFillTx/>
                      <a:latin typeface="Segoe Sans Display Semibold"/>
                      <a:ea typeface="+mn-ea"/>
                      <a:cs typeface="+mn-cs"/>
                    </a:rPr>
                    <a:t>policy</a:t>
                  </a:r>
                </a:p>
              </p:txBody>
            </p:sp>
            <p:sp>
              <p:nvSpPr>
                <p:cNvPr id="201" name="TextBox 200">
                  <a:extLst>
                    <a:ext uri="{FF2B5EF4-FFF2-40B4-BE49-F238E27FC236}">
                      <a16:creationId xmlns:a16="http://schemas.microsoft.com/office/drawing/2014/main" id="{4B975B5D-25A1-3A87-CFD5-D71F60E31687}"/>
                    </a:ext>
                    <a:ext uri="{C183D7F6-B498-43B3-948B-1728B52AA6E4}">
                      <adec:decorative xmlns:adec="http://schemas.microsoft.com/office/drawing/2017/decorative" val="1"/>
                    </a:ext>
                  </a:extLst>
                </p:cNvPr>
                <p:cNvSpPr txBox="1"/>
                <p:nvPr/>
              </p:nvSpPr>
              <p:spPr>
                <a:xfrm>
                  <a:off x="6606548" y="3741067"/>
                  <a:ext cx="808251" cy="556468"/>
                </a:xfrm>
                <a:prstGeom prst="rect">
                  <a:avLst/>
                </a:prstGeom>
              </p:spPr>
              <p:txBody>
                <a:bodyPr wrap="none" lIns="36000" tIns="36000" rIns="36000" bIns="36000">
                  <a:spAutoFit/>
                </a:bodyPr>
                <a:lstStyle>
                  <a:defPPr>
                    <a:defRPr lang="en-US"/>
                  </a:defPPr>
                  <a:lvl1pPr marR="0" lvl="0" indent="0" algn="ctr" defTabSz="790704" fontAlgn="auto">
                    <a:lnSpc>
                      <a:spcPct val="90000"/>
                    </a:lnSpc>
                    <a:spcBef>
                      <a:spcPts val="0"/>
                    </a:spcBef>
                    <a:spcAft>
                      <a:spcPts val="0"/>
                    </a:spcAft>
                    <a:buClrTx/>
                    <a:buSzTx/>
                    <a:buFontTx/>
                    <a:buNone/>
                    <a:tabLst/>
                    <a:defRPr sz="1400">
                      <a:gradFill>
                        <a:gsLst>
                          <a:gs pos="8621">
                            <a:srgbClr val="FFFFFF"/>
                          </a:gs>
                          <a:gs pos="20225">
                            <a:srgbClr val="FFFFFF"/>
                          </a:gs>
                        </a:gsLst>
                        <a:lin ang="5400000" scaled="1"/>
                      </a:gradFill>
                      <a:latin typeface="Segoe UI"/>
                    </a:defRPr>
                  </a:lvl1pPr>
                </a:lstStyle>
                <a:p>
                  <a:pPr marL="0" marR="0" lvl="0" indent="0" algn="ctr" defTabSz="790704" rtl="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Sans Display Semibold"/>
                      <a:ea typeface="+mn-ea"/>
                      <a:cs typeface="+mn-cs"/>
                    </a:rPr>
                    <a:t>Real-time </a:t>
                  </a:r>
                  <a:br>
                    <a:rPr kumimoji="0" lang="en-US" sz="1000" b="0" i="0" u="none" strike="noStrike" kern="0" cap="none" spc="0" normalizeH="0" baseline="0" noProof="0">
                      <a:ln>
                        <a:noFill/>
                      </a:ln>
                      <a:solidFill>
                        <a:srgbClr val="000000"/>
                      </a:solidFill>
                      <a:effectLst/>
                      <a:uLnTx/>
                      <a:uFillTx/>
                      <a:latin typeface="Segoe Sans Display Semibold"/>
                      <a:ea typeface="+mn-ea"/>
                      <a:cs typeface="+mn-cs"/>
                    </a:rPr>
                  </a:br>
                  <a:r>
                    <a:rPr kumimoji="0" lang="en-US" sz="1000" b="0" i="0" u="none" strike="noStrike" kern="0" cap="none" spc="0" normalizeH="0" baseline="0" noProof="0">
                      <a:ln>
                        <a:noFill/>
                      </a:ln>
                      <a:solidFill>
                        <a:srgbClr val="000000"/>
                      </a:solidFill>
                      <a:effectLst/>
                      <a:uLnTx/>
                      <a:uFillTx/>
                      <a:latin typeface="Segoe Sans Display Semibold"/>
                      <a:ea typeface="+mn-ea"/>
                      <a:cs typeface="+mn-cs"/>
                    </a:rPr>
                    <a:t>evaluation </a:t>
                  </a:r>
                  <a:br>
                    <a:rPr kumimoji="0" lang="en-US" sz="1000" b="0" i="0" u="none" strike="noStrike" kern="0" cap="none" spc="0" normalizeH="0" baseline="0" noProof="0">
                      <a:ln>
                        <a:noFill/>
                      </a:ln>
                      <a:solidFill>
                        <a:srgbClr val="000000"/>
                      </a:solidFill>
                      <a:effectLst/>
                      <a:uLnTx/>
                      <a:uFillTx/>
                      <a:latin typeface="Segoe Sans Display Semibold"/>
                      <a:ea typeface="+mn-ea"/>
                      <a:cs typeface="+mn-cs"/>
                    </a:rPr>
                  </a:br>
                  <a:r>
                    <a:rPr kumimoji="0" lang="en-US" sz="1000" b="0" i="0" u="none" strike="noStrike" kern="0" cap="none" spc="0" normalizeH="0" baseline="0" noProof="0">
                      <a:ln>
                        <a:noFill/>
                      </a:ln>
                      <a:solidFill>
                        <a:srgbClr val="000000"/>
                      </a:solidFill>
                      <a:effectLst/>
                      <a:uLnTx/>
                      <a:uFillTx/>
                      <a:latin typeface="Segoe Sans Display Semibold"/>
                      <a:ea typeface="+mn-ea"/>
                      <a:cs typeface="+mn-cs"/>
                    </a:rPr>
                    <a:t>engine</a:t>
                  </a:r>
                </a:p>
              </p:txBody>
            </p:sp>
            <p:sp>
              <p:nvSpPr>
                <p:cNvPr id="202" name="TextBox 201">
                  <a:extLst>
                    <a:ext uri="{FF2B5EF4-FFF2-40B4-BE49-F238E27FC236}">
                      <a16:creationId xmlns:a16="http://schemas.microsoft.com/office/drawing/2014/main" id="{4CF991B4-7DA8-9FEC-8D76-19AA5B694B28}"/>
                    </a:ext>
                    <a:ext uri="{C183D7F6-B498-43B3-948B-1728B52AA6E4}">
                      <adec:decorative xmlns:adec="http://schemas.microsoft.com/office/drawing/2017/decorative" val="1"/>
                    </a:ext>
                  </a:extLst>
                </p:cNvPr>
                <p:cNvSpPr txBox="1"/>
                <p:nvPr/>
              </p:nvSpPr>
              <p:spPr>
                <a:xfrm>
                  <a:off x="5749335" y="2829771"/>
                  <a:ext cx="687659" cy="398602"/>
                </a:xfrm>
                <a:prstGeom prst="rect">
                  <a:avLst/>
                </a:prstGeom>
              </p:spPr>
              <p:txBody>
                <a:bodyPr wrap="none" lIns="36000" tIns="36000" rIns="36000" bIns="36000">
                  <a:spAutoFit/>
                </a:bodyPr>
                <a:lstStyle>
                  <a:defPPr>
                    <a:defRPr lang="en-US"/>
                  </a:defPPr>
                  <a:lvl1pPr defTabSz="896215">
                    <a:lnSpc>
                      <a:spcPct val="90000"/>
                    </a:lnSpc>
                    <a:defRPr sz="1372" kern="100">
                      <a:solidFill>
                        <a:srgbClr val="353535"/>
                      </a:solidFill>
                      <a:latin typeface="Segoe UI"/>
                      <a:ea typeface="ＭＳ Ｐゴシック" charset="0"/>
                    </a:defRPr>
                  </a:lvl1pPr>
                </a:lstStyle>
                <a:p>
                  <a:pPr marL="0" marR="0" lvl="0" indent="0" algn="ctr" defTabSz="790704"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Display Semibold"/>
                      <a:ea typeface="ＭＳ Ｐゴシック" charset="0"/>
                      <a:cs typeface="+mn-cs"/>
                    </a:rPr>
                    <a:t>Machine </a:t>
                  </a:r>
                  <a:br>
                    <a:rPr kumimoji="0" lang="en-US" sz="1000" b="0" i="0" u="none" strike="noStrike" kern="1200" cap="none" spc="0" normalizeH="0" baseline="0" noProof="0">
                      <a:ln>
                        <a:noFill/>
                      </a:ln>
                      <a:solidFill>
                        <a:srgbClr val="000000"/>
                      </a:solidFill>
                      <a:effectLst/>
                      <a:uLnTx/>
                      <a:uFillTx/>
                      <a:latin typeface="Segoe Sans Display Semibold"/>
                      <a:ea typeface="ＭＳ Ｐゴシック" charset="0"/>
                      <a:cs typeface="+mn-cs"/>
                    </a:rPr>
                  </a:br>
                  <a:r>
                    <a:rPr kumimoji="0" lang="en-US" sz="1000" b="0" i="0" u="none" strike="noStrike" kern="1200" cap="none" spc="0" normalizeH="0" baseline="0" noProof="0">
                      <a:ln>
                        <a:noFill/>
                      </a:ln>
                      <a:solidFill>
                        <a:srgbClr val="000000"/>
                      </a:solidFill>
                      <a:effectLst/>
                      <a:uLnTx/>
                      <a:uFillTx/>
                      <a:latin typeface="Segoe Sans Display Semibold"/>
                      <a:ea typeface="ＭＳ Ｐゴシック" charset="0"/>
                      <a:cs typeface="+mn-cs"/>
                    </a:rPr>
                    <a:t>learning</a:t>
                  </a:r>
                </a:p>
              </p:txBody>
            </p:sp>
            <p:sp>
              <p:nvSpPr>
                <p:cNvPr id="203" name="Arc 202">
                  <a:extLst>
                    <a:ext uri="{FF2B5EF4-FFF2-40B4-BE49-F238E27FC236}">
                      <a16:creationId xmlns:a16="http://schemas.microsoft.com/office/drawing/2014/main" id="{7E1A9BE2-F956-DD06-A01F-AED999FD2A73}"/>
                    </a:ext>
                    <a:ext uri="{C183D7F6-B498-43B3-948B-1728B52AA6E4}">
                      <adec:decorative xmlns:adec="http://schemas.microsoft.com/office/drawing/2017/decorative" val="1"/>
                    </a:ext>
                  </a:extLst>
                </p:cNvPr>
                <p:cNvSpPr>
                  <a:spLocks noChangeAspect="1"/>
                </p:cNvSpPr>
                <p:nvPr/>
              </p:nvSpPr>
              <p:spPr>
                <a:xfrm rot="16200000">
                  <a:off x="4942510" y="2991641"/>
                  <a:ext cx="2297786" cy="2297780"/>
                </a:xfrm>
                <a:prstGeom prst="arc">
                  <a:avLst>
                    <a:gd name="adj1" fmla="val 1325407"/>
                    <a:gd name="adj2" fmla="val 3919548"/>
                  </a:avLst>
                </a:prstGeom>
                <a:noFill/>
                <a:ln w="19050" cap="flat" cmpd="sng" algn="ctr">
                  <a:solidFill>
                    <a:srgbClr val="000000"/>
                  </a:solidFill>
                  <a:prstDash val="solid"/>
                  <a:headEnd type="none" w="lg" len="med"/>
                  <a:tailEnd type="arrow" w="lg" len="med"/>
                </a:ln>
                <a:effectLst/>
              </p:spPr>
              <p:txBody>
                <a:bodyPr rtlCol="0" anchor="ctr"/>
                <a:lstStyle/>
                <a:p>
                  <a:pPr marL="0" marR="0" lvl="0" indent="0" algn="ctr" defTabSz="798316"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353535"/>
                    </a:solidFill>
                    <a:effectLst/>
                    <a:uLnTx/>
                    <a:uFillTx/>
                    <a:latin typeface="Segoe Sans Display Semibold"/>
                    <a:ea typeface="+mn-ea"/>
                    <a:cs typeface="+mn-cs"/>
                  </a:endParaRPr>
                </a:p>
              </p:txBody>
            </p:sp>
            <p:sp>
              <p:nvSpPr>
                <p:cNvPr id="204" name="Arc 203">
                  <a:extLst>
                    <a:ext uri="{FF2B5EF4-FFF2-40B4-BE49-F238E27FC236}">
                      <a16:creationId xmlns:a16="http://schemas.microsoft.com/office/drawing/2014/main" id="{B9907037-D828-9946-0C9E-7AC350B3F1CC}"/>
                    </a:ext>
                    <a:ext uri="{C183D7F6-B498-43B3-948B-1728B52AA6E4}">
                      <adec:decorative xmlns:adec="http://schemas.microsoft.com/office/drawing/2017/decorative" val="1"/>
                    </a:ext>
                  </a:extLst>
                </p:cNvPr>
                <p:cNvSpPr>
                  <a:spLocks noChangeAspect="1"/>
                </p:cNvSpPr>
                <p:nvPr/>
              </p:nvSpPr>
              <p:spPr>
                <a:xfrm rot="10800000">
                  <a:off x="4942510" y="2991641"/>
                  <a:ext cx="2297786" cy="2297780"/>
                </a:xfrm>
                <a:prstGeom prst="arc">
                  <a:avLst>
                    <a:gd name="adj1" fmla="val 1325407"/>
                    <a:gd name="adj2" fmla="val 3919548"/>
                  </a:avLst>
                </a:prstGeom>
                <a:noFill/>
                <a:ln w="19050" cap="flat" cmpd="sng" algn="ctr">
                  <a:solidFill>
                    <a:srgbClr val="000000"/>
                  </a:solidFill>
                  <a:prstDash val="solid"/>
                  <a:headEnd type="arrow" w="lg" len="med"/>
                  <a:tailEnd type="arrow" w="lg" len="med"/>
                </a:ln>
                <a:effectLst/>
              </p:spPr>
              <p:txBody>
                <a:bodyPr rtlCol="0" anchor="ctr"/>
                <a:lstStyle/>
                <a:p>
                  <a:pPr marL="0" marR="0" lvl="0" indent="0" algn="ctr" defTabSz="798316"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353535"/>
                    </a:solidFill>
                    <a:effectLst/>
                    <a:uLnTx/>
                    <a:uFillTx/>
                    <a:latin typeface="Segoe Sans Display Semibold"/>
                    <a:ea typeface="+mn-ea"/>
                    <a:cs typeface="+mn-cs"/>
                  </a:endParaRPr>
                </a:p>
              </p:txBody>
            </p:sp>
            <p:sp>
              <p:nvSpPr>
                <p:cNvPr id="205" name="Arc 204">
                  <a:extLst>
                    <a:ext uri="{FF2B5EF4-FFF2-40B4-BE49-F238E27FC236}">
                      <a16:creationId xmlns:a16="http://schemas.microsoft.com/office/drawing/2014/main" id="{49198F28-D4A4-9AF2-CC0C-5D3DF288D3C9}"/>
                    </a:ext>
                    <a:ext uri="{C183D7F6-B498-43B3-948B-1728B52AA6E4}">
                      <adec:decorative xmlns:adec="http://schemas.microsoft.com/office/drawing/2017/decorative" val="1"/>
                    </a:ext>
                  </a:extLst>
                </p:cNvPr>
                <p:cNvSpPr>
                  <a:spLocks noChangeAspect="1"/>
                </p:cNvSpPr>
                <p:nvPr/>
              </p:nvSpPr>
              <p:spPr>
                <a:xfrm rot="5660062">
                  <a:off x="4942510" y="2843467"/>
                  <a:ext cx="2297786" cy="2297780"/>
                </a:xfrm>
                <a:prstGeom prst="arc">
                  <a:avLst>
                    <a:gd name="adj1" fmla="val 1325407"/>
                    <a:gd name="adj2" fmla="val 3919548"/>
                  </a:avLst>
                </a:prstGeom>
                <a:noFill/>
                <a:ln w="19050" cap="flat" cmpd="sng" algn="ctr">
                  <a:solidFill>
                    <a:srgbClr val="000000"/>
                  </a:solidFill>
                  <a:prstDash val="solid"/>
                  <a:headEnd type="arrow" w="lg" len="med"/>
                  <a:tailEnd type="none" w="lg" len="med"/>
                </a:ln>
                <a:effectLst/>
              </p:spPr>
              <p:txBody>
                <a:bodyPr rtlCol="0" anchor="ctr"/>
                <a:lstStyle/>
                <a:p>
                  <a:pPr marL="0" marR="0" lvl="0" indent="0" algn="ctr" defTabSz="798316"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353535"/>
                    </a:solidFill>
                    <a:effectLst/>
                    <a:uLnTx/>
                    <a:uFillTx/>
                    <a:latin typeface="Segoe Sans Display Semibold"/>
                    <a:ea typeface="+mn-ea"/>
                    <a:cs typeface="+mn-cs"/>
                  </a:endParaRPr>
                </a:p>
              </p:txBody>
            </p:sp>
          </p:grpSp>
        </p:grpSp>
        <p:grpSp>
          <p:nvGrpSpPr>
            <p:cNvPr id="189" name="Group 188">
              <a:extLst>
                <a:ext uri="{FF2B5EF4-FFF2-40B4-BE49-F238E27FC236}">
                  <a16:creationId xmlns:a16="http://schemas.microsoft.com/office/drawing/2014/main" id="{951535D3-D361-68C3-7C9E-894F5A789FCE}"/>
                </a:ext>
              </a:extLst>
            </p:cNvPr>
            <p:cNvGrpSpPr/>
            <p:nvPr/>
          </p:nvGrpSpPr>
          <p:grpSpPr>
            <a:xfrm flipV="1">
              <a:off x="4404360" y="2532927"/>
              <a:ext cx="3383282" cy="3410472"/>
              <a:chOff x="4404360" y="2099612"/>
              <a:chExt cx="3383282" cy="3410472"/>
            </a:xfrm>
          </p:grpSpPr>
          <p:sp>
            <p:nvSpPr>
              <p:cNvPr id="192" name="Oval 191">
                <a:extLst>
                  <a:ext uri="{FF2B5EF4-FFF2-40B4-BE49-F238E27FC236}">
                    <a16:creationId xmlns:a16="http://schemas.microsoft.com/office/drawing/2014/main" id="{CE6AC632-0A09-9298-5FF5-B53385DB2260}"/>
                  </a:ext>
                </a:extLst>
              </p:cNvPr>
              <p:cNvSpPr/>
              <p:nvPr/>
            </p:nvSpPr>
            <p:spPr bwMode="auto">
              <a:xfrm flipV="1">
                <a:off x="4404360" y="2126804"/>
                <a:ext cx="3383280" cy="3383280"/>
              </a:xfrm>
              <a:prstGeom prst="ellipse">
                <a:avLst/>
              </a:prstGeom>
              <a:noFill/>
              <a:ln w="9525" cap="flat" cmpd="sng" algn="ctr">
                <a:noFill/>
                <a:prstDash val="solid"/>
                <a:headEnd type="none" w="med" len="med"/>
                <a:tailEnd type="none" w="med" len="med"/>
              </a:ln>
              <a:effectLst>
                <a:innerShdw blurRad="114300" dist="63500" dir="13500000">
                  <a:srgbClr val="000000">
                    <a:alpha val="60000"/>
                  </a:srgbClr>
                </a:inn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grpSp>
            <p:nvGrpSpPr>
              <p:cNvPr id="193" name="Group 192">
                <a:extLst>
                  <a:ext uri="{FF2B5EF4-FFF2-40B4-BE49-F238E27FC236}">
                    <a16:creationId xmlns:a16="http://schemas.microsoft.com/office/drawing/2014/main" id="{00DFDF72-5742-53BD-2ABC-8BE653837E11}"/>
                  </a:ext>
                  <a:ext uri="{C183D7F6-B498-43B3-948B-1728B52AA6E4}">
                    <adec:decorative xmlns:adec="http://schemas.microsoft.com/office/drawing/2017/decorative" val="1"/>
                  </a:ext>
                </a:extLst>
              </p:cNvPr>
              <p:cNvGrpSpPr/>
              <p:nvPr/>
            </p:nvGrpSpPr>
            <p:grpSpPr>
              <a:xfrm>
                <a:off x="4404360" y="2099612"/>
                <a:ext cx="3383282" cy="3383281"/>
                <a:chOff x="4167292" y="1859049"/>
                <a:chExt cx="2107934" cy="2107934"/>
              </a:xfrm>
            </p:grpSpPr>
            <p:sp>
              <p:nvSpPr>
                <p:cNvPr id="194" name="Block Arc 193">
                  <a:extLst>
                    <a:ext uri="{FF2B5EF4-FFF2-40B4-BE49-F238E27FC236}">
                      <a16:creationId xmlns:a16="http://schemas.microsoft.com/office/drawing/2014/main" id="{0BA5C948-F24E-049A-86C7-A65A6A6252B7}"/>
                    </a:ext>
                  </a:extLst>
                </p:cNvPr>
                <p:cNvSpPr/>
                <p:nvPr/>
              </p:nvSpPr>
              <p:spPr bwMode="auto">
                <a:xfrm rot="16200000" flipV="1">
                  <a:off x="4167292" y="1859049"/>
                  <a:ext cx="2107933" cy="2107933"/>
                </a:xfrm>
                <a:prstGeom prst="blockArc">
                  <a:avLst>
                    <a:gd name="adj1" fmla="val 16214270"/>
                    <a:gd name="adj2" fmla="val 5426204"/>
                    <a:gd name="adj3" fmla="val 13240"/>
                  </a:avLst>
                </a:prstGeom>
                <a:gradFill flip="none" rotWithShape="1">
                  <a:gsLst>
                    <a:gs pos="66000">
                      <a:srgbClr val="A5B8EE">
                        <a:alpha val="50000"/>
                      </a:srgbClr>
                    </a:gs>
                    <a:gs pos="6000">
                      <a:srgbClr val="FFFFFF"/>
                    </a:gs>
                    <a:gs pos="100000">
                      <a:srgbClr val="599FFD">
                        <a:alpha val="80000"/>
                      </a:srgbClr>
                    </a:gs>
                  </a:gsLst>
                  <a:lin ang="0" scaled="0"/>
                  <a:tileRect/>
                </a:gradFill>
                <a:ln w="9525" cap="flat" cmpd="sng" algn="ctr">
                  <a:noFill/>
                  <a:prstDash val="solid"/>
                  <a:headEnd type="none" w="med" len="med"/>
                  <a:tailEnd type="none" w="med" len="med"/>
                </a:ln>
                <a:effectLst>
                  <a:innerShdw blurRad="114300" dist="63500" dir="13500000">
                    <a:srgbClr val="FFFFFF">
                      <a:alpha val="45000"/>
                    </a:srgbClr>
                  </a:inn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95" name="Arc 194">
                  <a:extLst>
                    <a:ext uri="{FF2B5EF4-FFF2-40B4-BE49-F238E27FC236}">
                      <a16:creationId xmlns:a16="http://schemas.microsoft.com/office/drawing/2014/main" id="{BB5DE4BE-B389-1AFC-D2DE-944DF2DBAE6A}"/>
                    </a:ext>
                  </a:extLst>
                </p:cNvPr>
                <p:cNvSpPr/>
                <p:nvPr/>
              </p:nvSpPr>
              <p:spPr bwMode="auto">
                <a:xfrm>
                  <a:off x="4167293" y="1859050"/>
                  <a:ext cx="2107933" cy="2107933"/>
                </a:xfrm>
                <a:prstGeom prst="arc">
                  <a:avLst>
                    <a:gd name="adj1" fmla="val 10835151"/>
                    <a:gd name="adj2" fmla="val 21581104"/>
                  </a:avLst>
                </a:prstGeom>
                <a:noFill/>
                <a:ln w="15875" cap="flat" cmpd="sng" algn="ctr">
                  <a:gradFill flip="none" rotWithShape="1">
                    <a:gsLst>
                      <a:gs pos="100000">
                        <a:srgbClr val="FFFFFF"/>
                      </a:gs>
                      <a:gs pos="0">
                        <a:srgbClr val="599FFD"/>
                      </a:gs>
                      <a:gs pos="29000">
                        <a:srgbClr val="A5B8EE"/>
                      </a:gs>
                    </a:gsLst>
                    <a:path path="circle">
                      <a:fillToRect l="50000" t="50000" r="50000" b="50000"/>
                    </a:path>
                    <a:tileRect/>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grpSp>
        </p:grpSp>
        <p:sp>
          <p:nvSpPr>
            <p:cNvPr id="190" name="Continuous Access Evaluation">
              <a:extLst>
                <a:ext uri="{FF2B5EF4-FFF2-40B4-BE49-F238E27FC236}">
                  <a16:creationId xmlns:a16="http://schemas.microsoft.com/office/drawing/2014/main" id="{F3913FB3-7D9B-E234-D813-0B5B653810C6}"/>
                </a:ext>
                <a:ext uri="{C183D7F6-B498-43B3-948B-1728B52AA6E4}">
                  <adec:decorative xmlns:adec="http://schemas.microsoft.com/office/drawing/2017/decorative" val="1"/>
                </a:ext>
              </a:extLst>
            </p:cNvPr>
            <p:cNvSpPr txBox="1">
              <a:spLocks/>
            </p:cNvSpPr>
            <p:nvPr/>
          </p:nvSpPr>
          <p:spPr>
            <a:xfrm>
              <a:off x="4587240" y="2840859"/>
              <a:ext cx="3017520" cy="3383280"/>
            </a:xfrm>
            <a:prstGeom prst="rect">
              <a:avLst/>
            </a:prstGeom>
            <a:noFill/>
          </p:spPr>
          <p:txBody>
            <a:bodyPr spcFirstLastPara="1" wrap="square" numCol="1">
              <a:prstTxWarp prst="textArchUp">
                <a:avLst/>
              </a:prstTxWarp>
              <a:spAutoFit/>
            </a:bodyPr>
            <a:lstStyle>
              <a:defPPr>
                <a:defRPr lang="en-US"/>
              </a:defPPr>
              <a:lvl1pPr marR="0" lvl="0" indent="0" algn="ctr" defTabSz="922530" fontAlgn="auto">
                <a:lnSpc>
                  <a:spcPct val="100000"/>
                </a:lnSpc>
                <a:spcBef>
                  <a:spcPts val="0"/>
                </a:spcBef>
                <a:spcAft>
                  <a:spcPts val="606"/>
                </a:spcAft>
                <a:buClrTx/>
                <a:buSzTx/>
                <a:buFontTx/>
                <a:buNone/>
                <a:tabLst/>
                <a:defRPr kumimoji="0" sz="1600" b="0" i="0" u="none" strike="noStrike" cap="none" spc="0" normalizeH="0" baseline="0">
                  <a:ln>
                    <a:noFill/>
                  </a:ln>
                  <a:gradFill>
                    <a:gsLst>
                      <a:gs pos="8621">
                        <a:srgbClr val="FFFFFF"/>
                      </a:gs>
                      <a:gs pos="20225">
                        <a:srgbClr val="FFFFFF"/>
                      </a:gs>
                    </a:gsLst>
                    <a:lin ang="5400000" scaled="1"/>
                  </a:gradFill>
                  <a:effectLst/>
                  <a:uLnTx/>
                  <a:uFillTx/>
                  <a:latin typeface="Segoe UI Semibold"/>
                </a:defRPr>
              </a:lvl1pPr>
            </a:lstStyle>
            <a:p>
              <a:pPr marL="0" marR="0" lvl="0" indent="0" algn="ctr" defTabSz="922530" rtl="0" eaLnBrk="1" fontAlgn="auto" latinLnBrk="0" hangingPunct="1">
                <a:lnSpc>
                  <a:spcPct val="100000"/>
                </a:lnSpc>
                <a:spcBef>
                  <a:spcPts val="0"/>
                </a:spcBef>
                <a:spcAft>
                  <a:spcPts val="606"/>
                </a:spcAft>
                <a:buClrTx/>
                <a:buSzTx/>
                <a:buFontTx/>
                <a:buNone/>
                <a:tabLst/>
                <a:defRPr/>
              </a:pPr>
              <a:r>
                <a:rPr kumimoji="0" lang="en-US" sz="1400" b="0" i="0" u="none" strike="noStrike" kern="0" cap="none" spc="0" normalizeH="0" baseline="0" noProof="0">
                  <a:ln>
                    <a:noFill/>
                  </a:ln>
                  <a:solidFill>
                    <a:srgbClr val="091F2C"/>
                  </a:solidFill>
                  <a:effectLst/>
                  <a:uLnTx/>
                  <a:uFillTx/>
                  <a:latin typeface="Segoe Sans Display Semibold"/>
                  <a:ea typeface="+mn-ea"/>
                  <a:cs typeface="+mn-cs"/>
                </a:rPr>
                <a:t>Continuous Access Evaluation</a:t>
              </a:r>
            </a:p>
          </p:txBody>
        </p:sp>
        <p:sp>
          <p:nvSpPr>
            <p:cNvPr id="191" name="Text: Security Service Edge">
              <a:extLst>
                <a:ext uri="{FF2B5EF4-FFF2-40B4-BE49-F238E27FC236}">
                  <a16:creationId xmlns:a16="http://schemas.microsoft.com/office/drawing/2014/main" id="{3F4064D2-7D4B-40BB-D438-42069787E1D5}"/>
                </a:ext>
                <a:ext uri="{C183D7F6-B498-43B3-948B-1728B52AA6E4}">
                  <adec:decorative xmlns:adec="http://schemas.microsoft.com/office/drawing/2017/decorative" val="1"/>
                </a:ext>
              </a:extLst>
            </p:cNvPr>
            <p:cNvSpPr txBox="1">
              <a:spLocks/>
            </p:cNvSpPr>
            <p:nvPr/>
          </p:nvSpPr>
          <p:spPr>
            <a:xfrm>
              <a:off x="4587241" y="2415325"/>
              <a:ext cx="3017520" cy="3383280"/>
            </a:xfrm>
            <a:prstGeom prst="rect">
              <a:avLst/>
            </a:prstGeom>
            <a:noFill/>
          </p:spPr>
          <p:txBody>
            <a:bodyPr spcFirstLastPara="1" wrap="square" numCol="1">
              <a:prstTxWarp prst="textArchDown">
                <a:avLst>
                  <a:gd name="adj" fmla="val 862028"/>
                </a:avLst>
              </a:prstTxWarp>
              <a:spAutoFit/>
            </a:bodyPr>
            <a:lstStyle>
              <a:defPPr>
                <a:defRPr lang="en-US"/>
              </a:defPPr>
              <a:lvl1pPr lvl="0" algn="ctr" defTabSz="922530">
                <a:spcAft>
                  <a:spcPts val="606"/>
                </a:spcAft>
                <a:defRPr sz="1600">
                  <a:gradFill>
                    <a:gsLst>
                      <a:gs pos="8621">
                        <a:srgbClr val="FFFFFF"/>
                      </a:gs>
                      <a:gs pos="20225">
                        <a:srgbClr val="FFFFFF"/>
                      </a:gs>
                    </a:gsLst>
                    <a:lin ang="5400000" scaled="1"/>
                  </a:gradFill>
                  <a:latin typeface="Segoe UI Semibold"/>
                </a:defRPr>
              </a:lvl1pPr>
            </a:lstStyle>
            <a:p>
              <a:pPr marL="0" marR="0" lvl="0" indent="0" algn="ctr" defTabSz="922530" rtl="0" eaLnBrk="1" fontAlgn="auto" latinLnBrk="0" hangingPunct="1">
                <a:lnSpc>
                  <a:spcPct val="100000"/>
                </a:lnSpc>
                <a:spcBef>
                  <a:spcPts val="0"/>
                </a:spcBef>
                <a:spcAft>
                  <a:spcPts val="606"/>
                </a:spcAft>
                <a:buClrTx/>
                <a:buSzTx/>
                <a:buFontTx/>
                <a:buNone/>
                <a:tabLst/>
                <a:defRPr/>
              </a:pPr>
              <a:r>
                <a:rPr kumimoji="0" lang="en-US" sz="1400" b="0" i="0" u="none" strike="noStrike" kern="0" cap="none" spc="0" normalizeH="0" baseline="0" noProof="0">
                  <a:ln>
                    <a:noFill/>
                  </a:ln>
                  <a:solidFill>
                    <a:srgbClr val="091F2C"/>
                  </a:solidFill>
                  <a:effectLst/>
                  <a:uLnTx/>
                  <a:uFillTx/>
                  <a:latin typeface="Segoe Sans Display Semibold"/>
                  <a:ea typeface="+mn-ea"/>
                  <a:cs typeface="+mn-cs"/>
                </a:rPr>
                <a:t>Security Service Edge</a:t>
              </a:r>
            </a:p>
          </p:txBody>
        </p:sp>
      </p:grpSp>
      <p:sp>
        <p:nvSpPr>
          <p:cNvPr id="212" name="Rounded Rectangle 174">
            <a:extLst>
              <a:ext uri="{FF2B5EF4-FFF2-40B4-BE49-F238E27FC236}">
                <a16:creationId xmlns:a16="http://schemas.microsoft.com/office/drawing/2014/main" id="{6FB3ECE6-C466-0BB8-9833-FA14A9D5A906}"/>
              </a:ext>
              <a:ext uri="{C183D7F6-B498-43B3-948B-1728B52AA6E4}">
                <adec:decorative xmlns:adec="http://schemas.microsoft.com/office/drawing/2017/decorative" val="1"/>
              </a:ext>
            </a:extLst>
          </p:cNvPr>
          <p:cNvSpPr/>
          <p:nvPr/>
        </p:nvSpPr>
        <p:spPr bwMode="auto">
          <a:xfrm>
            <a:off x="8936735" y="2003772"/>
            <a:ext cx="2670048" cy="4206240"/>
          </a:xfrm>
          <a:prstGeom prst="roundRect">
            <a:avLst>
              <a:gd name="adj" fmla="val 5043"/>
            </a:avLst>
          </a:prstGeom>
          <a:solidFill>
            <a:srgbClr val="FFFFFF"/>
          </a:solidFill>
          <a:ln w="9525" cap="flat" cmpd="sng" algn="ctr">
            <a:noFill/>
            <a:prstDash val="solid"/>
            <a:headEnd type="none" w="med" len="med"/>
            <a:tailEnd type="none" w="med" len="med"/>
          </a:ln>
          <a:effectLst>
            <a:innerShdw blurRad="508000" dist="63500" dir="16200000">
              <a:srgbClr val="B1B3B3">
                <a:alpha val="25000"/>
              </a:srgbClr>
            </a:innerShdw>
          </a:effectLst>
        </p:spPr>
        <p:txBody>
          <a:bodyPr rot="0" spcFirstLastPara="0" vertOverflow="overflow" horzOverflow="overflow" vert="horz" wrap="square" lIns="91440" tIns="320040" rIns="91440" bIns="91440" numCol="1" spcCol="0" rtlCol="0" fromWordArt="0" anchor="t" anchorCtr="0" forceAA="0" compatLnSpc="1">
            <a:prstTxWarp prst="textNoShape">
              <a:avLst/>
            </a:prstTxWarp>
            <a:noAutofit/>
          </a:bodyPr>
          <a:lstStyle/>
          <a:p>
            <a:pPr marL="0" marR="0" lvl="0" indent="0" algn="ctr" defTabSz="932754" rtl="0" eaLnBrk="1" fontAlgn="auto" latinLnBrk="0" hangingPunct="1">
              <a:lnSpc>
                <a:spcPct val="100000"/>
              </a:lnSpc>
              <a:spcBef>
                <a:spcPts val="0"/>
              </a:spcBef>
              <a:spcAft>
                <a:spcPts val="300"/>
              </a:spcAft>
              <a:buClrTx/>
              <a:buSzTx/>
              <a:buFontTx/>
              <a:buNone/>
              <a:tabLst/>
              <a:defRPr/>
            </a:pPr>
            <a:endParaRPr kumimoji="0" lang="en-US" sz="1400" b="0" i="0" u="none" strike="noStrike" kern="0" cap="none" spc="-10" normalizeH="0" baseline="0" noProof="0">
              <a:ln>
                <a:noFill/>
              </a:ln>
              <a:solidFill>
                <a:srgbClr val="8DC8E8"/>
              </a:solidFill>
              <a:effectLst/>
              <a:uLnTx/>
              <a:uFillTx/>
              <a:latin typeface="Segoe Sans Display Semibold" pitchFamily="2" charset="0"/>
              <a:ea typeface="+mn-ea"/>
              <a:cs typeface="Segoe Sans Display Semibold" pitchFamily="2" charset="0"/>
            </a:endParaRPr>
          </a:p>
        </p:txBody>
      </p:sp>
      <p:grpSp>
        <p:nvGrpSpPr>
          <p:cNvPr id="213" name="Group 212">
            <a:extLst>
              <a:ext uri="{FF2B5EF4-FFF2-40B4-BE49-F238E27FC236}">
                <a16:creationId xmlns:a16="http://schemas.microsoft.com/office/drawing/2014/main" id="{31D3B31A-7621-393A-7467-C794294995F7}"/>
              </a:ext>
              <a:ext uri="{C183D7F6-B498-43B3-948B-1728B52AA6E4}">
                <adec:decorative xmlns:adec="http://schemas.microsoft.com/office/drawing/2017/decorative" val="1"/>
              </a:ext>
            </a:extLst>
          </p:cNvPr>
          <p:cNvGrpSpPr/>
          <p:nvPr/>
        </p:nvGrpSpPr>
        <p:grpSpPr>
          <a:xfrm>
            <a:off x="1921366" y="2406407"/>
            <a:ext cx="1629365" cy="3400970"/>
            <a:chOff x="3289229" y="2165657"/>
            <a:chExt cx="842741" cy="3643068"/>
          </a:xfrm>
        </p:grpSpPr>
        <p:cxnSp>
          <p:nvCxnSpPr>
            <p:cNvPr id="214" name="Straight Connector 213">
              <a:extLst>
                <a:ext uri="{FF2B5EF4-FFF2-40B4-BE49-F238E27FC236}">
                  <a16:creationId xmlns:a16="http://schemas.microsoft.com/office/drawing/2014/main" id="{AE81D81F-4550-F060-1B6F-9FDC5145EC5A}"/>
                </a:ext>
              </a:extLst>
            </p:cNvPr>
            <p:cNvCxnSpPr>
              <a:cxnSpLocks/>
            </p:cNvCxnSpPr>
            <p:nvPr/>
          </p:nvCxnSpPr>
          <p:spPr>
            <a:xfrm>
              <a:off x="3679709" y="3983563"/>
              <a:ext cx="452261" cy="0"/>
            </a:xfrm>
            <a:prstGeom prst="line">
              <a:avLst/>
            </a:prstGeom>
            <a:noFill/>
            <a:ln w="12700" cap="flat">
              <a:solidFill>
                <a:srgbClr val="FFFFFF">
                  <a:lumMod val="50000"/>
                </a:srgbClr>
              </a:solidFill>
              <a:prstDash val="solid"/>
              <a:miter/>
            </a:ln>
            <a:scene3d>
              <a:camera prst="isometricOffAxis1Right">
                <a:rot lat="0" lon="0" rev="0"/>
              </a:camera>
              <a:lightRig rig="flood" dir="t"/>
            </a:scene3d>
          </p:spPr>
        </p:cxnSp>
        <p:sp>
          <p:nvSpPr>
            <p:cNvPr id="215" name="Arc 214">
              <a:extLst>
                <a:ext uri="{FF2B5EF4-FFF2-40B4-BE49-F238E27FC236}">
                  <a16:creationId xmlns:a16="http://schemas.microsoft.com/office/drawing/2014/main" id="{48EB8B2C-B0B8-C90E-6431-26279F408100}"/>
                </a:ext>
              </a:extLst>
            </p:cNvPr>
            <p:cNvSpPr/>
            <p:nvPr/>
          </p:nvSpPr>
          <p:spPr>
            <a:xfrm rot="5400000" flipH="1">
              <a:off x="3280400" y="2174486"/>
              <a:ext cx="408138" cy="390480"/>
            </a:xfrm>
            <a:prstGeom prst="arc">
              <a:avLst>
                <a:gd name="adj1" fmla="val 16200000"/>
                <a:gd name="adj2" fmla="val 200472"/>
              </a:avLst>
            </a:prstGeom>
            <a:noFill/>
            <a:ln w="12700" cap="flat">
              <a:solidFill>
                <a:srgbClr val="FFFFFF">
                  <a:lumMod val="50000"/>
                </a:srgbClr>
              </a:solidFill>
              <a:prstDash val="solid"/>
              <a:miter/>
            </a:ln>
            <a:scene3d>
              <a:camera prst="isometricOffAxis1Right">
                <a:rot lat="0" lon="0" rev="0"/>
              </a:camera>
              <a:lightRig rig="flood" dir="t"/>
            </a:scene3d>
          </p:spPr>
          <p:txBody>
            <a:bodyPr rot="0" spcFirstLastPara="0" vertOverflow="overflow" horzOverflow="overflow" vert="horz" wrap="square" lIns="91440" tIns="14630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endParaRPr kumimoji="0" lang="en-US" sz="1800" b="0" i="0" u="none" strike="noStrike" kern="0" cap="none" spc="0" normalizeH="0" baseline="0" noProof="0">
                <a:ln>
                  <a:noFill/>
                </a:ln>
                <a:gradFill>
                  <a:gsLst>
                    <a:gs pos="0">
                      <a:srgbClr val="000000"/>
                    </a:gs>
                    <a:gs pos="100000">
                      <a:srgbClr val="000000"/>
                    </a:gs>
                  </a:gsLst>
                  <a:lin ang="5400000" scaled="1"/>
                </a:gradFill>
                <a:effectLst/>
                <a:uLnTx/>
                <a:uFillTx/>
                <a:latin typeface="Segoe Sans Display Semibold"/>
                <a:ea typeface="+mn-ea"/>
                <a:cs typeface="+mn-cs"/>
              </a:endParaRPr>
            </a:p>
          </p:txBody>
        </p:sp>
        <p:sp>
          <p:nvSpPr>
            <p:cNvPr id="216" name="Arc 215">
              <a:extLst>
                <a:ext uri="{FF2B5EF4-FFF2-40B4-BE49-F238E27FC236}">
                  <a16:creationId xmlns:a16="http://schemas.microsoft.com/office/drawing/2014/main" id="{0D6B71F8-792F-0E6B-F55F-039ECB071B49}"/>
                </a:ext>
              </a:extLst>
            </p:cNvPr>
            <p:cNvSpPr/>
            <p:nvPr/>
          </p:nvSpPr>
          <p:spPr>
            <a:xfrm rot="10800000" flipH="1">
              <a:off x="3289230" y="5396113"/>
              <a:ext cx="390480" cy="412612"/>
            </a:xfrm>
            <a:prstGeom prst="arc">
              <a:avLst>
                <a:gd name="adj1" fmla="val 16200000"/>
                <a:gd name="adj2" fmla="val 200472"/>
              </a:avLst>
            </a:prstGeom>
            <a:noFill/>
            <a:ln w="12700" cap="flat">
              <a:solidFill>
                <a:srgbClr val="FFFFFF">
                  <a:lumMod val="50000"/>
                </a:srgbClr>
              </a:solidFill>
              <a:prstDash val="solid"/>
              <a:miter/>
            </a:ln>
            <a:scene3d>
              <a:camera prst="isometricOffAxis1Right">
                <a:rot lat="0" lon="0" rev="0"/>
              </a:camera>
              <a:lightRig rig="flood" dir="t"/>
            </a:scene3d>
          </p:spPr>
          <p:txBody>
            <a:bodyPr rot="0" spcFirstLastPara="0" vertOverflow="overflow" horzOverflow="overflow" vert="horz" wrap="square" lIns="91440" tIns="14630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endParaRPr kumimoji="0" lang="en-US" sz="1800" b="0" i="0" u="none" strike="noStrike" kern="0" cap="none" spc="0" normalizeH="0" baseline="0" noProof="0">
                <a:ln>
                  <a:noFill/>
                </a:ln>
                <a:gradFill>
                  <a:gsLst>
                    <a:gs pos="0">
                      <a:srgbClr val="000000"/>
                    </a:gs>
                    <a:gs pos="100000">
                      <a:srgbClr val="000000"/>
                    </a:gs>
                  </a:gsLst>
                  <a:lin ang="5400000" scaled="1"/>
                </a:gradFill>
                <a:effectLst/>
                <a:uLnTx/>
                <a:uFillTx/>
                <a:latin typeface="Segoe Sans Display Semibold"/>
                <a:ea typeface="+mn-ea"/>
                <a:cs typeface="+mn-cs"/>
              </a:endParaRPr>
            </a:p>
          </p:txBody>
        </p:sp>
        <p:cxnSp>
          <p:nvCxnSpPr>
            <p:cNvPr id="217" name="Straight Connector 216">
              <a:extLst>
                <a:ext uri="{FF2B5EF4-FFF2-40B4-BE49-F238E27FC236}">
                  <a16:creationId xmlns:a16="http://schemas.microsoft.com/office/drawing/2014/main" id="{79C7E3C0-D4C2-7795-AB7A-B826C97DEF06}"/>
                </a:ext>
              </a:extLst>
            </p:cNvPr>
            <p:cNvCxnSpPr>
              <a:cxnSpLocks/>
            </p:cNvCxnSpPr>
            <p:nvPr/>
          </p:nvCxnSpPr>
          <p:spPr>
            <a:xfrm flipV="1">
              <a:off x="3679709" y="2364709"/>
              <a:ext cx="0" cy="3237709"/>
            </a:xfrm>
            <a:prstGeom prst="line">
              <a:avLst/>
            </a:prstGeom>
            <a:noFill/>
            <a:ln w="12700" cap="flat">
              <a:solidFill>
                <a:srgbClr val="FFFFFF">
                  <a:lumMod val="50000"/>
                </a:srgbClr>
              </a:solidFill>
              <a:prstDash val="solid"/>
              <a:miter/>
            </a:ln>
            <a:scene3d>
              <a:camera prst="isometricOffAxis1Right">
                <a:rot lat="0" lon="0" rev="0"/>
              </a:camera>
              <a:lightRig rig="flood" dir="t"/>
            </a:scene3d>
          </p:spPr>
        </p:cxnSp>
        <p:cxnSp>
          <p:nvCxnSpPr>
            <p:cNvPr id="218" name="Straight Connector 217">
              <a:extLst>
                <a:ext uri="{FF2B5EF4-FFF2-40B4-BE49-F238E27FC236}">
                  <a16:creationId xmlns:a16="http://schemas.microsoft.com/office/drawing/2014/main" id="{7B99E8CB-0357-069C-B513-9074B90C52E1}"/>
                </a:ext>
              </a:extLst>
            </p:cNvPr>
            <p:cNvCxnSpPr>
              <a:cxnSpLocks/>
            </p:cNvCxnSpPr>
            <p:nvPr/>
          </p:nvCxnSpPr>
          <p:spPr>
            <a:xfrm>
              <a:off x="3474842" y="2892708"/>
              <a:ext cx="204867" cy="0"/>
            </a:xfrm>
            <a:prstGeom prst="line">
              <a:avLst/>
            </a:prstGeom>
            <a:noFill/>
            <a:ln w="12700" cap="flat">
              <a:solidFill>
                <a:srgbClr val="FFFFFF">
                  <a:lumMod val="50000"/>
                </a:srgbClr>
              </a:solidFill>
              <a:prstDash val="solid"/>
              <a:miter/>
            </a:ln>
            <a:scene3d>
              <a:camera prst="isometricOffAxis1Right">
                <a:rot lat="0" lon="0" rev="0"/>
              </a:camera>
              <a:lightRig rig="flood" dir="t"/>
            </a:scene3d>
          </p:spPr>
        </p:cxnSp>
        <p:cxnSp>
          <p:nvCxnSpPr>
            <p:cNvPr id="219" name="Straight Connector 218">
              <a:extLst>
                <a:ext uri="{FF2B5EF4-FFF2-40B4-BE49-F238E27FC236}">
                  <a16:creationId xmlns:a16="http://schemas.microsoft.com/office/drawing/2014/main" id="{E300179B-DE35-BD0D-D94F-8AE6E1D4575A}"/>
                </a:ext>
              </a:extLst>
            </p:cNvPr>
            <p:cNvCxnSpPr>
              <a:cxnSpLocks/>
            </p:cNvCxnSpPr>
            <p:nvPr/>
          </p:nvCxnSpPr>
          <p:spPr>
            <a:xfrm>
              <a:off x="3474842" y="5081676"/>
              <a:ext cx="204867" cy="0"/>
            </a:xfrm>
            <a:prstGeom prst="line">
              <a:avLst/>
            </a:prstGeom>
            <a:noFill/>
            <a:ln w="12700" cap="flat">
              <a:solidFill>
                <a:srgbClr val="FFFFFF">
                  <a:lumMod val="50000"/>
                </a:srgbClr>
              </a:solidFill>
              <a:prstDash val="solid"/>
              <a:miter/>
            </a:ln>
            <a:scene3d>
              <a:camera prst="isometricOffAxis1Right">
                <a:rot lat="0" lon="0" rev="0"/>
              </a:camera>
              <a:lightRig rig="flood" dir="t"/>
            </a:scene3d>
          </p:spPr>
        </p:cxnSp>
        <p:cxnSp>
          <p:nvCxnSpPr>
            <p:cNvPr id="220" name="Straight Connector 219">
              <a:extLst>
                <a:ext uri="{FF2B5EF4-FFF2-40B4-BE49-F238E27FC236}">
                  <a16:creationId xmlns:a16="http://schemas.microsoft.com/office/drawing/2014/main" id="{DDC834E3-B6FF-219B-064A-325B31859DCD}"/>
                </a:ext>
              </a:extLst>
            </p:cNvPr>
            <p:cNvCxnSpPr>
              <a:cxnSpLocks/>
            </p:cNvCxnSpPr>
            <p:nvPr/>
          </p:nvCxnSpPr>
          <p:spPr>
            <a:xfrm>
              <a:off x="3474842" y="4352300"/>
              <a:ext cx="204867" cy="0"/>
            </a:xfrm>
            <a:prstGeom prst="line">
              <a:avLst/>
            </a:prstGeom>
            <a:noFill/>
            <a:ln w="12700" cap="flat">
              <a:solidFill>
                <a:srgbClr val="FFFFFF">
                  <a:lumMod val="50000"/>
                </a:srgbClr>
              </a:solidFill>
              <a:prstDash val="solid"/>
              <a:miter/>
            </a:ln>
            <a:scene3d>
              <a:camera prst="isometricOffAxis1Right">
                <a:rot lat="0" lon="0" rev="0"/>
              </a:camera>
              <a:lightRig rig="flood" dir="t"/>
            </a:scene3d>
          </p:spPr>
        </p:cxnSp>
        <p:cxnSp>
          <p:nvCxnSpPr>
            <p:cNvPr id="221" name="Straight Connector 220">
              <a:extLst>
                <a:ext uri="{FF2B5EF4-FFF2-40B4-BE49-F238E27FC236}">
                  <a16:creationId xmlns:a16="http://schemas.microsoft.com/office/drawing/2014/main" id="{7BE05AAB-9494-4DB8-6B0C-B4BCE23BDD6B}"/>
                </a:ext>
              </a:extLst>
            </p:cNvPr>
            <p:cNvCxnSpPr>
              <a:cxnSpLocks/>
            </p:cNvCxnSpPr>
            <p:nvPr/>
          </p:nvCxnSpPr>
          <p:spPr>
            <a:xfrm>
              <a:off x="3474842" y="3625994"/>
              <a:ext cx="204867" cy="0"/>
            </a:xfrm>
            <a:prstGeom prst="line">
              <a:avLst/>
            </a:prstGeom>
            <a:noFill/>
            <a:ln w="12700" cap="flat">
              <a:solidFill>
                <a:srgbClr val="FFFFFF">
                  <a:lumMod val="50000"/>
                </a:srgbClr>
              </a:solidFill>
              <a:prstDash val="solid"/>
              <a:miter/>
            </a:ln>
            <a:scene3d>
              <a:camera prst="isometricOffAxis1Right">
                <a:rot lat="0" lon="0" rev="0"/>
              </a:camera>
              <a:lightRig rig="flood" dir="t"/>
            </a:scene3d>
          </p:spPr>
        </p:cxnSp>
      </p:grpSp>
      <p:grpSp>
        <p:nvGrpSpPr>
          <p:cNvPr id="222" name="Group 221">
            <a:extLst>
              <a:ext uri="{FF2B5EF4-FFF2-40B4-BE49-F238E27FC236}">
                <a16:creationId xmlns:a16="http://schemas.microsoft.com/office/drawing/2014/main" id="{CC0B7831-AFBF-217A-F6B0-E0F298B21A87}"/>
              </a:ext>
              <a:ext uri="{C183D7F6-B498-43B3-948B-1728B52AA6E4}">
                <adec:decorative xmlns:adec="http://schemas.microsoft.com/office/drawing/2017/decorative" val="1"/>
              </a:ext>
            </a:extLst>
          </p:cNvPr>
          <p:cNvGrpSpPr/>
          <p:nvPr/>
        </p:nvGrpSpPr>
        <p:grpSpPr>
          <a:xfrm>
            <a:off x="2945759" y="3924012"/>
            <a:ext cx="365760" cy="365760"/>
            <a:chOff x="3612633" y="3993401"/>
            <a:chExt cx="520249" cy="520249"/>
          </a:xfrm>
        </p:grpSpPr>
        <p:sp>
          <p:nvSpPr>
            <p:cNvPr id="223" name="Oval 222">
              <a:extLst>
                <a:ext uri="{FF2B5EF4-FFF2-40B4-BE49-F238E27FC236}">
                  <a16:creationId xmlns:a16="http://schemas.microsoft.com/office/drawing/2014/main" id="{6AE4BFC4-E4AC-5183-DF9B-9E5CA7543C42}"/>
                </a:ext>
                <a:ext uri="{C183D7F6-B498-43B3-948B-1728B52AA6E4}">
                  <adec:decorative xmlns:adec="http://schemas.microsoft.com/office/drawing/2017/decorative" val="1"/>
                </a:ext>
              </a:extLst>
            </p:cNvPr>
            <p:cNvSpPr/>
            <p:nvPr/>
          </p:nvSpPr>
          <p:spPr bwMode="auto">
            <a:xfrm>
              <a:off x="3612633" y="3993401"/>
              <a:ext cx="520249" cy="520249"/>
            </a:xfrm>
            <a:prstGeom prst="ellipse">
              <a:avLst/>
            </a:prstGeom>
            <a:solidFill>
              <a:srgbClr val="FFFFFF"/>
            </a:solidFill>
            <a:ln w="19050" cap="flat" cmpd="sng" algn="ctr">
              <a:gradFill>
                <a:gsLst>
                  <a:gs pos="0">
                    <a:srgbClr val="599FFD"/>
                  </a:gs>
                  <a:gs pos="100000">
                    <a:srgbClr val="FADC14"/>
                  </a:gs>
                </a:gsLst>
                <a:lin ang="5400000" scaled="1"/>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CA" sz="2000" b="0" i="0" u="none" strike="noStrike" kern="0" cap="none" spc="0" normalizeH="0" baseline="0" noProof="0">
                <a:ln>
                  <a:noFill/>
                </a:ln>
                <a:solidFill>
                  <a:srgbClr val="091F2C"/>
                </a:solidFill>
                <a:effectLst/>
                <a:uLnTx/>
                <a:uFillTx/>
                <a:latin typeface="Segoe UI Variable Display"/>
                <a:ea typeface="+mn-ea"/>
                <a:cs typeface="Segoe UI" pitchFamily="34" charset="0"/>
              </a:endParaRPr>
            </a:p>
          </p:txBody>
        </p:sp>
        <p:pic>
          <p:nvPicPr>
            <p:cNvPr id="224" name="Graphic 223">
              <a:extLst>
                <a:ext uri="{FF2B5EF4-FFF2-40B4-BE49-F238E27FC236}">
                  <a16:creationId xmlns:a16="http://schemas.microsoft.com/office/drawing/2014/main" id="{41177C84-0B4F-0251-3FD8-121F317F51A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689877" y="4070645"/>
              <a:ext cx="365760" cy="365760"/>
            </a:xfrm>
            <a:prstGeom prst="rect">
              <a:avLst/>
            </a:prstGeom>
          </p:spPr>
        </p:pic>
      </p:grpSp>
      <p:grpSp>
        <p:nvGrpSpPr>
          <p:cNvPr id="225" name="Group 224">
            <a:extLst>
              <a:ext uri="{FF2B5EF4-FFF2-40B4-BE49-F238E27FC236}">
                <a16:creationId xmlns:a16="http://schemas.microsoft.com/office/drawing/2014/main" id="{E053C0A4-178F-5515-1974-F36436490234}"/>
              </a:ext>
              <a:ext uri="{C183D7F6-B498-43B3-948B-1728B52AA6E4}">
                <adec:decorative xmlns:adec="http://schemas.microsoft.com/office/drawing/2017/decorative" val="1"/>
              </a:ext>
            </a:extLst>
          </p:cNvPr>
          <p:cNvGrpSpPr/>
          <p:nvPr/>
        </p:nvGrpSpPr>
        <p:grpSpPr>
          <a:xfrm>
            <a:off x="588262" y="2003772"/>
            <a:ext cx="1737360" cy="4206240"/>
            <a:chOff x="1549115" y="1705863"/>
            <a:chExt cx="2194560" cy="4206240"/>
          </a:xfrm>
        </p:grpSpPr>
        <p:sp>
          <p:nvSpPr>
            <p:cNvPr id="226" name="Rounded Rectangle 174">
              <a:extLst>
                <a:ext uri="{FF2B5EF4-FFF2-40B4-BE49-F238E27FC236}">
                  <a16:creationId xmlns:a16="http://schemas.microsoft.com/office/drawing/2014/main" id="{B3967F53-CFB3-B089-A9B2-3B8F7BE038BB}"/>
                </a:ext>
                <a:ext uri="{C183D7F6-B498-43B3-948B-1728B52AA6E4}">
                  <adec:decorative xmlns:adec="http://schemas.microsoft.com/office/drawing/2017/decorative" val="1"/>
                </a:ext>
              </a:extLst>
            </p:cNvPr>
            <p:cNvSpPr/>
            <p:nvPr/>
          </p:nvSpPr>
          <p:spPr bwMode="auto">
            <a:xfrm>
              <a:off x="1549115" y="1705863"/>
              <a:ext cx="2194560" cy="4206240"/>
            </a:xfrm>
            <a:prstGeom prst="roundRect">
              <a:avLst>
                <a:gd name="adj" fmla="val 8617"/>
              </a:avLst>
            </a:prstGeom>
            <a:solidFill>
              <a:srgbClr val="FFFFFF"/>
            </a:solidFill>
            <a:ln w="9525" cap="flat" cmpd="sng" algn="ctr">
              <a:noFill/>
              <a:prstDash val="solid"/>
              <a:headEnd type="none" w="med" len="med"/>
              <a:tailEnd type="none" w="med" len="med"/>
            </a:ln>
            <a:effectLst>
              <a:innerShdw blurRad="762000" dist="63500" dir="16200000">
                <a:srgbClr val="0360DB">
                  <a:alpha val="45000"/>
                </a:srgbClr>
              </a:innerShdw>
            </a:effectLst>
          </p:spPr>
          <p:txBody>
            <a:bodyPr rot="0" spcFirstLastPara="0" vertOverflow="overflow" horzOverflow="overflow" vert="horz" wrap="square" lIns="91440" tIns="320040" rIns="91440" bIns="91440" numCol="1" spcCol="0" rtlCol="0" fromWordArt="0" anchor="t" anchorCtr="0" forceAA="0" compatLnSpc="1">
              <a:prstTxWarp prst="textNoShape">
                <a:avLst/>
              </a:prstTxWarp>
              <a:noAutofit/>
            </a:bodyPr>
            <a:lstStyle/>
            <a:p>
              <a:pPr marL="0" marR="0" lvl="0" indent="0" algn="ctr" defTabSz="932754" rtl="0" eaLnBrk="1" fontAlgn="auto" latinLnBrk="0" hangingPunct="1">
                <a:lnSpc>
                  <a:spcPct val="100000"/>
                </a:lnSpc>
                <a:spcBef>
                  <a:spcPts val="0"/>
                </a:spcBef>
                <a:spcAft>
                  <a:spcPts val="300"/>
                </a:spcAft>
                <a:buClrTx/>
                <a:buSzTx/>
                <a:buFontTx/>
                <a:buNone/>
                <a:tabLst/>
                <a:defRPr/>
              </a:pPr>
              <a:endParaRPr kumimoji="0" lang="en-US" sz="1400" b="0" i="0" u="none" strike="noStrike" kern="0" cap="none" spc="-10" normalizeH="0" baseline="0" noProof="0">
                <a:ln>
                  <a:noFill/>
                </a:ln>
                <a:solidFill>
                  <a:srgbClr val="8DC8E8"/>
                </a:solidFill>
                <a:effectLst/>
                <a:uLnTx/>
                <a:uFillTx/>
                <a:latin typeface="Segoe Sans Display Semibold" pitchFamily="2" charset="0"/>
                <a:ea typeface="+mn-ea"/>
                <a:cs typeface="Segoe Sans Display Semibold" pitchFamily="2" charset="0"/>
              </a:endParaRPr>
            </a:p>
          </p:txBody>
        </p:sp>
        <p:sp>
          <p:nvSpPr>
            <p:cNvPr id="227" name="TextBox 226">
              <a:extLst>
                <a:ext uri="{FF2B5EF4-FFF2-40B4-BE49-F238E27FC236}">
                  <a16:creationId xmlns:a16="http://schemas.microsoft.com/office/drawing/2014/main" id="{3C9E20A2-609D-0716-00E3-E04B08AD0699}"/>
                </a:ext>
                <a:ext uri="{C183D7F6-B498-43B3-948B-1728B52AA6E4}">
                  <adec:decorative xmlns:adec="http://schemas.microsoft.com/office/drawing/2017/decorative" val="1"/>
                </a:ext>
              </a:extLst>
            </p:cNvPr>
            <p:cNvSpPr txBox="1"/>
            <p:nvPr/>
          </p:nvSpPr>
          <p:spPr>
            <a:xfrm>
              <a:off x="1747973" y="2000454"/>
              <a:ext cx="1796848" cy="461665"/>
            </a:xfrm>
            <a:prstGeom prst="rect">
              <a:avLst/>
            </a:prstGeom>
          </p:spPr>
          <p:txBody>
            <a:bodyPr wrap="none" anchor="ctr" anchorCtr="0">
              <a:spAutoFit/>
            </a:bodyPr>
            <a:lstStyle>
              <a:defPPr>
                <a:defRPr lang="en-US"/>
              </a:defPPr>
              <a:lvl1pPr marR="0" lvl="0" indent="0" algn="ctr" defTabSz="922530" fontAlgn="auto">
                <a:lnSpc>
                  <a:spcPct val="100000"/>
                </a:lnSpc>
                <a:spcBef>
                  <a:spcPts val="0"/>
                </a:spcBef>
                <a:spcAft>
                  <a:spcPts val="606"/>
                </a:spcAft>
                <a:buClrTx/>
                <a:buSzTx/>
                <a:buFontTx/>
                <a:buNone/>
                <a:tabLst/>
                <a:defRPr sz="1400">
                  <a:gradFill>
                    <a:gsLst>
                      <a:gs pos="8621">
                        <a:srgbClr val="FFFFFF"/>
                      </a:gs>
                      <a:gs pos="20225">
                        <a:srgbClr val="FFFFFF"/>
                      </a:gs>
                    </a:gsLst>
                    <a:lin ang="5400000" scaled="1"/>
                  </a:gradFill>
                  <a:latin typeface="Segoe UI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40" normalizeH="0" baseline="0" noProof="0">
                  <a:ln w="3175">
                    <a:noFill/>
                  </a:ln>
                  <a:solidFill>
                    <a:srgbClr val="000000"/>
                  </a:solidFill>
                  <a:effectLst/>
                  <a:uLnTx/>
                  <a:uFillTx/>
                  <a:latin typeface="Segoe Sans Display Semibold"/>
                  <a:ea typeface="+mn-ea"/>
                  <a:cs typeface="Segoe UI" panose="020B0502040204020203" pitchFamily="34" charset="0"/>
                </a:rPr>
                <a:t>Identity/workload, </a:t>
              </a:r>
              <a:br>
                <a:rPr kumimoji="0" lang="en-US" sz="1200" b="0" i="0" u="none" strike="noStrike" kern="0" cap="none" spc="-40" normalizeH="0" baseline="0" noProof="0">
                  <a:ln w="3175">
                    <a:noFill/>
                  </a:ln>
                  <a:solidFill>
                    <a:srgbClr val="000000"/>
                  </a:solidFill>
                  <a:effectLst/>
                  <a:uLnTx/>
                  <a:uFillTx/>
                  <a:latin typeface="Segoe Sans Display Semibold"/>
                  <a:ea typeface="+mn-ea"/>
                  <a:cs typeface="Segoe UI" panose="020B0502040204020203" pitchFamily="34" charset="0"/>
                </a:rPr>
              </a:br>
              <a:r>
                <a:rPr kumimoji="0" lang="en-US" sz="1200" b="0" i="0" u="none" strike="noStrike" kern="0" cap="none" spc="-40" normalizeH="0" baseline="0" noProof="0">
                  <a:ln w="3175">
                    <a:noFill/>
                  </a:ln>
                  <a:solidFill>
                    <a:srgbClr val="000000"/>
                  </a:solidFill>
                  <a:effectLst/>
                  <a:uLnTx/>
                  <a:uFillTx/>
                  <a:latin typeface="Segoe Sans Display Semibold"/>
                  <a:ea typeface="+mn-ea"/>
                  <a:cs typeface="Segoe UI" panose="020B0502040204020203" pitchFamily="34" charset="0"/>
                </a:rPr>
                <a:t>groups, roles</a:t>
              </a:r>
            </a:p>
          </p:txBody>
        </p:sp>
        <p:sp>
          <p:nvSpPr>
            <p:cNvPr id="228" name="TextBox 227">
              <a:extLst>
                <a:ext uri="{FF2B5EF4-FFF2-40B4-BE49-F238E27FC236}">
                  <a16:creationId xmlns:a16="http://schemas.microsoft.com/office/drawing/2014/main" id="{B9C0890C-9A4A-3EEC-E1C9-416B1792D1A8}"/>
                </a:ext>
                <a:ext uri="{C183D7F6-B498-43B3-948B-1728B52AA6E4}">
                  <adec:decorative xmlns:adec="http://schemas.microsoft.com/office/drawing/2017/decorative" val="1"/>
                </a:ext>
              </a:extLst>
            </p:cNvPr>
            <p:cNvSpPr txBox="1"/>
            <p:nvPr/>
          </p:nvSpPr>
          <p:spPr>
            <a:xfrm>
              <a:off x="2361505" y="4181760"/>
              <a:ext cx="569793" cy="276999"/>
            </a:xfrm>
            <a:prstGeom prst="rect">
              <a:avLst/>
            </a:prstGeom>
          </p:spPr>
          <p:txBody>
            <a:bodyPr wrap="none" anchor="ctr" anchorCtr="0">
              <a:spAutoFit/>
            </a:bodyPr>
            <a:lstStyle>
              <a:defPPr>
                <a:defRPr lang="en-US"/>
              </a:defPPr>
              <a:lvl1pPr marR="0" lvl="0" indent="0" algn="ctr" defTabSz="922530" fontAlgn="auto">
                <a:lnSpc>
                  <a:spcPct val="100000"/>
                </a:lnSpc>
                <a:spcBef>
                  <a:spcPts val="0"/>
                </a:spcBef>
                <a:spcAft>
                  <a:spcPts val="606"/>
                </a:spcAft>
                <a:buClrTx/>
                <a:buSzTx/>
                <a:buFontTx/>
                <a:buNone/>
                <a:tabLst/>
                <a:defRPr sz="1400">
                  <a:gradFill>
                    <a:gsLst>
                      <a:gs pos="8621">
                        <a:srgbClr val="FFFFFF"/>
                      </a:gs>
                      <a:gs pos="20225">
                        <a:srgbClr val="FFFFFF"/>
                      </a:gs>
                    </a:gsLst>
                    <a:lin ang="5400000" scaled="1"/>
                  </a:gradFill>
                  <a:latin typeface="Segoe UI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40" normalizeH="0" baseline="0" noProof="0">
                  <a:ln w="3175">
                    <a:noFill/>
                  </a:ln>
                  <a:solidFill>
                    <a:srgbClr val="000000"/>
                  </a:solidFill>
                  <a:effectLst/>
                  <a:uLnTx/>
                  <a:uFillTx/>
                  <a:latin typeface="Segoe Sans Display Semibold"/>
                  <a:ea typeface="+mn-ea"/>
                  <a:cs typeface="Segoe UI" panose="020B0502040204020203" pitchFamily="34" charset="0"/>
                </a:rPr>
                <a:t>Risk</a:t>
              </a:r>
            </a:p>
          </p:txBody>
        </p:sp>
        <p:sp>
          <p:nvSpPr>
            <p:cNvPr id="229" name="TextBox 228">
              <a:extLst>
                <a:ext uri="{FF2B5EF4-FFF2-40B4-BE49-F238E27FC236}">
                  <a16:creationId xmlns:a16="http://schemas.microsoft.com/office/drawing/2014/main" id="{3B5AA5E0-99B5-24E7-72FB-66F345A205BF}"/>
                </a:ext>
                <a:ext uri="{C183D7F6-B498-43B3-948B-1728B52AA6E4}">
                  <adec:decorative xmlns:adec="http://schemas.microsoft.com/office/drawing/2017/decorative" val="1"/>
                </a:ext>
              </a:extLst>
            </p:cNvPr>
            <p:cNvSpPr txBox="1"/>
            <p:nvPr/>
          </p:nvSpPr>
          <p:spPr>
            <a:xfrm>
              <a:off x="1649917" y="3392234"/>
              <a:ext cx="1992956" cy="461665"/>
            </a:xfrm>
            <a:prstGeom prst="rect">
              <a:avLst/>
            </a:prstGeom>
          </p:spPr>
          <p:txBody>
            <a:bodyPr wrap="square" anchor="ctr" anchorCtr="0">
              <a:spAutoFit/>
            </a:bodyPr>
            <a:lstStyle>
              <a:defPPr>
                <a:defRPr lang="en-US"/>
              </a:defPPr>
              <a:lvl1pPr marR="0" lvl="0" indent="0" algn="ctr" defTabSz="922530" fontAlgn="auto">
                <a:lnSpc>
                  <a:spcPct val="100000"/>
                </a:lnSpc>
                <a:spcBef>
                  <a:spcPts val="0"/>
                </a:spcBef>
                <a:spcAft>
                  <a:spcPts val="606"/>
                </a:spcAft>
                <a:buClrTx/>
                <a:buSzTx/>
                <a:buFontTx/>
                <a:buNone/>
                <a:tabLst/>
                <a:defRPr sz="1400">
                  <a:gradFill>
                    <a:gsLst>
                      <a:gs pos="8621">
                        <a:srgbClr val="FFFFFF"/>
                      </a:gs>
                      <a:gs pos="20225">
                        <a:srgbClr val="FFFFFF"/>
                      </a:gs>
                    </a:gsLst>
                    <a:lin ang="5400000" scaled="1"/>
                  </a:gradFill>
                  <a:latin typeface="Segoe UI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40" normalizeH="0" baseline="0" noProof="0">
                  <a:ln w="3175">
                    <a:noFill/>
                  </a:ln>
                  <a:solidFill>
                    <a:srgbClr val="000000"/>
                  </a:solidFill>
                  <a:effectLst/>
                  <a:uLnTx/>
                  <a:uFillTx/>
                  <a:latin typeface="Segoe Sans Display Semibold"/>
                  <a:ea typeface="+mn-ea"/>
                  <a:cs typeface="Segoe UI" panose="020B0502040204020203" pitchFamily="34" charset="0"/>
                </a:rPr>
                <a:t>Trusted &amp; </a:t>
              </a:r>
              <a:br>
                <a:rPr kumimoji="0" lang="en-US" sz="1200" b="0" i="0" u="none" strike="noStrike" kern="0" cap="none" spc="-40" normalizeH="0" baseline="0" noProof="0">
                  <a:ln w="3175">
                    <a:noFill/>
                  </a:ln>
                  <a:solidFill>
                    <a:srgbClr val="000000"/>
                  </a:solidFill>
                  <a:effectLst/>
                  <a:uLnTx/>
                  <a:uFillTx/>
                  <a:latin typeface="Segoe Sans Display Semibold"/>
                  <a:ea typeface="+mn-ea"/>
                  <a:cs typeface="Segoe UI" panose="020B0502040204020203" pitchFamily="34" charset="0"/>
                </a:rPr>
              </a:br>
              <a:r>
                <a:rPr kumimoji="0" lang="en-US" sz="1200" b="0" i="0" u="none" strike="noStrike" kern="0" cap="none" spc="-40" normalizeH="0" baseline="0" noProof="0">
                  <a:ln w="3175">
                    <a:noFill/>
                  </a:ln>
                  <a:solidFill>
                    <a:srgbClr val="000000"/>
                  </a:solidFill>
                  <a:effectLst/>
                  <a:uLnTx/>
                  <a:uFillTx/>
                  <a:latin typeface="Segoe Sans Display Semibold"/>
                  <a:ea typeface="+mn-ea"/>
                  <a:cs typeface="Segoe UI" panose="020B0502040204020203" pitchFamily="34" charset="0"/>
                </a:rPr>
                <a:t>compliant devices</a:t>
              </a:r>
            </a:p>
          </p:txBody>
        </p:sp>
        <p:sp>
          <p:nvSpPr>
            <p:cNvPr id="230" name="TextBox 229">
              <a:extLst>
                <a:ext uri="{FF2B5EF4-FFF2-40B4-BE49-F238E27FC236}">
                  <a16:creationId xmlns:a16="http://schemas.microsoft.com/office/drawing/2014/main" id="{157C2690-AA17-A901-643B-01D29CD7574B}"/>
                </a:ext>
                <a:ext uri="{C183D7F6-B498-43B3-948B-1728B52AA6E4}">
                  <adec:decorative xmlns:adec="http://schemas.microsoft.com/office/drawing/2017/decorative" val="1"/>
                </a:ext>
              </a:extLst>
            </p:cNvPr>
            <p:cNvSpPr txBox="1"/>
            <p:nvPr/>
          </p:nvSpPr>
          <p:spPr>
            <a:xfrm>
              <a:off x="1939118" y="2787374"/>
              <a:ext cx="1414557" cy="276999"/>
            </a:xfrm>
            <a:prstGeom prst="rect">
              <a:avLst/>
            </a:prstGeom>
          </p:spPr>
          <p:txBody>
            <a:bodyPr wrap="none" anchor="ctr" anchorCtr="0">
              <a:spAutoFit/>
            </a:bodyPr>
            <a:lstStyle>
              <a:defPPr>
                <a:defRPr lang="en-US"/>
              </a:defPPr>
              <a:lvl1pPr marR="0" lvl="0" indent="0" algn="ctr" defTabSz="922530" fontAlgn="auto">
                <a:lnSpc>
                  <a:spcPct val="100000"/>
                </a:lnSpc>
                <a:spcBef>
                  <a:spcPts val="0"/>
                </a:spcBef>
                <a:spcAft>
                  <a:spcPts val="606"/>
                </a:spcAft>
                <a:buClrTx/>
                <a:buSzTx/>
                <a:buFontTx/>
                <a:buNone/>
                <a:tabLst/>
                <a:defRPr sz="1400">
                  <a:gradFill>
                    <a:gsLst>
                      <a:gs pos="8621">
                        <a:srgbClr val="FFFFFF"/>
                      </a:gs>
                      <a:gs pos="20225">
                        <a:srgbClr val="FFFFFF"/>
                      </a:gs>
                    </a:gsLst>
                    <a:lin ang="5400000" scaled="1"/>
                  </a:gradFill>
                  <a:latin typeface="Segoe UI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40" normalizeH="0" baseline="0" noProof="0">
                  <a:ln w="3175">
                    <a:noFill/>
                  </a:ln>
                  <a:solidFill>
                    <a:srgbClr val="000000"/>
                  </a:solidFill>
                  <a:effectLst/>
                  <a:uLnTx/>
                  <a:uFillTx/>
                  <a:latin typeface="Segoe Sans Display Semibold"/>
                  <a:ea typeface="+mn-ea"/>
                  <a:cs typeface="Segoe UI" panose="020B0502040204020203" pitchFamily="34" charset="0"/>
                </a:rPr>
                <a:t>Apps and data</a:t>
              </a:r>
            </a:p>
          </p:txBody>
        </p:sp>
        <p:sp>
          <p:nvSpPr>
            <p:cNvPr id="231" name="TextBox 230">
              <a:extLst>
                <a:ext uri="{FF2B5EF4-FFF2-40B4-BE49-F238E27FC236}">
                  <a16:creationId xmlns:a16="http://schemas.microsoft.com/office/drawing/2014/main" id="{006DB5E5-B7A0-E4D5-C4A1-7D8321384540}"/>
                </a:ext>
                <a:ext uri="{C183D7F6-B498-43B3-948B-1728B52AA6E4}">
                  <adec:decorative xmlns:adec="http://schemas.microsoft.com/office/drawing/2017/decorative" val="1"/>
                </a:ext>
              </a:extLst>
            </p:cNvPr>
            <p:cNvSpPr txBox="1"/>
            <p:nvPr/>
          </p:nvSpPr>
          <p:spPr>
            <a:xfrm>
              <a:off x="2175011" y="4770158"/>
              <a:ext cx="942769" cy="276999"/>
            </a:xfrm>
            <a:prstGeom prst="rect">
              <a:avLst/>
            </a:prstGeom>
          </p:spPr>
          <p:txBody>
            <a:bodyPr wrap="none" anchor="ctr" anchorCtr="0">
              <a:spAutoFit/>
            </a:bodyPr>
            <a:lstStyle>
              <a:defPPr>
                <a:defRPr lang="en-US"/>
              </a:defPPr>
              <a:lvl1pPr marR="0" lvl="0" indent="0" algn="ctr" defTabSz="922530" fontAlgn="auto">
                <a:lnSpc>
                  <a:spcPct val="100000"/>
                </a:lnSpc>
                <a:spcBef>
                  <a:spcPts val="0"/>
                </a:spcBef>
                <a:spcAft>
                  <a:spcPts val="606"/>
                </a:spcAft>
                <a:buClrTx/>
                <a:buSzTx/>
                <a:buFontTx/>
                <a:buNone/>
                <a:tabLst/>
                <a:defRPr sz="1400">
                  <a:gradFill>
                    <a:gsLst>
                      <a:gs pos="8621">
                        <a:srgbClr val="FFFFFF"/>
                      </a:gs>
                      <a:gs pos="20225">
                        <a:srgbClr val="FFFFFF"/>
                      </a:gs>
                    </a:gsLst>
                    <a:lin ang="5400000" scaled="1"/>
                  </a:gradFill>
                  <a:latin typeface="Segoe UI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40" normalizeH="0" baseline="0" noProof="0">
                  <a:ln w="3175">
                    <a:noFill/>
                  </a:ln>
                  <a:solidFill>
                    <a:srgbClr val="000000"/>
                  </a:solidFill>
                  <a:effectLst/>
                  <a:uLnTx/>
                  <a:uFillTx/>
                  <a:latin typeface="Segoe Sans Display Semibold"/>
                  <a:ea typeface="+mn-ea"/>
                  <a:cs typeface="Segoe UI" panose="020B0502040204020203" pitchFamily="34" charset="0"/>
                </a:rPr>
                <a:t>Location</a:t>
              </a:r>
            </a:p>
          </p:txBody>
        </p:sp>
        <p:sp>
          <p:nvSpPr>
            <p:cNvPr id="232" name="TextBox 231">
              <a:extLst>
                <a:ext uri="{FF2B5EF4-FFF2-40B4-BE49-F238E27FC236}">
                  <a16:creationId xmlns:a16="http://schemas.microsoft.com/office/drawing/2014/main" id="{95BC5024-8386-140F-9039-7B84C717CFB3}"/>
                </a:ext>
                <a:ext uri="{C183D7F6-B498-43B3-948B-1728B52AA6E4}">
                  <adec:decorative xmlns:adec="http://schemas.microsoft.com/office/drawing/2017/decorative" val="1"/>
                </a:ext>
              </a:extLst>
            </p:cNvPr>
            <p:cNvSpPr txBox="1"/>
            <p:nvPr/>
          </p:nvSpPr>
          <p:spPr>
            <a:xfrm>
              <a:off x="1716766" y="5343822"/>
              <a:ext cx="1859262" cy="306467"/>
            </a:xfrm>
            <a:prstGeom prst="roundRect">
              <a:avLst/>
            </a:prstGeom>
            <a:solidFill>
              <a:schemeClr val="bg1"/>
            </a:solidFill>
            <a:ln w="22225">
              <a:solidFill>
                <a:srgbClr val="0360DB"/>
              </a:solidFill>
            </a:ln>
          </p:spPr>
          <p:txBody>
            <a:bodyPr wrap="none" anchor="ctr" anchorCtr="0">
              <a:spAutoFit/>
            </a:bodyPr>
            <a:lstStyle>
              <a:defPPr>
                <a:defRPr lang="en-US"/>
              </a:defPPr>
              <a:lvl1pPr marR="0" lvl="0" indent="0" algn="ctr" defTabSz="922530" fontAlgn="auto">
                <a:lnSpc>
                  <a:spcPct val="100000"/>
                </a:lnSpc>
                <a:spcBef>
                  <a:spcPts val="0"/>
                </a:spcBef>
                <a:spcAft>
                  <a:spcPts val="606"/>
                </a:spcAft>
                <a:buClrTx/>
                <a:buSzTx/>
                <a:buFontTx/>
                <a:buNone/>
                <a:tabLst/>
                <a:defRPr sz="1400">
                  <a:gradFill>
                    <a:gsLst>
                      <a:gs pos="8621">
                        <a:srgbClr val="FFFFFF"/>
                      </a:gs>
                      <a:gs pos="20225">
                        <a:srgbClr val="FFFFFF"/>
                      </a:gs>
                    </a:gsLst>
                    <a:lin ang="5400000" scaled="1"/>
                  </a:gradFill>
                  <a:latin typeface="Segoe UI Semibold"/>
                </a:defRPr>
              </a:lvl1pPr>
            </a:lstStyle>
            <a:p>
              <a:pPr marL="0" marR="0" lvl="0" indent="0" algn="ctr" defTabSz="914400" rtl="0" eaLnBrk="1" fontAlgn="auto" latinLnBrk="0" hangingPunct="1">
                <a:lnSpc>
                  <a:spcPct val="100000"/>
                </a:lnSpc>
                <a:spcBef>
                  <a:spcPts val="0"/>
                </a:spcBef>
                <a:spcAft>
                  <a:spcPts val="606"/>
                </a:spcAft>
                <a:buClrTx/>
                <a:buSzTx/>
                <a:buFontTx/>
                <a:buNone/>
                <a:tabLst/>
                <a:defRPr/>
              </a:pPr>
              <a:r>
                <a:rPr kumimoji="0" lang="en-US" sz="1200" b="0" i="0" u="none" strike="noStrike" kern="0" cap="none" spc="-40" normalizeH="0" baseline="0" noProof="0">
                  <a:ln w="3175">
                    <a:noFill/>
                  </a:ln>
                  <a:gradFill>
                    <a:gsLst>
                      <a:gs pos="0">
                        <a:srgbClr val="0360DB"/>
                      </a:gs>
                      <a:gs pos="80000">
                        <a:srgbClr val="207EFC"/>
                      </a:gs>
                    </a:gsLst>
                    <a:path path="circle">
                      <a:fillToRect l="100000" t="100000"/>
                    </a:path>
                  </a:gradFill>
                  <a:effectLst/>
                  <a:uLnTx/>
                  <a:uFillTx/>
                  <a:latin typeface="Segoe Sans Display Semibold"/>
                  <a:ea typeface="+mn-ea"/>
                  <a:cs typeface="Segoe UI" panose="020B0502040204020203" pitchFamily="34" charset="0"/>
                </a:rPr>
                <a:t>Compliant network</a:t>
              </a:r>
            </a:p>
          </p:txBody>
        </p:sp>
        <p:cxnSp>
          <p:nvCxnSpPr>
            <p:cNvPr id="233" name="Straight Connector 232">
              <a:extLst>
                <a:ext uri="{FF2B5EF4-FFF2-40B4-BE49-F238E27FC236}">
                  <a16:creationId xmlns:a16="http://schemas.microsoft.com/office/drawing/2014/main" id="{C9B33152-3A6B-EDAF-26D0-860067E90EA8}"/>
                </a:ext>
                <a:ext uri="{C183D7F6-B498-43B3-948B-1728B52AA6E4}">
                  <adec:decorative xmlns:adec="http://schemas.microsoft.com/office/drawing/2017/decorative" val="1"/>
                </a:ext>
              </a:extLst>
            </p:cNvPr>
            <p:cNvCxnSpPr>
              <a:cxnSpLocks/>
            </p:cNvCxnSpPr>
            <p:nvPr/>
          </p:nvCxnSpPr>
          <p:spPr>
            <a:xfrm>
              <a:off x="1890482" y="3219306"/>
              <a:ext cx="1511826" cy="0"/>
            </a:xfrm>
            <a:prstGeom prst="line">
              <a:avLst/>
            </a:prstGeom>
            <a:noFill/>
            <a:ln w="12700" cap="flat">
              <a:solidFill>
                <a:srgbClr val="FFFFFF">
                  <a:lumMod val="50000"/>
                </a:srgbClr>
              </a:solidFill>
              <a:prstDash val="solid"/>
              <a:miter/>
            </a:ln>
            <a:scene3d>
              <a:camera prst="isometricOffAxis1Right">
                <a:rot lat="0" lon="0" rev="0"/>
              </a:camera>
              <a:lightRig rig="flood" dir="t"/>
            </a:scene3d>
          </p:spPr>
        </p:cxnSp>
        <p:cxnSp>
          <p:nvCxnSpPr>
            <p:cNvPr id="234" name="Straight Connector 233">
              <a:extLst>
                <a:ext uri="{FF2B5EF4-FFF2-40B4-BE49-F238E27FC236}">
                  <a16:creationId xmlns:a16="http://schemas.microsoft.com/office/drawing/2014/main" id="{B6C01F6A-DDD8-B5BA-52B9-1DA766A8D496}"/>
                </a:ext>
                <a:ext uri="{C183D7F6-B498-43B3-948B-1728B52AA6E4}">
                  <adec:decorative xmlns:adec="http://schemas.microsoft.com/office/drawing/2017/decorative" val="1"/>
                </a:ext>
              </a:extLst>
            </p:cNvPr>
            <p:cNvCxnSpPr>
              <a:cxnSpLocks/>
            </p:cNvCxnSpPr>
            <p:nvPr/>
          </p:nvCxnSpPr>
          <p:spPr>
            <a:xfrm>
              <a:off x="1890482" y="4026827"/>
              <a:ext cx="1511826" cy="0"/>
            </a:xfrm>
            <a:prstGeom prst="line">
              <a:avLst/>
            </a:prstGeom>
            <a:noFill/>
            <a:ln w="12700" cap="flat">
              <a:solidFill>
                <a:srgbClr val="FFFFFF">
                  <a:lumMod val="50000"/>
                </a:srgbClr>
              </a:solidFill>
              <a:prstDash val="solid"/>
              <a:miter/>
            </a:ln>
            <a:scene3d>
              <a:camera prst="isometricOffAxis1Right">
                <a:rot lat="0" lon="0" rev="0"/>
              </a:camera>
              <a:lightRig rig="flood" dir="t"/>
            </a:scene3d>
          </p:spPr>
        </p:cxnSp>
        <p:cxnSp>
          <p:nvCxnSpPr>
            <p:cNvPr id="235" name="Straight Connector 234">
              <a:extLst>
                <a:ext uri="{FF2B5EF4-FFF2-40B4-BE49-F238E27FC236}">
                  <a16:creationId xmlns:a16="http://schemas.microsoft.com/office/drawing/2014/main" id="{8CB78C30-E11D-72AB-1209-5696D9DE4E96}"/>
                </a:ext>
                <a:ext uri="{C183D7F6-B498-43B3-948B-1728B52AA6E4}">
                  <adec:decorative xmlns:adec="http://schemas.microsoft.com/office/drawing/2017/decorative" val="1"/>
                </a:ext>
              </a:extLst>
            </p:cNvPr>
            <p:cNvCxnSpPr>
              <a:cxnSpLocks/>
            </p:cNvCxnSpPr>
            <p:nvPr/>
          </p:nvCxnSpPr>
          <p:spPr>
            <a:xfrm>
              <a:off x="1890482" y="4613692"/>
              <a:ext cx="1511826" cy="0"/>
            </a:xfrm>
            <a:prstGeom prst="line">
              <a:avLst/>
            </a:prstGeom>
            <a:noFill/>
            <a:ln w="12700" cap="flat">
              <a:solidFill>
                <a:srgbClr val="FFFFFF">
                  <a:lumMod val="50000"/>
                </a:srgbClr>
              </a:solidFill>
              <a:prstDash val="solid"/>
              <a:miter/>
            </a:ln>
            <a:scene3d>
              <a:camera prst="isometricOffAxis1Right">
                <a:rot lat="0" lon="0" rev="0"/>
              </a:camera>
              <a:lightRig rig="flood" dir="t"/>
            </a:scene3d>
          </p:spPr>
        </p:cxnSp>
        <p:cxnSp>
          <p:nvCxnSpPr>
            <p:cNvPr id="236" name="Straight Connector 235">
              <a:extLst>
                <a:ext uri="{FF2B5EF4-FFF2-40B4-BE49-F238E27FC236}">
                  <a16:creationId xmlns:a16="http://schemas.microsoft.com/office/drawing/2014/main" id="{0D1D7A98-3B6D-1F37-0861-85371214CA4B}"/>
                </a:ext>
                <a:ext uri="{C183D7F6-B498-43B3-948B-1728B52AA6E4}">
                  <adec:decorative xmlns:adec="http://schemas.microsoft.com/office/drawing/2017/decorative" val="1"/>
                </a:ext>
              </a:extLst>
            </p:cNvPr>
            <p:cNvCxnSpPr>
              <a:cxnSpLocks/>
            </p:cNvCxnSpPr>
            <p:nvPr/>
          </p:nvCxnSpPr>
          <p:spPr>
            <a:xfrm>
              <a:off x="1890482" y="5203623"/>
              <a:ext cx="1511826" cy="0"/>
            </a:xfrm>
            <a:prstGeom prst="line">
              <a:avLst/>
            </a:prstGeom>
            <a:noFill/>
            <a:ln w="12700" cap="flat">
              <a:solidFill>
                <a:srgbClr val="FFFFFF">
                  <a:lumMod val="50000"/>
                </a:srgbClr>
              </a:solidFill>
              <a:prstDash val="solid"/>
              <a:miter/>
            </a:ln>
            <a:scene3d>
              <a:camera prst="isometricOffAxis1Right">
                <a:rot lat="0" lon="0" rev="0"/>
              </a:camera>
              <a:lightRig rig="flood" dir="t"/>
            </a:scene3d>
          </p:spPr>
        </p:cxnSp>
        <p:cxnSp>
          <p:nvCxnSpPr>
            <p:cNvPr id="237" name="Straight Connector 236">
              <a:extLst>
                <a:ext uri="{FF2B5EF4-FFF2-40B4-BE49-F238E27FC236}">
                  <a16:creationId xmlns:a16="http://schemas.microsoft.com/office/drawing/2014/main" id="{38C2815E-4969-2202-BDC9-70763D953005}"/>
                </a:ext>
                <a:ext uri="{C183D7F6-B498-43B3-948B-1728B52AA6E4}">
                  <adec:decorative xmlns:adec="http://schemas.microsoft.com/office/drawing/2017/decorative" val="1"/>
                </a:ext>
              </a:extLst>
            </p:cNvPr>
            <p:cNvCxnSpPr>
              <a:cxnSpLocks/>
            </p:cNvCxnSpPr>
            <p:nvPr/>
          </p:nvCxnSpPr>
          <p:spPr>
            <a:xfrm>
              <a:off x="1890482" y="2632441"/>
              <a:ext cx="1511826" cy="0"/>
            </a:xfrm>
            <a:prstGeom prst="line">
              <a:avLst/>
            </a:prstGeom>
            <a:noFill/>
            <a:ln w="12700" cap="flat">
              <a:solidFill>
                <a:srgbClr val="FFFFFF">
                  <a:lumMod val="50000"/>
                </a:srgbClr>
              </a:solidFill>
              <a:prstDash val="solid"/>
              <a:miter/>
            </a:ln>
            <a:scene3d>
              <a:camera prst="isometricOffAxis1Right">
                <a:rot lat="0" lon="0" rev="0"/>
              </a:camera>
              <a:lightRig rig="flood" dir="t"/>
            </a:scene3d>
          </p:spPr>
        </p:cxnSp>
      </p:grpSp>
      <p:grpSp>
        <p:nvGrpSpPr>
          <p:cNvPr id="238" name="Group 237">
            <a:extLst>
              <a:ext uri="{FF2B5EF4-FFF2-40B4-BE49-F238E27FC236}">
                <a16:creationId xmlns:a16="http://schemas.microsoft.com/office/drawing/2014/main" id="{85546B2A-E7BD-E417-982A-E5573A53AC4A}"/>
              </a:ext>
              <a:ext uri="{C183D7F6-B498-43B3-948B-1728B52AA6E4}">
                <adec:decorative xmlns:adec="http://schemas.microsoft.com/office/drawing/2017/decorative" val="1"/>
              </a:ext>
            </a:extLst>
          </p:cNvPr>
          <p:cNvGrpSpPr/>
          <p:nvPr/>
        </p:nvGrpSpPr>
        <p:grpSpPr>
          <a:xfrm>
            <a:off x="8336114" y="3141061"/>
            <a:ext cx="822960" cy="1931663"/>
            <a:chOff x="8528228" y="3141886"/>
            <a:chExt cx="822960" cy="1931663"/>
          </a:xfrm>
          <a:solidFill>
            <a:srgbClr val="0D2637"/>
          </a:solidFill>
        </p:grpSpPr>
        <p:sp>
          <p:nvSpPr>
            <p:cNvPr id="239" name="Rectangle: Rounded Corners 18">
              <a:extLst>
                <a:ext uri="{FF2B5EF4-FFF2-40B4-BE49-F238E27FC236}">
                  <a16:creationId xmlns:a16="http://schemas.microsoft.com/office/drawing/2014/main" id="{75FFA904-A624-3E6A-F839-D09B479B1CE1}"/>
                </a:ext>
                <a:ext uri="{C183D7F6-B498-43B3-948B-1728B52AA6E4}">
                  <adec:decorative xmlns:adec="http://schemas.microsoft.com/office/drawing/2017/decorative" val="1"/>
                </a:ext>
              </a:extLst>
            </p:cNvPr>
            <p:cNvSpPr>
              <a:spLocks/>
            </p:cNvSpPr>
            <p:nvPr/>
          </p:nvSpPr>
          <p:spPr bwMode="auto">
            <a:xfrm>
              <a:off x="8528228" y="3141886"/>
              <a:ext cx="822960" cy="365760"/>
            </a:xfrm>
            <a:prstGeom prst="roundRect">
              <a:avLst>
                <a:gd name="adj" fmla="val 50000"/>
              </a:avLst>
            </a:prstGeom>
            <a:solidFill>
              <a:srgbClr val="FFFFFF"/>
            </a:solidFill>
            <a:ln w="22225" cap="flat" cmpd="sng" algn="ctr">
              <a:solidFill>
                <a:srgbClr val="599FFD"/>
              </a:solidFill>
              <a:prstDash val="solid"/>
              <a:headEnd type="none" w="med" len="med"/>
              <a:tailEnd type="none" w="med" len="med"/>
            </a:ln>
            <a:effectLst>
              <a:outerShdw blurRad="127000" algn="ctr" rotWithShape="0">
                <a:prstClr val="black">
                  <a:alpha val="20000"/>
                </a:prstClr>
              </a:outerShdw>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20000"/>
                </a:spcBef>
                <a:spcAft>
                  <a:spcPts val="0"/>
                </a:spcAft>
                <a:buClrTx/>
                <a:buSzPct val="90000"/>
                <a:buFontTx/>
                <a:buNone/>
                <a:tabLst/>
                <a:defRPr/>
              </a:pPr>
              <a:r>
                <a:rPr kumimoji="0" lang="en-US" sz="1100" b="0" i="0" u="none" strike="noStrike" kern="0" cap="none" spc="0" normalizeH="0" baseline="0" noProof="0">
                  <a:ln>
                    <a:noFill/>
                  </a:ln>
                  <a:solidFill>
                    <a:srgbClr val="000000"/>
                  </a:solidFill>
                  <a:effectLst/>
                  <a:uLnTx/>
                  <a:uFillTx/>
                  <a:latin typeface="Segoe Sans Display Semibold"/>
                  <a:ea typeface="+mn-ea"/>
                  <a:cs typeface="Segoe UI Semibold" panose="020B0702040204020203" pitchFamily="34" charset="0"/>
                </a:rPr>
                <a:t>Allow</a:t>
              </a:r>
            </a:p>
          </p:txBody>
        </p:sp>
        <p:sp>
          <p:nvSpPr>
            <p:cNvPr id="240" name="Rectangle: Rounded Corners 18">
              <a:extLst>
                <a:ext uri="{FF2B5EF4-FFF2-40B4-BE49-F238E27FC236}">
                  <a16:creationId xmlns:a16="http://schemas.microsoft.com/office/drawing/2014/main" id="{D96DFECC-A110-E705-B777-519D3734ABF5}"/>
                </a:ext>
                <a:ext uri="{C183D7F6-B498-43B3-948B-1728B52AA6E4}">
                  <adec:decorative xmlns:adec="http://schemas.microsoft.com/office/drawing/2017/decorative" val="1"/>
                </a:ext>
              </a:extLst>
            </p:cNvPr>
            <p:cNvSpPr>
              <a:spLocks/>
            </p:cNvSpPr>
            <p:nvPr/>
          </p:nvSpPr>
          <p:spPr bwMode="auto">
            <a:xfrm>
              <a:off x="8528228" y="4185822"/>
              <a:ext cx="822960" cy="365760"/>
            </a:xfrm>
            <a:prstGeom prst="roundRect">
              <a:avLst>
                <a:gd name="adj" fmla="val 50000"/>
              </a:avLst>
            </a:prstGeom>
            <a:solidFill>
              <a:srgbClr val="FFFFFF"/>
            </a:solidFill>
            <a:ln w="22225" cap="flat" cmpd="sng" algn="ctr">
              <a:solidFill>
                <a:srgbClr val="A5B8EE"/>
              </a:solidFill>
              <a:prstDash val="solid"/>
              <a:headEnd type="none" w="med" len="med"/>
              <a:tailEnd type="none" w="med" len="med"/>
            </a:ln>
            <a:effectLst>
              <a:outerShdw blurRad="127000" algn="ctr" rotWithShape="0">
                <a:prstClr val="black">
                  <a:alpha val="20000"/>
                </a:prstClr>
              </a:outerShdw>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20000"/>
                </a:spcBef>
                <a:spcAft>
                  <a:spcPts val="0"/>
                </a:spcAft>
                <a:buClrTx/>
                <a:buSzPct val="90000"/>
                <a:buFontTx/>
                <a:buNone/>
                <a:tabLst/>
                <a:defRPr/>
              </a:pPr>
              <a:r>
                <a:rPr kumimoji="0" lang="en-US" sz="1100" b="0" i="0" u="none" strike="noStrike" kern="0" cap="none" spc="0" normalizeH="0" baseline="0" noProof="0">
                  <a:ln>
                    <a:noFill/>
                  </a:ln>
                  <a:solidFill>
                    <a:srgbClr val="000000"/>
                  </a:solidFill>
                  <a:effectLst/>
                  <a:uLnTx/>
                  <a:uFillTx/>
                  <a:latin typeface="Segoe Sans Display Semibold"/>
                  <a:ea typeface="+mn-ea"/>
                  <a:cs typeface="Segoe UI Semibold" panose="020B0702040204020203" pitchFamily="34" charset="0"/>
                </a:rPr>
                <a:t>Block</a:t>
              </a:r>
            </a:p>
          </p:txBody>
        </p:sp>
        <p:sp>
          <p:nvSpPr>
            <p:cNvPr id="241" name="Rectangle: Rounded Corners 18">
              <a:extLst>
                <a:ext uri="{FF2B5EF4-FFF2-40B4-BE49-F238E27FC236}">
                  <a16:creationId xmlns:a16="http://schemas.microsoft.com/office/drawing/2014/main" id="{BF80252A-018B-DAE4-F22A-679A9C371D48}"/>
                </a:ext>
                <a:ext uri="{C183D7F6-B498-43B3-948B-1728B52AA6E4}">
                  <adec:decorative xmlns:adec="http://schemas.microsoft.com/office/drawing/2017/decorative" val="1"/>
                </a:ext>
              </a:extLst>
            </p:cNvPr>
            <p:cNvSpPr>
              <a:spLocks/>
            </p:cNvSpPr>
            <p:nvPr/>
          </p:nvSpPr>
          <p:spPr bwMode="auto">
            <a:xfrm>
              <a:off x="8528228" y="3663854"/>
              <a:ext cx="822960" cy="365760"/>
            </a:xfrm>
            <a:prstGeom prst="roundRect">
              <a:avLst>
                <a:gd name="adj" fmla="val 50000"/>
              </a:avLst>
            </a:prstGeom>
            <a:solidFill>
              <a:srgbClr val="FFFFFF"/>
            </a:solidFill>
            <a:ln w="22225" cap="flat" cmpd="sng" algn="ctr">
              <a:solidFill>
                <a:srgbClr val="FADC14"/>
              </a:solidFill>
              <a:prstDash val="solid"/>
              <a:headEnd type="none" w="med" len="med"/>
              <a:tailEnd type="none" w="med" len="med"/>
            </a:ln>
            <a:effectLst>
              <a:outerShdw blurRad="127000" algn="ctr" rotWithShape="0">
                <a:prstClr val="black">
                  <a:alpha val="20000"/>
                </a:prstClr>
              </a:outerShdw>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20000"/>
                </a:spcBef>
                <a:spcAft>
                  <a:spcPts val="0"/>
                </a:spcAft>
                <a:buClrTx/>
                <a:buSzPct val="90000"/>
                <a:buFontTx/>
                <a:buNone/>
                <a:tabLst/>
                <a:defRPr/>
              </a:pPr>
              <a:r>
                <a:rPr kumimoji="0" lang="en-US" sz="1100" b="0" i="0" u="none" strike="noStrike" kern="0" cap="none" spc="0" normalizeH="0" baseline="0" noProof="0">
                  <a:ln>
                    <a:noFill/>
                  </a:ln>
                  <a:solidFill>
                    <a:srgbClr val="000000"/>
                  </a:solidFill>
                  <a:effectLst/>
                  <a:uLnTx/>
                  <a:uFillTx/>
                  <a:latin typeface="Segoe Sans Display Semibold"/>
                  <a:ea typeface="+mn-ea"/>
                  <a:cs typeface="Segoe UI Semibold" panose="020B0702040204020203" pitchFamily="34" charset="0"/>
                </a:rPr>
                <a:t>Require</a:t>
              </a:r>
            </a:p>
          </p:txBody>
        </p:sp>
        <p:sp>
          <p:nvSpPr>
            <p:cNvPr id="242" name="Rectangle: Rounded Corners 18">
              <a:extLst>
                <a:ext uri="{FF2B5EF4-FFF2-40B4-BE49-F238E27FC236}">
                  <a16:creationId xmlns:a16="http://schemas.microsoft.com/office/drawing/2014/main" id="{5E0828ED-14CD-F176-7496-393211EB1C41}"/>
                </a:ext>
                <a:ext uri="{C183D7F6-B498-43B3-948B-1728B52AA6E4}">
                  <adec:decorative xmlns:adec="http://schemas.microsoft.com/office/drawing/2017/decorative" val="1"/>
                </a:ext>
              </a:extLst>
            </p:cNvPr>
            <p:cNvSpPr>
              <a:spLocks/>
            </p:cNvSpPr>
            <p:nvPr/>
          </p:nvSpPr>
          <p:spPr bwMode="auto">
            <a:xfrm>
              <a:off x="8528228" y="4707789"/>
              <a:ext cx="822960" cy="365760"/>
            </a:xfrm>
            <a:prstGeom prst="roundRect">
              <a:avLst>
                <a:gd name="adj" fmla="val 50000"/>
              </a:avLst>
            </a:prstGeom>
            <a:solidFill>
              <a:srgbClr val="FFFFFF"/>
            </a:solidFill>
            <a:ln w="22225" cap="flat" cmpd="sng" algn="ctr">
              <a:solidFill>
                <a:srgbClr val="E2F9D9"/>
              </a:solidFill>
              <a:prstDash val="solid"/>
              <a:headEnd type="none" w="med" len="med"/>
              <a:tailEnd type="none" w="med" len="med"/>
            </a:ln>
            <a:effectLst>
              <a:outerShdw blurRad="127000" algn="ctr" rotWithShape="0">
                <a:prstClr val="black">
                  <a:alpha val="20000"/>
                </a:prstClr>
              </a:outerShdw>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20000"/>
                </a:spcBef>
                <a:spcAft>
                  <a:spcPts val="0"/>
                </a:spcAft>
                <a:buClrTx/>
                <a:buSzPct val="90000"/>
                <a:buFontTx/>
                <a:buNone/>
                <a:tabLst/>
                <a:defRPr/>
              </a:pPr>
              <a:r>
                <a:rPr kumimoji="0" lang="en-US" sz="1100" b="0" i="0" u="none" strike="noStrike" kern="0" cap="none" spc="0" normalizeH="0" baseline="0" noProof="0">
                  <a:ln>
                    <a:noFill/>
                  </a:ln>
                  <a:solidFill>
                    <a:srgbClr val="000000"/>
                  </a:solidFill>
                  <a:effectLst/>
                  <a:uLnTx/>
                  <a:uFillTx/>
                  <a:latin typeface="Segoe Sans Display Semibold"/>
                  <a:ea typeface="+mn-ea"/>
                  <a:cs typeface="Segoe UI Semibold" panose="020B0702040204020203" pitchFamily="34" charset="0"/>
                </a:rPr>
                <a:t>Restrict</a:t>
              </a:r>
            </a:p>
          </p:txBody>
        </p:sp>
      </p:grpSp>
      <p:sp>
        <p:nvSpPr>
          <p:cNvPr id="243" name="TextBox 242">
            <a:extLst>
              <a:ext uri="{FF2B5EF4-FFF2-40B4-BE49-F238E27FC236}">
                <a16:creationId xmlns:a16="http://schemas.microsoft.com/office/drawing/2014/main" id="{7879C02C-1539-90B5-CEBA-3BD108FA75C0}"/>
              </a:ext>
            </a:extLst>
          </p:cNvPr>
          <p:cNvSpPr txBox="1"/>
          <p:nvPr/>
        </p:nvSpPr>
        <p:spPr>
          <a:xfrm>
            <a:off x="1137143" y="1597026"/>
            <a:ext cx="639599" cy="276999"/>
          </a:xfrm>
          <a:prstGeom prst="rect">
            <a:avLst/>
          </a:prstGeom>
          <a:noFill/>
        </p:spPr>
        <p:txBody>
          <a:bodyPr wrap="none" lIns="0" tIns="0" rIns="0" bIns="0" rtlCol="0">
            <a:spAutoFit/>
          </a:bodyPr>
          <a:lstStyle/>
          <a:p>
            <a:pPr marL="0" marR="0" lvl="0" indent="0" algn="ctr" defTabSz="922530" rtl="0" eaLnBrk="1" fontAlgn="auto" latinLnBrk="0" hangingPunct="1">
              <a:lnSpc>
                <a:spcPct val="100000"/>
              </a:lnSpc>
              <a:spcBef>
                <a:spcPts val="0"/>
              </a:spcBef>
              <a:spcAft>
                <a:spcPts val="606"/>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Sans Display Semibold"/>
                <a:ea typeface="+mn-ea"/>
                <a:cs typeface="+mn-cs"/>
              </a:rPr>
              <a:t>Signal</a:t>
            </a:r>
          </a:p>
        </p:txBody>
      </p:sp>
      <p:sp>
        <p:nvSpPr>
          <p:cNvPr id="244" name="TextBox 243">
            <a:extLst>
              <a:ext uri="{FF2B5EF4-FFF2-40B4-BE49-F238E27FC236}">
                <a16:creationId xmlns:a16="http://schemas.microsoft.com/office/drawing/2014/main" id="{C4FECBF7-4564-E9AE-89FD-B29B86BDBBA0}"/>
              </a:ext>
            </a:extLst>
          </p:cNvPr>
          <p:cNvSpPr txBox="1"/>
          <p:nvPr/>
        </p:nvSpPr>
        <p:spPr>
          <a:xfrm>
            <a:off x="4920795" y="1597026"/>
            <a:ext cx="900888" cy="276999"/>
          </a:xfrm>
          <a:prstGeom prst="rect">
            <a:avLst/>
          </a:prstGeom>
          <a:noFill/>
        </p:spPr>
        <p:txBody>
          <a:bodyPr wrap="none" lIns="0" tIns="0" rIns="0" bIns="0" rtlCol="0">
            <a:spAutoFit/>
          </a:bodyPr>
          <a:lstStyle/>
          <a:p>
            <a:pPr marL="0" marR="0" lvl="0" indent="0" algn="ctr" defTabSz="922530" rtl="0" eaLnBrk="1" fontAlgn="auto" latinLnBrk="0" hangingPunct="1">
              <a:lnSpc>
                <a:spcPct val="100000"/>
              </a:lnSpc>
              <a:spcBef>
                <a:spcPts val="0"/>
              </a:spcBef>
              <a:spcAft>
                <a:spcPts val="606"/>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Sans Display Semibold"/>
                <a:ea typeface="+mn-ea"/>
                <a:cs typeface="+mn-cs"/>
              </a:rPr>
              <a:t>Decision</a:t>
            </a:r>
          </a:p>
        </p:txBody>
      </p:sp>
      <p:sp>
        <p:nvSpPr>
          <p:cNvPr id="245" name="TextBox 244">
            <a:extLst>
              <a:ext uri="{FF2B5EF4-FFF2-40B4-BE49-F238E27FC236}">
                <a16:creationId xmlns:a16="http://schemas.microsoft.com/office/drawing/2014/main" id="{8C1AA074-33C9-F2C1-C7CA-C6BBDE8FC298}"/>
              </a:ext>
            </a:extLst>
          </p:cNvPr>
          <p:cNvSpPr txBox="1"/>
          <p:nvPr/>
        </p:nvSpPr>
        <p:spPr>
          <a:xfrm>
            <a:off x="9596606" y="1597026"/>
            <a:ext cx="1350306" cy="276999"/>
          </a:xfrm>
          <a:prstGeom prst="rect">
            <a:avLst/>
          </a:prstGeom>
          <a:noFill/>
        </p:spPr>
        <p:txBody>
          <a:bodyPr wrap="none" lIns="0" tIns="0" rIns="0" bIns="0" rtlCol="0">
            <a:spAutoFit/>
          </a:bodyPr>
          <a:lstStyle/>
          <a:p>
            <a:pPr marL="0" marR="0" lvl="0" indent="0" algn="ctr" defTabSz="922530" rtl="0" eaLnBrk="1" fontAlgn="auto" latinLnBrk="0" hangingPunct="1">
              <a:lnSpc>
                <a:spcPct val="100000"/>
              </a:lnSpc>
              <a:spcBef>
                <a:spcPts val="0"/>
              </a:spcBef>
              <a:spcAft>
                <a:spcPts val="606"/>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Sans Display Semibold"/>
                <a:ea typeface="+mn-ea"/>
                <a:cs typeface="+mn-cs"/>
              </a:rPr>
              <a:t>Enforcement</a:t>
            </a:r>
          </a:p>
        </p:txBody>
      </p:sp>
      <p:cxnSp>
        <p:nvCxnSpPr>
          <p:cNvPr id="246" name="Straight Connector 245">
            <a:extLst>
              <a:ext uri="{FF2B5EF4-FFF2-40B4-BE49-F238E27FC236}">
                <a16:creationId xmlns:a16="http://schemas.microsoft.com/office/drawing/2014/main" id="{1A3E0329-E572-5347-2BEC-7C2B60EB231A}"/>
              </a:ext>
              <a:ext uri="{C183D7F6-B498-43B3-948B-1728B52AA6E4}">
                <adec:decorative xmlns:adec="http://schemas.microsoft.com/office/drawing/2017/decorative" val="1"/>
              </a:ext>
            </a:extLst>
          </p:cNvPr>
          <p:cNvCxnSpPr>
            <a:cxnSpLocks/>
          </p:cNvCxnSpPr>
          <p:nvPr/>
        </p:nvCxnSpPr>
        <p:spPr>
          <a:xfrm>
            <a:off x="9265919" y="3287515"/>
            <a:ext cx="2011680" cy="0"/>
          </a:xfrm>
          <a:prstGeom prst="line">
            <a:avLst/>
          </a:prstGeom>
          <a:noFill/>
          <a:ln w="12700" cap="flat">
            <a:solidFill>
              <a:srgbClr val="FFFFFF">
                <a:lumMod val="50000"/>
              </a:srgbClr>
            </a:solidFill>
            <a:prstDash val="solid"/>
            <a:miter/>
          </a:ln>
          <a:scene3d>
            <a:camera prst="isometricOffAxis1Right">
              <a:rot lat="0" lon="0" rev="0"/>
            </a:camera>
            <a:lightRig rig="flood" dir="t"/>
          </a:scene3d>
        </p:spPr>
      </p:cxnSp>
      <p:sp>
        <p:nvSpPr>
          <p:cNvPr id="247" name="TextBox 246">
            <a:extLst>
              <a:ext uri="{FF2B5EF4-FFF2-40B4-BE49-F238E27FC236}">
                <a16:creationId xmlns:a16="http://schemas.microsoft.com/office/drawing/2014/main" id="{51DAD192-5E2B-F44E-1E39-49C32B8DB0F1}"/>
              </a:ext>
              <a:ext uri="{C183D7F6-B498-43B3-948B-1728B52AA6E4}">
                <adec:decorative xmlns:adec="http://schemas.microsoft.com/office/drawing/2017/decorative" val="1"/>
              </a:ext>
            </a:extLst>
          </p:cNvPr>
          <p:cNvSpPr txBox="1"/>
          <p:nvPr/>
        </p:nvSpPr>
        <p:spPr>
          <a:xfrm>
            <a:off x="9448799" y="2891654"/>
            <a:ext cx="164592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40" normalizeH="0" baseline="0" noProof="0">
                <a:ln w="3175">
                  <a:noFill/>
                </a:ln>
                <a:gradFill>
                  <a:gsLst>
                    <a:gs pos="0">
                      <a:srgbClr val="0360DB"/>
                    </a:gs>
                    <a:gs pos="80000">
                      <a:srgbClr val="207EFC"/>
                    </a:gs>
                  </a:gsLst>
                  <a:path path="circle">
                    <a:fillToRect l="100000" t="100000"/>
                  </a:path>
                </a:gradFill>
                <a:effectLst/>
                <a:uLnTx/>
                <a:uFillTx/>
                <a:latin typeface="Segoe Sans Display Semibold"/>
                <a:ea typeface="+mn-ea"/>
                <a:cs typeface="Segoe UI" panose="020B0502040204020203" pitchFamily="34" charset="0"/>
              </a:rPr>
              <a:t>IaaS, PaaS, Datacenter</a:t>
            </a:r>
          </a:p>
        </p:txBody>
      </p:sp>
      <p:grpSp>
        <p:nvGrpSpPr>
          <p:cNvPr id="248" name="Group 247">
            <a:extLst>
              <a:ext uri="{FF2B5EF4-FFF2-40B4-BE49-F238E27FC236}">
                <a16:creationId xmlns:a16="http://schemas.microsoft.com/office/drawing/2014/main" id="{CF6FE33E-769B-B974-C648-CAC36C9A0A5F}"/>
              </a:ext>
              <a:ext uri="{C183D7F6-B498-43B3-948B-1728B52AA6E4}">
                <adec:decorative xmlns:adec="http://schemas.microsoft.com/office/drawing/2017/decorative" val="1"/>
              </a:ext>
            </a:extLst>
          </p:cNvPr>
          <p:cNvGrpSpPr/>
          <p:nvPr/>
        </p:nvGrpSpPr>
        <p:grpSpPr>
          <a:xfrm>
            <a:off x="9256780" y="2371182"/>
            <a:ext cx="2029958" cy="351579"/>
            <a:chOff x="9073317" y="2150392"/>
            <a:chExt cx="2029958" cy="351579"/>
          </a:xfrm>
        </p:grpSpPr>
        <p:grpSp>
          <p:nvGrpSpPr>
            <p:cNvPr id="249" name="Group 248">
              <a:extLst>
                <a:ext uri="{FF2B5EF4-FFF2-40B4-BE49-F238E27FC236}">
                  <a16:creationId xmlns:a16="http://schemas.microsoft.com/office/drawing/2014/main" id="{A40595BE-6B13-7085-18F0-E5B7A3D1309A}"/>
                </a:ext>
              </a:extLst>
            </p:cNvPr>
            <p:cNvGrpSpPr/>
            <p:nvPr/>
          </p:nvGrpSpPr>
          <p:grpSpPr>
            <a:xfrm>
              <a:off x="10321858" y="2180102"/>
              <a:ext cx="376399" cy="292159"/>
              <a:chOff x="10321857" y="2180103"/>
              <a:chExt cx="376399" cy="292159"/>
            </a:xfrm>
          </p:grpSpPr>
          <p:sp>
            <p:nvSpPr>
              <p:cNvPr id="253" name="Freeform: Shape 400">
                <a:extLst>
                  <a:ext uri="{FF2B5EF4-FFF2-40B4-BE49-F238E27FC236}">
                    <a16:creationId xmlns:a16="http://schemas.microsoft.com/office/drawing/2014/main" id="{9052C026-46BA-F2F0-C7DD-CF3F8459ED52}"/>
                  </a:ext>
                </a:extLst>
              </p:cNvPr>
              <p:cNvSpPr/>
              <p:nvPr/>
            </p:nvSpPr>
            <p:spPr>
              <a:xfrm>
                <a:off x="10367258" y="2180103"/>
                <a:ext cx="239249" cy="104700"/>
              </a:xfrm>
              <a:custGeom>
                <a:avLst/>
                <a:gdLst>
                  <a:gd name="connsiteX0" fmla="*/ 160496 w 198501"/>
                  <a:gd name="connsiteY0" fmla="*/ 69209 h 90069"/>
                  <a:gd name="connsiteX1" fmla="*/ 170021 w 198501"/>
                  <a:gd name="connsiteY1" fmla="*/ 69209 h 90069"/>
                  <a:gd name="connsiteX2" fmla="*/ 197168 w 198501"/>
                  <a:gd name="connsiteY2" fmla="*/ 42063 h 90069"/>
                  <a:gd name="connsiteX3" fmla="*/ 198501 w 198501"/>
                  <a:gd name="connsiteY3" fmla="*/ 30538 h 90069"/>
                  <a:gd name="connsiteX4" fmla="*/ 26280 w 198501"/>
                  <a:gd name="connsiteY4" fmla="*/ 41274 h 90069"/>
                  <a:gd name="connsiteX5" fmla="*/ 0 w 198501"/>
                  <a:gd name="connsiteY5" fmla="*/ 90069 h 90069"/>
                  <a:gd name="connsiteX6" fmla="*/ 9525 w 198501"/>
                  <a:gd name="connsiteY6" fmla="*/ 89498 h 90069"/>
                  <a:gd name="connsiteX7" fmla="*/ 63818 w 198501"/>
                  <a:gd name="connsiteY7" fmla="*/ 80544 h 90069"/>
                  <a:gd name="connsiteX8" fmla="*/ 68009 w 198501"/>
                  <a:gd name="connsiteY8" fmla="*/ 76258 h 90069"/>
                  <a:gd name="connsiteX9" fmla="*/ 160687 w 198501"/>
                  <a:gd name="connsiteY9" fmla="*/ 69209 h 90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501" h="90069">
                    <a:moveTo>
                      <a:pt x="160496" y="69209"/>
                    </a:moveTo>
                    <a:lnTo>
                      <a:pt x="170021" y="69209"/>
                    </a:lnTo>
                    <a:lnTo>
                      <a:pt x="197168" y="42063"/>
                    </a:lnTo>
                    <a:lnTo>
                      <a:pt x="198501" y="30538"/>
                    </a:lnTo>
                    <a:cubicBezTo>
                      <a:pt x="147979" y="-14055"/>
                      <a:pt x="70873" y="-9248"/>
                      <a:pt x="26280" y="41274"/>
                    </a:cubicBezTo>
                    <a:cubicBezTo>
                      <a:pt x="13893" y="55308"/>
                      <a:pt x="4901" y="72004"/>
                      <a:pt x="0" y="90069"/>
                    </a:cubicBezTo>
                    <a:cubicBezTo>
                      <a:pt x="3024" y="88830"/>
                      <a:pt x="6374" y="88629"/>
                      <a:pt x="9525" y="89498"/>
                    </a:cubicBezTo>
                    <a:lnTo>
                      <a:pt x="63818" y="80544"/>
                    </a:lnTo>
                    <a:cubicBezTo>
                      <a:pt x="63818" y="80544"/>
                      <a:pt x="66580" y="75972"/>
                      <a:pt x="68009" y="76258"/>
                    </a:cubicBezTo>
                    <a:cubicBezTo>
                      <a:pt x="92159" y="49734"/>
                      <a:pt x="132802" y="46643"/>
                      <a:pt x="160687" y="69209"/>
                    </a:cubicBezTo>
                    <a:close/>
                  </a:path>
                </a:pathLst>
              </a:custGeom>
              <a:solidFill>
                <a:srgbClr val="EA4335"/>
              </a:solidFill>
              <a:ln w="9525" cap="flat">
                <a:noFill/>
                <a:prstDash val="solid"/>
                <a:miter/>
              </a:ln>
            </p:spPr>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gradFill>
                    <a:gsLst>
                      <a:gs pos="8621">
                        <a:srgbClr val="000000"/>
                      </a:gs>
                      <a:gs pos="20225">
                        <a:srgbClr val="000000"/>
                      </a:gs>
                    </a:gsLst>
                    <a:lin ang="5400000" scaled="1"/>
                  </a:gradFill>
                  <a:effectLst/>
                  <a:uLnTx/>
                  <a:uFillTx/>
                  <a:latin typeface="Segoe Sans Display Semibold"/>
                  <a:ea typeface="+mn-ea"/>
                  <a:cs typeface="+mn-cs"/>
                </a:endParaRPr>
              </a:p>
            </p:txBody>
          </p:sp>
          <p:sp>
            <p:nvSpPr>
              <p:cNvPr id="254" name="Freeform: Shape 401">
                <a:extLst>
                  <a:ext uri="{FF2B5EF4-FFF2-40B4-BE49-F238E27FC236}">
                    <a16:creationId xmlns:a16="http://schemas.microsoft.com/office/drawing/2014/main" id="{EBD6F7CE-864E-E016-2419-391D9D877CD6}"/>
                  </a:ext>
                </a:extLst>
              </p:cNvPr>
              <p:cNvSpPr/>
              <p:nvPr/>
            </p:nvSpPr>
            <p:spPr>
              <a:xfrm>
                <a:off x="10501231" y="2215712"/>
                <a:ext cx="197025" cy="256550"/>
              </a:xfrm>
              <a:custGeom>
                <a:avLst/>
                <a:gdLst>
                  <a:gd name="connsiteX0" fmla="*/ 124682 w 163468"/>
                  <a:gd name="connsiteY0" fmla="*/ 59436 h 220696"/>
                  <a:gd name="connsiteX1" fmla="*/ 87820 w 163468"/>
                  <a:gd name="connsiteY1" fmla="*/ 0 h 220696"/>
                  <a:gd name="connsiteX2" fmla="*/ 49720 w 163468"/>
                  <a:gd name="connsiteY2" fmla="*/ 38100 h 220696"/>
                  <a:gd name="connsiteX3" fmla="*/ 74581 w 163468"/>
                  <a:gd name="connsiteY3" fmla="*/ 91821 h 220696"/>
                  <a:gd name="connsiteX4" fmla="*/ 74581 w 163468"/>
                  <a:gd name="connsiteY4" fmla="*/ 98584 h 220696"/>
                  <a:gd name="connsiteX5" fmla="*/ 108490 w 163468"/>
                  <a:gd name="connsiteY5" fmla="*/ 132493 h 220696"/>
                  <a:gd name="connsiteX6" fmla="*/ 74581 w 163468"/>
                  <a:gd name="connsiteY6" fmla="*/ 166402 h 220696"/>
                  <a:gd name="connsiteX7" fmla="*/ 6763 w 163468"/>
                  <a:gd name="connsiteY7" fmla="*/ 166402 h 220696"/>
                  <a:gd name="connsiteX8" fmla="*/ 0 w 163468"/>
                  <a:gd name="connsiteY8" fmla="*/ 173260 h 220696"/>
                  <a:gd name="connsiteX9" fmla="*/ 0 w 163468"/>
                  <a:gd name="connsiteY9" fmla="*/ 213932 h 220696"/>
                  <a:gd name="connsiteX10" fmla="*/ 6763 w 163468"/>
                  <a:gd name="connsiteY10" fmla="*/ 220694 h 220696"/>
                  <a:gd name="connsiteX11" fmla="*/ 74581 w 163468"/>
                  <a:gd name="connsiteY11" fmla="*/ 220694 h 220696"/>
                  <a:gd name="connsiteX12" fmla="*/ 163466 w 163468"/>
                  <a:gd name="connsiteY12" fmla="*/ 133182 h 220696"/>
                  <a:gd name="connsiteX13" fmla="*/ 124682 w 163468"/>
                  <a:gd name="connsiteY13" fmla="*/ 59436 h 220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3468" h="220696">
                    <a:moveTo>
                      <a:pt x="124682" y="59436"/>
                    </a:moveTo>
                    <a:cubicBezTo>
                      <a:pt x="118442" y="36458"/>
                      <a:pt x="105631" y="15801"/>
                      <a:pt x="87820" y="0"/>
                    </a:cubicBezTo>
                    <a:lnTo>
                      <a:pt x="49720" y="38100"/>
                    </a:lnTo>
                    <a:cubicBezTo>
                      <a:pt x="65809" y="51246"/>
                      <a:pt x="74973" y="71049"/>
                      <a:pt x="74581" y="91821"/>
                    </a:cubicBezTo>
                    <a:lnTo>
                      <a:pt x="74581" y="98584"/>
                    </a:lnTo>
                    <a:cubicBezTo>
                      <a:pt x="93308" y="98584"/>
                      <a:pt x="108490" y="113766"/>
                      <a:pt x="108490" y="132493"/>
                    </a:cubicBezTo>
                    <a:cubicBezTo>
                      <a:pt x="108490" y="151220"/>
                      <a:pt x="93308" y="166402"/>
                      <a:pt x="74581" y="166402"/>
                    </a:cubicBezTo>
                    <a:lnTo>
                      <a:pt x="6763" y="166402"/>
                    </a:lnTo>
                    <a:lnTo>
                      <a:pt x="0" y="173260"/>
                    </a:lnTo>
                    <a:lnTo>
                      <a:pt x="0" y="213932"/>
                    </a:lnTo>
                    <a:lnTo>
                      <a:pt x="6763" y="220694"/>
                    </a:lnTo>
                    <a:lnTo>
                      <a:pt x="74581" y="220694"/>
                    </a:lnTo>
                    <a:cubicBezTo>
                      <a:pt x="123292" y="221073"/>
                      <a:pt x="163087" y="181893"/>
                      <a:pt x="163466" y="133182"/>
                    </a:cubicBezTo>
                    <a:cubicBezTo>
                      <a:pt x="163696" y="103658"/>
                      <a:pt x="149139" y="75977"/>
                      <a:pt x="124682" y="59436"/>
                    </a:cubicBezTo>
                    <a:close/>
                  </a:path>
                </a:pathLst>
              </a:custGeom>
              <a:solidFill>
                <a:srgbClr val="4285F4"/>
              </a:solidFill>
              <a:ln w="9525" cap="flat">
                <a:noFill/>
                <a:prstDash val="solid"/>
                <a:miter/>
              </a:ln>
            </p:spPr>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gradFill>
                    <a:gsLst>
                      <a:gs pos="8621">
                        <a:srgbClr val="000000"/>
                      </a:gs>
                      <a:gs pos="20225">
                        <a:srgbClr val="000000"/>
                      </a:gs>
                    </a:gsLst>
                    <a:lin ang="5400000" scaled="1"/>
                  </a:gradFill>
                  <a:effectLst/>
                  <a:uLnTx/>
                  <a:uFillTx/>
                  <a:latin typeface="Segoe Sans Display Semibold"/>
                  <a:ea typeface="+mn-ea"/>
                  <a:cs typeface="+mn-cs"/>
                </a:endParaRPr>
              </a:p>
            </p:txBody>
          </p:sp>
          <p:sp>
            <p:nvSpPr>
              <p:cNvPr id="255" name="Freeform: Shape 402">
                <a:extLst>
                  <a:ext uri="{FF2B5EF4-FFF2-40B4-BE49-F238E27FC236}">
                    <a16:creationId xmlns:a16="http://schemas.microsoft.com/office/drawing/2014/main" id="{C5A9BB46-C867-5B7B-7E2E-F64DCCCD7BE3}"/>
                  </a:ext>
                </a:extLst>
              </p:cNvPr>
              <p:cNvSpPr/>
              <p:nvPr/>
            </p:nvSpPr>
            <p:spPr>
              <a:xfrm>
                <a:off x="10363354" y="2405162"/>
                <a:ext cx="145914" cy="66656"/>
              </a:xfrm>
              <a:custGeom>
                <a:avLst/>
                <a:gdLst>
                  <a:gd name="connsiteX0" fmla="*/ 53245 w 121062"/>
                  <a:gd name="connsiteY0" fmla="*/ 57341 h 57341"/>
                  <a:gd name="connsiteX1" fmla="*/ 121063 w 121062"/>
                  <a:gd name="connsiteY1" fmla="*/ 57341 h 57341"/>
                  <a:gd name="connsiteX2" fmla="*/ 121063 w 121062"/>
                  <a:gd name="connsiteY2" fmla="*/ 3048 h 57341"/>
                  <a:gd name="connsiteX3" fmla="*/ 53245 w 121062"/>
                  <a:gd name="connsiteY3" fmla="*/ 3048 h 57341"/>
                  <a:gd name="connsiteX4" fmla="*/ 39243 w 121062"/>
                  <a:gd name="connsiteY4" fmla="*/ 0 h 57341"/>
                  <a:gd name="connsiteX5" fmla="*/ 29718 w 121062"/>
                  <a:gd name="connsiteY5" fmla="*/ 2953 h 57341"/>
                  <a:gd name="connsiteX6" fmla="*/ 2381 w 121062"/>
                  <a:gd name="connsiteY6" fmla="*/ 30099 h 57341"/>
                  <a:gd name="connsiteX7" fmla="*/ 0 w 121062"/>
                  <a:gd name="connsiteY7" fmla="*/ 39624 h 57341"/>
                  <a:gd name="connsiteX8" fmla="*/ 53245 w 121062"/>
                  <a:gd name="connsiteY8" fmla="*/ 57341 h 57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062" h="57341">
                    <a:moveTo>
                      <a:pt x="53245" y="57341"/>
                    </a:moveTo>
                    <a:lnTo>
                      <a:pt x="121063" y="57341"/>
                    </a:lnTo>
                    <a:lnTo>
                      <a:pt x="121063" y="3048"/>
                    </a:lnTo>
                    <a:lnTo>
                      <a:pt x="53245" y="3048"/>
                    </a:lnTo>
                    <a:cubicBezTo>
                      <a:pt x="48413" y="3047"/>
                      <a:pt x="43638" y="2008"/>
                      <a:pt x="39243" y="0"/>
                    </a:cubicBezTo>
                    <a:lnTo>
                      <a:pt x="29718" y="2953"/>
                    </a:lnTo>
                    <a:lnTo>
                      <a:pt x="2381" y="30099"/>
                    </a:lnTo>
                    <a:lnTo>
                      <a:pt x="0" y="39624"/>
                    </a:lnTo>
                    <a:cubicBezTo>
                      <a:pt x="15330" y="51200"/>
                      <a:pt x="34035" y="57424"/>
                      <a:pt x="53245" y="57341"/>
                    </a:cubicBezTo>
                    <a:close/>
                  </a:path>
                </a:pathLst>
              </a:custGeom>
              <a:solidFill>
                <a:srgbClr val="34A853"/>
              </a:solidFill>
              <a:ln w="9525" cap="flat">
                <a:noFill/>
                <a:prstDash val="solid"/>
                <a:miter/>
              </a:ln>
            </p:spPr>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gradFill>
                    <a:gsLst>
                      <a:gs pos="8621">
                        <a:srgbClr val="000000"/>
                      </a:gs>
                      <a:gs pos="20225">
                        <a:srgbClr val="000000"/>
                      </a:gs>
                    </a:gsLst>
                    <a:lin ang="5400000" scaled="1"/>
                  </a:gradFill>
                  <a:effectLst/>
                  <a:uLnTx/>
                  <a:uFillTx/>
                  <a:latin typeface="Segoe Sans Display Semibold"/>
                  <a:ea typeface="+mn-ea"/>
                  <a:cs typeface="+mn-cs"/>
                </a:endParaRPr>
              </a:p>
            </p:txBody>
          </p:sp>
          <p:sp>
            <p:nvSpPr>
              <p:cNvPr id="256" name="Freeform: Shape 403">
                <a:extLst>
                  <a:ext uri="{FF2B5EF4-FFF2-40B4-BE49-F238E27FC236}">
                    <a16:creationId xmlns:a16="http://schemas.microsoft.com/office/drawing/2014/main" id="{EB224CDC-9B42-773E-1516-4C3E1E11142F}"/>
                  </a:ext>
                </a:extLst>
              </p:cNvPr>
              <p:cNvSpPr/>
              <p:nvPr/>
            </p:nvSpPr>
            <p:spPr>
              <a:xfrm>
                <a:off x="10321857" y="2267088"/>
                <a:ext cx="190396" cy="183801"/>
              </a:xfrm>
              <a:custGeom>
                <a:avLst/>
                <a:gdLst>
                  <a:gd name="connsiteX0" fmla="*/ 87675 w 157969"/>
                  <a:gd name="connsiteY0" fmla="*/ 1 h 158115"/>
                  <a:gd name="connsiteX1" fmla="*/ 2 w 157969"/>
                  <a:gd name="connsiteY1" fmla="*/ 88727 h 158115"/>
                  <a:gd name="connsiteX2" fmla="*/ 34430 w 157969"/>
                  <a:gd name="connsiteY2" fmla="*/ 158116 h 158115"/>
                  <a:gd name="connsiteX3" fmla="*/ 73768 w 157969"/>
                  <a:gd name="connsiteY3" fmla="*/ 118777 h 158115"/>
                  <a:gd name="connsiteX4" fmla="*/ 56828 w 157969"/>
                  <a:gd name="connsiteY4" fmla="*/ 73915 h 158115"/>
                  <a:gd name="connsiteX5" fmla="*/ 101691 w 157969"/>
                  <a:gd name="connsiteY5" fmla="*/ 56974 h 158115"/>
                  <a:gd name="connsiteX6" fmla="*/ 118631 w 157969"/>
                  <a:gd name="connsiteY6" fmla="*/ 73915 h 158115"/>
                  <a:gd name="connsiteX7" fmla="*/ 157969 w 157969"/>
                  <a:gd name="connsiteY7" fmla="*/ 34576 h 158115"/>
                  <a:gd name="connsiteX8" fmla="*/ 87675 w 157969"/>
                  <a:gd name="connsiteY8" fmla="*/ 1 h 158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969" h="158115">
                    <a:moveTo>
                      <a:pt x="87675" y="1"/>
                    </a:moveTo>
                    <a:cubicBezTo>
                      <a:pt x="38963" y="292"/>
                      <a:pt x="-289" y="40016"/>
                      <a:pt x="2" y="88727"/>
                    </a:cubicBezTo>
                    <a:cubicBezTo>
                      <a:pt x="164" y="115928"/>
                      <a:pt x="12868" y="141533"/>
                      <a:pt x="34430" y="158116"/>
                    </a:cubicBezTo>
                    <a:lnTo>
                      <a:pt x="73768" y="118777"/>
                    </a:lnTo>
                    <a:cubicBezTo>
                      <a:pt x="56702" y="111067"/>
                      <a:pt x="49117" y="90981"/>
                      <a:pt x="56828" y="73915"/>
                    </a:cubicBezTo>
                    <a:cubicBezTo>
                      <a:pt x="64538" y="56848"/>
                      <a:pt x="84624" y="49264"/>
                      <a:pt x="101691" y="56974"/>
                    </a:cubicBezTo>
                    <a:cubicBezTo>
                      <a:pt x="109211" y="60372"/>
                      <a:pt x="115233" y="66395"/>
                      <a:pt x="118631" y="73915"/>
                    </a:cubicBezTo>
                    <a:lnTo>
                      <a:pt x="157969" y="34576"/>
                    </a:lnTo>
                    <a:cubicBezTo>
                      <a:pt x="141232" y="12695"/>
                      <a:pt x="115223" y="-98"/>
                      <a:pt x="87675" y="1"/>
                    </a:cubicBezTo>
                    <a:close/>
                  </a:path>
                </a:pathLst>
              </a:custGeom>
              <a:solidFill>
                <a:srgbClr val="FBBC05"/>
              </a:solidFill>
              <a:ln w="9525" cap="flat">
                <a:noFill/>
                <a:prstDash val="solid"/>
                <a:miter/>
              </a:ln>
            </p:spPr>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gradFill>
                    <a:gsLst>
                      <a:gs pos="8621">
                        <a:srgbClr val="000000"/>
                      </a:gs>
                      <a:gs pos="20225">
                        <a:srgbClr val="000000"/>
                      </a:gs>
                    </a:gsLst>
                    <a:lin ang="5400000" scaled="1"/>
                  </a:gradFill>
                  <a:effectLst/>
                  <a:uLnTx/>
                  <a:uFillTx/>
                  <a:latin typeface="Segoe Sans Display Semibold"/>
                  <a:ea typeface="+mn-ea"/>
                  <a:cs typeface="+mn-cs"/>
                </a:endParaRPr>
              </a:p>
            </p:txBody>
          </p:sp>
        </p:grpSp>
        <p:pic>
          <p:nvPicPr>
            <p:cNvPr id="250" name="Graphic 198">
              <a:extLst>
                <a:ext uri="{FF2B5EF4-FFF2-40B4-BE49-F238E27FC236}">
                  <a16:creationId xmlns:a16="http://schemas.microsoft.com/office/drawing/2014/main" id="{6C29BD2F-32A4-58FF-47A2-FF411441B00C}"/>
                </a:ext>
              </a:extLst>
            </p:cNvPr>
            <p:cNvPicPr>
              <a:picLocks noChangeAspect="1"/>
            </p:cNvPicPr>
            <p:nvPr/>
          </p:nvPicPr>
          <p:blipFill>
            <a:blip r:embed="rId7">
              <a:lum bright="-100000"/>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9649043" y="2187998"/>
              <a:ext cx="461619" cy="276366"/>
            </a:xfrm>
            <a:prstGeom prst="rect">
              <a:avLst/>
            </a:prstGeom>
          </p:spPr>
        </p:pic>
        <p:pic>
          <p:nvPicPr>
            <p:cNvPr id="251" name="Graphic 250">
              <a:extLst>
                <a:ext uri="{FF2B5EF4-FFF2-40B4-BE49-F238E27FC236}">
                  <a16:creationId xmlns:a16="http://schemas.microsoft.com/office/drawing/2014/main" id="{0CC2EBF9-B9B4-A9D8-4461-3F632C30532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073317" y="2150392"/>
              <a:ext cx="364530" cy="351579"/>
            </a:xfrm>
            <a:prstGeom prst="rect">
              <a:avLst/>
            </a:prstGeom>
          </p:spPr>
        </p:pic>
        <p:sp>
          <p:nvSpPr>
            <p:cNvPr id="252" name="Graphic 44">
              <a:extLst>
                <a:ext uri="{FF2B5EF4-FFF2-40B4-BE49-F238E27FC236}">
                  <a16:creationId xmlns:a16="http://schemas.microsoft.com/office/drawing/2014/main" id="{4459F4EC-5526-C2DC-505F-2B5FCAAAD131}"/>
                </a:ext>
              </a:extLst>
            </p:cNvPr>
            <p:cNvSpPr/>
            <p:nvPr/>
          </p:nvSpPr>
          <p:spPr>
            <a:xfrm>
              <a:off x="10909453" y="2164663"/>
              <a:ext cx="193822" cy="323036"/>
            </a:xfrm>
            <a:custGeom>
              <a:avLst/>
              <a:gdLst>
                <a:gd name="connsiteX0" fmla="*/ 49530 w 182880"/>
                <a:gd name="connsiteY0" fmla="*/ 60960 h 304800"/>
                <a:gd name="connsiteX1" fmla="*/ 38100 w 182880"/>
                <a:gd name="connsiteY1" fmla="*/ 72390 h 304800"/>
                <a:gd name="connsiteX2" fmla="*/ 49530 w 182880"/>
                <a:gd name="connsiteY2" fmla="*/ 83820 h 304800"/>
                <a:gd name="connsiteX3" fmla="*/ 133350 w 182880"/>
                <a:gd name="connsiteY3" fmla="*/ 83820 h 304800"/>
                <a:gd name="connsiteX4" fmla="*/ 144780 w 182880"/>
                <a:gd name="connsiteY4" fmla="*/ 72390 h 304800"/>
                <a:gd name="connsiteX5" fmla="*/ 133350 w 182880"/>
                <a:gd name="connsiteY5" fmla="*/ 60960 h 304800"/>
                <a:gd name="connsiteX6" fmla="*/ 49530 w 182880"/>
                <a:gd name="connsiteY6" fmla="*/ 60960 h 304800"/>
                <a:gd name="connsiteX7" fmla="*/ 38100 w 182880"/>
                <a:gd name="connsiteY7" fmla="*/ 240030 h 304800"/>
                <a:gd name="connsiteX8" fmla="*/ 49530 w 182880"/>
                <a:gd name="connsiteY8" fmla="*/ 228600 h 304800"/>
                <a:gd name="connsiteX9" fmla="*/ 133350 w 182880"/>
                <a:gd name="connsiteY9" fmla="*/ 228600 h 304800"/>
                <a:gd name="connsiteX10" fmla="*/ 144780 w 182880"/>
                <a:gd name="connsiteY10" fmla="*/ 240030 h 304800"/>
                <a:gd name="connsiteX11" fmla="*/ 133350 w 182880"/>
                <a:gd name="connsiteY11" fmla="*/ 251460 h 304800"/>
                <a:gd name="connsiteX12" fmla="*/ 49530 w 182880"/>
                <a:gd name="connsiteY12" fmla="*/ 251460 h 304800"/>
                <a:gd name="connsiteX13" fmla="*/ 38100 w 182880"/>
                <a:gd name="connsiteY13" fmla="*/ 240030 h 304800"/>
                <a:gd name="connsiteX14" fmla="*/ 49530 w 182880"/>
                <a:gd name="connsiteY14" fmla="*/ 182880 h 304800"/>
                <a:gd name="connsiteX15" fmla="*/ 38100 w 182880"/>
                <a:gd name="connsiteY15" fmla="*/ 194310 h 304800"/>
                <a:gd name="connsiteX16" fmla="*/ 49530 w 182880"/>
                <a:gd name="connsiteY16" fmla="*/ 205740 h 304800"/>
                <a:gd name="connsiteX17" fmla="*/ 133350 w 182880"/>
                <a:gd name="connsiteY17" fmla="*/ 205740 h 304800"/>
                <a:gd name="connsiteX18" fmla="*/ 144780 w 182880"/>
                <a:gd name="connsiteY18" fmla="*/ 194310 h 304800"/>
                <a:gd name="connsiteX19" fmla="*/ 133350 w 182880"/>
                <a:gd name="connsiteY19" fmla="*/ 182880 h 304800"/>
                <a:gd name="connsiteX20" fmla="*/ 49530 w 182880"/>
                <a:gd name="connsiteY20" fmla="*/ 182880 h 304800"/>
                <a:gd name="connsiteX21" fmla="*/ 0 w 182880"/>
                <a:gd name="connsiteY21" fmla="*/ 45720 h 304800"/>
                <a:gd name="connsiteX22" fmla="*/ 45720 w 182880"/>
                <a:gd name="connsiteY22" fmla="*/ 0 h 304800"/>
                <a:gd name="connsiteX23" fmla="*/ 137160 w 182880"/>
                <a:gd name="connsiteY23" fmla="*/ 0 h 304800"/>
                <a:gd name="connsiteX24" fmla="*/ 182880 w 182880"/>
                <a:gd name="connsiteY24" fmla="*/ 45720 h 304800"/>
                <a:gd name="connsiteX25" fmla="*/ 182880 w 182880"/>
                <a:gd name="connsiteY25" fmla="*/ 259080 h 304800"/>
                <a:gd name="connsiteX26" fmla="*/ 137160 w 182880"/>
                <a:gd name="connsiteY26" fmla="*/ 304800 h 304800"/>
                <a:gd name="connsiteX27" fmla="*/ 45720 w 182880"/>
                <a:gd name="connsiteY27" fmla="*/ 304800 h 304800"/>
                <a:gd name="connsiteX28" fmla="*/ 0 w 182880"/>
                <a:gd name="connsiteY28" fmla="*/ 259080 h 304800"/>
                <a:gd name="connsiteX29" fmla="*/ 0 w 182880"/>
                <a:gd name="connsiteY29" fmla="*/ 45720 h 304800"/>
                <a:gd name="connsiteX30" fmla="*/ 45720 w 182880"/>
                <a:gd name="connsiteY30" fmla="*/ 22860 h 304800"/>
                <a:gd name="connsiteX31" fmla="*/ 22860 w 182880"/>
                <a:gd name="connsiteY31" fmla="*/ 45720 h 304800"/>
                <a:gd name="connsiteX32" fmla="*/ 22860 w 182880"/>
                <a:gd name="connsiteY32" fmla="*/ 259080 h 304800"/>
                <a:gd name="connsiteX33" fmla="*/ 45720 w 182880"/>
                <a:gd name="connsiteY33" fmla="*/ 281940 h 304800"/>
                <a:gd name="connsiteX34" fmla="*/ 137160 w 182880"/>
                <a:gd name="connsiteY34" fmla="*/ 281940 h 304800"/>
                <a:gd name="connsiteX35" fmla="*/ 160020 w 182880"/>
                <a:gd name="connsiteY35" fmla="*/ 259080 h 304800"/>
                <a:gd name="connsiteX36" fmla="*/ 160020 w 182880"/>
                <a:gd name="connsiteY36" fmla="*/ 45720 h 304800"/>
                <a:gd name="connsiteX37" fmla="*/ 137160 w 182880"/>
                <a:gd name="connsiteY37" fmla="*/ 22860 h 304800"/>
                <a:gd name="connsiteX38" fmla="*/ 45720 w 182880"/>
                <a:gd name="connsiteY38" fmla="*/ 2286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82880" h="304800">
                  <a:moveTo>
                    <a:pt x="49530" y="60960"/>
                  </a:moveTo>
                  <a:cubicBezTo>
                    <a:pt x="43217" y="60960"/>
                    <a:pt x="38100" y="66077"/>
                    <a:pt x="38100" y="72390"/>
                  </a:cubicBezTo>
                  <a:cubicBezTo>
                    <a:pt x="38100" y="78703"/>
                    <a:pt x="43217" y="83820"/>
                    <a:pt x="49530" y="83820"/>
                  </a:cubicBezTo>
                  <a:lnTo>
                    <a:pt x="133350" y="83820"/>
                  </a:lnTo>
                  <a:cubicBezTo>
                    <a:pt x="139662" y="83820"/>
                    <a:pt x="144780" y="78703"/>
                    <a:pt x="144780" y="72390"/>
                  </a:cubicBezTo>
                  <a:cubicBezTo>
                    <a:pt x="144780" y="66077"/>
                    <a:pt x="139662" y="60960"/>
                    <a:pt x="133350" y="60960"/>
                  </a:cubicBezTo>
                  <a:lnTo>
                    <a:pt x="49530" y="60960"/>
                  </a:lnTo>
                  <a:close/>
                  <a:moveTo>
                    <a:pt x="38100" y="240030"/>
                  </a:moveTo>
                  <a:cubicBezTo>
                    <a:pt x="38100" y="233718"/>
                    <a:pt x="43217" y="228600"/>
                    <a:pt x="49530" y="228600"/>
                  </a:cubicBezTo>
                  <a:lnTo>
                    <a:pt x="133350" y="228600"/>
                  </a:lnTo>
                  <a:cubicBezTo>
                    <a:pt x="139662" y="228600"/>
                    <a:pt x="144780" y="233718"/>
                    <a:pt x="144780" y="240030"/>
                  </a:cubicBezTo>
                  <a:cubicBezTo>
                    <a:pt x="144780" y="246342"/>
                    <a:pt x="139662" y="251460"/>
                    <a:pt x="133350" y="251460"/>
                  </a:cubicBezTo>
                  <a:lnTo>
                    <a:pt x="49530" y="251460"/>
                  </a:lnTo>
                  <a:cubicBezTo>
                    <a:pt x="43217" y="251460"/>
                    <a:pt x="38100" y="246342"/>
                    <a:pt x="38100" y="240030"/>
                  </a:cubicBezTo>
                  <a:close/>
                  <a:moveTo>
                    <a:pt x="49530" y="182880"/>
                  </a:moveTo>
                  <a:cubicBezTo>
                    <a:pt x="43217" y="182880"/>
                    <a:pt x="38100" y="187998"/>
                    <a:pt x="38100" y="194310"/>
                  </a:cubicBezTo>
                  <a:cubicBezTo>
                    <a:pt x="38100" y="200622"/>
                    <a:pt x="43217" y="205740"/>
                    <a:pt x="49530" y="205740"/>
                  </a:cubicBezTo>
                  <a:lnTo>
                    <a:pt x="133350" y="205740"/>
                  </a:lnTo>
                  <a:cubicBezTo>
                    <a:pt x="139662" y="205740"/>
                    <a:pt x="144780" y="200622"/>
                    <a:pt x="144780" y="194310"/>
                  </a:cubicBezTo>
                  <a:cubicBezTo>
                    <a:pt x="144780" y="187998"/>
                    <a:pt x="139662" y="182880"/>
                    <a:pt x="133350" y="182880"/>
                  </a:cubicBezTo>
                  <a:lnTo>
                    <a:pt x="49530" y="182880"/>
                  </a:lnTo>
                  <a:close/>
                  <a:moveTo>
                    <a:pt x="0" y="45720"/>
                  </a:moveTo>
                  <a:cubicBezTo>
                    <a:pt x="0" y="20470"/>
                    <a:pt x="20470" y="0"/>
                    <a:pt x="45720" y="0"/>
                  </a:cubicBezTo>
                  <a:lnTo>
                    <a:pt x="137160" y="0"/>
                  </a:lnTo>
                  <a:cubicBezTo>
                    <a:pt x="162411" y="0"/>
                    <a:pt x="182880" y="20470"/>
                    <a:pt x="182880" y="45720"/>
                  </a:cubicBezTo>
                  <a:lnTo>
                    <a:pt x="182880" y="259080"/>
                  </a:lnTo>
                  <a:cubicBezTo>
                    <a:pt x="182880" y="284331"/>
                    <a:pt x="162411" y="304800"/>
                    <a:pt x="137160" y="304800"/>
                  </a:cubicBezTo>
                  <a:lnTo>
                    <a:pt x="45720" y="304800"/>
                  </a:lnTo>
                  <a:cubicBezTo>
                    <a:pt x="20470" y="304800"/>
                    <a:pt x="0" y="284331"/>
                    <a:pt x="0" y="259080"/>
                  </a:cubicBezTo>
                  <a:lnTo>
                    <a:pt x="0" y="45720"/>
                  </a:lnTo>
                  <a:close/>
                  <a:moveTo>
                    <a:pt x="45720" y="22860"/>
                  </a:moveTo>
                  <a:cubicBezTo>
                    <a:pt x="33095" y="22860"/>
                    <a:pt x="22860" y="33095"/>
                    <a:pt x="22860" y="45720"/>
                  </a:cubicBezTo>
                  <a:lnTo>
                    <a:pt x="22860" y="259080"/>
                  </a:lnTo>
                  <a:cubicBezTo>
                    <a:pt x="22860" y="271705"/>
                    <a:pt x="33095" y="281940"/>
                    <a:pt x="45720" y="281940"/>
                  </a:cubicBezTo>
                  <a:lnTo>
                    <a:pt x="137160" y="281940"/>
                  </a:lnTo>
                  <a:cubicBezTo>
                    <a:pt x="149785" y="281940"/>
                    <a:pt x="160020" y="271705"/>
                    <a:pt x="160020" y="259080"/>
                  </a:cubicBezTo>
                  <a:lnTo>
                    <a:pt x="160020" y="45720"/>
                  </a:lnTo>
                  <a:cubicBezTo>
                    <a:pt x="160020" y="33095"/>
                    <a:pt x="149785" y="22860"/>
                    <a:pt x="137160" y="22860"/>
                  </a:cubicBezTo>
                  <a:lnTo>
                    <a:pt x="45720" y="22860"/>
                  </a:lnTo>
                  <a:close/>
                </a:path>
              </a:pathLst>
            </a:custGeom>
            <a:solidFill>
              <a:srgbClr val="000000"/>
            </a:solid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Display"/>
                <a:ea typeface="+mn-ea"/>
                <a:cs typeface="+mn-cs"/>
              </a:endParaRPr>
            </a:p>
          </p:txBody>
        </p:sp>
      </p:grpSp>
      <p:sp>
        <p:nvSpPr>
          <p:cNvPr id="257" name="TextBox 256">
            <a:extLst>
              <a:ext uri="{FF2B5EF4-FFF2-40B4-BE49-F238E27FC236}">
                <a16:creationId xmlns:a16="http://schemas.microsoft.com/office/drawing/2014/main" id="{5CC2722B-8DC1-F4E0-A59D-FBF5C8553589}"/>
              </a:ext>
              <a:ext uri="{C183D7F6-B498-43B3-948B-1728B52AA6E4}">
                <adec:decorative xmlns:adec="http://schemas.microsoft.com/office/drawing/2017/decorative" val="1"/>
              </a:ext>
            </a:extLst>
          </p:cNvPr>
          <p:cNvSpPr txBox="1"/>
          <p:nvPr/>
        </p:nvSpPr>
        <p:spPr>
          <a:xfrm>
            <a:off x="9329928" y="3922183"/>
            <a:ext cx="1883663"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40" normalizeH="0" baseline="0" noProof="0">
                <a:ln w="3175">
                  <a:noFill/>
                </a:ln>
                <a:gradFill>
                  <a:gsLst>
                    <a:gs pos="0">
                      <a:srgbClr val="0360DB"/>
                    </a:gs>
                    <a:gs pos="80000">
                      <a:srgbClr val="207EFC"/>
                    </a:gs>
                  </a:gsLst>
                  <a:path path="circle">
                    <a:fillToRect l="100000" t="100000"/>
                  </a:path>
                </a:gradFill>
                <a:effectLst/>
                <a:uLnTx/>
                <a:uFillTx/>
                <a:latin typeface="Segoe Sans Display Semibold"/>
                <a:ea typeface="+mn-ea"/>
                <a:cs typeface="Segoe UI" panose="020B0502040204020203" pitchFamily="34" charset="0"/>
              </a:rPr>
              <a:t>Microsoft 365</a:t>
            </a:r>
          </a:p>
        </p:txBody>
      </p:sp>
      <p:sp>
        <p:nvSpPr>
          <p:cNvPr id="258" name="TextBox 257">
            <a:extLst>
              <a:ext uri="{FF2B5EF4-FFF2-40B4-BE49-F238E27FC236}">
                <a16:creationId xmlns:a16="http://schemas.microsoft.com/office/drawing/2014/main" id="{AAFD1531-1F9F-5994-2EAD-A129712727C7}"/>
              </a:ext>
              <a:ext uri="{C183D7F6-B498-43B3-948B-1728B52AA6E4}">
                <adec:decorative xmlns:adec="http://schemas.microsoft.com/office/drawing/2017/decorative" val="1"/>
              </a:ext>
            </a:extLst>
          </p:cNvPr>
          <p:cNvSpPr txBox="1"/>
          <p:nvPr/>
        </p:nvSpPr>
        <p:spPr>
          <a:xfrm>
            <a:off x="9494519" y="5791841"/>
            <a:ext cx="155448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40" normalizeH="0" baseline="0" noProof="0">
                <a:ln w="3175">
                  <a:noFill/>
                </a:ln>
                <a:gradFill>
                  <a:gsLst>
                    <a:gs pos="0">
                      <a:srgbClr val="0360DB"/>
                    </a:gs>
                    <a:gs pos="80000">
                      <a:srgbClr val="207EFC"/>
                    </a:gs>
                  </a:gsLst>
                  <a:path path="circle">
                    <a:fillToRect l="100000" t="100000"/>
                  </a:path>
                </a:gradFill>
                <a:effectLst/>
                <a:uLnTx/>
                <a:uFillTx/>
                <a:latin typeface="Segoe Sans Display Semibold"/>
                <a:ea typeface="+mn-ea"/>
                <a:cs typeface="Segoe UI" panose="020B0502040204020203" pitchFamily="34" charset="0"/>
              </a:rPr>
              <a:t>On-premises</a:t>
            </a:r>
          </a:p>
        </p:txBody>
      </p:sp>
      <p:cxnSp>
        <p:nvCxnSpPr>
          <p:cNvPr id="259" name="Straight Connector 258">
            <a:extLst>
              <a:ext uri="{FF2B5EF4-FFF2-40B4-BE49-F238E27FC236}">
                <a16:creationId xmlns:a16="http://schemas.microsoft.com/office/drawing/2014/main" id="{97114D1C-DE1F-C655-8F3E-79CC03E14359}"/>
              </a:ext>
              <a:ext uri="{C183D7F6-B498-43B3-948B-1728B52AA6E4}">
                <adec:decorative xmlns:adec="http://schemas.microsoft.com/office/drawing/2017/decorative" val="1"/>
              </a:ext>
            </a:extLst>
          </p:cNvPr>
          <p:cNvCxnSpPr>
            <a:cxnSpLocks/>
          </p:cNvCxnSpPr>
          <p:nvPr/>
        </p:nvCxnSpPr>
        <p:spPr>
          <a:xfrm>
            <a:off x="9265919" y="4286240"/>
            <a:ext cx="2011680" cy="0"/>
          </a:xfrm>
          <a:prstGeom prst="line">
            <a:avLst/>
          </a:prstGeom>
          <a:noFill/>
          <a:ln w="12700" cap="flat">
            <a:solidFill>
              <a:srgbClr val="FFFFFF">
                <a:lumMod val="50000"/>
              </a:srgbClr>
            </a:solidFill>
            <a:prstDash val="solid"/>
            <a:miter/>
          </a:ln>
          <a:scene3d>
            <a:camera prst="isometricOffAxis1Right">
              <a:rot lat="0" lon="0" rev="0"/>
            </a:camera>
            <a:lightRig rig="flood" dir="t"/>
          </a:scene3d>
        </p:spPr>
      </p:cxnSp>
      <p:pic>
        <p:nvPicPr>
          <p:cNvPr id="260" name="Icon: M365">
            <a:extLst>
              <a:ext uri="{FF2B5EF4-FFF2-40B4-BE49-F238E27FC236}">
                <a16:creationId xmlns:a16="http://schemas.microsoft.com/office/drawing/2014/main" id="{C98B0637-9B47-BDE8-64AC-534F41FE6F6A}"/>
              </a:ext>
              <a:ext uri="{C183D7F6-B498-43B3-948B-1728B52AA6E4}">
                <adec:decorative xmlns:adec="http://schemas.microsoft.com/office/drawing/2017/decorative" val="1"/>
              </a:ext>
            </a:extLst>
          </p:cNvPr>
          <p:cNvPicPr>
            <a:picLocks noChangeAspect="1"/>
          </p:cNvPicPr>
          <p:nvPr/>
        </p:nvPicPr>
        <p:blipFill>
          <a:blip r:embed="rId11">
            <a:extLst>
              <a:ext uri="{96DAC541-7B7A-43D3-8B79-37D633B846F1}">
                <asvg:svgBlip xmlns:asvg="http://schemas.microsoft.com/office/drawing/2016/SVG/main" r:embed="rId12"/>
              </a:ext>
            </a:extLst>
          </a:blip>
          <a:srcRect l="4251" r="4251"/>
          <a:stretch/>
        </p:blipFill>
        <p:spPr>
          <a:xfrm>
            <a:off x="10097759" y="3445890"/>
            <a:ext cx="348000" cy="396639"/>
          </a:xfrm>
          <a:prstGeom prst="rect">
            <a:avLst/>
          </a:prstGeom>
          <a:effectLst/>
        </p:spPr>
      </p:pic>
      <p:pic>
        <p:nvPicPr>
          <p:cNvPr id="261" name="Graphic 260">
            <a:extLst>
              <a:ext uri="{FF2B5EF4-FFF2-40B4-BE49-F238E27FC236}">
                <a16:creationId xmlns:a16="http://schemas.microsoft.com/office/drawing/2014/main" id="{76B82194-3A4C-EF58-5DE4-3EB27627EC95}"/>
              </a:ext>
              <a:ext uri="{C183D7F6-B498-43B3-948B-1728B52AA6E4}">
                <adec:decorative xmlns:adec="http://schemas.microsoft.com/office/drawing/2017/decorative" val="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79383" y="5345066"/>
            <a:ext cx="384753" cy="384753"/>
          </a:xfrm>
          <a:prstGeom prst="rect">
            <a:avLst/>
          </a:prstGeom>
        </p:spPr>
      </p:pic>
      <p:sp>
        <p:nvSpPr>
          <p:cNvPr id="262" name="TextBox 261">
            <a:extLst>
              <a:ext uri="{FF2B5EF4-FFF2-40B4-BE49-F238E27FC236}">
                <a16:creationId xmlns:a16="http://schemas.microsoft.com/office/drawing/2014/main" id="{8B28D2D0-6F3A-9A5F-130D-6EECD3D3378A}"/>
              </a:ext>
              <a:ext uri="{C183D7F6-B498-43B3-948B-1728B52AA6E4}">
                <adec:decorative xmlns:adec="http://schemas.microsoft.com/office/drawing/2017/decorative" val="1"/>
              </a:ext>
            </a:extLst>
          </p:cNvPr>
          <p:cNvSpPr txBox="1"/>
          <p:nvPr/>
        </p:nvSpPr>
        <p:spPr>
          <a:xfrm>
            <a:off x="9329928" y="4898468"/>
            <a:ext cx="1883663"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40" normalizeH="0" baseline="0" noProof="0">
                <a:ln w="3175">
                  <a:noFill/>
                </a:ln>
                <a:gradFill>
                  <a:gsLst>
                    <a:gs pos="0">
                      <a:srgbClr val="0360DB"/>
                    </a:gs>
                    <a:gs pos="80000">
                      <a:srgbClr val="207EFC"/>
                    </a:gs>
                  </a:gsLst>
                  <a:path path="circle">
                    <a:fillToRect l="100000" t="100000"/>
                  </a:path>
                </a:gradFill>
                <a:effectLst/>
                <a:uLnTx/>
                <a:uFillTx/>
                <a:latin typeface="Segoe Sans Display Semibold"/>
                <a:ea typeface="+mn-ea"/>
                <a:cs typeface="Segoe UI" panose="020B0502040204020203" pitchFamily="34" charset="0"/>
              </a:rPr>
              <a:t>Microsoft 365</a:t>
            </a:r>
          </a:p>
        </p:txBody>
      </p:sp>
      <p:cxnSp>
        <p:nvCxnSpPr>
          <p:cNvPr id="263" name="Straight Connector 262">
            <a:extLst>
              <a:ext uri="{FF2B5EF4-FFF2-40B4-BE49-F238E27FC236}">
                <a16:creationId xmlns:a16="http://schemas.microsoft.com/office/drawing/2014/main" id="{412166E8-9FEE-5850-7C4A-1543F972D6A0}"/>
              </a:ext>
              <a:ext uri="{C183D7F6-B498-43B3-948B-1728B52AA6E4}">
                <adec:decorative xmlns:adec="http://schemas.microsoft.com/office/drawing/2017/decorative" val="1"/>
              </a:ext>
            </a:extLst>
          </p:cNvPr>
          <p:cNvCxnSpPr>
            <a:cxnSpLocks/>
          </p:cNvCxnSpPr>
          <p:nvPr/>
        </p:nvCxnSpPr>
        <p:spPr>
          <a:xfrm>
            <a:off x="9265919" y="5262525"/>
            <a:ext cx="2011680" cy="0"/>
          </a:xfrm>
          <a:prstGeom prst="line">
            <a:avLst/>
          </a:prstGeom>
          <a:noFill/>
          <a:ln w="12700" cap="flat">
            <a:solidFill>
              <a:srgbClr val="FFFFFF">
                <a:lumMod val="50000"/>
              </a:srgbClr>
            </a:solidFill>
            <a:prstDash val="solid"/>
            <a:miter/>
          </a:ln>
          <a:scene3d>
            <a:camera prst="isometricOffAxis1Right">
              <a:rot lat="0" lon="0" rev="0"/>
            </a:camera>
            <a:lightRig rig="flood" dir="t"/>
          </a:scene3d>
        </p:spPr>
      </p:cxnSp>
      <p:sp>
        <p:nvSpPr>
          <p:cNvPr id="264" name="Graphic 860">
            <a:extLst>
              <a:ext uri="{FF2B5EF4-FFF2-40B4-BE49-F238E27FC236}">
                <a16:creationId xmlns:a16="http://schemas.microsoft.com/office/drawing/2014/main" id="{C483AE4A-F760-0A16-5EFC-38212D15B512}"/>
              </a:ext>
              <a:ext uri="{C183D7F6-B498-43B3-948B-1728B52AA6E4}">
                <adec:decorative xmlns:adec="http://schemas.microsoft.com/office/drawing/2017/decorative" val="1"/>
              </a:ext>
            </a:extLst>
          </p:cNvPr>
          <p:cNvSpPr/>
          <p:nvPr/>
        </p:nvSpPr>
        <p:spPr>
          <a:xfrm>
            <a:off x="10091348" y="4465631"/>
            <a:ext cx="360822" cy="360805"/>
          </a:xfrm>
          <a:custGeom>
            <a:avLst/>
            <a:gdLst>
              <a:gd name="connsiteX0" fmla="*/ 143339 w 286677"/>
              <a:gd name="connsiteY0" fmla="*/ 0 h 286663"/>
              <a:gd name="connsiteX1" fmla="*/ 286677 w 286677"/>
              <a:gd name="connsiteY1" fmla="*/ 143339 h 286663"/>
              <a:gd name="connsiteX2" fmla="*/ 143339 w 286677"/>
              <a:gd name="connsiteY2" fmla="*/ 286663 h 286663"/>
              <a:gd name="connsiteX3" fmla="*/ 0 w 286677"/>
              <a:gd name="connsiteY3" fmla="*/ 143339 h 286663"/>
              <a:gd name="connsiteX4" fmla="*/ 143339 w 286677"/>
              <a:gd name="connsiteY4" fmla="*/ 0 h 286663"/>
              <a:gd name="connsiteX5" fmla="*/ 185457 w 286677"/>
              <a:gd name="connsiteY5" fmla="*/ 207814 h 286663"/>
              <a:gd name="connsiteX6" fmla="*/ 101206 w 286677"/>
              <a:gd name="connsiteY6" fmla="*/ 207814 h 286663"/>
              <a:gd name="connsiteX7" fmla="*/ 143324 w 286677"/>
              <a:gd name="connsiteY7" fmla="*/ 265167 h 286663"/>
              <a:gd name="connsiteX8" fmla="*/ 185443 w 286677"/>
              <a:gd name="connsiteY8" fmla="*/ 207814 h 286663"/>
              <a:gd name="connsiteX9" fmla="*/ 78978 w 286677"/>
              <a:gd name="connsiteY9" fmla="*/ 207814 h 286663"/>
              <a:gd name="connsiteX10" fmla="*/ 39940 w 286677"/>
              <a:gd name="connsiteY10" fmla="*/ 207814 h 286663"/>
              <a:gd name="connsiteX11" fmla="*/ 98612 w 286677"/>
              <a:gd name="connsiteY11" fmla="*/ 256697 h 286663"/>
              <a:gd name="connsiteX12" fmla="*/ 80411 w 286677"/>
              <a:gd name="connsiteY12" fmla="*/ 213489 h 286663"/>
              <a:gd name="connsiteX13" fmla="*/ 78949 w 286677"/>
              <a:gd name="connsiteY13" fmla="*/ 207828 h 286663"/>
              <a:gd name="connsiteX14" fmla="*/ 246723 w 286677"/>
              <a:gd name="connsiteY14" fmla="*/ 207814 h 286663"/>
              <a:gd name="connsiteX15" fmla="*/ 207714 w 286677"/>
              <a:gd name="connsiteY15" fmla="*/ 207814 h 286663"/>
              <a:gd name="connsiteX16" fmla="*/ 188037 w 286677"/>
              <a:gd name="connsiteY16" fmla="*/ 256697 h 286663"/>
              <a:gd name="connsiteX17" fmla="*/ 244071 w 286677"/>
              <a:gd name="connsiteY17" fmla="*/ 211884 h 286663"/>
              <a:gd name="connsiteX18" fmla="*/ 246723 w 286677"/>
              <a:gd name="connsiteY18" fmla="*/ 207828 h 286663"/>
              <a:gd name="connsiteX19" fmla="*/ 73031 w 286677"/>
              <a:gd name="connsiteY19" fmla="*/ 114662 h 286663"/>
              <a:gd name="connsiteX20" fmla="*/ 24893 w 286677"/>
              <a:gd name="connsiteY20" fmla="*/ 114662 h 286663"/>
              <a:gd name="connsiteX21" fmla="*/ 24821 w 286677"/>
              <a:gd name="connsiteY21" fmla="*/ 114906 h 286663"/>
              <a:gd name="connsiteX22" fmla="*/ 21482 w 286677"/>
              <a:gd name="connsiteY22" fmla="*/ 143339 h 286663"/>
              <a:gd name="connsiteX23" fmla="*/ 29293 w 286677"/>
              <a:gd name="connsiteY23" fmla="*/ 186332 h 286663"/>
              <a:gd name="connsiteX24" fmla="*/ 74765 w 286677"/>
              <a:gd name="connsiteY24" fmla="*/ 186332 h 286663"/>
              <a:gd name="connsiteX25" fmla="*/ 73002 w 286677"/>
              <a:gd name="connsiteY25" fmla="*/ 114677 h 286663"/>
              <a:gd name="connsiteX26" fmla="*/ 192021 w 286677"/>
              <a:gd name="connsiteY26" fmla="*/ 114662 h 286663"/>
              <a:gd name="connsiteX27" fmla="*/ 94656 w 286677"/>
              <a:gd name="connsiteY27" fmla="*/ 114662 h 286663"/>
              <a:gd name="connsiteX28" fmla="*/ 96591 w 286677"/>
              <a:gd name="connsiteY28" fmla="*/ 186317 h 286663"/>
              <a:gd name="connsiteX29" fmla="*/ 190086 w 286677"/>
              <a:gd name="connsiteY29" fmla="*/ 186317 h 286663"/>
              <a:gd name="connsiteX30" fmla="*/ 192021 w 286677"/>
              <a:gd name="connsiteY30" fmla="*/ 114662 h 286663"/>
              <a:gd name="connsiteX31" fmla="*/ 261784 w 286677"/>
              <a:gd name="connsiteY31" fmla="*/ 114662 h 286663"/>
              <a:gd name="connsiteX32" fmla="*/ 213661 w 286677"/>
              <a:gd name="connsiteY32" fmla="*/ 114662 h 286663"/>
              <a:gd name="connsiteX33" fmla="*/ 215022 w 286677"/>
              <a:gd name="connsiteY33" fmla="*/ 143324 h 286663"/>
              <a:gd name="connsiteX34" fmla="*/ 211898 w 286677"/>
              <a:gd name="connsiteY34" fmla="*/ 186317 h 286663"/>
              <a:gd name="connsiteX35" fmla="*/ 257370 w 286677"/>
              <a:gd name="connsiteY35" fmla="*/ 186317 h 286663"/>
              <a:gd name="connsiteX36" fmla="*/ 265167 w 286677"/>
              <a:gd name="connsiteY36" fmla="*/ 143324 h 286663"/>
              <a:gd name="connsiteX37" fmla="*/ 261784 w 286677"/>
              <a:gd name="connsiteY37" fmla="*/ 114662 h 286663"/>
              <a:gd name="connsiteX38" fmla="*/ 98626 w 286677"/>
              <a:gd name="connsiteY38" fmla="*/ 29966 h 286663"/>
              <a:gd name="connsiteX39" fmla="*/ 98296 w 286677"/>
              <a:gd name="connsiteY39" fmla="*/ 30081 h 286663"/>
              <a:gd name="connsiteX40" fmla="*/ 32273 w 286677"/>
              <a:gd name="connsiteY40" fmla="*/ 93166 h 286663"/>
              <a:gd name="connsiteX41" fmla="*/ 75954 w 286677"/>
              <a:gd name="connsiteY41" fmla="*/ 93166 h 286663"/>
              <a:gd name="connsiteX42" fmla="*/ 98640 w 286677"/>
              <a:gd name="connsiteY42" fmla="*/ 29966 h 286663"/>
              <a:gd name="connsiteX43" fmla="*/ 143339 w 286677"/>
              <a:gd name="connsiteY43" fmla="*/ 21497 h 286663"/>
              <a:gd name="connsiteX44" fmla="*/ 141676 w 286677"/>
              <a:gd name="connsiteY44" fmla="*/ 21568 h 286663"/>
              <a:gd name="connsiteX45" fmla="*/ 97909 w 286677"/>
              <a:gd name="connsiteY45" fmla="*/ 93166 h 286663"/>
              <a:gd name="connsiteX46" fmla="*/ 188797 w 286677"/>
              <a:gd name="connsiteY46" fmla="*/ 93166 h 286663"/>
              <a:gd name="connsiteX47" fmla="*/ 145159 w 286677"/>
              <a:gd name="connsiteY47" fmla="*/ 21582 h 286663"/>
              <a:gd name="connsiteX48" fmla="*/ 143339 w 286677"/>
              <a:gd name="connsiteY48" fmla="*/ 21511 h 286663"/>
              <a:gd name="connsiteX49" fmla="*/ 188051 w 286677"/>
              <a:gd name="connsiteY49" fmla="*/ 29952 h 286663"/>
              <a:gd name="connsiteX50" fmla="*/ 189585 w 286677"/>
              <a:gd name="connsiteY50" fmla="*/ 32460 h 286663"/>
              <a:gd name="connsiteX51" fmla="*/ 210723 w 286677"/>
              <a:gd name="connsiteY51" fmla="*/ 93180 h 286663"/>
              <a:gd name="connsiteX52" fmla="*/ 254404 w 286677"/>
              <a:gd name="connsiteY52" fmla="*/ 93180 h 286663"/>
              <a:gd name="connsiteX53" fmla="*/ 192222 w 286677"/>
              <a:gd name="connsiteY53" fmla="*/ 31700 h 286663"/>
              <a:gd name="connsiteX54" fmla="*/ 188051 w 286677"/>
              <a:gd name="connsiteY54" fmla="*/ 29966 h 286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6677" h="286663">
                <a:moveTo>
                  <a:pt x="143339" y="0"/>
                </a:moveTo>
                <a:cubicBezTo>
                  <a:pt x="222503" y="0"/>
                  <a:pt x="286677" y="64174"/>
                  <a:pt x="286677" y="143339"/>
                </a:cubicBezTo>
                <a:cubicBezTo>
                  <a:pt x="286677" y="222489"/>
                  <a:pt x="222503" y="286663"/>
                  <a:pt x="143339" y="286663"/>
                </a:cubicBezTo>
                <a:cubicBezTo>
                  <a:pt x="64174" y="286663"/>
                  <a:pt x="0" y="222489"/>
                  <a:pt x="0" y="143339"/>
                </a:cubicBezTo>
                <a:cubicBezTo>
                  <a:pt x="0" y="64174"/>
                  <a:pt x="64174" y="0"/>
                  <a:pt x="143339" y="0"/>
                </a:cubicBezTo>
                <a:close/>
                <a:moveTo>
                  <a:pt x="185457" y="207814"/>
                </a:moveTo>
                <a:lnTo>
                  <a:pt x="101206" y="207814"/>
                </a:lnTo>
                <a:cubicBezTo>
                  <a:pt x="110549" y="242409"/>
                  <a:pt x="126801" y="265167"/>
                  <a:pt x="143324" y="265167"/>
                </a:cubicBezTo>
                <a:cubicBezTo>
                  <a:pt x="159848" y="265167"/>
                  <a:pt x="176099" y="242409"/>
                  <a:pt x="185443" y="207814"/>
                </a:cubicBezTo>
                <a:close/>
                <a:moveTo>
                  <a:pt x="78978" y="207814"/>
                </a:moveTo>
                <a:lnTo>
                  <a:pt x="39940" y="207814"/>
                </a:lnTo>
                <a:cubicBezTo>
                  <a:pt x="53777" y="229954"/>
                  <a:pt x="74337" y="247084"/>
                  <a:pt x="98612" y="256697"/>
                </a:cubicBezTo>
                <a:cubicBezTo>
                  <a:pt x="91131" y="244945"/>
                  <a:pt x="84954" y="230242"/>
                  <a:pt x="80411" y="213489"/>
                </a:cubicBezTo>
                <a:lnTo>
                  <a:pt x="78949" y="207828"/>
                </a:lnTo>
                <a:close/>
                <a:moveTo>
                  <a:pt x="246723" y="207814"/>
                </a:moveTo>
                <a:lnTo>
                  <a:pt x="207714" y="207814"/>
                </a:lnTo>
                <a:cubicBezTo>
                  <a:pt x="203070" y="226946"/>
                  <a:pt x="196363" y="243641"/>
                  <a:pt x="188037" y="256697"/>
                </a:cubicBezTo>
                <a:cubicBezTo>
                  <a:pt x="210777" y="247701"/>
                  <a:pt x="230298" y="232092"/>
                  <a:pt x="244071" y="211884"/>
                </a:cubicBezTo>
                <a:lnTo>
                  <a:pt x="246723" y="207828"/>
                </a:lnTo>
                <a:close/>
                <a:moveTo>
                  <a:pt x="73031" y="114662"/>
                </a:moveTo>
                <a:lnTo>
                  <a:pt x="24893" y="114662"/>
                </a:lnTo>
                <a:lnTo>
                  <a:pt x="24821" y="114906"/>
                </a:lnTo>
                <a:cubicBezTo>
                  <a:pt x="22598" y="124220"/>
                  <a:pt x="21477" y="133763"/>
                  <a:pt x="21482" y="143339"/>
                </a:cubicBezTo>
                <a:cubicBezTo>
                  <a:pt x="21482" y="158472"/>
                  <a:pt x="24248" y="172961"/>
                  <a:pt x="29293" y="186332"/>
                </a:cubicBezTo>
                <a:lnTo>
                  <a:pt x="74765" y="186332"/>
                </a:lnTo>
                <a:cubicBezTo>
                  <a:pt x="71304" y="162604"/>
                  <a:pt x="70712" y="138546"/>
                  <a:pt x="73002" y="114677"/>
                </a:cubicBezTo>
                <a:close/>
                <a:moveTo>
                  <a:pt x="192021" y="114662"/>
                </a:moveTo>
                <a:lnTo>
                  <a:pt x="94656" y="114662"/>
                </a:lnTo>
                <a:cubicBezTo>
                  <a:pt x="92135" y="138528"/>
                  <a:pt x="92785" y="162622"/>
                  <a:pt x="96591" y="186317"/>
                </a:cubicBezTo>
                <a:lnTo>
                  <a:pt x="190086" y="186317"/>
                </a:lnTo>
                <a:cubicBezTo>
                  <a:pt x="193890" y="162622"/>
                  <a:pt x="194540" y="138528"/>
                  <a:pt x="192021" y="114662"/>
                </a:cubicBezTo>
                <a:close/>
                <a:moveTo>
                  <a:pt x="261784" y="114662"/>
                </a:moveTo>
                <a:lnTo>
                  <a:pt x="213661" y="114662"/>
                </a:lnTo>
                <a:cubicBezTo>
                  <a:pt x="214549" y="123934"/>
                  <a:pt x="215022" y="133536"/>
                  <a:pt x="215022" y="143324"/>
                </a:cubicBezTo>
                <a:cubicBezTo>
                  <a:pt x="215045" y="157713"/>
                  <a:pt x="214002" y="172084"/>
                  <a:pt x="211898" y="186317"/>
                </a:cubicBezTo>
                <a:lnTo>
                  <a:pt x="257370" y="186317"/>
                </a:lnTo>
                <a:cubicBezTo>
                  <a:pt x="262545" y="172575"/>
                  <a:pt x="265187" y="158008"/>
                  <a:pt x="265167" y="143324"/>
                </a:cubicBezTo>
                <a:cubicBezTo>
                  <a:pt x="265167" y="133450"/>
                  <a:pt x="263991" y="123834"/>
                  <a:pt x="261784" y="114662"/>
                </a:cubicBezTo>
                <a:close/>
                <a:moveTo>
                  <a:pt x="98626" y="29966"/>
                </a:moveTo>
                <a:lnTo>
                  <a:pt x="98296" y="30081"/>
                </a:lnTo>
                <a:cubicBezTo>
                  <a:pt x="68967" y="41792"/>
                  <a:pt x="45307" y="64399"/>
                  <a:pt x="32273" y="93166"/>
                </a:cubicBezTo>
                <a:lnTo>
                  <a:pt x="75954" y="93166"/>
                </a:lnTo>
                <a:cubicBezTo>
                  <a:pt x="80454" y="68058"/>
                  <a:pt x="88279" y="46189"/>
                  <a:pt x="98640" y="29966"/>
                </a:cubicBezTo>
                <a:close/>
                <a:moveTo>
                  <a:pt x="143339" y="21497"/>
                </a:moveTo>
                <a:lnTo>
                  <a:pt x="141676" y="21568"/>
                </a:lnTo>
                <a:cubicBezTo>
                  <a:pt x="123562" y="23231"/>
                  <a:pt x="106021" y="51921"/>
                  <a:pt x="97909" y="93166"/>
                </a:cubicBezTo>
                <a:lnTo>
                  <a:pt x="188797" y="93166"/>
                </a:lnTo>
                <a:cubicBezTo>
                  <a:pt x="180685" y="52036"/>
                  <a:pt x="163244" y="23388"/>
                  <a:pt x="145159" y="21582"/>
                </a:cubicBezTo>
                <a:lnTo>
                  <a:pt x="143339" y="21511"/>
                </a:lnTo>
                <a:close/>
                <a:moveTo>
                  <a:pt x="188051" y="29952"/>
                </a:moveTo>
                <a:lnTo>
                  <a:pt x="189585" y="32460"/>
                </a:lnTo>
                <a:cubicBezTo>
                  <a:pt x="199172" y="48396"/>
                  <a:pt x="206452" y="69319"/>
                  <a:pt x="210723" y="93180"/>
                </a:cubicBezTo>
                <a:lnTo>
                  <a:pt x="254404" y="93180"/>
                </a:lnTo>
                <a:cubicBezTo>
                  <a:pt x="241963" y="65723"/>
                  <a:pt x="219819" y="43829"/>
                  <a:pt x="192222" y="31700"/>
                </a:cubicBezTo>
                <a:lnTo>
                  <a:pt x="188051" y="29966"/>
                </a:lnTo>
                <a:close/>
              </a:path>
            </a:pathLst>
          </a:custGeom>
          <a:solidFill>
            <a:srgbClr val="000000"/>
          </a:solid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Sans Display"/>
              <a:ea typeface="+mn-ea"/>
              <a:cs typeface="+mn-cs"/>
            </a:endParaRPr>
          </a:p>
        </p:txBody>
      </p:sp>
      <p:sp>
        <p:nvSpPr>
          <p:cNvPr id="265" name="Oval 264">
            <a:extLst>
              <a:ext uri="{FF2B5EF4-FFF2-40B4-BE49-F238E27FC236}">
                <a16:creationId xmlns:a16="http://schemas.microsoft.com/office/drawing/2014/main" id="{81F39598-3B95-A258-DCCF-7017121C8575}"/>
              </a:ext>
              <a:ext uri="{C183D7F6-B498-43B3-948B-1728B52AA6E4}">
                <adec:decorative xmlns:adec="http://schemas.microsoft.com/office/drawing/2017/decorative" val="1"/>
              </a:ext>
            </a:extLst>
          </p:cNvPr>
          <p:cNvSpPr/>
          <p:nvPr/>
        </p:nvSpPr>
        <p:spPr bwMode="auto">
          <a:xfrm flipH="1">
            <a:off x="4154085" y="2999552"/>
            <a:ext cx="2196122" cy="2161660"/>
          </a:xfrm>
          <a:prstGeom prst="ellipse">
            <a:avLst/>
          </a:prstGeom>
          <a:solidFill>
            <a:schemeClr val="bg1">
              <a:alpha val="70000"/>
            </a:schemeClr>
          </a:solidFill>
          <a:ln w="6350" cap="flat" cmpd="sng" algn="ctr">
            <a:noFill/>
            <a:prstDash val="solid"/>
            <a:headEnd type="none" w="med" len="med"/>
            <a:tailEnd type="none" w="med" len="med"/>
          </a:ln>
          <a:effectLst/>
        </p:spPr>
        <p:txBody>
          <a:bodyPr rot="0" spcFirstLastPara="0" vertOverflow="overflow" horzOverflow="overflow" vert="horz" wrap="square" lIns="182880" tIns="1737360" rIns="182880" bIns="548640" numCol="1" spcCol="0" rtlCol="0" fromWordArt="0" anchor="ctr" anchorCtr="0" forceAA="0" compatLnSpc="1">
            <a:prstTxWarp prst="textNoShape">
              <a:avLst/>
            </a:prstTxWarp>
            <a:noAutofit/>
          </a:bodyPr>
          <a:lstStyle/>
          <a:p>
            <a:pPr marL="0" marR="0" lvl="0" indent="0" algn="ctr" defTabSz="1403951" rtl="0" eaLnBrk="1" fontAlgn="base" latinLnBrk="0" hangingPunct="1">
              <a:lnSpc>
                <a:spcPct val="100000"/>
              </a:lnSpc>
              <a:spcBef>
                <a:spcPct val="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Sans Display"/>
              <a:ea typeface="+mn-ea"/>
              <a:cs typeface="Segoe UI Semibold"/>
            </a:endParaRPr>
          </a:p>
        </p:txBody>
      </p:sp>
      <p:grpSp>
        <p:nvGrpSpPr>
          <p:cNvPr id="270" name="Group 269">
            <a:extLst>
              <a:ext uri="{FF2B5EF4-FFF2-40B4-BE49-F238E27FC236}">
                <a16:creationId xmlns:a16="http://schemas.microsoft.com/office/drawing/2014/main" id="{2F08DB23-C380-3F36-C9A2-333743790A49}"/>
              </a:ext>
              <a:ext uri="{C183D7F6-B498-43B3-948B-1728B52AA6E4}">
                <adec:decorative xmlns:adec="http://schemas.microsoft.com/office/drawing/2017/decorative" val="1"/>
              </a:ext>
            </a:extLst>
          </p:cNvPr>
          <p:cNvGrpSpPr/>
          <p:nvPr/>
        </p:nvGrpSpPr>
        <p:grpSpPr>
          <a:xfrm>
            <a:off x="8336114" y="3141061"/>
            <a:ext cx="822960" cy="1409696"/>
            <a:chOff x="7760393" y="7020042"/>
            <a:chExt cx="822960" cy="1409696"/>
          </a:xfrm>
          <a:solidFill>
            <a:schemeClr val="bg1">
              <a:alpha val="70000"/>
            </a:schemeClr>
          </a:solidFill>
        </p:grpSpPr>
        <p:sp>
          <p:nvSpPr>
            <p:cNvPr id="266" name="Rectangle: Rounded Corners 18">
              <a:extLst>
                <a:ext uri="{FF2B5EF4-FFF2-40B4-BE49-F238E27FC236}">
                  <a16:creationId xmlns:a16="http://schemas.microsoft.com/office/drawing/2014/main" id="{D5BD2599-E53E-6306-8CE5-25C381E05287}"/>
                </a:ext>
                <a:ext uri="{C183D7F6-B498-43B3-948B-1728B52AA6E4}">
                  <adec:decorative xmlns:adec="http://schemas.microsoft.com/office/drawing/2017/decorative" val="1"/>
                </a:ext>
              </a:extLst>
            </p:cNvPr>
            <p:cNvSpPr>
              <a:spLocks/>
            </p:cNvSpPr>
            <p:nvPr/>
          </p:nvSpPr>
          <p:spPr bwMode="auto">
            <a:xfrm>
              <a:off x="7760393" y="7020042"/>
              <a:ext cx="822960" cy="365760"/>
            </a:xfrm>
            <a:prstGeom prst="roundRect">
              <a:avLst>
                <a:gd name="adj" fmla="val 50000"/>
              </a:avLst>
            </a:prstGeom>
            <a:grpFill/>
            <a:ln w="22225" cap="flat" cmpd="sng" algn="ctr">
              <a:solidFill>
                <a:schemeClr val="bg1">
                  <a:alpha val="70000"/>
                </a:schemeClr>
              </a:solidFill>
              <a:prstDash val="solid"/>
              <a:headEnd type="none" w="med" len="med"/>
              <a:tailEnd type="none" w="med" len="med"/>
            </a:ln>
            <a:effectLst/>
          </p:spPr>
          <p:txBody>
            <a:bodyPr rot="0" spcFirstLastPara="0" vertOverflow="overflow" horzOverflow="overflow" vert="horz" wrap="square" lIns="182880" tIns="1737360" rIns="182880" bIns="548640" numCol="1" spcCol="0" rtlCol="0" fromWordArt="0" anchor="ctr" anchorCtr="0" forceAA="0" compatLnSpc="1">
              <a:prstTxWarp prst="textNoShape">
                <a:avLst/>
              </a:prstTxWarp>
              <a:noAutofit/>
            </a:bodyPr>
            <a:lstStyle/>
            <a:p>
              <a:pPr marL="0" marR="0" lvl="0" indent="0" algn="ctr" defTabSz="1403951" rtl="0" eaLnBrk="1" fontAlgn="base" latinLnBrk="0" hangingPunct="1">
                <a:lnSpc>
                  <a:spcPct val="100000"/>
                </a:lnSpc>
                <a:spcBef>
                  <a:spcPct val="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Sans Display"/>
                <a:ea typeface="+mn-ea"/>
                <a:cs typeface="Segoe UI Semibold"/>
              </a:endParaRPr>
            </a:p>
          </p:txBody>
        </p:sp>
        <p:sp>
          <p:nvSpPr>
            <p:cNvPr id="267" name="Rectangle: Rounded Corners 18">
              <a:extLst>
                <a:ext uri="{FF2B5EF4-FFF2-40B4-BE49-F238E27FC236}">
                  <a16:creationId xmlns:a16="http://schemas.microsoft.com/office/drawing/2014/main" id="{1281D59F-1317-7CCF-C497-2B115A275012}"/>
                </a:ext>
                <a:ext uri="{C183D7F6-B498-43B3-948B-1728B52AA6E4}">
                  <adec:decorative xmlns:adec="http://schemas.microsoft.com/office/drawing/2017/decorative" val="1"/>
                </a:ext>
              </a:extLst>
            </p:cNvPr>
            <p:cNvSpPr>
              <a:spLocks/>
            </p:cNvSpPr>
            <p:nvPr/>
          </p:nvSpPr>
          <p:spPr bwMode="auto">
            <a:xfrm>
              <a:off x="7760393" y="8063978"/>
              <a:ext cx="822960" cy="365760"/>
            </a:xfrm>
            <a:prstGeom prst="roundRect">
              <a:avLst>
                <a:gd name="adj" fmla="val 50000"/>
              </a:avLst>
            </a:prstGeom>
            <a:grpFill/>
            <a:ln w="22225" cap="flat" cmpd="sng" algn="ctr">
              <a:solidFill>
                <a:schemeClr val="bg1">
                  <a:alpha val="70000"/>
                </a:schemeClr>
              </a:solidFill>
              <a:prstDash val="solid"/>
              <a:headEnd type="none" w="med" len="med"/>
              <a:tailEnd type="none" w="med" len="med"/>
            </a:ln>
            <a:effectLst/>
          </p:spPr>
          <p:txBody>
            <a:bodyPr rot="0" spcFirstLastPara="0" vertOverflow="overflow" horzOverflow="overflow" vert="horz" wrap="square" lIns="182880" tIns="1737360" rIns="182880" bIns="548640" numCol="1" spcCol="0" rtlCol="0" fromWordArt="0" anchor="ctr" anchorCtr="0" forceAA="0" compatLnSpc="1">
              <a:prstTxWarp prst="textNoShape">
                <a:avLst/>
              </a:prstTxWarp>
              <a:noAutofit/>
            </a:bodyPr>
            <a:lstStyle/>
            <a:p>
              <a:pPr marL="0" marR="0" lvl="0" indent="0" algn="ctr" defTabSz="1403951" rtl="0" eaLnBrk="1" fontAlgn="base" latinLnBrk="0" hangingPunct="1">
                <a:lnSpc>
                  <a:spcPct val="100000"/>
                </a:lnSpc>
                <a:spcBef>
                  <a:spcPct val="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Sans Display"/>
                <a:ea typeface="+mn-ea"/>
                <a:cs typeface="Segoe UI Semibold"/>
              </a:endParaRPr>
            </a:p>
          </p:txBody>
        </p:sp>
        <p:sp>
          <p:nvSpPr>
            <p:cNvPr id="268" name="Rectangle: Rounded Corners 18">
              <a:extLst>
                <a:ext uri="{FF2B5EF4-FFF2-40B4-BE49-F238E27FC236}">
                  <a16:creationId xmlns:a16="http://schemas.microsoft.com/office/drawing/2014/main" id="{F0B4E7E5-B167-7E7D-8CF0-BB10C9AA0989}"/>
                </a:ext>
                <a:ext uri="{C183D7F6-B498-43B3-948B-1728B52AA6E4}">
                  <adec:decorative xmlns:adec="http://schemas.microsoft.com/office/drawing/2017/decorative" val="1"/>
                </a:ext>
              </a:extLst>
            </p:cNvPr>
            <p:cNvSpPr>
              <a:spLocks/>
            </p:cNvSpPr>
            <p:nvPr/>
          </p:nvSpPr>
          <p:spPr bwMode="auto">
            <a:xfrm>
              <a:off x="7760393" y="7542010"/>
              <a:ext cx="822960" cy="365760"/>
            </a:xfrm>
            <a:prstGeom prst="roundRect">
              <a:avLst>
                <a:gd name="adj" fmla="val 50000"/>
              </a:avLst>
            </a:prstGeom>
            <a:grpFill/>
            <a:ln w="22225" cap="flat" cmpd="sng" algn="ctr">
              <a:solidFill>
                <a:schemeClr val="bg1">
                  <a:alpha val="70000"/>
                </a:schemeClr>
              </a:solidFill>
              <a:prstDash val="solid"/>
              <a:headEnd type="none" w="med" len="med"/>
              <a:tailEnd type="none" w="med" len="med"/>
            </a:ln>
            <a:effectLst/>
          </p:spPr>
          <p:txBody>
            <a:bodyPr rot="0" spcFirstLastPara="0" vertOverflow="overflow" horzOverflow="overflow" vert="horz" wrap="square" lIns="182880" tIns="1737360" rIns="182880" bIns="548640" numCol="1" spcCol="0" rtlCol="0" fromWordArt="0" anchor="ctr" anchorCtr="0" forceAA="0" compatLnSpc="1">
              <a:prstTxWarp prst="textNoShape">
                <a:avLst/>
              </a:prstTxWarp>
              <a:noAutofit/>
            </a:bodyPr>
            <a:lstStyle/>
            <a:p>
              <a:pPr marL="0" marR="0" lvl="0" indent="0" algn="ctr" defTabSz="1403951" rtl="0" eaLnBrk="1" fontAlgn="base" latinLnBrk="0" hangingPunct="1">
                <a:lnSpc>
                  <a:spcPct val="100000"/>
                </a:lnSpc>
                <a:spcBef>
                  <a:spcPct val="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Sans Display"/>
                <a:ea typeface="+mn-ea"/>
                <a:cs typeface="Segoe UI Semibold"/>
              </a:endParaRPr>
            </a:p>
          </p:txBody>
        </p:sp>
      </p:grpSp>
    </p:spTree>
    <p:extLst>
      <p:ext uri="{BB962C8B-B14F-4D97-AF65-F5344CB8AC3E}">
        <p14:creationId xmlns:p14="http://schemas.microsoft.com/office/powerpoint/2010/main" val="2659808452"/>
      </p:ext>
    </p:extLst>
  </p:cSld>
  <p:clrMapOvr>
    <a:overrideClrMapping bg1="lt1" tx1="dk1" bg2="lt2" tx2="dk2" accent1="accent1" accent2="accent2" accent3="accent3" accent4="accent4" accent5="accent5" accent6="accent6" hlink="hlink" folHlink="folHlink"/>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578B69-9E47-6A9E-977B-6042A5D6381F}"/>
            </a:ext>
          </a:extLst>
        </p:cNvPr>
        <p:cNvGrpSpPr/>
        <p:nvPr/>
      </p:nvGrpSpPr>
      <p:grpSpPr>
        <a:xfrm>
          <a:off x="0" y="0"/>
          <a:ext cx="0" cy="0"/>
          <a:chOff x="0" y="0"/>
          <a:chExt cx="0" cy="0"/>
        </a:xfrm>
      </p:grpSpPr>
      <p:sp>
        <p:nvSpPr>
          <p:cNvPr id="89" name="Title 2">
            <a:extLst>
              <a:ext uri="{FF2B5EF4-FFF2-40B4-BE49-F238E27FC236}">
                <a16:creationId xmlns:a16="http://schemas.microsoft.com/office/drawing/2014/main" id="{CF104226-4041-1AF3-47AE-454D08DACC5B}"/>
              </a:ext>
            </a:extLst>
          </p:cNvPr>
          <p:cNvSpPr>
            <a:spLocks noGrp="1"/>
          </p:cNvSpPr>
          <p:nvPr>
            <p:ph type="title" idx="4294967295"/>
          </p:nvPr>
        </p:nvSpPr>
        <p:spPr>
          <a:xfrm>
            <a:off x="552290" y="486504"/>
            <a:ext cx="11017250" cy="1046163"/>
          </a:xfrm>
        </p:spPr>
        <p:txBody>
          <a:bodyPr>
            <a:normAutofit/>
          </a:bodyPr>
          <a:lstStyle/>
          <a:p>
            <a:pPr algn="ctr"/>
            <a:r>
              <a:rPr lang="en-US" sz="3200" dirty="0">
                <a:gradFill>
                  <a:gsLst>
                    <a:gs pos="0">
                      <a:srgbClr val="0360DB"/>
                    </a:gs>
                    <a:gs pos="100000">
                      <a:srgbClr val="207EFC"/>
                    </a:gs>
                  </a:gsLst>
                  <a:path path="circle">
                    <a:fillToRect t="100000" r="100000"/>
                  </a:path>
                </a:gradFill>
                <a:latin typeface="Segoe Sans Display Semibold" pitchFamily="2" charset="0"/>
                <a:cs typeface="Segoe Sans Display Semibold" pitchFamily="2" charset="0"/>
              </a:rPr>
              <a:t>Protect access </a:t>
            </a:r>
            <a:r>
              <a:rPr lang="en-US" sz="3200" dirty="0">
                <a:latin typeface="Segoe Sans Display Semibold" pitchFamily="2" charset="0"/>
                <a:cs typeface="Segoe Sans Display Semibold" pitchFamily="2" charset="0"/>
              </a:rPr>
              <a:t>to all on-premises and SaaS resources</a:t>
            </a:r>
            <a:r>
              <a:rPr lang="en-US" dirty="0">
                <a:latin typeface="Segoe Sans Display Semibold" pitchFamily="2" charset="0"/>
                <a:cs typeface="Segoe Sans Display Semibold" pitchFamily="2" charset="0"/>
              </a:rPr>
              <a:t>​</a:t>
            </a:r>
          </a:p>
        </p:txBody>
      </p:sp>
      <p:sp>
        <p:nvSpPr>
          <p:cNvPr id="17" name="Rectangle: Top Corners Rounded 16">
            <a:extLst>
              <a:ext uri="{FF2B5EF4-FFF2-40B4-BE49-F238E27FC236}">
                <a16:creationId xmlns:a16="http://schemas.microsoft.com/office/drawing/2014/main" id="{401FA98F-F0C1-988C-C467-E2600CFEC65C}"/>
              </a:ext>
              <a:ext uri="{C183D7F6-B498-43B3-948B-1728B52AA6E4}">
                <adec:decorative xmlns:adec="http://schemas.microsoft.com/office/drawing/2017/decorative" val="1"/>
              </a:ext>
            </a:extLst>
          </p:cNvPr>
          <p:cNvSpPr/>
          <p:nvPr/>
        </p:nvSpPr>
        <p:spPr bwMode="auto">
          <a:xfrm rot="5400000" flipH="1">
            <a:off x="6820" y="2883708"/>
            <a:ext cx="2103728" cy="2275027"/>
          </a:xfrm>
          <a:prstGeom prst="round2SameRect">
            <a:avLst>
              <a:gd name="adj1" fmla="val 8485"/>
              <a:gd name="adj2" fmla="val 0"/>
            </a:avLst>
          </a:prstGeom>
          <a:solidFill>
            <a:schemeClr val="bg1"/>
          </a:solidFill>
          <a:ln w="28575">
            <a:solidFill>
              <a:srgbClr val="E2F9D9"/>
            </a:solidFill>
          </a:ln>
        </p:spPr>
        <p:txBody>
          <a:bodyPr wrap="square" lIns="91440" tIns="45720" rIns="91440" bIns="45720" anchor="t">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100" b="0" i="0" u="none" strike="noStrike" kern="0" cap="none" spc="-40" normalizeH="0" baseline="0" noProof="0" err="1">
              <a:ln>
                <a:noFill/>
              </a:ln>
              <a:solidFill>
                <a:srgbClr val="000000"/>
              </a:solidFill>
              <a:effectLst/>
              <a:uLnTx/>
              <a:uFillTx/>
              <a:latin typeface="Segoe Sans Display Semibold"/>
              <a:ea typeface="+mn-ea"/>
              <a:cs typeface="Segoe UI Semibold"/>
            </a:endParaRPr>
          </a:p>
        </p:txBody>
      </p:sp>
      <p:sp>
        <p:nvSpPr>
          <p:cNvPr id="18" name="Rectangle: Top Corners Rounded 17">
            <a:extLst>
              <a:ext uri="{FF2B5EF4-FFF2-40B4-BE49-F238E27FC236}">
                <a16:creationId xmlns:a16="http://schemas.microsoft.com/office/drawing/2014/main" id="{52F852E1-D576-66E3-3B6A-1EAED3931F69}"/>
              </a:ext>
              <a:ext uri="{C183D7F6-B498-43B3-948B-1728B52AA6E4}">
                <adec:decorative xmlns:adec="http://schemas.microsoft.com/office/drawing/2017/decorative" val="1"/>
              </a:ext>
            </a:extLst>
          </p:cNvPr>
          <p:cNvSpPr/>
          <p:nvPr/>
        </p:nvSpPr>
        <p:spPr bwMode="auto">
          <a:xfrm rot="16200000">
            <a:off x="10081452" y="2874559"/>
            <a:ext cx="2103728" cy="2275027"/>
          </a:xfrm>
          <a:prstGeom prst="round2SameRect">
            <a:avLst>
              <a:gd name="adj1" fmla="val 5928"/>
              <a:gd name="adj2" fmla="val 0"/>
            </a:avLst>
          </a:prstGeom>
          <a:solidFill>
            <a:schemeClr val="bg1"/>
          </a:solidFill>
          <a:ln w="28575">
            <a:solidFill>
              <a:srgbClr val="A5B8EE"/>
            </a:solidFill>
          </a:ln>
        </p:spPr>
        <p:txBody>
          <a:bodyPr wrap="square" lIns="91440" tIns="45720" rIns="91440" bIns="45720" anchor="t">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100" b="0" i="0" u="none" strike="noStrike" kern="0" cap="none" spc="-40" normalizeH="0" baseline="0" noProof="0" err="1">
              <a:ln>
                <a:noFill/>
              </a:ln>
              <a:solidFill>
                <a:srgbClr val="000000"/>
              </a:solidFill>
              <a:effectLst/>
              <a:uLnTx/>
              <a:uFillTx/>
              <a:latin typeface="Segoe Sans Display Semibold"/>
              <a:ea typeface="+mn-ea"/>
              <a:cs typeface="Segoe UI Semibold"/>
            </a:endParaRPr>
          </a:p>
        </p:txBody>
      </p:sp>
      <p:grpSp>
        <p:nvGrpSpPr>
          <p:cNvPr id="20" name="Group 19">
            <a:extLst>
              <a:ext uri="{FF2B5EF4-FFF2-40B4-BE49-F238E27FC236}">
                <a16:creationId xmlns:a16="http://schemas.microsoft.com/office/drawing/2014/main" id="{64E84F43-7EE5-AEFB-7855-4CE53DEA7F4B}"/>
              </a:ext>
              <a:ext uri="{C183D7F6-B498-43B3-948B-1728B52AA6E4}">
                <adec:decorative xmlns:adec="http://schemas.microsoft.com/office/drawing/2017/decorative" val="1"/>
              </a:ext>
            </a:extLst>
          </p:cNvPr>
          <p:cNvGrpSpPr/>
          <p:nvPr/>
        </p:nvGrpSpPr>
        <p:grpSpPr>
          <a:xfrm>
            <a:off x="2272430" y="2969357"/>
            <a:ext cx="3715714" cy="2103728"/>
            <a:chOff x="2318716" y="2665433"/>
            <a:chExt cx="3715714" cy="2103728"/>
          </a:xfrm>
        </p:grpSpPr>
        <p:sp>
          <p:nvSpPr>
            <p:cNvPr id="21" name="Rectangle: Rounded Corners 20">
              <a:extLst>
                <a:ext uri="{FF2B5EF4-FFF2-40B4-BE49-F238E27FC236}">
                  <a16:creationId xmlns:a16="http://schemas.microsoft.com/office/drawing/2014/main" id="{E63A15EE-4836-925F-B14D-68FCE9BE193B}"/>
                </a:ext>
              </a:extLst>
            </p:cNvPr>
            <p:cNvSpPr/>
            <p:nvPr/>
          </p:nvSpPr>
          <p:spPr bwMode="auto">
            <a:xfrm>
              <a:off x="2318716" y="2665433"/>
              <a:ext cx="3715714" cy="2103728"/>
            </a:xfrm>
            <a:prstGeom prst="roundRect">
              <a:avLst>
                <a:gd name="adj" fmla="val 7788"/>
              </a:avLst>
            </a:prstGeom>
            <a:solidFill>
              <a:srgbClr val="E2F9D9"/>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mn-ea"/>
                <a:cs typeface="Segoe UI" pitchFamily="34" charset="0"/>
              </a:endParaRPr>
            </a:p>
          </p:txBody>
        </p:sp>
        <p:grpSp>
          <p:nvGrpSpPr>
            <p:cNvPr id="22" name="Group 21">
              <a:extLst>
                <a:ext uri="{FF2B5EF4-FFF2-40B4-BE49-F238E27FC236}">
                  <a16:creationId xmlns:a16="http://schemas.microsoft.com/office/drawing/2014/main" id="{C881BC0B-020B-6013-6230-12705154F174}"/>
                </a:ext>
              </a:extLst>
            </p:cNvPr>
            <p:cNvGrpSpPr/>
            <p:nvPr/>
          </p:nvGrpSpPr>
          <p:grpSpPr>
            <a:xfrm>
              <a:off x="2663315" y="2865648"/>
              <a:ext cx="1943423" cy="1202538"/>
              <a:chOff x="2663315" y="2865648"/>
              <a:chExt cx="1943423" cy="1202538"/>
            </a:xfrm>
          </p:grpSpPr>
          <p:sp>
            <p:nvSpPr>
              <p:cNvPr id="23" name="TextBox 22">
                <a:extLst>
                  <a:ext uri="{FF2B5EF4-FFF2-40B4-BE49-F238E27FC236}">
                    <a16:creationId xmlns:a16="http://schemas.microsoft.com/office/drawing/2014/main" id="{FA96F0E2-6405-8890-3FF6-4E1CE26CC4FE}"/>
                  </a:ext>
                  <a:ext uri="{C183D7F6-B498-43B3-948B-1728B52AA6E4}">
                    <adec:decorative xmlns:adec="http://schemas.microsoft.com/office/drawing/2017/decorative" val="1"/>
                  </a:ext>
                </a:extLst>
              </p:cNvPr>
              <p:cNvSpPr txBox="1"/>
              <p:nvPr/>
            </p:nvSpPr>
            <p:spPr>
              <a:xfrm>
                <a:off x="2663315" y="3637299"/>
                <a:ext cx="1943423" cy="430887"/>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LnTx/>
                    <a:uFillTx/>
                    <a:latin typeface="Segoe UI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Semibold"/>
                    <a:ea typeface="+mn-ea"/>
                    <a:cs typeface="+mn-cs"/>
                  </a:rPr>
                  <a:t>Microsoft Entr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Semibold"/>
                    <a:ea typeface="+mn-ea"/>
                    <a:cs typeface="+mn-cs"/>
                  </a:rPr>
                  <a:t>Private Access</a:t>
                </a:r>
              </a:p>
            </p:txBody>
          </p:sp>
          <p:pic>
            <p:nvPicPr>
              <p:cNvPr id="24" name="Graphic 23">
                <a:extLst>
                  <a:ext uri="{FF2B5EF4-FFF2-40B4-BE49-F238E27FC236}">
                    <a16:creationId xmlns:a16="http://schemas.microsoft.com/office/drawing/2014/main" id="{E09C101C-024E-0CA6-136B-F26D9FD017F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2126" y="2865648"/>
                <a:ext cx="685800" cy="685800"/>
              </a:xfrm>
              <a:prstGeom prst="rect">
                <a:avLst/>
              </a:prstGeom>
            </p:spPr>
          </p:pic>
        </p:grpSp>
      </p:grpSp>
      <p:grpSp>
        <p:nvGrpSpPr>
          <p:cNvPr id="25" name="Group 24">
            <a:extLst>
              <a:ext uri="{FF2B5EF4-FFF2-40B4-BE49-F238E27FC236}">
                <a16:creationId xmlns:a16="http://schemas.microsoft.com/office/drawing/2014/main" id="{E0B73F36-7F34-9E1A-3301-9261B01D47B4}"/>
              </a:ext>
              <a:ext uri="{C183D7F6-B498-43B3-948B-1728B52AA6E4}">
                <adec:decorative xmlns:adec="http://schemas.microsoft.com/office/drawing/2017/decorative" val="1"/>
              </a:ext>
            </a:extLst>
          </p:cNvPr>
          <p:cNvGrpSpPr/>
          <p:nvPr/>
        </p:nvGrpSpPr>
        <p:grpSpPr>
          <a:xfrm>
            <a:off x="6203856" y="2960209"/>
            <a:ext cx="3715714" cy="2103728"/>
            <a:chOff x="6096000" y="2656285"/>
            <a:chExt cx="3715714" cy="2103728"/>
          </a:xfrm>
        </p:grpSpPr>
        <p:sp>
          <p:nvSpPr>
            <p:cNvPr id="26" name="Rectangle: Rounded Corners 25">
              <a:extLst>
                <a:ext uri="{FF2B5EF4-FFF2-40B4-BE49-F238E27FC236}">
                  <a16:creationId xmlns:a16="http://schemas.microsoft.com/office/drawing/2014/main" id="{CC24AED7-BAA0-199D-23B7-37C4F5C305A6}"/>
                </a:ext>
              </a:extLst>
            </p:cNvPr>
            <p:cNvSpPr/>
            <p:nvPr/>
          </p:nvSpPr>
          <p:spPr bwMode="auto">
            <a:xfrm>
              <a:off x="6096000" y="2656285"/>
              <a:ext cx="3715714" cy="2103728"/>
            </a:xfrm>
            <a:prstGeom prst="roundRect">
              <a:avLst>
                <a:gd name="adj" fmla="val 8299"/>
              </a:avLst>
            </a:prstGeom>
            <a:solidFill>
              <a:srgbClr val="A5B8E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mn-ea"/>
                <a:cs typeface="Segoe UI" pitchFamily="34" charset="0"/>
              </a:endParaRPr>
            </a:p>
          </p:txBody>
        </p:sp>
        <p:grpSp>
          <p:nvGrpSpPr>
            <p:cNvPr id="31" name="Group 30">
              <a:extLst>
                <a:ext uri="{FF2B5EF4-FFF2-40B4-BE49-F238E27FC236}">
                  <a16:creationId xmlns:a16="http://schemas.microsoft.com/office/drawing/2014/main" id="{DA56EA45-95FA-A3EA-196B-E337222E6043}"/>
                </a:ext>
              </a:extLst>
            </p:cNvPr>
            <p:cNvGrpSpPr/>
            <p:nvPr/>
          </p:nvGrpSpPr>
          <p:grpSpPr>
            <a:xfrm>
              <a:off x="7585263" y="2865648"/>
              <a:ext cx="1943423" cy="1202538"/>
              <a:chOff x="7585263" y="2865648"/>
              <a:chExt cx="1943423" cy="1202538"/>
            </a:xfrm>
          </p:grpSpPr>
          <p:pic>
            <p:nvPicPr>
              <p:cNvPr id="32" name="Graphic 31">
                <a:extLst>
                  <a:ext uri="{FF2B5EF4-FFF2-40B4-BE49-F238E27FC236}">
                    <a16:creationId xmlns:a16="http://schemas.microsoft.com/office/drawing/2014/main" id="{8C46198F-F149-7732-1F90-41078057DDA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14074" y="2865648"/>
                <a:ext cx="685800" cy="685800"/>
              </a:xfrm>
              <a:prstGeom prst="rect">
                <a:avLst/>
              </a:prstGeom>
            </p:spPr>
          </p:pic>
          <p:sp>
            <p:nvSpPr>
              <p:cNvPr id="53" name="TextBox 52">
                <a:extLst>
                  <a:ext uri="{FF2B5EF4-FFF2-40B4-BE49-F238E27FC236}">
                    <a16:creationId xmlns:a16="http://schemas.microsoft.com/office/drawing/2014/main" id="{F3030DCE-ACE8-52D4-8769-3C727013F1D3}"/>
                  </a:ext>
                  <a:ext uri="{C183D7F6-B498-43B3-948B-1728B52AA6E4}">
                    <adec:decorative xmlns:adec="http://schemas.microsoft.com/office/drawing/2017/decorative" val="1"/>
                  </a:ext>
                </a:extLst>
              </p:cNvPr>
              <p:cNvSpPr txBox="1"/>
              <p:nvPr/>
            </p:nvSpPr>
            <p:spPr>
              <a:xfrm>
                <a:off x="7585263" y="3637299"/>
                <a:ext cx="1943423" cy="430887"/>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LnTx/>
                    <a:uFillTx/>
                    <a:latin typeface="Segoe UI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Semibold"/>
                    <a:ea typeface="+mn-ea"/>
                    <a:cs typeface="+mn-cs"/>
                  </a:rPr>
                  <a:t>Microsoft Entr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Semibold"/>
                    <a:ea typeface="+mn-ea"/>
                    <a:cs typeface="+mn-cs"/>
                  </a:rPr>
                  <a:t>Internet Access</a:t>
                </a:r>
              </a:p>
            </p:txBody>
          </p:sp>
        </p:grpSp>
      </p:grpSp>
      <p:grpSp>
        <p:nvGrpSpPr>
          <p:cNvPr id="91" name="Group 90">
            <a:extLst>
              <a:ext uri="{FF2B5EF4-FFF2-40B4-BE49-F238E27FC236}">
                <a16:creationId xmlns:a16="http://schemas.microsoft.com/office/drawing/2014/main" id="{1A33A664-A836-A201-8F8A-40160E88D591}"/>
              </a:ext>
              <a:ext uri="{C183D7F6-B498-43B3-948B-1728B52AA6E4}">
                <adec:decorative xmlns:adec="http://schemas.microsoft.com/office/drawing/2017/decorative" val="1"/>
              </a:ext>
            </a:extLst>
          </p:cNvPr>
          <p:cNvGrpSpPr/>
          <p:nvPr/>
        </p:nvGrpSpPr>
        <p:grpSpPr>
          <a:xfrm>
            <a:off x="10397760" y="3141983"/>
            <a:ext cx="1508527" cy="568697"/>
            <a:chOff x="10389999" y="2231564"/>
            <a:chExt cx="1508527" cy="568697"/>
          </a:xfrm>
        </p:grpSpPr>
        <p:pic>
          <p:nvPicPr>
            <p:cNvPr id="159" name="Icon: M365">
              <a:extLst>
                <a:ext uri="{FF2B5EF4-FFF2-40B4-BE49-F238E27FC236}">
                  <a16:creationId xmlns:a16="http://schemas.microsoft.com/office/drawing/2014/main" id="{622114CA-649D-D72F-919F-877ED89A11D4}"/>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rcRect l="4251" r="4251"/>
            <a:stretch/>
          </p:blipFill>
          <p:spPr>
            <a:xfrm>
              <a:off x="11657846" y="2525941"/>
              <a:ext cx="240680" cy="274320"/>
            </a:xfrm>
            <a:prstGeom prst="rect">
              <a:avLst/>
            </a:prstGeom>
            <a:effectLst/>
          </p:spPr>
        </p:pic>
        <p:grpSp>
          <p:nvGrpSpPr>
            <p:cNvPr id="255" name="Group 254">
              <a:extLst>
                <a:ext uri="{FF2B5EF4-FFF2-40B4-BE49-F238E27FC236}">
                  <a16:creationId xmlns:a16="http://schemas.microsoft.com/office/drawing/2014/main" id="{60C6AB25-96FF-B240-562A-7C666D94CBF0}"/>
                </a:ext>
              </a:extLst>
            </p:cNvPr>
            <p:cNvGrpSpPr/>
            <p:nvPr/>
          </p:nvGrpSpPr>
          <p:grpSpPr>
            <a:xfrm>
              <a:off x="11246666" y="2231564"/>
              <a:ext cx="279964" cy="217394"/>
              <a:chOff x="10694310" y="2757597"/>
              <a:chExt cx="220118" cy="177220"/>
            </a:xfrm>
          </p:grpSpPr>
          <p:sp>
            <p:nvSpPr>
              <p:cNvPr id="258" name="Freeform: Shape 400">
                <a:extLst>
                  <a:ext uri="{FF2B5EF4-FFF2-40B4-BE49-F238E27FC236}">
                    <a16:creationId xmlns:a16="http://schemas.microsoft.com/office/drawing/2014/main" id="{6B3CD264-9176-7AD9-1A50-72239B9FD582}"/>
                  </a:ext>
                </a:extLst>
              </p:cNvPr>
              <p:cNvSpPr/>
              <p:nvPr/>
            </p:nvSpPr>
            <p:spPr>
              <a:xfrm>
                <a:off x="10720782" y="2757597"/>
                <a:ext cx="139971" cy="63510"/>
              </a:xfrm>
              <a:custGeom>
                <a:avLst/>
                <a:gdLst>
                  <a:gd name="connsiteX0" fmla="*/ 160496 w 198501"/>
                  <a:gd name="connsiteY0" fmla="*/ 69209 h 90069"/>
                  <a:gd name="connsiteX1" fmla="*/ 170021 w 198501"/>
                  <a:gd name="connsiteY1" fmla="*/ 69209 h 90069"/>
                  <a:gd name="connsiteX2" fmla="*/ 197168 w 198501"/>
                  <a:gd name="connsiteY2" fmla="*/ 42063 h 90069"/>
                  <a:gd name="connsiteX3" fmla="*/ 198501 w 198501"/>
                  <a:gd name="connsiteY3" fmla="*/ 30538 h 90069"/>
                  <a:gd name="connsiteX4" fmla="*/ 26280 w 198501"/>
                  <a:gd name="connsiteY4" fmla="*/ 41274 h 90069"/>
                  <a:gd name="connsiteX5" fmla="*/ 0 w 198501"/>
                  <a:gd name="connsiteY5" fmla="*/ 90069 h 90069"/>
                  <a:gd name="connsiteX6" fmla="*/ 9525 w 198501"/>
                  <a:gd name="connsiteY6" fmla="*/ 89498 h 90069"/>
                  <a:gd name="connsiteX7" fmla="*/ 63818 w 198501"/>
                  <a:gd name="connsiteY7" fmla="*/ 80544 h 90069"/>
                  <a:gd name="connsiteX8" fmla="*/ 68009 w 198501"/>
                  <a:gd name="connsiteY8" fmla="*/ 76258 h 90069"/>
                  <a:gd name="connsiteX9" fmla="*/ 160687 w 198501"/>
                  <a:gd name="connsiteY9" fmla="*/ 69209 h 90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501" h="90069">
                    <a:moveTo>
                      <a:pt x="160496" y="69209"/>
                    </a:moveTo>
                    <a:lnTo>
                      <a:pt x="170021" y="69209"/>
                    </a:lnTo>
                    <a:lnTo>
                      <a:pt x="197168" y="42063"/>
                    </a:lnTo>
                    <a:lnTo>
                      <a:pt x="198501" y="30538"/>
                    </a:lnTo>
                    <a:cubicBezTo>
                      <a:pt x="147979" y="-14055"/>
                      <a:pt x="70873" y="-9248"/>
                      <a:pt x="26280" y="41274"/>
                    </a:cubicBezTo>
                    <a:cubicBezTo>
                      <a:pt x="13893" y="55308"/>
                      <a:pt x="4901" y="72004"/>
                      <a:pt x="0" y="90069"/>
                    </a:cubicBezTo>
                    <a:cubicBezTo>
                      <a:pt x="3024" y="88830"/>
                      <a:pt x="6374" y="88629"/>
                      <a:pt x="9525" y="89498"/>
                    </a:cubicBezTo>
                    <a:lnTo>
                      <a:pt x="63818" y="80544"/>
                    </a:lnTo>
                    <a:cubicBezTo>
                      <a:pt x="63818" y="80544"/>
                      <a:pt x="66580" y="75972"/>
                      <a:pt x="68009" y="76258"/>
                    </a:cubicBezTo>
                    <a:cubicBezTo>
                      <a:pt x="92159" y="49734"/>
                      <a:pt x="132802" y="46643"/>
                      <a:pt x="160687" y="69209"/>
                    </a:cubicBezTo>
                    <a:close/>
                  </a:path>
                </a:pathLst>
              </a:custGeom>
              <a:solidFill>
                <a:srgbClr val="EA4335"/>
              </a:solidFill>
              <a:ln w="9525" cap="flat">
                <a:noFill/>
                <a:prstDash val="solid"/>
                <a:miter/>
              </a:ln>
            </p:spPr>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gradFill>
                    <a:gsLst>
                      <a:gs pos="8621">
                        <a:srgbClr val="000000"/>
                      </a:gs>
                      <a:gs pos="20225">
                        <a:srgbClr val="000000"/>
                      </a:gs>
                    </a:gsLst>
                    <a:lin ang="5400000" scaled="1"/>
                  </a:gradFill>
                  <a:effectLst/>
                  <a:uLnTx/>
                  <a:uFillTx/>
                  <a:latin typeface="Segoe UI Semibold"/>
                  <a:ea typeface="+mn-ea"/>
                  <a:cs typeface="+mn-cs"/>
                </a:endParaRPr>
              </a:p>
            </p:txBody>
          </p:sp>
          <p:sp>
            <p:nvSpPr>
              <p:cNvPr id="259" name="Freeform: Shape 401">
                <a:extLst>
                  <a:ext uri="{FF2B5EF4-FFF2-40B4-BE49-F238E27FC236}">
                    <a16:creationId xmlns:a16="http://schemas.microsoft.com/office/drawing/2014/main" id="{D702722C-AFF1-308B-8202-4F051148E39D}"/>
                  </a:ext>
                </a:extLst>
              </p:cNvPr>
              <p:cNvSpPr/>
              <p:nvPr/>
            </p:nvSpPr>
            <p:spPr>
              <a:xfrm>
                <a:off x="10799160" y="2779197"/>
                <a:ext cx="115268" cy="155620"/>
              </a:xfrm>
              <a:custGeom>
                <a:avLst/>
                <a:gdLst>
                  <a:gd name="connsiteX0" fmla="*/ 124682 w 163468"/>
                  <a:gd name="connsiteY0" fmla="*/ 59436 h 220696"/>
                  <a:gd name="connsiteX1" fmla="*/ 87820 w 163468"/>
                  <a:gd name="connsiteY1" fmla="*/ 0 h 220696"/>
                  <a:gd name="connsiteX2" fmla="*/ 49720 w 163468"/>
                  <a:gd name="connsiteY2" fmla="*/ 38100 h 220696"/>
                  <a:gd name="connsiteX3" fmla="*/ 74581 w 163468"/>
                  <a:gd name="connsiteY3" fmla="*/ 91821 h 220696"/>
                  <a:gd name="connsiteX4" fmla="*/ 74581 w 163468"/>
                  <a:gd name="connsiteY4" fmla="*/ 98584 h 220696"/>
                  <a:gd name="connsiteX5" fmla="*/ 108490 w 163468"/>
                  <a:gd name="connsiteY5" fmla="*/ 132493 h 220696"/>
                  <a:gd name="connsiteX6" fmla="*/ 74581 w 163468"/>
                  <a:gd name="connsiteY6" fmla="*/ 166402 h 220696"/>
                  <a:gd name="connsiteX7" fmla="*/ 6763 w 163468"/>
                  <a:gd name="connsiteY7" fmla="*/ 166402 h 220696"/>
                  <a:gd name="connsiteX8" fmla="*/ 0 w 163468"/>
                  <a:gd name="connsiteY8" fmla="*/ 173260 h 220696"/>
                  <a:gd name="connsiteX9" fmla="*/ 0 w 163468"/>
                  <a:gd name="connsiteY9" fmla="*/ 213932 h 220696"/>
                  <a:gd name="connsiteX10" fmla="*/ 6763 w 163468"/>
                  <a:gd name="connsiteY10" fmla="*/ 220694 h 220696"/>
                  <a:gd name="connsiteX11" fmla="*/ 74581 w 163468"/>
                  <a:gd name="connsiteY11" fmla="*/ 220694 h 220696"/>
                  <a:gd name="connsiteX12" fmla="*/ 163466 w 163468"/>
                  <a:gd name="connsiteY12" fmla="*/ 133182 h 220696"/>
                  <a:gd name="connsiteX13" fmla="*/ 124682 w 163468"/>
                  <a:gd name="connsiteY13" fmla="*/ 59436 h 220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3468" h="220696">
                    <a:moveTo>
                      <a:pt x="124682" y="59436"/>
                    </a:moveTo>
                    <a:cubicBezTo>
                      <a:pt x="118442" y="36458"/>
                      <a:pt x="105631" y="15801"/>
                      <a:pt x="87820" y="0"/>
                    </a:cubicBezTo>
                    <a:lnTo>
                      <a:pt x="49720" y="38100"/>
                    </a:lnTo>
                    <a:cubicBezTo>
                      <a:pt x="65809" y="51246"/>
                      <a:pt x="74973" y="71049"/>
                      <a:pt x="74581" y="91821"/>
                    </a:cubicBezTo>
                    <a:lnTo>
                      <a:pt x="74581" y="98584"/>
                    </a:lnTo>
                    <a:cubicBezTo>
                      <a:pt x="93308" y="98584"/>
                      <a:pt x="108490" y="113766"/>
                      <a:pt x="108490" y="132493"/>
                    </a:cubicBezTo>
                    <a:cubicBezTo>
                      <a:pt x="108490" y="151220"/>
                      <a:pt x="93308" y="166402"/>
                      <a:pt x="74581" y="166402"/>
                    </a:cubicBezTo>
                    <a:lnTo>
                      <a:pt x="6763" y="166402"/>
                    </a:lnTo>
                    <a:lnTo>
                      <a:pt x="0" y="173260"/>
                    </a:lnTo>
                    <a:lnTo>
                      <a:pt x="0" y="213932"/>
                    </a:lnTo>
                    <a:lnTo>
                      <a:pt x="6763" y="220694"/>
                    </a:lnTo>
                    <a:lnTo>
                      <a:pt x="74581" y="220694"/>
                    </a:lnTo>
                    <a:cubicBezTo>
                      <a:pt x="123292" y="221073"/>
                      <a:pt x="163087" y="181893"/>
                      <a:pt x="163466" y="133182"/>
                    </a:cubicBezTo>
                    <a:cubicBezTo>
                      <a:pt x="163696" y="103658"/>
                      <a:pt x="149139" y="75977"/>
                      <a:pt x="124682" y="59436"/>
                    </a:cubicBezTo>
                    <a:close/>
                  </a:path>
                </a:pathLst>
              </a:custGeom>
              <a:solidFill>
                <a:srgbClr val="4285F4"/>
              </a:solidFill>
              <a:ln w="9525" cap="flat">
                <a:noFill/>
                <a:prstDash val="solid"/>
                <a:miter/>
              </a:ln>
            </p:spPr>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gradFill>
                    <a:gsLst>
                      <a:gs pos="8621">
                        <a:srgbClr val="000000"/>
                      </a:gs>
                      <a:gs pos="20225">
                        <a:srgbClr val="000000"/>
                      </a:gs>
                    </a:gsLst>
                    <a:lin ang="5400000" scaled="1"/>
                  </a:gradFill>
                  <a:effectLst/>
                  <a:uLnTx/>
                  <a:uFillTx/>
                  <a:latin typeface="Segoe UI Semibold"/>
                  <a:ea typeface="+mn-ea"/>
                  <a:cs typeface="+mn-cs"/>
                </a:endParaRPr>
              </a:p>
            </p:txBody>
          </p:sp>
          <p:sp>
            <p:nvSpPr>
              <p:cNvPr id="260" name="Freeform: Shape 402">
                <a:extLst>
                  <a:ext uri="{FF2B5EF4-FFF2-40B4-BE49-F238E27FC236}">
                    <a16:creationId xmlns:a16="http://schemas.microsoft.com/office/drawing/2014/main" id="{4B83399E-E0C6-56A5-0572-48A1149AE55E}"/>
                  </a:ext>
                </a:extLst>
              </p:cNvPr>
              <p:cNvSpPr/>
              <p:nvPr/>
            </p:nvSpPr>
            <p:spPr>
              <a:xfrm>
                <a:off x="10718590" y="2894115"/>
                <a:ext cx="85366" cy="40433"/>
              </a:xfrm>
              <a:custGeom>
                <a:avLst/>
                <a:gdLst>
                  <a:gd name="connsiteX0" fmla="*/ 53245 w 121062"/>
                  <a:gd name="connsiteY0" fmla="*/ 57341 h 57341"/>
                  <a:gd name="connsiteX1" fmla="*/ 121063 w 121062"/>
                  <a:gd name="connsiteY1" fmla="*/ 57341 h 57341"/>
                  <a:gd name="connsiteX2" fmla="*/ 121063 w 121062"/>
                  <a:gd name="connsiteY2" fmla="*/ 3048 h 57341"/>
                  <a:gd name="connsiteX3" fmla="*/ 53245 w 121062"/>
                  <a:gd name="connsiteY3" fmla="*/ 3048 h 57341"/>
                  <a:gd name="connsiteX4" fmla="*/ 39243 w 121062"/>
                  <a:gd name="connsiteY4" fmla="*/ 0 h 57341"/>
                  <a:gd name="connsiteX5" fmla="*/ 29718 w 121062"/>
                  <a:gd name="connsiteY5" fmla="*/ 2953 h 57341"/>
                  <a:gd name="connsiteX6" fmla="*/ 2381 w 121062"/>
                  <a:gd name="connsiteY6" fmla="*/ 30099 h 57341"/>
                  <a:gd name="connsiteX7" fmla="*/ 0 w 121062"/>
                  <a:gd name="connsiteY7" fmla="*/ 39624 h 57341"/>
                  <a:gd name="connsiteX8" fmla="*/ 53245 w 121062"/>
                  <a:gd name="connsiteY8" fmla="*/ 57341 h 57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062" h="57341">
                    <a:moveTo>
                      <a:pt x="53245" y="57341"/>
                    </a:moveTo>
                    <a:lnTo>
                      <a:pt x="121063" y="57341"/>
                    </a:lnTo>
                    <a:lnTo>
                      <a:pt x="121063" y="3048"/>
                    </a:lnTo>
                    <a:lnTo>
                      <a:pt x="53245" y="3048"/>
                    </a:lnTo>
                    <a:cubicBezTo>
                      <a:pt x="48413" y="3047"/>
                      <a:pt x="43638" y="2008"/>
                      <a:pt x="39243" y="0"/>
                    </a:cubicBezTo>
                    <a:lnTo>
                      <a:pt x="29718" y="2953"/>
                    </a:lnTo>
                    <a:lnTo>
                      <a:pt x="2381" y="30099"/>
                    </a:lnTo>
                    <a:lnTo>
                      <a:pt x="0" y="39624"/>
                    </a:lnTo>
                    <a:cubicBezTo>
                      <a:pt x="15330" y="51200"/>
                      <a:pt x="34035" y="57424"/>
                      <a:pt x="53245" y="57341"/>
                    </a:cubicBezTo>
                    <a:close/>
                  </a:path>
                </a:pathLst>
              </a:custGeom>
              <a:solidFill>
                <a:srgbClr val="34A853"/>
              </a:solidFill>
              <a:ln w="9525" cap="flat">
                <a:noFill/>
                <a:prstDash val="solid"/>
                <a:miter/>
              </a:ln>
            </p:spPr>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gradFill>
                    <a:gsLst>
                      <a:gs pos="8621">
                        <a:srgbClr val="000000"/>
                      </a:gs>
                      <a:gs pos="20225">
                        <a:srgbClr val="000000"/>
                      </a:gs>
                    </a:gsLst>
                    <a:lin ang="5400000" scaled="1"/>
                  </a:gradFill>
                  <a:effectLst/>
                  <a:uLnTx/>
                  <a:uFillTx/>
                  <a:latin typeface="Segoe UI Semibold"/>
                  <a:ea typeface="+mn-ea"/>
                  <a:cs typeface="+mn-cs"/>
                </a:endParaRPr>
              </a:p>
            </p:txBody>
          </p:sp>
          <p:sp>
            <p:nvSpPr>
              <p:cNvPr id="261" name="Freeform: Shape 403">
                <a:extLst>
                  <a:ext uri="{FF2B5EF4-FFF2-40B4-BE49-F238E27FC236}">
                    <a16:creationId xmlns:a16="http://schemas.microsoft.com/office/drawing/2014/main" id="{6B10A1FD-EF8F-D4ED-2981-8207770B864F}"/>
                  </a:ext>
                </a:extLst>
              </p:cNvPr>
              <p:cNvSpPr/>
              <p:nvPr/>
            </p:nvSpPr>
            <p:spPr>
              <a:xfrm>
                <a:off x="10694310" y="2810361"/>
                <a:ext cx="111390" cy="111492"/>
              </a:xfrm>
              <a:custGeom>
                <a:avLst/>
                <a:gdLst>
                  <a:gd name="connsiteX0" fmla="*/ 87675 w 157969"/>
                  <a:gd name="connsiteY0" fmla="*/ 1 h 158115"/>
                  <a:gd name="connsiteX1" fmla="*/ 2 w 157969"/>
                  <a:gd name="connsiteY1" fmla="*/ 88727 h 158115"/>
                  <a:gd name="connsiteX2" fmla="*/ 34430 w 157969"/>
                  <a:gd name="connsiteY2" fmla="*/ 158116 h 158115"/>
                  <a:gd name="connsiteX3" fmla="*/ 73768 w 157969"/>
                  <a:gd name="connsiteY3" fmla="*/ 118777 h 158115"/>
                  <a:gd name="connsiteX4" fmla="*/ 56828 w 157969"/>
                  <a:gd name="connsiteY4" fmla="*/ 73915 h 158115"/>
                  <a:gd name="connsiteX5" fmla="*/ 101691 w 157969"/>
                  <a:gd name="connsiteY5" fmla="*/ 56974 h 158115"/>
                  <a:gd name="connsiteX6" fmla="*/ 118631 w 157969"/>
                  <a:gd name="connsiteY6" fmla="*/ 73915 h 158115"/>
                  <a:gd name="connsiteX7" fmla="*/ 157969 w 157969"/>
                  <a:gd name="connsiteY7" fmla="*/ 34576 h 158115"/>
                  <a:gd name="connsiteX8" fmla="*/ 87675 w 157969"/>
                  <a:gd name="connsiteY8" fmla="*/ 1 h 158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969" h="158115">
                    <a:moveTo>
                      <a:pt x="87675" y="1"/>
                    </a:moveTo>
                    <a:cubicBezTo>
                      <a:pt x="38963" y="292"/>
                      <a:pt x="-289" y="40016"/>
                      <a:pt x="2" y="88727"/>
                    </a:cubicBezTo>
                    <a:cubicBezTo>
                      <a:pt x="164" y="115928"/>
                      <a:pt x="12868" y="141533"/>
                      <a:pt x="34430" y="158116"/>
                    </a:cubicBezTo>
                    <a:lnTo>
                      <a:pt x="73768" y="118777"/>
                    </a:lnTo>
                    <a:cubicBezTo>
                      <a:pt x="56702" y="111067"/>
                      <a:pt x="49117" y="90981"/>
                      <a:pt x="56828" y="73915"/>
                    </a:cubicBezTo>
                    <a:cubicBezTo>
                      <a:pt x="64538" y="56848"/>
                      <a:pt x="84624" y="49264"/>
                      <a:pt x="101691" y="56974"/>
                    </a:cubicBezTo>
                    <a:cubicBezTo>
                      <a:pt x="109211" y="60372"/>
                      <a:pt x="115233" y="66395"/>
                      <a:pt x="118631" y="73915"/>
                    </a:cubicBezTo>
                    <a:lnTo>
                      <a:pt x="157969" y="34576"/>
                    </a:lnTo>
                    <a:cubicBezTo>
                      <a:pt x="141232" y="12695"/>
                      <a:pt x="115223" y="-98"/>
                      <a:pt x="87675" y="1"/>
                    </a:cubicBezTo>
                    <a:close/>
                  </a:path>
                </a:pathLst>
              </a:custGeom>
              <a:solidFill>
                <a:srgbClr val="FBBC05"/>
              </a:solidFill>
              <a:ln w="9525" cap="flat">
                <a:noFill/>
                <a:prstDash val="solid"/>
                <a:miter/>
              </a:ln>
            </p:spPr>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gradFill>
                    <a:gsLst>
                      <a:gs pos="8621">
                        <a:srgbClr val="000000"/>
                      </a:gs>
                      <a:gs pos="20225">
                        <a:srgbClr val="000000"/>
                      </a:gs>
                    </a:gsLst>
                    <a:lin ang="5400000" scaled="1"/>
                  </a:gradFill>
                  <a:effectLst/>
                  <a:uLnTx/>
                  <a:uFillTx/>
                  <a:latin typeface="Segoe UI Semibold"/>
                  <a:ea typeface="+mn-ea"/>
                  <a:cs typeface="+mn-cs"/>
                </a:endParaRPr>
              </a:p>
            </p:txBody>
          </p:sp>
        </p:grpSp>
        <p:pic>
          <p:nvPicPr>
            <p:cNvPr id="256" name="Graphic 198">
              <a:extLst>
                <a:ext uri="{FF2B5EF4-FFF2-40B4-BE49-F238E27FC236}">
                  <a16:creationId xmlns:a16="http://schemas.microsoft.com/office/drawing/2014/main" id="{20ABE7F2-A0BA-D202-DF94-F7785A1A723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0715732" y="2237423"/>
              <a:ext cx="343490" cy="205643"/>
            </a:xfrm>
            <a:prstGeom prst="rect">
              <a:avLst/>
            </a:prstGeom>
          </p:spPr>
        </p:pic>
        <p:pic>
          <p:nvPicPr>
            <p:cNvPr id="257" name="Graphic 256">
              <a:extLst>
                <a:ext uri="{FF2B5EF4-FFF2-40B4-BE49-F238E27FC236}">
                  <a16:creationId xmlns:a16="http://schemas.microsoft.com/office/drawing/2014/main" id="{E5EF370D-DEE8-0430-0942-87362EA6CA7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389999" y="2525941"/>
              <a:ext cx="284425" cy="274320"/>
            </a:xfrm>
            <a:prstGeom prst="rect">
              <a:avLst/>
            </a:prstGeom>
          </p:spPr>
        </p:pic>
      </p:grpSp>
      <p:sp>
        <p:nvSpPr>
          <p:cNvPr id="262" name="TextBox 261">
            <a:extLst>
              <a:ext uri="{FF2B5EF4-FFF2-40B4-BE49-F238E27FC236}">
                <a16:creationId xmlns:a16="http://schemas.microsoft.com/office/drawing/2014/main" id="{ED0F130E-E115-7C23-5545-6038DF7ADDE5}"/>
              </a:ext>
              <a:ext uri="{C183D7F6-B498-43B3-948B-1728B52AA6E4}">
                <adec:decorative xmlns:adec="http://schemas.microsoft.com/office/drawing/2017/decorative" val="1"/>
              </a:ext>
            </a:extLst>
          </p:cNvPr>
          <p:cNvSpPr txBox="1"/>
          <p:nvPr/>
        </p:nvSpPr>
        <p:spPr>
          <a:xfrm>
            <a:off x="10322473" y="4326200"/>
            <a:ext cx="1659100" cy="461665"/>
          </a:xfrm>
          <a:prstGeom prst="rect">
            <a:avLst/>
          </a:prstGeom>
        </p:spPr>
        <p:txBody>
          <a:bodyPr wrap="square" lIns="0" rIns="0" anchor="ctr" anchorCtr="0">
            <a:spAutoFit/>
          </a:bodyPr>
          <a:lstStyle>
            <a:defPPr>
              <a:defRPr lang="en-US"/>
            </a:defPPr>
            <a:lvl1pPr marR="0" lvl="0" indent="0" algn="ctr" defTabSz="922530" fontAlgn="auto">
              <a:lnSpc>
                <a:spcPct val="100000"/>
              </a:lnSpc>
              <a:spcBef>
                <a:spcPts val="0"/>
              </a:spcBef>
              <a:spcAft>
                <a:spcPts val="606"/>
              </a:spcAft>
              <a:buClrTx/>
              <a:buSzTx/>
              <a:buFontTx/>
              <a:buNone/>
              <a:tabLst/>
              <a:defRPr sz="1400">
                <a:gradFill>
                  <a:gsLst>
                    <a:gs pos="8621">
                      <a:srgbClr val="FFFFFF"/>
                    </a:gs>
                    <a:gs pos="20225">
                      <a:srgbClr val="FFFFFF"/>
                    </a:gs>
                  </a:gsLst>
                  <a:lin ang="5400000" scaled="1"/>
                </a:gradFill>
                <a:latin typeface="Segoe UI Semibold"/>
              </a:defRPr>
            </a:lvl1pPr>
          </a:lstStyle>
          <a:p>
            <a:pPr marL="0" marR="0" lvl="0" indent="0" algn="ctr" defTabSz="922530" rtl="0" eaLnBrk="1" fontAlgn="auto" latinLnBrk="0" hangingPunct="1">
              <a:lnSpc>
                <a:spcPct val="100000"/>
              </a:lnSpc>
              <a:spcBef>
                <a:spcPts val="0"/>
              </a:spcBef>
              <a:spcAft>
                <a:spcPts val="606"/>
              </a:spcAft>
              <a:buClrTx/>
              <a:buSzTx/>
              <a:buFontTx/>
              <a:buNone/>
              <a:tabLst/>
              <a:defRPr/>
            </a:pPr>
            <a:r>
              <a:rPr kumimoji="0" lang="en-US" sz="1200" b="1" i="0" u="none" strike="noStrike" kern="0" cap="none" spc="0" normalizeH="0" baseline="0" noProof="0">
                <a:ln>
                  <a:noFill/>
                </a:ln>
                <a:solidFill>
                  <a:srgbClr val="000000"/>
                </a:solidFill>
                <a:effectLst/>
                <a:uLnTx/>
                <a:uFillTx/>
                <a:latin typeface="Segoe Sans Display Semibold"/>
                <a:ea typeface="+mn-ea"/>
                <a:cs typeface="+mn-cs"/>
              </a:rPr>
              <a:t>Any internet</a:t>
            </a:r>
            <a:br>
              <a:rPr kumimoji="0" lang="en-US" sz="1200" b="1" i="0" u="none" strike="noStrike" kern="0" cap="none" spc="0" normalizeH="0" baseline="0" noProof="0">
                <a:ln>
                  <a:noFill/>
                </a:ln>
                <a:solidFill>
                  <a:srgbClr val="000000"/>
                </a:solidFill>
                <a:effectLst/>
                <a:uLnTx/>
                <a:uFillTx/>
                <a:latin typeface="Segoe Sans Display Semibold"/>
                <a:ea typeface="+mn-ea"/>
                <a:cs typeface="+mn-cs"/>
              </a:rPr>
            </a:br>
            <a:r>
              <a:rPr kumimoji="0" lang="en-US" sz="1200" b="1" i="0" u="none" strike="noStrike" kern="0" cap="none" spc="0" normalizeH="0" baseline="0" noProof="0">
                <a:ln>
                  <a:noFill/>
                </a:ln>
                <a:solidFill>
                  <a:srgbClr val="000000"/>
                </a:solidFill>
                <a:effectLst/>
                <a:uLnTx/>
                <a:uFillTx/>
                <a:latin typeface="Segoe Sans Display Semibold"/>
                <a:ea typeface="+mn-ea"/>
                <a:cs typeface="+mn-cs"/>
              </a:rPr>
              <a:t>app and resource</a:t>
            </a:r>
          </a:p>
        </p:txBody>
      </p:sp>
      <p:sp>
        <p:nvSpPr>
          <p:cNvPr id="263" name="TextBox 262">
            <a:extLst>
              <a:ext uri="{FF2B5EF4-FFF2-40B4-BE49-F238E27FC236}">
                <a16:creationId xmlns:a16="http://schemas.microsoft.com/office/drawing/2014/main" id="{DCB42E23-F53B-F2B6-A226-35E75521A51E}"/>
              </a:ext>
              <a:ext uri="{C183D7F6-B498-43B3-948B-1728B52AA6E4}">
                <adec:decorative xmlns:adec="http://schemas.microsoft.com/office/drawing/2017/decorative" val="1"/>
              </a:ext>
            </a:extLst>
          </p:cNvPr>
          <p:cNvSpPr txBox="1"/>
          <p:nvPr/>
        </p:nvSpPr>
        <p:spPr>
          <a:xfrm>
            <a:off x="229134" y="4326200"/>
            <a:ext cx="1659100" cy="461665"/>
          </a:xfrm>
          <a:prstGeom prst="rect">
            <a:avLst/>
          </a:prstGeom>
        </p:spPr>
        <p:txBody>
          <a:bodyPr wrap="square" lIns="0" rIns="0" anchor="ctr" anchorCtr="0">
            <a:spAutoFit/>
          </a:bodyPr>
          <a:lstStyle>
            <a:defPPr>
              <a:defRPr lang="en-US"/>
            </a:defPPr>
            <a:lvl1pPr marR="0" lvl="0" indent="0" algn="ctr" defTabSz="922530" fontAlgn="auto">
              <a:lnSpc>
                <a:spcPct val="100000"/>
              </a:lnSpc>
              <a:spcBef>
                <a:spcPts val="0"/>
              </a:spcBef>
              <a:spcAft>
                <a:spcPts val="606"/>
              </a:spcAft>
              <a:buClrTx/>
              <a:buSzTx/>
              <a:buFontTx/>
              <a:buNone/>
              <a:tabLst/>
              <a:defRPr sz="1400">
                <a:gradFill>
                  <a:gsLst>
                    <a:gs pos="8621">
                      <a:srgbClr val="FFFFFF"/>
                    </a:gs>
                    <a:gs pos="20225">
                      <a:srgbClr val="FFFFFF"/>
                    </a:gs>
                  </a:gsLst>
                  <a:lin ang="5400000" scaled="1"/>
                </a:gradFill>
                <a:latin typeface="Segoe UI Semibold"/>
              </a:defRPr>
            </a:lvl1pPr>
          </a:lstStyle>
          <a:p>
            <a:pPr marL="0" marR="0" lvl="0" indent="0" algn="ctr" defTabSz="922530" rtl="0" eaLnBrk="1" fontAlgn="auto" latinLnBrk="0" hangingPunct="1">
              <a:lnSpc>
                <a:spcPct val="100000"/>
              </a:lnSpc>
              <a:spcBef>
                <a:spcPts val="0"/>
              </a:spcBef>
              <a:spcAft>
                <a:spcPts val="606"/>
              </a:spcAft>
              <a:buClrTx/>
              <a:buSzTx/>
              <a:buFontTx/>
              <a:buNone/>
              <a:tabLst/>
              <a:defRPr/>
            </a:pPr>
            <a:r>
              <a:rPr kumimoji="0" lang="en-US" sz="1200" b="1" i="0" u="none" strike="noStrike" kern="0" cap="none" spc="0" normalizeH="0" baseline="0" noProof="0">
                <a:ln>
                  <a:noFill/>
                </a:ln>
                <a:solidFill>
                  <a:srgbClr val="000000"/>
                </a:solidFill>
                <a:effectLst/>
                <a:uLnTx/>
                <a:uFillTx/>
                <a:latin typeface="Segoe Sans Display Semibold"/>
                <a:ea typeface="+mn-ea"/>
                <a:cs typeface="+mn-cs"/>
              </a:rPr>
              <a:t>Any on-premises</a:t>
            </a:r>
            <a:br>
              <a:rPr kumimoji="0" lang="en-US" sz="1200" b="1" i="0" u="none" strike="noStrike" kern="0" cap="none" spc="0" normalizeH="0" baseline="0" noProof="0">
                <a:ln>
                  <a:noFill/>
                </a:ln>
                <a:solidFill>
                  <a:srgbClr val="000000"/>
                </a:solidFill>
                <a:effectLst/>
                <a:uLnTx/>
                <a:uFillTx/>
                <a:latin typeface="Segoe Sans Display Semibold"/>
                <a:ea typeface="+mn-ea"/>
                <a:cs typeface="+mn-cs"/>
              </a:rPr>
            </a:br>
            <a:r>
              <a:rPr kumimoji="0" lang="en-US" sz="1200" b="1" i="0" u="none" strike="noStrike" kern="0" cap="none" spc="0" normalizeH="0" baseline="0" noProof="0">
                <a:ln>
                  <a:noFill/>
                </a:ln>
                <a:solidFill>
                  <a:srgbClr val="000000"/>
                </a:solidFill>
                <a:effectLst/>
                <a:uLnTx/>
                <a:uFillTx/>
                <a:latin typeface="Segoe Sans Display Semibold"/>
                <a:ea typeface="+mn-ea"/>
                <a:cs typeface="+mn-cs"/>
              </a:rPr>
              <a:t>app and resource</a:t>
            </a:r>
          </a:p>
        </p:txBody>
      </p:sp>
      <p:grpSp>
        <p:nvGrpSpPr>
          <p:cNvPr id="265" name="Group 264">
            <a:extLst>
              <a:ext uri="{FF2B5EF4-FFF2-40B4-BE49-F238E27FC236}">
                <a16:creationId xmlns:a16="http://schemas.microsoft.com/office/drawing/2014/main" id="{AA8D0A88-CEEA-0881-1E1B-90D1EAA2147C}"/>
              </a:ext>
              <a:ext uri="{C183D7F6-B498-43B3-948B-1728B52AA6E4}">
                <adec:decorative xmlns:adec="http://schemas.microsoft.com/office/drawing/2017/decorative" val="1"/>
              </a:ext>
            </a:extLst>
          </p:cNvPr>
          <p:cNvGrpSpPr/>
          <p:nvPr/>
        </p:nvGrpSpPr>
        <p:grpSpPr>
          <a:xfrm>
            <a:off x="2511904" y="4442961"/>
            <a:ext cx="7168193" cy="476726"/>
            <a:chOff x="2433216" y="3532542"/>
            <a:chExt cx="7168193" cy="476726"/>
          </a:xfrm>
        </p:grpSpPr>
        <p:sp>
          <p:nvSpPr>
            <p:cNvPr id="266" name="TextBox 265">
              <a:extLst>
                <a:ext uri="{FF2B5EF4-FFF2-40B4-BE49-F238E27FC236}">
                  <a16:creationId xmlns:a16="http://schemas.microsoft.com/office/drawing/2014/main" id="{8C077339-6864-EB17-6BE5-EB6E61AF00C4}"/>
                </a:ext>
              </a:extLst>
            </p:cNvPr>
            <p:cNvSpPr txBox="1"/>
            <p:nvPr/>
          </p:nvSpPr>
          <p:spPr>
            <a:xfrm>
              <a:off x="7498289" y="3532542"/>
              <a:ext cx="2103120" cy="476726"/>
            </a:xfrm>
            <a:prstGeom prst="roundRect">
              <a:avLst/>
            </a:prstGeom>
            <a:solidFill>
              <a:schemeClr val="bg1"/>
            </a:solidFill>
            <a:ln w="28575">
              <a:solidFill>
                <a:srgbClr val="A5B8EE"/>
              </a:solidFill>
            </a:ln>
          </p:spPr>
          <p:txBody>
            <a:bodyPr wrap="square" lIns="91440" tIns="45720" rIns="91440" bIns="45720" anchor="t">
              <a:spAutoFit/>
            </a:bodyPr>
            <a:lstStyle>
              <a:defPPr>
                <a:defRPr lang="en-US"/>
              </a:defPPr>
              <a:lvl1pPr marR="0" lvl="0" indent="0" algn="ctr" fontAlgn="auto">
                <a:lnSpc>
                  <a:spcPct val="100000"/>
                </a:lnSpc>
                <a:spcBef>
                  <a:spcPts val="0"/>
                </a:spcBef>
                <a:spcAft>
                  <a:spcPts val="600"/>
                </a:spcAft>
                <a:buClrTx/>
                <a:buSzTx/>
                <a:buFontTx/>
                <a:buNone/>
                <a:tabLst/>
                <a:defRPr kumimoji="0" sz="1100" b="0" i="0" u="none" strike="noStrike" kern="0" cap="none" spc="-40" normalizeH="0" baseline="0">
                  <a:ln>
                    <a:noFill/>
                  </a:ln>
                  <a:solidFill>
                    <a:srgbClr val="000000">
                      <a:lumMod val="65000"/>
                      <a:lumOff val="35000"/>
                    </a:srgbClr>
                  </a:solidFill>
                  <a:effectLst/>
                  <a:uLnTx/>
                  <a:uFillTx/>
                  <a:latin typeface="Segoe UI Semibold"/>
                  <a:cs typeface="Segoe UI Semibold"/>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0" cap="none" spc="-40" normalizeH="0" baseline="0" noProof="0">
                  <a:ln>
                    <a:noFill/>
                  </a:ln>
                  <a:solidFill>
                    <a:srgbClr val="000000"/>
                  </a:solidFill>
                  <a:effectLst/>
                  <a:uLnTx/>
                  <a:uFillTx/>
                  <a:latin typeface="Segoe Sans Display Semibold"/>
                  <a:ea typeface="+mn-ea"/>
                  <a:cs typeface="Segoe UI Semibold"/>
                </a:rPr>
                <a:t>Identity-centric</a:t>
              </a:r>
              <a:br>
                <a:rPr kumimoji="0" lang="en-US" sz="1100" b="0" i="0" u="none" strike="noStrike" kern="0" cap="none" spc="-40" normalizeH="0" baseline="0" noProof="0">
                  <a:ln>
                    <a:noFill/>
                  </a:ln>
                  <a:solidFill>
                    <a:srgbClr val="000000"/>
                  </a:solidFill>
                  <a:effectLst/>
                  <a:uLnTx/>
                  <a:uFillTx/>
                  <a:latin typeface="Segoe Sans Display Semibold"/>
                  <a:ea typeface="+mn-ea"/>
                  <a:cs typeface="Segoe UI Semibold"/>
                </a:rPr>
              </a:br>
              <a:r>
                <a:rPr kumimoji="0" lang="en-US" sz="1100" b="0" i="0" u="none" strike="noStrike" kern="0" cap="none" spc="-40" normalizeH="0" baseline="0" noProof="0">
                  <a:ln>
                    <a:noFill/>
                  </a:ln>
                  <a:solidFill>
                    <a:srgbClr val="000000"/>
                  </a:solidFill>
                  <a:effectLst/>
                  <a:uLnTx/>
                  <a:uFillTx/>
                  <a:latin typeface="Segoe Sans Display Semibold"/>
                  <a:ea typeface="+mn-ea"/>
                  <a:cs typeface="Segoe UI Semibold"/>
                </a:rPr>
                <a:t>Secure Web Gateway (SWG)</a:t>
              </a:r>
            </a:p>
          </p:txBody>
        </p:sp>
        <p:sp>
          <p:nvSpPr>
            <p:cNvPr id="267" name="TextBox 266">
              <a:extLst>
                <a:ext uri="{FF2B5EF4-FFF2-40B4-BE49-F238E27FC236}">
                  <a16:creationId xmlns:a16="http://schemas.microsoft.com/office/drawing/2014/main" id="{339B6A4D-6146-75DD-CE1F-F8CE0B6E55FB}"/>
                </a:ext>
              </a:extLst>
            </p:cNvPr>
            <p:cNvSpPr txBox="1"/>
            <p:nvPr/>
          </p:nvSpPr>
          <p:spPr>
            <a:xfrm>
              <a:off x="2433216" y="3532542"/>
              <a:ext cx="2105094" cy="476726"/>
            </a:xfrm>
            <a:prstGeom prst="roundRect">
              <a:avLst/>
            </a:prstGeom>
            <a:solidFill>
              <a:schemeClr val="bg1"/>
            </a:solidFill>
            <a:ln w="28575">
              <a:solidFill>
                <a:srgbClr val="E2F9D9"/>
              </a:solidFill>
            </a:ln>
          </p:spPr>
          <p:txBody>
            <a:bodyPr wrap="square" lIns="91440" tIns="45720" rIns="91440" bIns="45720" anchor="t">
              <a:spAutoFit/>
            </a:bodyPr>
            <a:lstStyle>
              <a:defPPr>
                <a:defRPr lang="en-US"/>
              </a:defPPr>
              <a:lvl1pPr marR="0" lvl="0" indent="0" algn="ctr" fontAlgn="auto">
                <a:lnSpc>
                  <a:spcPct val="100000"/>
                </a:lnSpc>
                <a:spcBef>
                  <a:spcPts val="0"/>
                </a:spcBef>
                <a:spcAft>
                  <a:spcPts val="600"/>
                </a:spcAft>
                <a:buClrTx/>
                <a:buSzTx/>
                <a:buFontTx/>
                <a:buNone/>
                <a:tabLst/>
                <a:defRPr kumimoji="0" sz="1100" b="0" i="0" u="none" strike="noStrike" cap="none" spc="-40" normalizeH="0" baseline="0">
                  <a:ln>
                    <a:noFill/>
                  </a:ln>
                  <a:solidFill>
                    <a:schemeClr val="tx1">
                      <a:lumMod val="65000"/>
                      <a:lumOff val="35000"/>
                    </a:schemeClr>
                  </a:solidFill>
                  <a:effectLst/>
                  <a:uLnTx/>
                  <a:uFillTx/>
                  <a:latin typeface="Segoe UI Semibold"/>
                  <a:cs typeface="Segoe UI Semibold"/>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0" cap="none" spc="-40" normalizeH="0" baseline="0" noProof="0">
                  <a:ln>
                    <a:noFill/>
                  </a:ln>
                  <a:solidFill>
                    <a:srgbClr val="000000"/>
                  </a:solidFill>
                  <a:effectLst/>
                  <a:uLnTx/>
                  <a:uFillTx/>
                  <a:latin typeface="Segoe Sans Display Semibold"/>
                  <a:ea typeface="+mn-ea"/>
                  <a:cs typeface="Segoe UI Semibold"/>
                </a:rPr>
                <a:t>Identity-centric Zero Trust Network Access (ZTNA)</a:t>
              </a:r>
            </a:p>
          </p:txBody>
        </p:sp>
      </p:grpSp>
      <p:sp>
        <p:nvSpPr>
          <p:cNvPr id="269" name="Rounded Rectangle 5">
            <a:extLst>
              <a:ext uri="{FF2B5EF4-FFF2-40B4-BE49-F238E27FC236}">
                <a16:creationId xmlns:a16="http://schemas.microsoft.com/office/drawing/2014/main" id="{AC3273C3-6AE6-6177-A1B1-EBE7908F5862}"/>
              </a:ext>
              <a:ext uri="{C183D7F6-B498-43B3-948B-1728B52AA6E4}">
                <adec:decorative xmlns:adec="http://schemas.microsoft.com/office/drawing/2017/decorative" val="1"/>
              </a:ext>
            </a:extLst>
          </p:cNvPr>
          <p:cNvSpPr/>
          <p:nvPr/>
        </p:nvSpPr>
        <p:spPr bwMode="auto">
          <a:xfrm>
            <a:off x="4691252" y="2445264"/>
            <a:ext cx="2809497" cy="2940598"/>
          </a:xfrm>
          <a:prstGeom prst="roundRect">
            <a:avLst>
              <a:gd name="adj" fmla="val 5563"/>
            </a:avLst>
          </a:prstGeom>
          <a:solidFill>
            <a:schemeClr val="bg1"/>
          </a:solidFill>
          <a:ln>
            <a:noFill/>
            <a:headEnd type="none" w="med" len="med"/>
            <a:tailEnd type="none" w="med" len="med"/>
          </a:ln>
          <a:effectLst>
            <a:innerShdw blurRad="508000" dist="63500" dir="16200000">
              <a:srgbClr val="B1B3B3">
                <a:alpha val="25000"/>
              </a:srgb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20040" rIns="91440" bIns="91440" numCol="1" spcCol="0" rtlCol="0" fromWordArt="0" anchor="t" anchorCtr="0" forceAA="0" compatLnSpc="1">
            <a:prstTxWarp prst="textNoShape">
              <a:avLst/>
            </a:prstTxWarp>
            <a:noAutofit/>
          </a:bodyPr>
          <a:lstStyle/>
          <a:p>
            <a:pPr marL="0" marR="0" lvl="0" indent="0" algn="ctr" defTabSz="932754" rtl="0" eaLnBrk="1" fontAlgn="auto" latinLnBrk="0" hangingPunct="1">
              <a:lnSpc>
                <a:spcPct val="100000"/>
              </a:lnSpc>
              <a:spcBef>
                <a:spcPts val="0"/>
              </a:spcBef>
              <a:spcAft>
                <a:spcPts val="300"/>
              </a:spcAft>
              <a:buClrTx/>
              <a:buSzTx/>
              <a:buFontTx/>
              <a:buNone/>
              <a:tabLst/>
              <a:defRPr/>
            </a:pPr>
            <a:endParaRPr kumimoji="0" lang="en-US" sz="1400" b="0" i="0" u="none" strike="noStrike" kern="0" cap="none" spc="-10" normalizeH="0" baseline="0" noProof="0">
              <a:ln>
                <a:noFill/>
              </a:ln>
              <a:solidFill>
                <a:srgbClr val="8DC8E8"/>
              </a:solidFill>
              <a:effectLst/>
              <a:uLnTx/>
              <a:uFillTx/>
              <a:latin typeface="Segoe Sans Display Semibold" pitchFamily="2" charset="0"/>
              <a:ea typeface="+mn-ea"/>
              <a:cs typeface="Segoe Sans Display Semibold" pitchFamily="2" charset="0"/>
            </a:endParaRPr>
          </a:p>
        </p:txBody>
      </p:sp>
      <p:grpSp>
        <p:nvGrpSpPr>
          <p:cNvPr id="440" name="Group 439">
            <a:extLst>
              <a:ext uri="{FF2B5EF4-FFF2-40B4-BE49-F238E27FC236}">
                <a16:creationId xmlns:a16="http://schemas.microsoft.com/office/drawing/2014/main" id="{D856946A-5701-5B3E-2441-9F3F59C71A31}"/>
              </a:ext>
              <a:ext uri="{C183D7F6-B498-43B3-948B-1728B52AA6E4}">
                <adec:decorative xmlns:adec="http://schemas.microsoft.com/office/drawing/2017/decorative" val="1"/>
              </a:ext>
            </a:extLst>
          </p:cNvPr>
          <p:cNvGrpSpPr/>
          <p:nvPr/>
        </p:nvGrpSpPr>
        <p:grpSpPr>
          <a:xfrm rot="16200000">
            <a:off x="1996764" y="3748389"/>
            <a:ext cx="545665" cy="545665"/>
            <a:chOff x="3777753" y="3813113"/>
            <a:chExt cx="274320" cy="274320"/>
          </a:xfrm>
        </p:grpSpPr>
        <p:sp>
          <p:nvSpPr>
            <p:cNvPr id="441" name="Oval 440">
              <a:extLst>
                <a:ext uri="{FF2B5EF4-FFF2-40B4-BE49-F238E27FC236}">
                  <a16:creationId xmlns:a16="http://schemas.microsoft.com/office/drawing/2014/main" id="{A8E41172-58ED-07F4-C6FD-288A2A1ADAA1}"/>
                </a:ext>
              </a:extLst>
            </p:cNvPr>
            <p:cNvSpPr/>
            <p:nvPr/>
          </p:nvSpPr>
          <p:spPr bwMode="auto">
            <a:xfrm rot="16200000" flipV="1">
              <a:off x="3777753" y="3813113"/>
              <a:ext cx="274320" cy="274320"/>
            </a:xfrm>
            <a:prstGeom prst="ellipse">
              <a:avLst/>
            </a:prstGeom>
            <a:solidFill>
              <a:srgbClr val="E2F9D9"/>
            </a:solidFill>
            <a:ln w="9525" cap="flat" cmpd="sng" algn="ctr">
              <a:noFill/>
              <a:prstDash val="solid"/>
              <a:headEnd type="none" w="med" len="med"/>
              <a:tailEnd type="none" w="med" len="med"/>
            </a:ln>
            <a:effectLst>
              <a:innerShdw blurRad="63500" dist="50800" dir="13500000">
                <a:prstClr val="black">
                  <a:alpha val="20000"/>
                </a:prstClr>
              </a:inn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Segoe Sans Display"/>
                <a:ea typeface="+mn-ea"/>
                <a:cs typeface="Segoe UI" pitchFamily="34" charset="0"/>
              </a:endParaRPr>
            </a:p>
          </p:txBody>
        </p:sp>
        <p:pic>
          <p:nvPicPr>
            <p:cNvPr id="442" name="Graphic 441">
              <a:extLst>
                <a:ext uri="{FF2B5EF4-FFF2-40B4-BE49-F238E27FC236}">
                  <a16:creationId xmlns:a16="http://schemas.microsoft.com/office/drawing/2014/main" id="{78D9074C-791F-E3BA-534B-B05307FD729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16200000" flipV="1">
              <a:off x="3830210" y="3865570"/>
              <a:ext cx="169406" cy="169406"/>
            </a:xfrm>
            <a:prstGeom prst="rect">
              <a:avLst/>
            </a:prstGeom>
          </p:spPr>
        </p:pic>
      </p:grpSp>
      <p:grpSp>
        <p:nvGrpSpPr>
          <p:cNvPr id="443" name="Group 442">
            <a:extLst>
              <a:ext uri="{FF2B5EF4-FFF2-40B4-BE49-F238E27FC236}">
                <a16:creationId xmlns:a16="http://schemas.microsoft.com/office/drawing/2014/main" id="{6435CCDB-AFED-ACB5-587A-3B9BA6FD5A7A}"/>
              </a:ext>
              <a:ext uri="{C183D7F6-B498-43B3-948B-1728B52AA6E4}">
                <adec:decorative xmlns:adec="http://schemas.microsoft.com/office/drawing/2017/decorative" val="1"/>
              </a:ext>
            </a:extLst>
          </p:cNvPr>
          <p:cNvGrpSpPr/>
          <p:nvPr/>
        </p:nvGrpSpPr>
        <p:grpSpPr>
          <a:xfrm rot="5400000" flipH="1">
            <a:off x="9648160" y="3739241"/>
            <a:ext cx="545665" cy="545665"/>
            <a:chOff x="3777753" y="3813113"/>
            <a:chExt cx="274320" cy="274320"/>
          </a:xfrm>
        </p:grpSpPr>
        <p:sp>
          <p:nvSpPr>
            <p:cNvPr id="444" name="Oval 443">
              <a:extLst>
                <a:ext uri="{FF2B5EF4-FFF2-40B4-BE49-F238E27FC236}">
                  <a16:creationId xmlns:a16="http://schemas.microsoft.com/office/drawing/2014/main" id="{669378E9-85D5-AF9D-927F-3D2B3F3F6635}"/>
                </a:ext>
              </a:extLst>
            </p:cNvPr>
            <p:cNvSpPr/>
            <p:nvPr/>
          </p:nvSpPr>
          <p:spPr bwMode="auto">
            <a:xfrm rot="16200000" flipV="1">
              <a:off x="3777753" y="3813113"/>
              <a:ext cx="274320" cy="274320"/>
            </a:xfrm>
            <a:prstGeom prst="ellipse">
              <a:avLst/>
            </a:prstGeom>
            <a:solidFill>
              <a:srgbClr val="A5B8EE"/>
            </a:solidFill>
            <a:ln w="9525" cap="flat" cmpd="sng" algn="ctr">
              <a:noFill/>
              <a:prstDash val="solid"/>
              <a:headEnd type="none" w="med" len="med"/>
              <a:tailEnd type="none" w="med" len="med"/>
            </a:ln>
            <a:effectLst>
              <a:innerShdw blurRad="63500" dist="50800" dir="13500000">
                <a:prstClr val="black">
                  <a:alpha val="20000"/>
                </a:prstClr>
              </a:inn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Segoe Sans Display"/>
                <a:ea typeface="+mn-ea"/>
                <a:cs typeface="Segoe UI" pitchFamily="34" charset="0"/>
              </a:endParaRPr>
            </a:p>
          </p:txBody>
        </p:sp>
        <p:pic>
          <p:nvPicPr>
            <p:cNvPr id="445" name="Graphic 444">
              <a:extLst>
                <a:ext uri="{FF2B5EF4-FFF2-40B4-BE49-F238E27FC236}">
                  <a16:creationId xmlns:a16="http://schemas.microsoft.com/office/drawing/2014/main" id="{AEBFE9A2-3C07-E6A4-9AB5-784664D2976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16200000" flipV="1">
              <a:off x="3830210" y="3865570"/>
              <a:ext cx="169406" cy="169406"/>
            </a:xfrm>
            <a:prstGeom prst="rect">
              <a:avLst/>
            </a:prstGeom>
          </p:spPr>
        </p:pic>
      </p:grpSp>
      <p:sp>
        <p:nvSpPr>
          <p:cNvPr id="446" name="Graphic 860">
            <a:extLst>
              <a:ext uri="{FF2B5EF4-FFF2-40B4-BE49-F238E27FC236}">
                <a16:creationId xmlns:a16="http://schemas.microsoft.com/office/drawing/2014/main" id="{C66CF370-6D80-F170-2BA7-A5F6776721CE}"/>
              </a:ext>
              <a:ext uri="{C183D7F6-B498-43B3-948B-1728B52AA6E4}">
                <adec:decorative xmlns:adec="http://schemas.microsoft.com/office/drawing/2017/decorative" val="1"/>
              </a:ext>
            </a:extLst>
          </p:cNvPr>
          <p:cNvSpPr/>
          <p:nvPr/>
        </p:nvSpPr>
        <p:spPr>
          <a:xfrm>
            <a:off x="10817578" y="3541120"/>
            <a:ext cx="668890" cy="668858"/>
          </a:xfrm>
          <a:custGeom>
            <a:avLst/>
            <a:gdLst>
              <a:gd name="connsiteX0" fmla="*/ 143339 w 286677"/>
              <a:gd name="connsiteY0" fmla="*/ 0 h 286663"/>
              <a:gd name="connsiteX1" fmla="*/ 286677 w 286677"/>
              <a:gd name="connsiteY1" fmla="*/ 143339 h 286663"/>
              <a:gd name="connsiteX2" fmla="*/ 143339 w 286677"/>
              <a:gd name="connsiteY2" fmla="*/ 286663 h 286663"/>
              <a:gd name="connsiteX3" fmla="*/ 0 w 286677"/>
              <a:gd name="connsiteY3" fmla="*/ 143339 h 286663"/>
              <a:gd name="connsiteX4" fmla="*/ 143339 w 286677"/>
              <a:gd name="connsiteY4" fmla="*/ 0 h 286663"/>
              <a:gd name="connsiteX5" fmla="*/ 185457 w 286677"/>
              <a:gd name="connsiteY5" fmla="*/ 207814 h 286663"/>
              <a:gd name="connsiteX6" fmla="*/ 101206 w 286677"/>
              <a:gd name="connsiteY6" fmla="*/ 207814 h 286663"/>
              <a:gd name="connsiteX7" fmla="*/ 143324 w 286677"/>
              <a:gd name="connsiteY7" fmla="*/ 265167 h 286663"/>
              <a:gd name="connsiteX8" fmla="*/ 185443 w 286677"/>
              <a:gd name="connsiteY8" fmla="*/ 207814 h 286663"/>
              <a:gd name="connsiteX9" fmla="*/ 78978 w 286677"/>
              <a:gd name="connsiteY9" fmla="*/ 207814 h 286663"/>
              <a:gd name="connsiteX10" fmla="*/ 39940 w 286677"/>
              <a:gd name="connsiteY10" fmla="*/ 207814 h 286663"/>
              <a:gd name="connsiteX11" fmla="*/ 98612 w 286677"/>
              <a:gd name="connsiteY11" fmla="*/ 256697 h 286663"/>
              <a:gd name="connsiteX12" fmla="*/ 80411 w 286677"/>
              <a:gd name="connsiteY12" fmla="*/ 213489 h 286663"/>
              <a:gd name="connsiteX13" fmla="*/ 78949 w 286677"/>
              <a:gd name="connsiteY13" fmla="*/ 207828 h 286663"/>
              <a:gd name="connsiteX14" fmla="*/ 246723 w 286677"/>
              <a:gd name="connsiteY14" fmla="*/ 207814 h 286663"/>
              <a:gd name="connsiteX15" fmla="*/ 207714 w 286677"/>
              <a:gd name="connsiteY15" fmla="*/ 207814 h 286663"/>
              <a:gd name="connsiteX16" fmla="*/ 188037 w 286677"/>
              <a:gd name="connsiteY16" fmla="*/ 256697 h 286663"/>
              <a:gd name="connsiteX17" fmla="*/ 244071 w 286677"/>
              <a:gd name="connsiteY17" fmla="*/ 211884 h 286663"/>
              <a:gd name="connsiteX18" fmla="*/ 246723 w 286677"/>
              <a:gd name="connsiteY18" fmla="*/ 207828 h 286663"/>
              <a:gd name="connsiteX19" fmla="*/ 73031 w 286677"/>
              <a:gd name="connsiteY19" fmla="*/ 114662 h 286663"/>
              <a:gd name="connsiteX20" fmla="*/ 24893 w 286677"/>
              <a:gd name="connsiteY20" fmla="*/ 114662 h 286663"/>
              <a:gd name="connsiteX21" fmla="*/ 24821 w 286677"/>
              <a:gd name="connsiteY21" fmla="*/ 114906 h 286663"/>
              <a:gd name="connsiteX22" fmla="*/ 21482 w 286677"/>
              <a:gd name="connsiteY22" fmla="*/ 143339 h 286663"/>
              <a:gd name="connsiteX23" fmla="*/ 29293 w 286677"/>
              <a:gd name="connsiteY23" fmla="*/ 186332 h 286663"/>
              <a:gd name="connsiteX24" fmla="*/ 74765 w 286677"/>
              <a:gd name="connsiteY24" fmla="*/ 186332 h 286663"/>
              <a:gd name="connsiteX25" fmla="*/ 73002 w 286677"/>
              <a:gd name="connsiteY25" fmla="*/ 114677 h 286663"/>
              <a:gd name="connsiteX26" fmla="*/ 192021 w 286677"/>
              <a:gd name="connsiteY26" fmla="*/ 114662 h 286663"/>
              <a:gd name="connsiteX27" fmla="*/ 94656 w 286677"/>
              <a:gd name="connsiteY27" fmla="*/ 114662 h 286663"/>
              <a:gd name="connsiteX28" fmla="*/ 96591 w 286677"/>
              <a:gd name="connsiteY28" fmla="*/ 186317 h 286663"/>
              <a:gd name="connsiteX29" fmla="*/ 190086 w 286677"/>
              <a:gd name="connsiteY29" fmla="*/ 186317 h 286663"/>
              <a:gd name="connsiteX30" fmla="*/ 192021 w 286677"/>
              <a:gd name="connsiteY30" fmla="*/ 114662 h 286663"/>
              <a:gd name="connsiteX31" fmla="*/ 261784 w 286677"/>
              <a:gd name="connsiteY31" fmla="*/ 114662 h 286663"/>
              <a:gd name="connsiteX32" fmla="*/ 213661 w 286677"/>
              <a:gd name="connsiteY32" fmla="*/ 114662 h 286663"/>
              <a:gd name="connsiteX33" fmla="*/ 215022 w 286677"/>
              <a:gd name="connsiteY33" fmla="*/ 143324 h 286663"/>
              <a:gd name="connsiteX34" fmla="*/ 211898 w 286677"/>
              <a:gd name="connsiteY34" fmla="*/ 186317 h 286663"/>
              <a:gd name="connsiteX35" fmla="*/ 257370 w 286677"/>
              <a:gd name="connsiteY35" fmla="*/ 186317 h 286663"/>
              <a:gd name="connsiteX36" fmla="*/ 265167 w 286677"/>
              <a:gd name="connsiteY36" fmla="*/ 143324 h 286663"/>
              <a:gd name="connsiteX37" fmla="*/ 261784 w 286677"/>
              <a:gd name="connsiteY37" fmla="*/ 114662 h 286663"/>
              <a:gd name="connsiteX38" fmla="*/ 98626 w 286677"/>
              <a:gd name="connsiteY38" fmla="*/ 29966 h 286663"/>
              <a:gd name="connsiteX39" fmla="*/ 98296 w 286677"/>
              <a:gd name="connsiteY39" fmla="*/ 30081 h 286663"/>
              <a:gd name="connsiteX40" fmla="*/ 32273 w 286677"/>
              <a:gd name="connsiteY40" fmla="*/ 93166 h 286663"/>
              <a:gd name="connsiteX41" fmla="*/ 75954 w 286677"/>
              <a:gd name="connsiteY41" fmla="*/ 93166 h 286663"/>
              <a:gd name="connsiteX42" fmla="*/ 98640 w 286677"/>
              <a:gd name="connsiteY42" fmla="*/ 29966 h 286663"/>
              <a:gd name="connsiteX43" fmla="*/ 143339 w 286677"/>
              <a:gd name="connsiteY43" fmla="*/ 21497 h 286663"/>
              <a:gd name="connsiteX44" fmla="*/ 141676 w 286677"/>
              <a:gd name="connsiteY44" fmla="*/ 21568 h 286663"/>
              <a:gd name="connsiteX45" fmla="*/ 97909 w 286677"/>
              <a:gd name="connsiteY45" fmla="*/ 93166 h 286663"/>
              <a:gd name="connsiteX46" fmla="*/ 188797 w 286677"/>
              <a:gd name="connsiteY46" fmla="*/ 93166 h 286663"/>
              <a:gd name="connsiteX47" fmla="*/ 145159 w 286677"/>
              <a:gd name="connsiteY47" fmla="*/ 21582 h 286663"/>
              <a:gd name="connsiteX48" fmla="*/ 143339 w 286677"/>
              <a:gd name="connsiteY48" fmla="*/ 21511 h 286663"/>
              <a:gd name="connsiteX49" fmla="*/ 188051 w 286677"/>
              <a:gd name="connsiteY49" fmla="*/ 29952 h 286663"/>
              <a:gd name="connsiteX50" fmla="*/ 189585 w 286677"/>
              <a:gd name="connsiteY50" fmla="*/ 32460 h 286663"/>
              <a:gd name="connsiteX51" fmla="*/ 210723 w 286677"/>
              <a:gd name="connsiteY51" fmla="*/ 93180 h 286663"/>
              <a:gd name="connsiteX52" fmla="*/ 254404 w 286677"/>
              <a:gd name="connsiteY52" fmla="*/ 93180 h 286663"/>
              <a:gd name="connsiteX53" fmla="*/ 192222 w 286677"/>
              <a:gd name="connsiteY53" fmla="*/ 31700 h 286663"/>
              <a:gd name="connsiteX54" fmla="*/ 188051 w 286677"/>
              <a:gd name="connsiteY54" fmla="*/ 29966 h 286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6677" h="286663">
                <a:moveTo>
                  <a:pt x="143339" y="0"/>
                </a:moveTo>
                <a:cubicBezTo>
                  <a:pt x="222503" y="0"/>
                  <a:pt x="286677" y="64174"/>
                  <a:pt x="286677" y="143339"/>
                </a:cubicBezTo>
                <a:cubicBezTo>
                  <a:pt x="286677" y="222489"/>
                  <a:pt x="222503" y="286663"/>
                  <a:pt x="143339" y="286663"/>
                </a:cubicBezTo>
                <a:cubicBezTo>
                  <a:pt x="64174" y="286663"/>
                  <a:pt x="0" y="222489"/>
                  <a:pt x="0" y="143339"/>
                </a:cubicBezTo>
                <a:cubicBezTo>
                  <a:pt x="0" y="64174"/>
                  <a:pt x="64174" y="0"/>
                  <a:pt x="143339" y="0"/>
                </a:cubicBezTo>
                <a:close/>
                <a:moveTo>
                  <a:pt x="185457" y="207814"/>
                </a:moveTo>
                <a:lnTo>
                  <a:pt x="101206" y="207814"/>
                </a:lnTo>
                <a:cubicBezTo>
                  <a:pt x="110549" y="242409"/>
                  <a:pt x="126801" y="265167"/>
                  <a:pt x="143324" y="265167"/>
                </a:cubicBezTo>
                <a:cubicBezTo>
                  <a:pt x="159848" y="265167"/>
                  <a:pt x="176099" y="242409"/>
                  <a:pt x="185443" y="207814"/>
                </a:cubicBezTo>
                <a:close/>
                <a:moveTo>
                  <a:pt x="78978" y="207814"/>
                </a:moveTo>
                <a:lnTo>
                  <a:pt x="39940" y="207814"/>
                </a:lnTo>
                <a:cubicBezTo>
                  <a:pt x="53777" y="229954"/>
                  <a:pt x="74337" y="247084"/>
                  <a:pt x="98612" y="256697"/>
                </a:cubicBezTo>
                <a:cubicBezTo>
                  <a:pt x="91131" y="244945"/>
                  <a:pt x="84954" y="230242"/>
                  <a:pt x="80411" y="213489"/>
                </a:cubicBezTo>
                <a:lnTo>
                  <a:pt x="78949" y="207828"/>
                </a:lnTo>
                <a:close/>
                <a:moveTo>
                  <a:pt x="246723" y="207814"/>
                </a:moveTo>
                <a:lnTo>
                  <a:pt x="207714" y="207814"/>
                </a:lnTo>
                <a:cubicBezTo>
                  <a:pt x="203070" y="226946"/>
                  <a:pt x="196363" y="243641"/>
                  <a:pt x="188037" y="256697"/>
                </a:cubicBezTo>
                <a:cubicBezTo>
                  <a:pt x="210777" y="247701"/>
                  <a:pt x="230298" y="232092"/>
                  <a:pt x="244071" y="211884"/>
                </a:cubicBezTo>
                <a:lnTo>
                  <a:pt x="246723" y="207828"/>
                </a:lnTo>
                <a:close/>
                <a:moveTo>
                  <a:pt x="73031" y="114662"/>
                </a:moveTo>
                <a:lnTo>
                  <a:pt x="24893" y="114662"/>
                </a:lnTo>
                <a:lnTo>
                  <a:pt x="24821" y="114906"/>
                </a:lnTo>
                <a:cubicBezTo>
                  <a:pt x="22598" y="124220"/>
                  <a:pt x="21477" y="133763"/>
                  <a:pt x="21482" y="143339"/>
                </a:cubicBezTo>
                <a:cubicBezTo>
                  <a:pt x="21482" y="158472"/>
                  <a:pt x="24248" y="172961"/>
                  <a:pt x="29293" y="186332"/>
                </a:cubicBezTo>
                <a:lnTo>
                  <a:pt x="74765" y="186332"/>
                </a:lnTo>
                <a:cubicBezTo>
                  <a:pt x="71304" y="162604"/>
                  <a:pt x="70712" y="138546"/>
                  <a:pt x="73002" y="114677"/>
                </a:cubicBezTo>
                <a:close/>
                <a:moveTo>
                  <a:pt x="192021" y="114662"/>
                </a:moveTo>
                <a:lnTo>
                  <a:pt x="94656" y="114662"/>
                </a:lnTo>
                <a:cubicBezTo>
                  <a:pt x="92135" y="138528"/>
                  <a:pt x="92785" y="162622"/>
                  <a:pt x="96591" y="186317"/>
                </a:cubicBezTo>
                <a:lnTo>
                  <a:pt x="190086" y="186317"/>
                </a:lnTo>
                <a:cubicBezTo>
                  <a:pt x="193890" y="162622"/>
                  <a:pt x="194540" y="138528"/>
                  <a:pt x="192021" y="114662"/>
                </a:cubicBezTo>
                <a:close/>
                <a:moveTo>
                  <a:pt x="261784" y="114662"/>
                </a:moveTo>
                <a:lnTo>
                  <a:pt x="213661" y="114662"/>
                </a:lnTo>
                <a:cubicBezTo>
                  <a:pt x="214549" y="123934"/>
                  <a:pt x="215022" y="133536"/>
                  <a:pt x="215022" y="143324"/>
                </a:cubicBezTo>
                <a:cubicBezTo>
                  <a:pt x="215045" y="157713"/>
                  <a:pt x="214002" y="172084"/>
                  <a:pt x="211898" y="186317"/>
                </a:cubicBezTo>
                <a:lnTo>
                  <a:pt x="257370" y="186317"/>
                </a:lnTo>
                <a:cubicBezTo>
                  <a:pt x="262545" y="172575"/>
                  <a:pt x="265187" y="158008"/>
                  <a:pt x="265167" y="143324"/>
                </a:cubicBezTo>
                <a:cubicBezTo>
                  <a:pt x="265167" y="133450"/>
                  <a:pt x="263991" y="123834"/>
                  <a:pt x="261784" y="114662"/>
                </a:cubicBezTo>
                <a:close/>
                <a:moveTo>
                  <a:pt x="98626" y="29966"/>
                </a:moveTo>
                <a:lnTo>
                  <a:pt x="98296" y="30081"/>
                </a:lnTo>
                <a:cubicBezTo>
                  <a:pt x="68967" y="41792"/>
                  <a:pt x="45307" y="64399"/>
                  <a:pt x="32273" y="93166"/>
                </a:cubicBezTo>
                <a:lnTo>
                  <a:pt x="75954" y="93166"/>
                </a:lnTo>
                <a:cubicBezTo>
                  <a:pt x="80454" y="68058"/>
                  <a:pt x="88279" y="46189"/>
                  <a:pt x="98640" y="29966"/>
                </a:cubicBezTo>
                <a:close/>
                <a:moveTo>
                  <a:pt x="143339" y="21497"/>
                </a:moveTo>
                <a:lnTo>
                  <a:pt x="141676" y="21568"/>
                </a:lnTo>
                <a:cubicBezTo>
                  <a:pt x="123562" y="23231"/>
                  <a:pt x="106021" y="51921"/>
                  <a:pt x="97909" y="93166"/>
                </a:cubicBezTo>
                <a:lnTo>
                  <a:pt x="188797" y="93166"/>
                </a:lnTo>
                <a:cubicBezTo>
                  <a:pt x="180685" y="52036"/>
                  <a:pt x="163244" y="23388"/>
                  <a:pt x="145159" y="21582"/>
                </a:cubicBezTo>
                <a:lnTo>
                  <a:pt x="143339" y="21511"/>
                </a:lnTo>
                <a:close/>
                <a:moveTo>
                  <a:pt x="188051" y="29952"/>
                </a:moveTo>
                <a:lnTo>
                  <a:pt x="189585" y="32460"/>
                </a:lnTo>
                <a:cubicBezTo>
                  <a:pt x="199172" y="48396"/>
                  <a:pt x="206452" y="69319"/>
                  <a:pt x="210723" y="93180"/>
                </a:cubicBezTo>
                <a:lnTo>
                  <a:pt x="254404" y="93180"/>
                </a:lnTo>
                <a:cubicBezTo>
                  <a:pt x="241963" y="65723"/>
                  <a:pt x="219819" y="43829"/>
                  <a:pt x="192222" y="31700"/>
                </a:cubicBezTo>
                <a:lnTo>
                  <a:pt x="188051" y="29966"/>
                </a:lnTo>
                <a:close/>
              </a:path>
            </a:pathLst>
          </a:custGeom>
          <a:solidFill>
            <a:schemeClr val="tx1"/>
          </a:solid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grpSp>
        <p:nvGrpSpPr>
          <p:cNvPr id="447" name="Group 446">
            <a:extLst>
              <a:ext uri="{FF2B5EF4-FFF2-40B4-BE49-F238E27FC236}">
                <a16:creationId xmlns:a16="http://schemas.microsoft.com/office/drawing/2014/main" id="{19FBA42E-8B2F-142F-3F2F-FA6F8C99B770}"/>
              </a:ext>
              <a:ext uri="{C183D7F6-B498-43B3-948B-1728B52AA6E4}">
                <adec:decorative xmlns:adec="http://schemas.microsoft.com/office/drawing/2017/decorative" val="1"/>
              </a:ext>
            </a:extLst>
          </p:cNvPr>
          <p:cNvGrpSpPr/>
          <p:nvPr/>
        </p:nvGrpSpPr>
        <p:grpSpPr>
          <a:xfrm>
            <a:off x="552290" y="3275514"/>
            <a:ext cx="1012789" cy="881806"/>
            <a:chOff x="615031" y="2365095"/>
            <a:chExt cx="1012789" cy="881806"/>
          </a:xfrm>
        </p:grpSpPr>
        <p:grpSp>
          <p:nvGrpSpPr>
            <p:cNvPr id="448" name="Group 447">
              <a:extLst>
                <a:ext uri="{FF2B5EF4-FFF2-40B4-BE49-F238E27FC236}">
                  <a16:creationId xmlns:a16="http://schemas.microsoft.com/office/drawing/2014/main" id="{9ECDB1D2-FB69-8CA4-0502-7322AFFE69E0}"/>
                </a:ext>
              </a:extLst>
            </p:cNvPr>
            <p:cNvGrpSpPr/>
            <p:nvPr/>
          </p:nvGrpSpPr>
          <p:grpSpPr>
            <a:xfrm>
              <a:off x="615031" y="2541846"/>
              <a:ext cx="650819" cy="705055"/>
              <a:chOff x="886716" y="2836172"/>
              <a:chExt cx="379134" cy="410729"/>
            </a:xfrm>
            <a:solidFill>
              <a:schemeClr val="tx1"/>
            </a:solidFill>
          </p:grpSpPr>
          <p:sp>
            <p:nvSpPr>
              <p:cNvPr id="452" name="Freeform: Shape 451">
                <a:extLst>
                  <a:ext uri="{FF2B5EF4-FFF2-40B4-BE49-F238E27FC236}">
                    <a16:creationId xmlns:a16="http://schemas.microsoft.com/office/drawing/2014/main" id="{F87CE075-729F-4DAA-31D0-FC419E212CE3}"/>
                  </a:ext>
                </a:extLst>
              </p:cNvPr>
              <p:cNvSpPr/>
              <p:nvPr/>
            </p:nvSpPr>
            <p:spPr>
              <a:xfrm>
                <a:off x="949905" y="2899361"/>
                <a:ext cx="252756" cy="294882"/>
              </a:xfrm>
              <a:custGeom>
                <a:avLst/>
                <a:gdLst>
                  <a:gd name="connsiteX0" fmla="*/ 42126 w 252756"/>
                  <a:gd name="connsiteY0" fmla="*/ 21063 h 294882"/>
                  <a:gd name="connsiteX1" fmla="*/ 21063 w 252756"/>
                  <a:gd name="connsiteY1" fmla="*/ 42126 h 294882"/>
                  <a:gd name="connsiteX2" fmla="*/ 0 w 252756"/>
                  <a:gd name="connsiteY2" fmla="*/ 21063 h 294882"/>
                  <a:gd name="connsiteX3" fmla="*/ 21063 w 252756"/>
                  <a:gd name="connsiteY3" fmla="*/ 0 h 294882"/>
                  <a:gd name="connsiteX4" fmla="*/ 42126 w 252756"/>
                  <a:gd name="connsiteY4" fmla="*/ 21063 h 294882"/>
                  <a:gd name="connsiteX5" fmla="*/ 21063 w 252756"/>
                  <a:gd name="connsiteY5" fmla="*/ 105315 h 294882"/>
                  <a:gd name="connsiteX6" fmla="*/ 42126 w 252756"/>
                  <a:gd name="connsiteY6" fmla="*/ 84252 h 294882"/>
                  <a:gd name="connsiteX7" fmla="*/ 21063 w 252756"/>
                  <a:gd name="connsiteY7" fmla="*/ 63189 h 294882"/>
                  <a:gd name="connsiteX8" fmla="*/ 0 w 252756"/>
                  <a:gd name="connsiteY8" fmla="*/ 84252 h 294882"/>
                  <a:gd name="connsiteX9" fmla="*/ 21063 w 252756"/>
                  <a:gd name="connsiteY9" fmla="*/ 105315 h 294882"/>
                  <a:gd name="connsiteX10" fmla="*/ 42126 w 252756"/>
                  <a:gd name="connsiteY10" fmla="*/ 147441 h 294882"/>
                  <a:gd name="connsiteX11" fmla="*/ 21063 w 252756"/>
                  <a:gd name="connsiteY11" fmla="*/ 168504 h 294882"/>
                  <a:gd name="connsiteX12" fmla="*/ 0 w 252756"/>
                  <a:gd name="connsiteY12" fmla="*/ 147441 h 294882"/>
                  <a:gd name="connsiteX13" fmla="*/ 21063 w 252756"/>
                  <a:gd name="connsiteY13" fmla="*/ 126378 h 294882"/>
                  <a:gd name="connsiteX14" fmla="*/ 42126 w 252756"/>
                  <a:gd name="connsiteY14" fmla="*/ 147441 h 294882"/>
                  <a:gd name="connsiteX15" fmla="*/ 42126 w 252756"/>
                  <a:gd name="connsiteY15" fmla="*/ 210630 h 294882"/>
                  <a:gd name="connsiteX16" fmla="*/ 21063 w 252756"/>
                  <a:gd name="connsiteY16" fmla="*/ 231693 h 294882"/>
                  <a:gd name="connsiteX17" fmla="*/ 0 w 252756"/>
                  <a:gd name="connsiteY17" fmla="*/ 210630 h 294882"/>
                  <a:gd name="connsiteX18" fmla="*/ 21063 w 252756"/>
                  <a:gd name="connsiteY18" fmla="*/ 189567 h 294882"/>
                  <a:gd name="connsiteX19" fmla="*/ 42126 w 252756"/>
                  <a:gd name="connsiteY19" fmla="*/ 210630 h 294882"/>
                  <a:gd name="connsiteX20" fmla="*/ 21063 w 252756"/>
                  <a:gd name="connsiteY20" fmla="*/ 294883 h 294882"/>
                  <a:gd name="connsiteX21" fmla="*/ 42126 w 252756"/>
                  <a:gd name="connsiteY21" fmla="*/ 273820 h 294882"/>
                  <a:gd name="connsiteX22" fmla="*/ 21063 w 252756"/>
                  <a:gd name="connsiteY22" fmla="*/ 252757 h 294882"/>
                  <a:gd name="connsiteX23" fmla="*/ 0 w 252756"/>
                  <a:gd name="connsiteY23" fmla="*/ 273820 h 294882"/>
                  <a:gd name="connsiteX24" fmla="*/ 21063 w 252756"/>
                  <a:gd name="connsiteY24" fmla="*/ 294883 h 294882"/>
                  <a:gd name="connsiteX25" fmla="*/ 168504 w 252756"/>
                  <a:gd name="connsiteY25" fmla="*/ 231693 h 294882"/>
                  <a:gd name="connsiteX26" fmla="*/ 189567 w 252756"/>
                  <a:gd name="connsiteY26" fmla="*/ 210630 h 294882"/>
                  <a:gd name="connsiteX27" fmla="*/ 168504 w 252756"/>
                  <a:gd name="connsiteY27" fmla="*/ 189567 h 294882"/>
                  <a:gd name="connsiteX28" fmla="*/ 147441 w 252756"/>
                  <a:gd name="connsiteY28" fmla="*/ 210630 h 294882"/>
                  <a:gd name="connsiteX29" fmla="*/ 168504 w 252756"/>
                  <a:gd name="connsiteY29" fmla="*/ 231693 h 294882"/>
                  <a:gd name="connsiteX30" fmla="*/ 231693 w 252756"/>
                  <a:gd name="connsiteY30" fmla="*/ 231693 h 294882"/>
                  <a:gd name="connsiteX31" fmla="*/ 252757 w 252756"/>
                  <a:gd name="connsiteY31" fmla="*/ 210630 h 294882"/>
                  <a:gd name="connsiteX32" fmla="*/ 231693 w 252756"/>
                  <a:gd name="connsiteY32" fmla="*/ 189567 h 294882"/>
                  <a:gd name="connsiteX33" fmla="*/ 210630 w 252756"/>
                  <a:gd name="connsiteY33" fmla="*/ 210630 h 294882"/>
                  <a:gd name="connsiteX34" fmla="*/ 231693 w 252756"/>
                  <a:gd name="connsiteY34" fmla="*/ 231693 h 294882"/>
                  <a:gd name="connsiteX35" fmla="*/ 231693 w 252756"/>
                  <a:gd name="connsiteY35" fmla="*/ 168504 h 294882"/>
                  <a:gd name="connsiteX36" fmla="*/ 252757 w 252756"/>
                  <a:gd name="connsiteY36" fmla="*/ 147441 h 294882"/>
                  <a:gd name="connsiteX37" fmla="*/ 231693 w 252756"/>
                  <a:gd name="connsiteY37" fmla="*/ 126378 h 294882"/>
                  <a:gd name="connsiteX38" fmla="*/ 210630 w 252756"/>
                  <a:gd name="connsiteY38" fmla="*/ 147441 h 294882"/>
                  <a:gd name="connsiteX39" fmla="*/ 231693 w 252756"/>
                  <a:gd name="connsiteY39" fmla="*/ 168504 h 294882"/>
                  <a:gd name="connsiteX40" fmla="*/ 189567 w 252756"/>
                  <a:gd name="connsiteY40" fmla="*/ 147441 h 294882"/>
                  <a:gd name="connsiteX41" fmla="*/ 168504 w 252756"/>
                  <a:gd name="connsiteY41" fmla="*/ 168504 h 294882"/>
                  <a:gd name="connsiteX42" fmla="*/ 147441 w 252756"/>
                  <a:gd name="connsiteY42" fmla="*/ 147441 h 294882"/>
                  <a:gd name="connsiteX43" fmla="*/ 168504 w 252756"/>
                  <a:gd name="connsiteY43" fmla="*/ 126378 h 294882"/>
                  <a:gd name="connsiteX44" fmla="*/ 189567 w 252756"/>
                  <a:gd name="connsiteY44" fmla="*/ 147441 h 294882"/>
                  <a:gd name="connsiteX45" fmla="*/ 231693 w 252756"/>
                  <a:gd name="connsiteY45" fmla="*/ 105315 h 294882"/>
                  <a:gd name="connsiteX46" fmla="*/ 252757 w 252756"/>
                  <a:gd name="connsiteY46" fmla="*/ 84252 h 294882"/>
                  <a:gd name="connsiteX47" fmla="*/ 231693 w 252756"/>
                  <a:gd name="connsiteY47" fmla="*/ 63189 h 294882"/>
                  <a:gd name="connsiteX48" fmla="*/ 210630 w 252756"/>
                  <a:gd name="connsiteY48" fmla="*/ 84252 h 294882"/>
                  <a:gd name="connsiteX49" fmla="*/ 231693 w 252756"/>
                  <a:gd name="connsiteY49" fmla="*/ 105315 h 294882"/>
                  <a:gd name="connsiteX50" fmla="*/ 189567 w 252756"/>
                  <a:gd name="connsiteY50" fmla="*/ 84252 h 294882"/>
                  <a:gd name="connsiteX51" fmla="*/ 168504 w 252756"/>
                  <a:gd name="connsiteY51" fmla="*/ 105315 h 294882"/>
                  <a:gd name="connsiteX52" fmla="*/ 147441 w 252756"/>
                  <a:gd name="connsiteY52" fmla="*/ 84252 h 294882"/>
                  <a:gd name="connsiteX53" fmla="*/ 168504 w 252756"/>
                  <a:gd name="connsiteY53" fmla="*/ 63189 h 294882"/>
                  <a:gd name="connsiteX54" fmla="*/ 189567 w 252756"/>
                  <a:gd name="connsiteY54" fmla="*/ 84252 h 294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52756" h="294882">
                    <a:moveTo>
                      <a:pt x="42126" y="21063"/>
                    </a:moveTo>
                    <a:cubicBezTo>
                      <a:pt x="42126" y="32696"/>
                      <a:pt x="32696" y="42126"/>
                      <a:pt x="21063" y="42126"/>
                    </a:cubicBezTo>
                    <a:cubicBezTo>
                      <a:pt x="9430" y="42126"/>
                      <a:pt x="0" y="32696"/>
                      <a:pt x="0" y="21063"/>
                    </a:cubicBezTo>
                    <a:cubicBezTo>
                      <a:pt x="0" y="9430"/>
                      <a:pt x="9430" y="0"/>
                      <a:pt x="21063" y="0"/>
                    </a:cubicBezTo>
                    <a:cubicBezTo>
                      <a:pt x="32696" y="0"/>
                      <a:pt x="42126" y="9430"/>
                      <a:pt x="42126" y="21063"/>
                    </a:cubicBezTo>
                    <a:close/>
                    <a:moveTo>
                      <a:pt x="21063" y="105315"/>
                    </a:moveTo>
                    <a:cubicBezTo>
                      <a:pt x="32696" y="105315"/>
                      <a:pt x="42126" y="95885"/>
                      <a:pt x="42126" y="84252"/>
                    </a:cubicBezTo>
                    <a:cubicBezTo>
                      <a:pt x="42126" y="72619"/>
                      <a:pt x="32696" y="63189"/>
                      <a:pt x="21063" y="63189"/>
                    </a:cubicBezTo>
                    <a:cubicBezTo>
                      <a:pt x="9430" y="63189"/>
                      <a:pt x="0" y="72619"/>
                      <a:pt x="0" y="84252"/>
                    </a:cubicBezTo>
                    <a:cubicBezTo>
                      <a:pt x="0" y="95885"/>
                      <a:pt x="9430" y="105315"/>
                      <a:pt x="21063" y="105315"/>
                    </a:cubicBezTo>
                    <a:close/>
                    <a:moveTo>
                      <a:pt x="42126" y="147441"/>
                    </a:moveTo>
                    <a:cubicBezTo>
                      <a:pt x="42126" y="159074"/>
                      <a:pt x="32696" y="168504"/>
                      <a:pt x="21063" y="168504"/>
                    </a:cubicBezTo>
                    <a:cubicBezTo>
                      <a:pt x="9430" y="168504"/>
                      <a:pt x="0" y="159074"/>
                      <a:pt x="0" y="147441"/>
                    </a:cubicBezTo>
                    <a:cubicBezTo>
                      <a:pt x="0" y="135808"/>
                      <a:pt x="9430" y="126378"/>
                      <a:pt x="21063" y="126378"/>
                    </a:cubicBezTo>
                    <a:cubicBezTo>
                      <a:pt x="32696" y="126378"/>
                      <a:pt x="42126" y="135808"/>
                      <a:pt x="42126" y="147441"/>
                    </a:cubicBezTo>
                    <a:close/>
                    <a:moveTo>
                      <a:pt x="42126" y="210630"/>
                    </a:moveTo>
                    <a:cubicBezTo>
                      <a:pt x="42126" y="222264"/>
                      <a:pt x="32696" y="231693"/>
                      <a:pt x="21063" y="231693"/>
                    </a:cubicBezTo>
                    <a:cubicBezTo>
                      <a:pt x="9430" y="231693"/>
                      <a:pt x="0" y="222264"/>
                      <a:pt x="0" y="210630"/>
                    </a:cubicBezTo>
                    <a:cubicBezTo>
                      <a:pt x="0" y="198997"/>
                      <a:pt x="9430" y="189567"/>
                      <a:pt x="21063" y="189567"/>
                    </a:cubicBezTo>
                    <a:cubicBezTo>
                      <a:pt x="32696" y="189567"/>
                      <a:pt x="42126" y="198997"/>
                      <a:pt x="42126" y="210630"/>
                    </a:cubicBezTo>
                    <a:close/>
                    <a:moveTo>
                      <a:pt x="21063" y="294883"/>
                    </a:moveTo>
                    <a:cubicBezTo>
                      <a:pt x="32696" y="294883"/>
                      <a:pt x="42126" y="285453"/>
                      <a:pt x="42126" y="273820"/>
                    </a:cubicBezTo>
                    <a:cubicBezTo>
                      <a:pt x="42126" y="262186"/>
                      <a:pt x="32696" y="252757"/>
                      <a:pt x="21063" y="252757"/>
                    </a:cubicBezTo>
                    <a:cubicBezTo>
                      <a:pt x="9430" y="252757"/>
                      <a:pt x="0" y="262186"/>
                      <a:pt x="0" y="273820"/>
                    </a:cubicBezTo>
                    <a:cubicBezTo>
                      <a:pt x="0" y="285453"/>
                      <a:pt x="9430" y="294883"/>
                      <a:pt x="21063" y="294883"/>
                    </a:cubicBezTo>
                    <a:close/>
                    <a:moveTo>
                      <a:pt x="168504" y="231693"/>
                    </a:moveTo>
                    <a:cubicBezTo>
                      <a:pt x="180137" y="231693"/>
                      <a:pt x="189567" y="222264"/>
                      <a:pt x="189567" y="210630"/>
                    </a:cubicBezTo>
                    <a:cubicBezTo>
                      <a:pt x="189567" y="198997"/>
                      <a:pt x="180137" y="189567"/>
                      <a:pt x="168504" y="189567"/>
                    </a:cubicBezTo>
                    <a:cubicBezTo>
                      <a:pt x="156871" y="189567"/>
                      <a:pt x="147441" y="198997"/>
                      <a:pt x="147441" y="210630"/>
                    </a:cubicBezTo>
                    <a:cubicBezTo>
                      <a:pt x="147441" y="222264"/>
                      <a:pt x="156871" y="231693"/>
                      <a:pt x="168504" y="231693"/>
                    </a:cubicBezTo>
                    <a:close/>
                    <a:moveTo>
                      <a:pt x="231693" y="231693"/>
                    </a:moveTo>
                    <a:cubicBezTo>
                      <a:pt x="243327" y="231693"/>
                      <a:pt x="252757" y="222264"/>
                      <a:pt x="252757" y="210630"/>
                    </a:cubicBezTo>
                    <a:cubicBezTo>
                      <a:pt x="252757" y="198997"/>
                      <a:pt x="243327" y="189567"/>
                      <a:pt x="231693" y="189567"/>
                    </a:cubicBezTo>
                    <a:cubicBezTo>
                      <a:pt x="220060" y="189567"/>
                      <a:pt x="210630" y="198997"/>
                      <a:pt x="210630" y="210630"/>
                    </a:cubicBezTo>
                    <a:cubicBezTo>
                      <a:pt x="210630" y="222264"/>
                      <a:pt x="220060" y="231693"/>
                      <a:pt x="231693" y="231693"/>
                    </a:cubicBezTo>
                    <a:close/>
                    <a:moveTo>
                      <a:pt x="231693" y="168504"/>
                    </a:moveTo>
                    <a:cubicBezTo>
                      <a:pt x="243327" y="168504"/>
                      <a:pt x="252757" y="159074"/>
                      <a:pt x="252757" y="147441"/>
                    </a:cubicBezTo>
                    <a:cubicBezTo>
                      <a:pt x="252757" y="135808"/>
                      <a:pt x="243327" y="126378"/>
                      <a:pt x="231693" y="126378"/>
                    </a:cubicBezTo>
                    <a:cubicBezTo>
                      <a:pt x="220060" y="126378"/>
                      <a:pt x="210630" y="135808"/>
                      <a:pt x="210630" y="147441"/>
                    </a:cubicBezTo>
                    <a:cubicBezTo>
                      <a:pt x="210630" y="159074"/>
                      <a:pt x="220060" y="168504"/>
                      <a:pt x="231693" y="168504"/>
                    </a:cubicBezTo>
                    <a:close/>
                    <a:moveTo>
                      <a:pt x="189567" y="147441"/>
                    </a:moveTo>
                    <a:cubicBezTo>
                      <a:pt x="189567" y="159074"/>
                      <a:pt x="180137" y="168504"/>
                      <a:pt x="168504" y="168504"/>
                    </a:cubicBezTo>
                    <a:cubicBezTo>
                      <a:pt x="156871" y="168504"/>
                      <a:pt x="147441" y="159074"/>
                      <a:pt x="147441" y="147441"/>
                    </a:cubicBezTo>
                    <a:cubicBezTo>
                      <a:pt x="147441" y="135808"/>
                      <a:pt x="156871" y="126378"/>
                      <a:pt x="168504" y="126378"/>
                    </a:cubicBezTo>
                    <a:cubicBezTo>
                      <a:pt x="180137" y="126378"/>
                      <a:pt x="189567" y="135808"/>
                      <a:pt x="189567" y="147441"/>
                    </a:cubicBezTo>
                    <a:close/>
                    <a:moveTo>
                      <a:pt x="231693" y="105315"/>
                    </a:moveTo>
                    <a:cubicBezTo>
                      <a:pt x="243327" y="105315"/>
                      <a:pt x="252757" y="95885"/>
                      <a:pt x="252757" y="84252"/>
                    </a:cubicBezTo>
                    <a:cubicBezTo>
                      <a:pt x="252757" y="72619"/>
                      <a:pt x="243327" y="63189"/>
                      <a:pt x="231693" y="63189"/>
                    </a:cubicBezTo>
                    <a:cubicBezTo>
                      <a:pt x="220060" y="63189"/>
                      <a:pt x="210630" y="72619"/>
                      <a:pt x="210630" y="84252"/>
                    </a:cubicBezTo>
                    <a:cubicBezTo>
                      <a:pt x="210630" y="95885"/>
                      <a:pt x="220060" y="105315"/>
                      <a:pt x="231693" y="105315"/>
                    </a:cubicBezTo>
                    <a:close/>
                    <a:moveTo>
                      <a:pt x="189567" y="84252"/>
                    </a:moveTo>
                    <a:cubicBezTo>
                      <a:pt x="189567" y="95885"/>
                      <a:pt x="180137" y="105315"/>
                      <a:pt x="168504" y="105315"/>
                    </a:cubicBezTo>
                    <a:cubicBezTo>
                      <a:pt x="156871" y="105315"/>
                      <a:pt x="147441" y="95885"/>
                      <a:pt x="147441" y="84252"/>
                    </a:cubicBezTo>
                    <a:cubicBezTo>
                      <a:pt x="147441" y="72619"/>
                      <a:pt x="156871" y="63189"/>
                      <a:pt x="168504" y="63189"/>
                    </a:cubicBezTo>
                    <a:cubicBezTo>
                      <a:pt x="180137" y="63189"/>
                      <a:pt x="189567" y="72619"/>
                      <a:pt x="189567" y="84252"/>
                    </a:cubicBezTo>
                    <a:close/>
                  </a:path>
                </a:pathLst>
              </a:custGeom>
              <a:grpFill/>
              <a:ln w="210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453" name="Freeform: Shape 452">
                <a:extLst>
                  <a:ext uri="{FF2B5EF4-FFF2-40B4-BE49-F238E27FC236}">
                    <a16:creationId xmlns:a16="http://schemas.microsoft.com/office/drawing/2014/main" id="{CFC355DF-8E9C-DC43-B826-1FC5794B1D64}"/>
                  </a:ext>
                </a:extLst>
              </p:cNvPr>
              <p:cNvSpPr/>
              <p:nvPr/>
            </p:nvSpPr>
            <p:spPr>
              <a:xfrm>
                <a:off x="886716" y="2836172"/>
                <a:ext cx="379134" cy="410729"/>
              </a:xfrm>
              <a:custGeom>
                <a:avLst/>
                <a:gdLst>
                  <a:gd name="connsiteX0" fmla="*/ 231693 w 379134"/>
                  <a:gd name="connsiteY0" fmla="*/ 63189 h 410729"/>
                  <a:gd name="connsiteX1" fmla="*/ 231693 w 379134"/>
                  <a:gd name="connsiteY1" fmla="*/ 47392 h 410729"/>
                  <a:gd name="connsiteX2" fmla="*/ 184302 w 379134"/>
                  <a:gd name="connsiteY2" fmla="*/ 0 h 410729"/>
                  <a:gd name="connsiteX3" fmla="*/ 47392 w 379134"/>
                  <a:gd name="connsiteY3" fmla="*/ 0 h 410729"/>
                  <a:gd name="connsiteX4" fmla="*/ 0 w 379134"/>
                  <a:gd name="connsiteY4" fmla="*/ 47392 h 410729"/>
                  <a:gd name="connsiteX5" fmla="*/ 0 w 379134"/>
                  <a:gd name="connsiteY5" fmla="*/ 394932 h 410729"/>
                  <a:gd name="connsiteX6" fmla="*/ 15797 w 379134"/>
                  <a:gd name="connsiteY6" fmla="*/ 410729 h 410729"/>
                  <a:gd name="connsiteX7" fmla="*/ 363337 w 379134"/>
                  <a:gd name="connsiteY7" fmla="*/ 410729 h 410729"/>
                  <a:gd name="connsiteX8" fmla="*/ 379135 w 379134"/>
                  <a:gd name="connsiteY8" fmla="*/ 394932 h 410729"/>
                  <a:gd name="connsiteX9" fmla="*/ 379135 w 379134"/>
                  <a:gd name="connsiteY9" fmla="*/ 110581 h 410729"/>
                  <a:gd name="connsiteX10" fmla="*/ 331743 w 379134"/>
                  <a:gd name="connsiteY10" fmla="*/ 63189 h 410729"/>
                  <a:gd name="connsiteX11" fmla="*/ 231693 w 379134"/>
                  <a:gd name="connsiteY11" fmla="*/ 63189 h 410729"/>
                  <a:gd name="connsiteX12" fmla="*/ 31595 w 379134"/>
                  <a:gd name="connsiteY12" fmla="*/ 47392 h 410729"/>
                  <a:gd name="connsiteX13" fmla="*/ 47392 w 379134"/>
                  <a:gd name="connsiteY13" fmla="*/ 31595 h 410729"/>
                  <a:gd name="connsiteX14" fmla="*/ 184302 w 379134"/>
                  <a:gd name="connsiteY14" fmla="*/ 31595 h 410729"/>
                  <a:gd name="connsiteX15" fmla="*/ 200099 w 379134"/>
                  <a:gd name="connsiteY15" fmla="*/ 47392 h 410729"/>
                  <a:gd name="connsiteX16" fmla="*/ 200099 w 379134"/>
                  <a:gd name="connsiteY16" fmla="*/ 63189 h 410729"/>
                  <a:gd name="connsiteX17" fmla="*/ 194833 w 379134"/>
                  <a:gd name="connsiteY17" fmla="*/ 63189 h 410729"/>
                  <a:gd name="connsiteX18" fmla="*/ 147441 w 379134"/>
                  <a:gd name="connsiteY18" fmla="*/ 110581 h 410729"/>
                  <a:gd name="connsiteX19" fmla="*/ 147441 w 379134"/>
                  <a:gd name="connsiteY19" fmla="*/ 379135 h 410729"/>
                  <a:gd name="connsiteX20" fmla="*/ 31595 w 379134"/>
                  <a:gd name="connsiteY20" fmla="*/ 379135 h 410729"/>
                  <a:gd name="connsiteX21" fmla="*/ 31595 w 379134"/>
                  <a:gd name="connsiteY21" fmla="*/ 47392 h 410729"/>
                  <a:gd name="connsiteX22" fmla="*/ 242225 w 379134"/>
                  <a:gd name="connsiteY22" fmla="*/ 379135 h 410729"/>
                  <a:gd name="connsiteX23" fmla="*/ 242225 w 379134"/>
                  <a:gd name="connsiteY23" fmla="*/ 347540 h 410729"/>
                  <a:gd name="connsiteX24" fmla="*/ 284351 w 379134"/>
                  <a:gd name="connsiteY24" fmla="*/ 347540 h 410729"/>
                  <a:gd name="connsiteX25" fmla="*/ 284351 w 379134"/>
                  <a:gd name="connsiteY25" fmla="*/ 379135 h 410729"/>
                  <a:gd name="connsiteX26" fmla="*/ 242225 w 379134"/>
                  <a:gd name="connsiteY26" fmla="*/ 379135 h 410729"/>
                  <a:gd name="connsiteX27" fmla="*/ 315946 w 379134"/>
                  <a:gd name="connsiteY27" fmla="*/ 331743 h 410729"/>
                  <a:gd name="connsiteX28" fmla="*/ 300148 w 379134"/>
                  <a:gd name="connsiteY28" fmla="*/ 315946 h 410729"/>
                  <a:gd name="connsiteX29" fmla="*/ 226428 w 379134"/>
                  <a:gd name="connsiteY29" fmla="*/ 315946 h 410729"/>
                  <a:gd name="connsiteX30" fmla="*/ 210630 w 379134"/>
                  <a:gd name="connsiteY30" fmla="*/ 331743 h 410729"/>
                  <a:gd name="connsiteX31" fmla="*/ 210630 w 379134"/>
                  <a:gd name="connsiteY31" fmla="*/ 379135 h 410729"/>
                  <a:gd name="connsiteX32" fmla="*/ 179036 w 379134"/>
                  <a:gd name="connsiteY32" fmla="*/ 379135 h 410729"/>
                  <a:gd name="connsiteX33" fmla="*/ 179036 w 379134"/>
                  <a:gd name="connsiteY33" fmla="*/ 110581 h 410729"/>
                  <a:gd name="connsiteX34" fmla="*/ 194833 w 379134"/>
                  <a:gd name="connsiteY34" fmla="*/ 94784 h 410729"/>
                  <a:gd name="connsiteX35" fmla="*/ 331743 w 379134"/>
                  <a:gd name="connsiteY35" fmla="*/ 94784 h 410729"/>
                  <a:gd name="connsiteX36" fmla="*/ 347540 w 379134"/>
                  <a:gd name="connsiteY36" fmla="*/ 110581 h 410729"/>
                  <a:gd name="connsiteX37" fmla="*/ 347540 w 379134"/>
                  <a:gd name="connsiteY37" fmla="*/ 379135 h 410729"/>
                  <a:gd name="connsiteX38" fmla="*/ 315946 w 379134"/>
                  <a:gd name="connsiteY38" fmla="*/ 379135 h 410729"/>
                  <a:gd name="connsiteX39" fmla="*/ 315946 w 379134"/>
                  <a:gd name="connsiteY39" fmla="*/ 331743 h 410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79134" h="410729">
                    <a:moveTo>
                      <a:pt x="231693" y="63189"/>
                    </a:moveTo>
                    <a:lnTo>
                      <a:pt x="231693" y="47392"/>
                    </a:lnTo>
                    <a:cubicBezTo>
                      <a:pt x="231693" y="21218"/>
                      <a:pt x="210475" y="0"/>
                      <a:pt x="184302" y="0"/>
                    </a:cubicBezTo>
                    <a:lnTo>
                      <a:pt x="47392" y="0"/>
                    </a:lnTo>
                    <a:cubicBezTo>
                      <a:pt x="21218" y="0"/>
                      <a:pt x="0" y="21218"/>
                      <a:pt x="0" y="47392"/>
                    </a:cubicBezTo>
                    <a:lnTo>
                      <a:pt x="0" y="394932"/>
                    </a:lnTo>
                    <a:cubicBezTo>
                      <a:pt x="0" y="403652"/>
                      <a:pt x="7077" y="410729"/>
                      <a:pt x="15797" y="410729"/>
                    </a:cubicBezTo>
                    <a:lnTo>
                      <a:pt x="363337" y="410729"/>
                    </a:lnTo>
                    <a:cubicBezTo>
                      <a:pt x="372062" y="410729"/>
                      <a:pt x="379135" y="403656"/>
                      <a:pt x="379135" y="394932"/>
                    </a:cubicBezTo>
                    <a:lnTo>
                      <a:pt x="379135" y="110581"/>
                    </a:lnTo>
                    <a:cubicBezTo>
                      <a:pt x="379135" y="84407"/>
                      <a:pt x="357916" y="63189"/>
                      <a:pt x="331743" y="63189"/>
                    </a:cubicBezTo>
                    <a:lnTo>
                      <a:pt x="231693" y="63189"/>
                    </a:lnTo>
                    <a:close/>
                    <a:moveTo>
                      <a:pt x="31595" y="47392"/>
                    </a:moveTo>
                    <a:cubicBezTo>
                      <a:pt x="31595" y="38667"/>
                      <a:pt x="38667" y="31595"/>
                      <a:pt x="47392" y="31595"/>
                    </a:cubicBezTo>
                    <a:lnTo>
                      <a:pt x="184302" y="31595"/>
                    </a:lnTo>
                    <a:cubicBezTo>
                      <a:pt x="193026" y="31595"/>
                      <a:pt x="200099" y="38667"/>
                      <a:pt x="200099" y="47392"/>
                    </a:cubicBezTo>
                    <a:lnTo>
                      <a:pt x="200099" y="63189"/>
                    </a:lnTo>
                    <a:lnTo>
                      <a:pt x="194833" y="63189"/>
                    </a:lnTo>
                    <a:cubicBezTo>
                      <a:pt x="168660" y="63189"/>
                      <a:pt x="147441" y="84407"/>
                      <a:pt x="147441" y="110581"/>
                    </a:cubicBezTo>
                    <a:lnTo>
                      <a:pt x="147441" y="379135"/>
                    </a:lnTo>
                    <a:lnTo>
                      <a:pt x="31595" y="379135"/>
                    </a:lnTo>
                    <a:lnTo>
                      <a:pt x="31595" y="47392"/>
                    </a:lnTo>
                    <a:close/>
                    <a:moveTo>
                      <a:pt x="242225" y="379135"/>
                    </a:moveTo>
                    <a:lnTo>
                      <a:pt x="242225" y="347540"/>
                    </a:lnTo>
                    <a:lnTo>
                      <a:pt x="284351" y="347540"/>
                    </a:lnTo>
                    <a:lnTo>
                      <a:pt x="284351" y="379135"/>
                    </a:lnTo>
                    <a:lnTo>
                      <a:pt x="242225" y="379135"/>
                    </a:lnTo>
                    <a:close/>
                    <a:moveTo>
                      <a:pt x="315946" y="331743"/>
                    </a:moveTo>
                    <a:cubicBezTo>
                      <a:pt x="315946" y="323019"/>
                      <a:pt x="308873" y="315946"/>
                      <a:pt x="300148" y="315946"/>
                    </a:cubicBezTo>
                    <a:lnTo>
                      <a:pt x="226428" y="315946"/>
                    </a:lnTo>
                    <a:cubicBezTo>
                      <a:pt x="217703" y="315946"/>
                      <a:pt x="210630" y="323019"/>
                      <a:pt x="210630" y="331743"/>
                    </a:cubicBezTo>
                    <a:lnTo>
                      <a:pt x="210630" y="379135"/>
                    </a:lnTo>
                    <a:lnTo>
                      <a:pt x="179036" y="379135"/>
                    </a:lnTo>
                    <a:lnTo>
                      <a:pt x="179036" y="110581"/>
                    </a:lnTo>
                    <a:cubicBezTo>
                      <a:pt x="179036" y="101856"/>
                      <a:pt x="186109" y="94784"/>
                      <a:pt x="194833" y="94784"/>
                    </a:cubicBezTo>
                    <a:lnTo>
                      <a:pt x="331743" y="94784"/>
                    </a:lnTo>
                    <a:cubicBezTo>
                      <a:pt x="340467" y="94784"/>
                      <a:pt x="347540" y="101856"/>
                      <a:pt x="347540" y="110581"/>
                    </a:cubicBezTo>
                    <a:lnTo>
                      <a:pt x="347540" y="379135"/>
                    </a:lnTo>
                    <a:lnTo>
                      <a:pt x="315946" y="379135"/>
                    </a:lnTo>
                    <a:lnTo>
                      <a:pt x="315946" y="331743"/>
                    </a:lnTo>
                    <a:close/>
                  </a:path>
                </a:pathLst>
              </a:custGeom>
              <a:grpFill/>
              <a:ln w="210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grpSp>
        <p:grpSp>
          <p:nvGrpSpPr>
            <p:cNvPr id="449" name="Group 448">
              <a:extLst>
                <a:ext uri="{FF2B5EF4-FFF2-40B4-BE49-F238E27FC236}">
                  <a16:creationId xmlns:a16="http://schemas.microsoft.com/office/drawing/2014/main" id="{5C1B8BBC-24C4-0BFB-B6BF-83A73A5D81B7}"/>
                </a:ext>
              </a:extLst>
            </p:cNvPr>
            <p:cNvGrpSpPr/>
            <p:nvPr/>
          </p:nvGrpSpPr>
          <p:grpSpPr>
            <a:xfrm>
              <a:off x="1045218" y="2365095"/>
              <a:ext cx="582602" cy="388583"/>
              <a:chOff x="1171422" y="2318475"/>
              <a:chExt cx="582602" cy="388583"/>
            </a:xfrm>
          </p:grpSpPr>
          <p:sp>
            <p:nvSpPr>
              <p:cNvPr id="450" name="Rectangle: Single Corner Rounded 449">
                <a:extLst>
                  <a:ext uri="{FF2B5EF4-FFF2-40B4-BE49-F238E27FC236}">
                    <a16:creationId xmlns:a16="http://schemas.microsoft.com/office/drawing/2014/main" id="{BD986629-761F-30DC-7C1A-5D8411366B70}"/>
                  </a:ext>
                </a:extLst>
              </p:cNvPr>
              <p:cNvSpPr/>
              <p:nvPr/>
            </p:nvSpPr>
            <p:spPr bwMode="auto">
              <a:xfrm flipH="1" flipV="1">
                <a:off x="1171422" y="2456657"/>
                <a:ext cx="357607" cy="250401"/>
              </a:xfrm>
              <a:prstGeom prst="round1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451" name="Graphic 869">
                <a:extLst>
                  <a:ext uri="{FF2B5EF4-FFF2-40B4-BE49-F238E27FC236}">
                    <a16:creationId xmlns:a16="http://schemas.microsoft.com/office/drawing/2014/main" id="{40B1F85A-64DB-FFA0-5A04-FB09F7956174}"/>
                  </a:ext>
                </a:extLst>
              </p:cNvPr>
              <p:cNvSpPr/>
              <p:nvPr/>
            </p:nvSpPr>
            <p:spPr>
              <a:xfrm>
                <a:off x="1222111" y="2318475"/>
                <a:ext cx="531913" cy="347654"/>
              </a:xfrm>
              <a:custGeom>
                <a:avLst/>
                <a:gdLst>
                  <a:gd name="connsiteX0" fmla="*/ 111484 w 531913"/>
                  <a:gd name="connsiteY0" fmla="*/ 129433 h 347654"/>
                  <a:gd name="connsiteX1" fmla="*/ 293450 w 531913"/>
                  <a:gd name="connsiteY1" fmla="*/ 2454 h 347654"/>
                  <a:gd name="connsiteX2" fmla="*/ 420430 w 531913"/>
                  <a:gd name="connsiteY2" fmla="*/ 129433 h 347654"/>
                  <a:gd name="connsiteX3" fmla="*/ 422803 w 531913"/>
                  <a:gd name="connsiteY3" fmla="*/ 129433 h 347654"/>
                  <a:gd name="connsiteX4" fmla="*/ 531914 w 531913"/>
                  <a:gd name="connsiteY4" fmla="*/ 238544 h 347654"/>
                  <a:gd name="connsiteX5" fmla="*/ 422803 w 531913"/>
                  <a:gd name="connsiteY5" fmla="*/ 347654 h 347654"/>
                  <a:gd name="connsiteX6" fmla="*/ 109111 w 531913"/>
                  <a:gd name="connsiteY6" fmla="*/ 347654 h 347654"/>
                  <a:gd name="connsiteX7" fmla="*/ 0 w 531913"/>
                  <a:gd name="connsiteY7" fmla="*/ 238544 h 347654"/>
                  <a:gd name="connsiteX8" fmla="*/ 109111 w 531913"/>
                  <a:gd name="connsiteY8" fmla="*/ 129433 h 347654"/>
                  <a:gd name="connsiteX9" fmla="*/ 111484 w 531913"/>
                  <a:gd name="connsiteY9" fmla="*/ 129433 h 347654"/>
                  <a:gd name="connsiteX10" fmla="*/ 265957 w 531913"/>
                  <a:gd name="connsiteY10" fmla="*/ 40781 h 347654"/>
                  <a:gd name="connsiteX11" fmla="*/ 150163 w 531913"/>
                  <a:gd name="connsiteY11" fmla="*/ 150901 h 347654"/>
                  <a:gd name="connsiteX12" fmla="*/ 129732 w 531913"/>
                  <a:gd name="connsiteY12" fmla="*/ 170350 h 347654"/>
                  <a:gd name="connsiteX13" fmla="*/ 109111 w 531913"/>
                  <a:gd name="connsiteY13" fmla="*/ 170350 h 347654"/>
                  <a:gd name="connsiteX14" fmla="*/ 40916 w 531913"/>
                  <a:gd name="connsiteY14" fmla="*/ 238544 h 347654"/>
                  <a:gd name="connsiteX15" fmla="*/ 109111 w 531913"/>
                  <a:gd name="connsiteY15" fmla="*/ 306738 h 347654"/>
                  <a:gd name="connsiteX16" fmla="*/ 422803 w 531913"/>
                  <a:gd name="connsiteY16" fmla="*/ 306738 h 347654"/>
                  <a:gd name="connsiteX17" fmla="*/ 490997 w 531913"/>
                  <a:gd name="connsiteY17" fmla="*/ 238544 h 347654"/>
                  <a:gd name="connsiteX18" fmla="*/ 422803 w 531913"/>
                  <a:gd name="connsiteY18" fmla="*/ 170350 h 347654"/>
                  <a:gd name="connsiteX19" fmla="*/ 402181 w 531913"/>
                  <a:gd name="connsiteY19" fmla="*/ 170350 h 347654"/>
                  <a:gd name="connsiteX20" fmla="*/ 381723 w 531913"/>
                  <a:gd name="connsiteY20" fmla="*/ 150901 h 347654"/>
                  <a:gd name="connsiteX21" fmla="*/ 265957 w 531913"/>
                  <a:gd name="connsiteY21" fmla="*/ 40781 h 347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31913" h="347654">
                    <a:moveTo>
                      <a:pt x="111484" y="129433"/>
                    </a:moveTo>
                    <a:cubicBezTo>
                      <a:pt x="126668" y="44120"/>
                      <a:pt x="208138" y="-12730"/>
                      <a:pt x="293450" y="2454"/>
                    </a:cubicBezTo>
                    <a:cubicBezTo>
                      <a:pt x="358210" y="13980"/>
                      <a:pt x="408905" y="64675"/>
                      <a:pt x="420430" y="129433"/>
                    </a:cubicBezTo>
                    <a:lnTo>
                      <a:pt x="422803" y="129433"/>
                    </a:lnTo>
                    <a:cubicBezTo>
                      <a:pt x="483062" y="129433"/>
                      <a:pt x="531914" y="178285"/>
                      <a:pt x="531914" y="238544"/>
                    </a:cubicBezTo>
                    <a:cubicBezTo>
                      <a:pt x="531914" y="298803"/>
                      <a:pt x="483062" y="347654"/>
                      <a:pt x="422803" y="347654"/>
                    </a:cubicBezTo>
                    <a:lnTo>
                      <a:pt x="109111" y="347654"/>
                    </a:lnTo>
                    <a:cubicBezTo>
                      <a:pt x="48850" y="347654"/>
                      <a:pt x="0" y="298803"/>
                      <a:pt x="0" y="238544"/>
                    </a:cubicBezTo>
                    <a:cubicBezTo>
                      <a:pt x="0" y="178285"/>
                      <a:pt x="48850" y="129433"/>
                      <a:pt x="109111" y="129433"/>
                    </a:cubicBezTo>
                    <a:lnTo>
                      <a:pt x="111484" y="129433"/>
                    </a:lnTo>
                    <a:close/>
                    <a:moveTo>
                      <a:pt x="265957" y="40781"/>
                    </a:moveTo>
                    <a:cubicBezTo>
                      <a:pt x="204185" y="40776"/>
                      <a:pt x="153259" y="89207"/>
                      <a:pt x="150163" y="150901"/>
                    </a:cubicBezTo>
                    <a:cubicBezTo>
                      <a:pt x="149625" y="161793"/>
                      <a:pt x="140638" y="170350"/>
                      <a:pt x="129732" y="170350"/>
                    </a:cubicBezTo>
                    <a:lnTo>
                      <a:pt x="109111" y="170350"/>
                    </a:lnTo>
                    <a:cubicBezTo>
                      <a:pt x="71448" y="170350"/>
                      <a:pt x="40916" y="200882"/>
                      <a:pt x="40916" y="238544"/>
                    </a:cubicBezTo>
                    <a:cubicBezTo>
                      <a:pt x="40916" y="276206"/>
                      <a:pt x="71448" y="306738"/>
                      <a:pt x="109111" y="306738"/>
                    </a:cubicBezTo>
                    <a:lnTo>
                      <a:pt x="422803" y="306738"/>
                    </a:lnTo>
                    <a:cubicBezTo>
                      <a:pt x="460465" y="306738"/>
                      <a:pt x="490997" y="276206"/>
                      <a:pt x="490997" y="238544"/>
                    </a:cubicBezTo>
                    <a:cubicBezTo>
                      <a:pt x="490997" y="200882"/>
                      <a:pt x="460465" y="170350"/>
                      <a:pt x="422803" y="170350"/>
                    </a:cubicBezTo>
                    <a:lnTo>
                      <a:pt x="402181" y="170350"/>
                    </a:lnTo>
                    <a:cubicBezTo>
                      <a:pt x="391265" y="170363"/>
                      <a:pt x="382260" y="161804"/>
                      <a:pt x="381723" y="150901"/>
                    </a:cubicBezTo>
                    <a:cubicBezTo>
                      <a:pt x="378627" y="89217"/>
                      <a:pt x="327719" y="40791"/>
                      <a:pt x="265957" y="40781"/>
                    </a:cubicBezTo>
                    <a:close/>
                  </a:path>
                </a:pathLst>
              </a:custGeom>
              <a:solidFill>
                <a:schemeClr val="tx1"/>
              </a:solidFill>
              <a:ln w="1270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grpSp>
      </p:grpSp>
      <p:pic>
        <p:nvPicPr>
          <p:cNvPr id="3" name="Picture 2">
            <a:extLst>
              <a:ext uri="{FF2B5EF4-FFF2-40B4-BE49-F238E27FC236}">
                <a16:creationId xmlns:a16="http://schemas.microsoft.com/office/drawing/2014/main" id="{FFF110E6-F8AD-A8F8-21E1-DE42422B23F7}"/>
              </a:ext>
              <a:ext uri="{C183D7F6-B498-43B3-948B-1728B52AA6E4}">
                <adec:decorative xmlns:adec="http://schemas.microsoft.com/office/drawing/2017/decorative" val="1"/>
              </a:ext>
            </a:extLst>
          </p:cNvPr>
          <p:cNvPicPr>
            <a:picLocks noChangeAspect="1"/>
          </p:cNvPicPr>
          <p:nvPr/>
        </p:nvPicPr>
        <p:blipFill>
          <a:blip r:embed="rId15"/>
          <a:stretch>
            <a:fillRect/>
          </a:stretch>
        </p:blipFill>
        <p:spPr>
          <a:xfrm>
            <a:off x="4902031" y="2655466"/>
            <a:ext cx="2493632" cy="2440166"/>
          </a:xfrm>
          <a:prstGeom prst="rect">
            <a:avLst/>
          </a:prstGeom>
        </p:spPr>
      </p:pic>
    </p:spTree>
    <p:extLst>
      <p:ext uri="{BB962C8B-B14F-4D97-AF65-F5344CB8AC3E}">
        <p14:creationId xmlns:p14="http://schemas.microsoft.com/office/powerpoint/2010/main" val="13067629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C031A6-F206-6D05-4EA5-6F5A9219D97F}"/>
              </a:ext>
            </a:extLst>
          </p:cNvPr>
          <p:cNvSpPr>
            <a:spLocks noGrp="1"/>
          </p:cNvSpPr>
          <p:nvPr>
            <p:ph type="title" idx="4294967295"/>
          </p:nvPr>
        </p:nvSpPr>
        <p:spPr>
          <a:xfrm>
            <a:off x="613060" y="345708"/>
            <a:ext cx="11026775" cy="1071563"/>
          </a:xfrm>
        </p:spPr>
        <p:txBody>
          <a:bodyPr>
            <a:noAutofit/>
          </a:bodyPr>
          <a:lstStyle/>
          <a:p>
            <a:pPr algn="ctr"/>
            <a:r>
              <a:rPr lang="en-US" sz="3200" dirty="0">
                <a:latin typeface="Segoe Sans Display Semibold" pitchFamily="2" charset="0"/>
                <a:cs typeface="Segoe Sans Display Semibold" pitchFamily="2" charset="0"/>
              </a:rPr>
              <a:t>Uniformly govern access to on-premises and cloud apps</a:t>
            </a:r>
          </a:p>
        </p:txBody>
      </p:sp>
      <p:sp>
        <p:nvSpPr>
          <p:cNvPr id="3" name="Rectangle: Rounded Corners 130">
            <a:extLst>
              <a:ext uri="{FF2B5EF4-FFF2-40B4-BE49-F238E27FC236}">
                <a16:creationId xmlns:a16="http://schemas.microsoft.com/office/drawing/2014/main" id="{6BEB4D3C-6AEE-4DE9-FAA4-E8DF18E2BE3E}"/>
              </a:ext>
              <a:ext uri="{C183D7F6-B498-43B3-948B-1728B52AA6E4}">
                <adec:decorative xmlns:adec="http://schemas.microsoft.com/office/drawing/2017/decorative" val="0"/>
              </a:ext>
            </a:extLst>
          </p:cNvPr>
          <p:cNvSpPr txBox="1">
            <a:spLocks/>
          </p:cNvSpPr>
          <p:nvPr/>
        </p:nvSpPr>
        <p:spPr bwMode="auto">
          <a:xfrm>
            <a:off x="0" y="6299363"/>
            <a:ext cx="12191999" cy="215444"/>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ctr" defTabSz="932742" rtl="0" eaLnBrk="1" latinLnBrk="0" hangingPunct="1">
              <a:lnSpc>
                <a:spcPct val="100000"/>
              </a:lnSpc>
              <a:spcBef>
                <a:spcPct val="0"/>
              </a:spcBef>
              <a:buNone/>
              <a:defRPr lang="en-US" sz="3200" b="0" kern="1200" cap="none" spc="-50" baseline="0">
                <a:ln w="3175">
                  <a:noFill/>
                </a:ln>
                <a:gradFill>
                  <a:gsLst>
                    <a:gs pos="2917">
                      <a:srgbClr val="282828"/>
                    </a:gs>
                    <a:gs pos="100000">
                      <a:srgbClr val="282828"/>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IN" sz="1400" b="0" i="0" u="none" strike="noStrike" kern="1200" cap="none" spc="-30" normalizeH="0" baseline="0" noProof="0" dirty="0">
                <a:ln w="3175">
                  <a:noFill/>
                </a:ln>
                <a:solidFill>
                  <a:schemeClr val="tx1"/>
                </a:solidFill>
                <a:effectLst/>
                <a:uLnTx/>
                <a:uFillTx/>
                <a:latin typeface="Segoe Sans Display Semibold"/>
                <a:ea typeface="+mn-ea"/>
                <a:cs typeface="Segoe UI" pitchFamily="34" charset="0"/>
              </a:rPr>
              <a:t>Use cloud HR or other systems as a source of authority  ·  </a:t>
            </a:r>
            <a:r>
              <a:rPr kumimoji="0" lang="en-US" sz="1400" b="0" i="0" u="none" strike="noStrike" kern="1200" cap="none" spc="-30" normalizeH="0" baseline="0" noProof="0" dirty="0">
                <a:ln w="3175">
                  <a:noFill/>
                </a:ln>
                <a:solidFill>
                  <a:schemeClr val="tx1"/>
                </a:solidFill>
                <a:effectLst/>
                <a:uLnTx/>
                <a:uFillTx/>
                <a:latin typeface="Segoe Sans Display Semibold"/>
                <a:ea typeface="+mn-ea"/>
                <a:cs typeface="Segoe UI" pitchFamily="34" charset="0"/>
              </a:rPr>
              <a:t>Provision to any app—cloud or on-premises</a:t>
            </a:r>
            <a:r>
              <a:rPr kumimoji="0" lang="en-IN" sz="1400" b="0" i="0" u="none" strike="noStrike" kern="1200" cap="none" spc="-30" normalizeH="0" baseline="0" noProof="0" dirty="0">
                <a:ln w="3175">
                  <a:noFill/>
                </a:ln>
                <a:solidFill>
                  <a:schemeClr val="tx1"/>
                </a:solidFill>
                <a:effectLst/>
                <a:uLnTx/>
                <a:uFillTx/>
                <a:latin typeface="Segoe Sans Display Semibold"/>
                <a:ea typeface="+mn-ea"/>
                <a:cs typeface="Segoe UI" pitchFamily="34" charset="0"/>
              </a:rPr>
              <a:t>  ·  Re-use existing on-premises connectors</a:t>
            </a:r>
          </a:p>
        </p:txBody>
      </p:sp>
      <p:sp>
        <p:nvSpPr>
          <p:cNvPr id="54" name="Rectangle: Rounded Corners 53">
            <a:extLst>
              <a:ext uri="{FF2B5EF4-FFF2-40B4-BE49-F238E27FC236}">
                <a16:creationId xmlns:a16="http://schemas.microsoft.com/office/drawing/2014/main" id="{9891C226-9D03-3D9D-1033-EF4BFD21DAD3}"/>
              </a:ext>
            </a:extLst>
          </p:cNvPr>
          <p:cNvSpPr/>
          <p:nvPr/>
        </p:nvSpPr>
        <p:spPr bwMode="auto">
          <a:xfrm rot="5400000">
            <a:off x="1844921" y="3643729"/>
            <a:ext cx="1906824" cy="276390"/>
          </a:xfrm>
          <a:prstGeom prst="roundRect">
            <a:avLst>
              <a:gd name="adj" fmla="val 50000"/>
            </a:avLst>
          </a:prstGeom>
          <a:solidFill>
            <a:srgbClr val="4A576D"/>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55" name="Rectangle: Rounded Corners 54">
            <a:extLst>
              <a:ext uri="{FF2B5EF4-FFF2-40B4-BE49-F238E27FC236}">
                <a16:creationId xmlns:a16="http://schemas.microsoft.com/office/drawing/2014/main" id="{C3874BAF-DD1A-A5BB-CFBA-8582D7B5AAB8}"/>
              </a:ext>
            </a:extLst>
          </p:cNvPr>
          <p:cNvSpPr/>
          <p:nvPr/>
        </p:nvSpPr>
        <p:spPr bwMode="auto">
          <a:xfrm rot="5400000">
            <a:off x="5206781" y="3239019"/>
            <a:ext cx="1097404" cy="276390"/>
          </a:xfrm>
          <a:prstGeom prst="roundRect">
            <a:avLst>
              <a:gd name="adj" fmla="val 50000"/>
            </a:avLst>
          </a:prstGeom>
          <a:solidFill>
            <a:srgbClr val="4A576D"/>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56" name="Rectangle: Rounded Corners 55">
            <a:extLst>
              <a:ext uri="{FF2B5EF4-FFF2-40B4-BE49-F238E27FC236}">
                <a16:creationId xmlns:a16="http://schemas.microsoft.com/office/drawing/2014/main" id="{AF2452A2-EF76-A96A-6F89-AB96FF0A33E9}"/>
              </a:ext>
            </a:extLst>
          </p:cNvPr>
          <p:cNvSpPr/>
          <p:nvPr/>
        </p:nvSpPr>
        <p:spPr bwMode="auto">
          <a:xfrm rot="5400000">
            <a:off x="5887815" y="3239019"/>
            <a:ext cx="1097404" cy="276390"/>
          </a:xfrm>
          <a:prstGeom prst="roundRect">
            <a:avLst>
              <a:gd name="adj" fmla="val 50000"/>
            </a:avLst>
          </a:prstGeom>
          <a:solidFill>
            <a:srgbClr val="4A576D"/>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380" name="Rectangle: Rounded Corners 379">
            <a:extLst>
              <a:ext uri="{FF2B5EF4-FFF2-40B4-BE49-F238E27FC236}">
                <a16:creationId xmlns:a16="http://schemas.microsoft.com/office/drawing/2014/main" id="{5BFB3D12-6749-C5E9-333E-34B3412CEF8D}"/>
              </a:ext>
            </a:extLst>
          </p:cNvPr>
          <p:cNvSpPr/>
          <p:nvPr/>
        </p:nvSpPr>
        <p:spPr bwMode="auto">
          <a:xfrm rot="5400000">
            <a:off x="8441092" y="3643729"/>
            <a:ext cx="1906824" cy="276390"/>
          </a:xfrm>
          <a:prstGeom prst="roundRect">
            <a:avLst>
              <a:gd name="adj" fmla="val 50000"/>
            </a:avLst>
          </a:prstGeom>
          <a:solidFill>
            <a:srgbClr val="4A576D"/>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322" name="Rectangle: Rounded Corners 321">
            <a:extLst>
              <a:ext uri="{FF2B5EF4-FFF2-40B4-BE49-F238E27FC236}">
                <a16:creationId xmlns:a16="http://schemas.microsoft.com/office/drawing/2014/main" id="{2589C130-54B2-D174-A596-0193CCB86C72}"/>
              </a:ext>
            </a:extLst>
          </p:cNvPr>
          <p:cNvSpPr/>
          <p:nvPr/>
        </p:nvSpPr>
        <p:spPr bwMode="auto">
          <a:xfrm rot="5400000">
            <a:off x="4950704" y="3860098"/>
            <a:ext cx="2290592" cy="276390"/>
          </a:xfrm>
          <a:prstGeom prst="roundRect">
            <a:avLst>
              <a:gd name="adj" fmla="val 50000"/>
            </a:avLst>
          </a:prstGeom>
          <a:solidFill>
            <a:srgbClr val="4A576D"/>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endParaRPr>
          </a:p>
        </p:txBody>
      </p:sp>
      <p:grpSp>
        <p:nvGrpSpPr>
          <p:cNvPr id="339" name="Group 338">
            <a:extLst>
              <a:ext uri="{FF2B5EF4-FFF2-40B4-BE49-F238E27FC236}">
                <a16:creationId xmlns:a16="http://schemas.microsoft.com/office/drawing/2014/main" id="{08034947-DE14-91B6-C9FA-758159B224F3}"/>
              </a:ext>
            </a:extLst>
          </p:cNvPr>
          <p:cNvGrpSpPr/>
          <p:nvPr/>
        </p:nvGrpSpPr>
        <p:grpSpPr>
          <a:xfrm>
            <a:off x="1769633" y="2246381"/>
            <a:ext cx="2057400" cy="914400"/>
            <a:chOff x="3877595" y="2923744"/>
            <a:chExt cx="2057400" cy="914400"/>
          </a:xfrm>
        </p:grpSpPr>
        <p:grpSp>
          <p:nvGrpSpPr>
            <p:cNvPr id="340" name="Group 339">
              <a:extLst>
                <a:ext uri="{FF2B5EF4-FFF2-40B4-BE49-F238E27FC236}">
                  <a16:creationId xmlns:a16="http://schemas.microsoft.com/office/drawing/2014/main" id="{1D208127-33D3-EC98-A90A-C6B78C5A27BA}"/>
                </a:ext>
              </a:extLst>
            </p:cNvPr>
            <p:cNvGrpSpPr/>
            <p:nvPr/>
          </p:nvGrpSpPr>
          <p:grpSpPr>
            <a:xfrm>
              <a:off x="3877595" y="2923744"/>
              <a:ext cx="2057400" cy="914400"/>
              <a:chOff x="5383112" y="3287343"/>
              <a:chExt cx="1660636" cy="708346"/>
            </a:xfrm>
          </p:grpSpPr>
          <p:sp>
            <p:nvSpPr>
              <p:cNvPr id="343" name="Rectangle: Rounded Corners 342">
                <a:extLst>
                  <a:ext uri="{FF2B5EF4-FFF2-40B4-BE49-F238E27FC236}">
                    <a16:creationId xmlns:a16="http://schemas.microsoft.com/office/drawing/2014/main" id="{FFB82133-DC39-2ECF-5B20-528BED7AE4B6}"/>
                  </a:ext>
                </a:extLst>
              </p:cNvPr>
              <p:cNvSpPr/>
              <p:nvPr/>
            </p:nvSpPr>
            <p:spPr bwMode="auto">
              <a:xfrm>
                <a:off x="5383112" y="3287343"/>
                <a:ext cx="1660636" cy="708346"/>
              </a:xfrm>
              <a:prstGeom prst="roundRect">
                <a:avLst>
                  <a:gd name="adj" fmla="val 8726"/>
                </a:avLst>
              </a:prstGeom>
              <a:solidFill>
                <a:schemeClr val="bg1"/>
              </a:solidFill>
              <a:ln w="57150">
                <a:solidFill>
                  <a:srgbClr val="4A576D"/>
                </a:solidFill>
              </a:ln>
              <a:effectLst/>
            </p:spPr>
            <p:txBody>
              <a:bodyPr rot="0" spcFirstLastPara="0" vertOverflow="overflow" horzOverflow="overflow" vert="horz" wrap="square" lIns="91440" tIns="4572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gradFill>
                      <a:gsLst>
                        <a:gs pos="2917">
                          <a:srgbClr val="282828"/>
                        </a:gs>
                        <a:gs pos="100000">
                          <a:srgbClr val="282828"/>
                        </a:gs>
                      </a:gsLst>
                      <a:lin ang="5400000" scaled="0"/>
                    </a:gradFill>
                    <a:effectLst/>
                    <a:uLnTx/>
                    <a:uFillTx/>
                    <a:latin typeface="Segoe UI Semibold"/>
                    <a:ea typeface="+mn-ea"/>
                    <a:cs typeface="+mn-cs"/>
                  </a:rPr>
                  <a:t>HR systems</a:t>
                </a:r>
              </a:p>
            </p:txBody>
          </p:sp>
          <p:grpSp>
            <p:nvGrpSpPr>
              <p:cNvPr id="344" name="Group 343">
                <a:extLst>
                  <a:ext uri="{FF2B5EF4-FFF2-40B4-BE49-F238E27FC236}">
                    <a16:creationId xmlns:a16="http://schemas.microsoft.com/office/drawing/2014/main" id="{335F2D1E-B0D5-AFDB-DF62-D5459955E50C}"/>
                  </a:ext>
                </a:extLst>
              </p:cNvPr>
              <p:cNvGrpSpPr/>
              <p:nvPr/>
            </p:nvGrpSpPr>
            <p:grpSpPr>
              <a:xfrm>
                <a:off x="5639603" y="3596031"/>
                <a:ext cx="782913" cy="297022"/>
                <a:chOff x="5639603" y="3486759"/>
                <a:chExt cx="782913" cy="297022"/>
              </a:xfrm>
            </p:grpSpPr>
            <p:pic>
              <p:nvPicPr>
                <p:cNvPr id="345" name="Picture 344">
                  <a:extLst>
                    <a:ext uri="{FF2B5EF4-FFF2-40B4-BE49-F238E27FC236}">
                      <a16:creationId xmlns:a16="http://schemas.microsoft.com/office/drawing/2014/main" id="{F6795AC0-A3F3-3A10-CB90-58D9668A4F5B}"/>
                    </a:ext>
                  </a:extLst>
                </p:cNvPr>
                <p:cNvPicPr>
                  <a:picLocks noChangeAspect="1"/>
                </p:cNvPicPr>
                <p:nvPr/>
              </p:nvPicPr>
              <p:blipFill>
                <a:blip r:embed="rId3"/>
                <a:stretch>
                  <a:fillRect/>
                </a:stretch>
              </p:blipFill>
              <p:spPr>
                <a:xfrm>
                  <a:off x="5639603" y="3505668"/>
                  <a:ext cx="229383" cy="259205"/>
                </a:xfrm>
                <a:prstGeom prst="rect">
                  <a:avLst/>
                </a:prstGeom>
              </p:spPr>
            </p:pic>
            <p:pic>
              <p:nvPicPr>
                <p:cNvPr id="346" name="Picture 2" descr="Migrating to SAP SuccessFactors Employee Central | SAP Blog | Eursap">
                  <a:extLst>
                    <a:ext uri="{FF2B5EF4-FFF2-40B4-BE49-F238E27FC236}">
                      <a16:creationId xmlns:a16="http://schemas.microsoft.com/office/drawing/2014/main" id="{9BBFA1A9-4489-3D96-B9FC-D287EB0CCC4A}"/>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035095" y="3486759"/>
                  <a:ext cx="387421" cy="297022"/>
                </a:xfrm>
                <a:prstGeom prst="rect">
                  <a:avLst/>
                </a:prstGeom>
                <a:noFill/>
                <a:extLst>
                  <a:ext uri="{909E8E84-426E-40DD-AFC4-6F175D3DCCD1}">
                    <a14:hiddenFill xmlns:a14="http://schemas.microsoft.com/office/drawing/2010/main">
                      <a:solidFill>
                        <a:srgbClr val="FFFFFF"/>
                      </a:solidFill>
                    </a14:hiddenFill>
                  </a:ext>
                </a:extLst>
              </p:spPr>
            </p:pic>
          </p:grpSp>
        </p:grpSp>
        <p:pic>
          <p:nvPicPr>
            <p:cNvPr id="341" name="Graphic 340">
              <a:extLst>
                <a:ext uri="{FF2B5EF4-FFF2-40B4-BE49-F238E27FC236}">
                  <a16:creationId xmlns:a16="http://schemas.microsoft.com/office/drawing/2014/main" id="{EBDB0B68-B40F-F47D-A09E-6231D8E4935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251388" y="3327091"/>
              <a:ext cx="323628" cy="323628"/>
            </a:xfrm>
            <a:prstGeom prst="rect">
              <a:avLst/>
            </a:prstGeom>
          </p:spPr>
        </p:pic>
        <p:sp>
          <p:nvSpPr>
            <p:cNvPr id="342" name="TextBox 341">
              <a:extLst>
                <a:ext uri="{FF2B5EF4-FFF2-40B4-BE49-F238E27FC236}">
                  <a16:creationId xmlns:a16="http://schemas.microsoft.com/office/drawing/2014/main" id="{6DDE8C07-9B48-EBBE-3944-AF6436C0ABD8}"/>
                </a:ext>
              </a:extLst>
            </p:cNvPr>
            <p:cNvSpPr txBox="1"/>
            <p:nvPr/>
          </p:nvSpPr>
          <p:spPr>
            <a:xfrm>
              <a:off x="5202855" y="3647318"/>
              <a:ext cx="420696" cy="138499"/>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gradFill>
                    <a:gsLst>
                      <a:gs pos="2917">
                        <a:srgbClr val="282828"/>
                      </a:gs>
                      <a:gs pos="100000">
                        <a:srgbClr val="282828"/>
                      </a:gs>
                    </a:gsLst>
                    <a:lin ang="5400000" scaled="0"/>
                  </a:gradFill>
                  <a:effectLst/>
                  <a:uLnTx/>
                  <a:uFillTx/>
                  <a:latin typeface="Segoe UI"/>
                  <a:ea typeface="+mn-ea"/>
                  <a:cs typeface="+mn-cs"/>
                </a:rPr>
                <a:t>API</a:t>
              </a:r>
              <a:endParaRPr kumimoji="0" lang="en-US" sz="900" b="1" i="0" u="none" strike="noStrike" kern="0" cap="none" spc="0" normalizeH="0" baseline="0" noProof="0">
                <a:ln>
                  <a:noFill/>
                </a:ln>
                <a:solidFill>
                  <a:srgbClr val="000000"/>
                </a:solidFill>
                <a:effectLst/>
                <a:uLnTx/>
                <a:uFillTx/>
                <a:latin typeface="Segoe UI"/>
                <a:ea typeface="+mn-ea"/>
                <a:cs typeface="+mn-cs"/>
              </a:endParaRPr>
            </a:p>
          </p:txBody>
        </p:sp>
      </p:grpSp>
      <p:sp>
        <p:nvSpPr>
          <p:cNvPr id="323" name="TextBox 322">
            <a:extLst>
              <a:ext uri="{FF2B5EF4-FFF2-40B4-BE49-F238E27FC236}">
                <a16:creationId xmlns:a16="http://schemas.microsoft.com/office/drawing/2014/main" id="{FBCDECB5-E8E7-0DBA-FB4C-D1CA21342D10}"/>
              </a:ext>
            </a:extLst>
          </p:cNvPr>
          <p:cNvSpPr txBox="1"/>
          <p:nvPr/>
        </p:nvSpPr>
        <p:spPr>
          <a:xfrm>
            <a:off x="4900517" y="5544611"/>
            <a:ext cx="2391803" cy="166199"/>
          </a:xfrm>
          <a:prstGeom prst="rect">
            <a:avLst/>
          </a:prstGeom>
          <a:noFill/>
        </p:spPr>
        <p:txBody>
          <a:bodyPr wrap="square" lIns="0" tIns="0" rIns="0" bIns="0" anchor="ctr">
            <a:spAutoFit/>
          </a:bodyPr>
          <a:lstStyle>
            <a:defPPr>
              <a:defRPr lang="en-US"/>
            </a:defPPr>
            <a:lvl1pPr marR="0" lvl="0" indent="0" algn="ctr" fontAlgn="auto">
              <a:lnSpc>
                <a:spcPct val="90000"/>
              </a:lnSpc>
              <a:spcBef>
                <a:spcPts val="0"/>
              </a:spcBef>
              <a:spcAft>
                <a:spcPts val="0"/>
              </a:spcAft>
              <a:buClrTx/>
              <a:buSzTx/>
              <a:buFontTx/>
              <a:buNone/>
              <a:tabLst/>
              <a:defRPr kumimoji="0" sz="1100" b="0" i="0" u="none" strike="noStrike" kern="0" cap="none" spc="0" normalizeH="0" baseline="0">
                <a:ln>
                  <a:noFill/>
                </a:ln>
                <a:solidFill>
                  <a:srgbClr val="000000"/>
                </a:solidFill>
                <a:effectLst/>
                <a:uLnTx/>
                <a:uFillTx/>
                <a:latin typeface="Segoe UI Semibold"/>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Segoe UI Semibold"/>
                <a:ea typeface="+mn-ea"/>
                <a:cs typeface="+mn-cs"/>
              </a:rPr>
              <a:t>Active Directory on-premises</a:t>
            </a:r>
          </a:p>
        </p:txBody>
      </p:sp>
      <p:sp>
        <p:nvSpPr>
          <p:cNvPr id="329" name="Rectangle: Rounded Corners 328">
            <a:extLst>
              <a:ext uri="{FF2B5EF4-FFF2-40B4-BE49-F238E27FC236}">
                <a16:creationId xmlns:a16="http://schemas.microsoft.com/office/drawing/2014/main" id="{8341E123-840F-1F07-2DD5-67694C0C1440}"/>
              </a:ext>
            </a:extLst>
          </p:cNvPr>
          <p:cNvSpPr/>
          <p:nvPr/>
        </p:nvSpPr>
        <p:spPr bwMode="auto">
          <a:xfrm rot="10800000" flipH="1">
            <a:off x="2659301" y="3637932"/>
            <a:ext cx="3234376" cy="287984"/>
          </a:xfrm>
          <a:prstGeom prst="roundRect">
            <a:avLst>
              <a:gd name="adj" fmla="val 50000"/>
            </a:avLst>
          </a:prstGeom>
          <a:solidFill>
            <a:srgbClr val="4A576D"/>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330" name="TextBox 329">
            <a:extLst>
              <a:ext uri="{FF2B5EF4-FFF2-40B4-BE49-F238E27FC236}">
                <a16:creationId xmlns:a16="http://schemas.microsoft.com/office/drawing/2014/main" id="{3A5A3009-B501-23BE-DBDD-F79C5DCA2470}"/>
              </a:ext>
            </a:extLst>
          </p:cNvPr>
          <p:cNvSpPr txBox="1"/>
          <p:nvPr/>
        </p:nvSpPr>
        <p:spPr>
          <a:xfrm>
            <a:off x="4943060" y="1870315"/>
            <a:ext cx="2305880" cy="307777"/>
          </a:xfrm>
          <a:prstGeom prst="rect">
            <a:avLst/>
          </a:prstGeom>
        </p:spPr>
        <p:txBody>
          <a:bodyPr vert="horz" wrap="square" lIns="0" tIns="0" rIns="0" bIns="0" rtlCol="0" anchor="t">
            <a:spAutoFit/>
          </a:bodyPr>
          <a:lstStyle>
            <a:defPPr>
              <a:defRPr lang="en-US"/>
            </a:defPPr>
            <a:lvl1pPr algn="ctr" defTabSz="932742">
              <a:lnSpc>
                <a:spcPct val="100000"/>
              </a:lnSpc>
              <a:spcBef>
                <a:spcPct val="0"/>
              </a:spcBef>
              <a:buNone/>
              <a:defRPr lang="en-US" sz="3200" b="1" i="0" cap="none" spc="-50" baseline="0">
                <a:ln w="3175">
                  <a:noFill/>
                </a:ln>
                <a:gradFill>
                  <a:gsLst>
                    <a:gs pos="0">
                      <a:schemeClr val="bg1"/>
                    </a:gs>
                    <a:gs pos="100000">
                      <a:schemeClr val="bg1"/>
                    </a:gs>
                  </a:gsLst>
                  <a:lin ang="5400000" scaled="1"/>
                </a:gradFill>
                <a:effectLst/>
                <a:latin typeface="Segoe Sans Display Semibold" pitchFamily="2" charset="0"/>
                <a:cs typeface="Segoe Sans Display" pitchFamily="2"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50" normalizeH="0" baseline="0" noProof="0" dirty="0">
                <a:ln w="3175">
                  <a:noFill/>
                </a:ln>
                <a:solidFill>
                  <a:schemeClr val="tx1"/>
                </a:solidFill>
                <a:effectLst/>
                <a:uLnTx/>
                <a:uFillTx/>
                <a:latin typeface="Segoe Sans Display Semibold" pitchFamily="2" charset="0"/>
                <a:ea typeface="+mn-ea"/>
                <a:cs typeface="Segoe Sans Display" pitchFamily="2" charset="0"/>
              </a:rPr>
              <a:t>Microsoft Entra ID</a:t>
            </a:r>
          </a:p>
        </p:txBody>
      </p:sp>
      <p:grpSp>
        <p:nvGrpSpPr>
          <p:cNvPr id="336" name="Group 335">
            <a:extLst>
              <a:ext uri="{FF2B5EF4-FFF2-40B4-BE49-F238E27FC236}">
                <a16:creationId xmlns:a16="http://schemas.microsoft.com/office/drawing/2014/main" id="{BB1970C0-DA7C-A9A5-3B82-CB186A8D6F9E}"/>
              </a:ext>
            </a:extLst>
          </p:cNvPr>
          <p:cNvGrpSpPr/>
          <p:nvPr/>
        </p:nvGrpSpPr>
        <p:grpSpPr>
          <a:xfrm rot="5400000">
            <a:off x="7005905" y="3656358"/>
            <a:ext cx="157970" cy="187152"/>
            <a:chOff x="7804614" y="3008188"/>
            <a:chExt cx="117702" cy="133833"/>
          </a:xfrm>
          <a:solidFill>
            <a:srgbClr val="FFFFFF">
              <a:lumMod val="75000"/>
            </a:srgbClr>
          </a:solidFill>
        </p:grpSpPr>
        <p:sp>
          <p:nvSpPr>
            <p:cNvPr id="355" name="Freeform: Shape 354">
              <a:extLst>
                <a:ext uri="{FF2B5EF4-FFF2-40B4-BE49-F238E27FC236}">
                  <a16:creationId xmlns:a16="http://schemas.microsoft.com/office/drawing/2014/main" id="{A8CE6F6B-3C5B-88C5-E370-95E58430071C}"/>
                </a:ext>
              </a:extLst>
            </p:cNvPr>
            <p:cNvSpPr/>
            <p:nvPr/>
          </p:nvSpPr>
          <p:spPr>
            <a:xfrm rot="5400000" flipH="1">
              <a:off x="7827619" y="3047590"/>
              <a:ext cx="71426" cy="117435"/>
            </a:xfrm>
            <a:custGeom>
              <a:avLst/>
              <a:gdLst>
                <a:gd name="connsiteX0" fmla="*/ 113444 w 113443"/>
                <a:gd name="connsiteY0" fmla="*/ 92725 h 186518"/>
                <a:gd name="connsiteX1" fmla="*/ 107677 w 113443"/>
                <a:gd name="connsiteY1" fmla="*/ 106609 h 186518"/>
                <a:gd name="connsiteX2" fmla="*/ 34202 w 113443"/>
                <a:gd name="connsiteY2" fmla="*/ 180725 h 186518"/>
                <a:gd name="connsiteX3" fmla="*/ 6435 w 113443"/>
                <a:gd name="connsiteY3" fmla="*/ 180939 h 186518"/>
                <a:gd name="connsiteX4" fmla="*/ 6221 w 113443"/>
                <a:gd name="connsiteY4" fmla="*/ 153172 h 186518"/>
                <a:gd name="connsiteX5" fmla="*/ 65813 w 113443"/>
                <a:gd name="connsiteY5" fmla="*/ 93153 h 186518"/>
                <a:gd name="connsiteX6" fmla="*/ 5794 w 113443"/>
                <a:gd name="connsiteY6" fmla="*/ 33561 h 186518"/>
                <a:gd name="connsiteX7" fmla="*/ 5580 w 113443"/>
                <a:gd name="connsiteY7" fmla="*/ 5794 h 186518"/>
                <a:gd name="connsiteX8" fmla="*/ 33347 w 113443"/>
                <a:gd name="connsiteY8" fmla="*/ 5580 h 186518"/>
                <a:gd name="connsiteX9" fmla="*/ 107463 w 113443"/>
                <a:gd name="connsiteY9" fmla="*/ 79056 h 186518"/>
                <a:gd name="connsiteX10" fmla="*/ 113444 w 113443"/>
                <a:gd name="connsiteY10" fmla="*/ 92725 h 186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443" h="186518">
                  <a:moveTo>
                    <a:pt x="113444" y="92725"/>
                  </a:moveTo>
                  <a:cubicBezTo>
                    <a:pt x="113444" y="97852"/>
                    <a:pt x="111522" y="102764"/>
                    <a:pt x="107677" y="106609"/>
                  </a:cubicBezTo>
                  <a:lnTo>
                    <a:pt x="34202" y="180725"/>
                  </a:lnTo>
                  <a:cubicBezTo>
                    <a:pt x="26512" y="188414"/>
                    <a:pt x="14124" y="188414"/>
                    <a:pt x="6435" y="180939"/>
                  </a:cubicBezTo>
                  <a:cubicBezTo>
                    <a:pt x="-1254" y="173249"/>
                    <a:pt x="-1254" y="160861"/>
                    <a:pt x="6221" y="153172"/>
                  </a:cubicBezTo>
                  <a:lnTo>
                    <a:pt x="65813" y="93153"/>
                  </a:lnTo>
                  <a:lnTo>
                    <a:pt x="5794" y="33561"/>
                  </a:lnTo>
                  <a:cubicBezTo>
                    <a:pt x="-1895" y="25871"/>
                    <a:pt x="-1895" y="13483"/>
                    <a:pt x="5580" y="5794"/>
                  </a:cubicBezTo>
                  <a:cubicBezTo>
                    <a:pt x="13270" y="-1895"/>
                    <a:pt x="25658" y="-1895"/>
                    <a:pt x="33347" y="5580"/>
                  </a:cubicBezTo>
                  <a:lnTo>
                    <a:pt x="107463" y="79056"/>
                  </a:lnTo>
                  <a:cubicBezTo>
                    <a:pt x="111522" y="82473"/>
                    <a:pt x="113444" y="87599"/>
                    <a:pt x="113444" y="92725"/>
                  </a:cubicBezTo>
                  <a:close/>
                </a:path>
              </a:pathLst>
            </a:custGeom>
            <a:solidFill>
              <a:srgbClr val="0078D4"/>
            </a:solidFill>
            <a:ln w="2129" cap="flat">
              <a:noFill/>
              <a:prstDash val="solid"/>
              <a:miter/>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356" name="Freeform: Shape 355">
              <a:extLst>
                <a:ext uri="{FF2B5EF4-FFF2-40B4-BE49-F238E27FC236}">
                  <a16:creationId xmlns:a16="http://schemas.microsoft.com/office/drawing/2014/main" id="{8CFA1468-AC6A-86B0-9436-EE90AD66309A}"/>
                </a:ext>
              </a:extLst>
            </p:cNvPr>
            <p:cNvSpPr/>
            <p:nvPr/>
          </p:nvSpPr>
          <p:spPr>
            <a:xfrm rot="5400000" flipH="1">
              <a:off x="7827886" y="2985183"/>
              <a:ext cx="71426" cy="117435"/>
            </a:xfrm>
            <a:custGeom>
              <a:avLst/>
              <a:gdLst>
                <a:gd name="connsiteX0" fmla="*/ 113444 w 113443"/>
                <a:gd name="connsiteY0" fmla="*/ 92725 h 186518"/>
                <a:gd name="connsiteX1" fmla="*/ 107677 w 113443"/>
                <a:gd name="connsiteY1" fmla="*/ 106609 h 186518"/>
                <a:gd name="connsiteX2" fmla="*/ 34202 w 113443"/>
                <a:gd name="connsiteY2" fmla="*/ 180725 h 186518"/>
                <a:gd name="connsiteX3" fmla="*/ 6435 w 113443"/>
                <a:gd name="connsiteY3" fmla="*/ 180938 h 186518"/>
                <a:gd name="connsiteX4" fmla="*/ 6221 w 113443"/>
                <a:gd name="connsiteY4" fmla="*/ 153172 h 186518"/>
                <a:gd name="connsiteX5" fmla="*/ 65813 w 113443"/>
                <a:gd name="connsiteY5" fmla="*/ 93153 h 186518"/>
                <a:gd name="connsiteX6" fmla="*/ 5794 w 113443"/>
                <a:gd name="connsiteY6" fmla="*/ 33561 h 186518"/>
                <a:gd name="connsiteX7" fmla="*/ 5580 w 113443"/>
                <a:gd name="connsiteY7" fmla="*/ 5794 h 186518"/>
                <a:gd name="connsiteX8" fmla="*/ 33347 w 113443"/>
                <a:gd name="connsiteY8" fmla="*/ 5580 h 186518"/>
                <a:gd name="connsiteX9" fmla="*/ 107463 w 113443"/>
                <a:gd name="connsiteY9" fmla="*/ 79056 h 186518"/>
                <a:gd name="connsiteX10" fmla="*/ 113444 w 113443"/>
                <a:gd name="connsiteY10" fmla="*/ 92725 h 186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443" h="186518">
                  <a:moveTo>
                    <a:pt x="113444" y="92725"/>
                  </a:moveTo>
                  <a:cubicBezTo>
                    <a:pt x="113444" y="97852"/>
                    <a:pt x="111521" y="102764"/>
                    <a:pt x="107677" y="106609"/>
                  </a:cubicBezTo>
                  <a:lnTo>
                    <a:pt x="34202" y="180725"/>
                  </a:lnTo>
                  <a:cubicBezTo>
                    <a:pt x="26512" y="188414"/>
                    <a:pt x="14124" y="188414"/>
                    <a:pt x="6435" y="180938"/>
                  </a:cubicBezTo>
                  <a:cubicBezTo>
                    <a:pt x="-1255" y="173249"/>
                    <a:pt x="-1255" y="160861"/>
                    <a:pt x="6221" y="153172"/>
                  </a:cubicBezTo>
                  <a:lnTo>
                    <a:pt x="65813" y="93153"/>
                  </a:lnTo>
                  <a:lnTo>
                    <a:pt x="5794" y="33561"/>
                  </a:lnTo>
                  <a:cubicBezTo>
                    <a:pt x="-1895" y="25871"/>
                    <a:pt x="-1895" y="13483"/>
                    <a:pt x="5580" y="5794"/>
                  </a:cubicBezTo>
                  <a:cubicBezTo>
                    <a:pt x="13270" y="-1895"/>
                    <a:pt x="25658" y="-1895"/>
                    <a:pt x="33347" y="5580"/>
                  </a:cubicBezTo>
                  <a:lnTo>
                    <a:pt x="107463" y="79056"/>
                  </a:lnTo>
                  <a:cubicBezTo>
                    <a:pt x="111521" y="82473"/>
                    <a:pt x="113444" y="87599"/>
                    <a:pt x="113444" y="92725"/>
                  </a:cubicBezTo>
                  <a:close/>
                </a:path>
              </a:pathLst>
            </a:custGeom>
            <a:solidFill>
              <a:srgbClr val="0078D4"/>
            </a:solidFill>
            <a:ln w="2129" cap="flat">
              <a:noFill/>
              <a:prstDash val="solid"/>
              <a:miter/>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grpSp>
      <p:grpSp>
        <p:nvGrpSpPr>
          <p:cNvPr id="338" name="Group 337">
            <a:extLst>
              <a:ext uri="{FF2B5EF4-FFF2-40B4-BE49-F238E27FC236}">
                <a16:creationId xmlns:a16="http://schemas.microsoft.com/office/drawing/2014/main" id="{88F88A6F-9DFA-AEB7-6C7D-BFA75A38072B}"/>
              </a:ext>
              <a:ext uri="{C183D7F6-B498-43B3-948B-1728B52AA6E4}">
                <adec:decorative xmlns:adec="http://schemas.microsoft.com/office/drawing/2017/decorative" val="1"/>
              </a:ext>
            </a:extLst>
          </p:cNvPr>
          <p:cNvGrpSpPr>
            <a:grpSpLocks noChangeAspect="1"/>
          </p:cNvGrpSpPr>
          <p:nvPr/>
        </p:nvGrpSpPr>
        <p:grpSpPr>
          <a:xfrm>
            <a:off x="5524500" y="2241854"/>
            <a:ext cx="1143000" cy="1143000"/>
            <a:chOff x="3268798" y="3839375"/>
            <a:chExt cx="358666" cy="358666"/>
          </a:xfrm>
        </p:grpSpPr>
        <p:sp>
          <p:nvSpPr>
            <p:cNvPr id="347" name="Oval 346">
              <a:extLst>
                <a:ext uri="{FF2B5EF4-FFF2-40B4-BE49-F238E27FC236}">
                  <a16:creationId xmlns:a16="http://schemas.microsoft.com/office/drawing/2014/main" id="{429378D3-D100-84DC-F52D-29726525D36D}"/>
                </a:ext>
                <a:ext uri="{C183D7F6-B498-43B3-948B-1728B52AA6E4}">
                  <adec:decorative xmlns:adec="http://schemas.microsoft.com/office/drawing/2017/decorative" val="1"/>
                </a:ext>
              </a:extLst>
            </p:cNvPr>
            <p:cNvSpPr/>
            <p:nvPr/>
          </p:nvSpPr>
          <p:spPr>
            <a:xfrm flipH="1">
              <a:off x="3268798" y="3839375"/>
              <a:ext cx="358666" cy="358666"/>
            </a:xfrm>
            <a:prstGeom prst="ellipse">
              <a:avLst/>
            </a:prstGeom>
            <a:gradFill flip="none" rotWithShape="1">
              <a:gsLst>
                <a:gs pos="0">
                  <a:srgbClr val="0078D4"/>
                </a:gs>
                <a:gs pos="100000">
                  <a:srgbClr val="0078D4">
                    <a:lumMod val="75000"/>
                  </a:srgbClr>
                </a:gs>
              </a:gsLst>
              <a:lin ang="2700000" scaled="1"/>
              <a:tileRect/>
            </a:gradFill>
            <a:ln w="38100" cap="flat" cmpd="sng" algn="ctr">
              <a:solidFill>
                <a:srgbClr val="FFFFFF"/>
              </a:solidFill>
              <a:prstDash val="solid"/>
              <a:headEnd type="none" w="med" len="med"/>
              <a:tailEnd type="none" w="med" len="med"/>
            </a:ln>
            <a:effectLst>
              <a:outerShdw blurRad="127000" algn="ctr" rotWithShape="0">
                <a:prstClr val="black">
                  <a:alpha val="20000"/>
                </a:prstClr>
              </a:outerShdw>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98000">
                      <a:srgbClr val="FFFFFF"/>
                    </a:gs>
                  </a:gsLst>
                  <a:lin ang="0" scaled="1"/>
                </a:gradFill>
                <a:effectLst/>
                <a:uLnTx/>
                <a:uFillTx/>
                <a:latin typeface="Segoe UI Semibold"/>
                <a:ea typeface="+mn-ea"/>
                <a:cs typeface="Segoe UI" pitchFamily="34" charset="0"/>
              </a:endParaRPr>
            </a:p>
          </p:txBody>
        </p:sp>
        <p:sp>
          <p:nvSpPr>
            <p:cNvPr id="348" name="Freeform: Shape 347">
              <a:extLst>
                <a:ext uri="{FF2B5EF4-FFF2-40B4-BE49-F238E27FC236}">
                  <a16:creationId xmlns:a16="http://schemas.microsoft.com/office/drawing/2014/main" id="{8D3E4E02-A403-D6AE-C27D-444FA495F433}"/>
                </a:ext>
                <a:ext uri="{C183D7F6-B498-43B3-948B-1728B52AA6E4}">
                  <adec:decorative xmlns:adec="http://schemas.microsoft.com/office/drawing/2017/decorative" val="1"/>
                </a:ext>
              </a:extLst>
            </p:cNvPr>
            <p:cNvSpPr/>
            <p:nvPr/>
          </p:nvSpPr>
          <p:spPr>
            <a:xfrm>
              <a:off x="3337217" y="3914541"/>
              <a:ext cx="221829" cy="208334"/>
            </a:xfrm>
            <a:custGeom>
              <a:avLst/>
              <a:gdLst>
                <a:gd name="connsiteX0" fmla="*/ 795954 w 1592289"/>
                <a:gd name="connsiteY0" fmla="*/ 0 h 1495425"/>
                <a:gd name="connsiteX1" fmla="*/ 988359 w 1592289"/>
                <a:gd name="connsiteY1" fmla="*/ 132398 h 1495425"/>
                <a:gd name="connsiteX2" fmla="*/ 1140759 w 1592289"/>
                <a:gd name="connsiteY2" fmla="*/ 314325 h 1495425"/>
                <a:gd name="connsiteX3" fmla="*/ 1482706 w 1592289"/>
                <a:gd name="connsiteY3" fmla="*/ 720090 h 1495425"/>
                <a:gd name="connsiteX4" fmla="*/ 1592244 w 1592289"/>
                <a:gd name="connsiteY4" fmla="*/ 921068 h 1495425"/>
                <a:gd name="connsiteX5" fmla="*/ 1286491 w 1592289"/>
                <a:gd name="connsiteY5" fmla="*/ 1208723 h 1495425"/>
                <a:gd name="connsiteX6" fmla="*/ 991216 w 1592289"/>
                <a:gd name="connsiteY6" fmla="*/ 1402080 h 1495425"/>
                <a:gd name="connsiteX7" fmla="*/ 860724 w 1592289"/>
                <a:gd name="connsiteY7" fmla="*/ 1484948 h 1495425"/>
                <a:gd name="connsiteX8" fmla="*/ 793096 w 1592289"/>
                <a:gd name="connsiteY8" fmla="*/ 1495425 h 1495425"/>
                <a:gd name="connsiteX9" fmla="*/ 609264 w 1592289"/>
                <a:gd name="connsiteY9" fmla="*/ 1406843 h 1495425"/>
                <a:gd name="connsiteX10" fmla="*/ 14904 w 1592289"/>
                <a:gd name="connsiteY10" fmla="*/ 990600 h 1495425"/>
                <a:gd name="connsiteX11" fmla="*/ 12999 w 1592289"/>
                <a:gd name="connsiteY11" fmla="*/ 847725 h 1495425"/>
                <a:gd name="connsiteX12" fmla="*/ 200641 w 1592289"/>
                <a:gd name="connsiteY12" fmla="*/ 609600 h 1495425"/>
                <a:gd name="connsiteX13" fmla="*/ 571164 w 1592289"/>
                <a:gd name="connsiteY13" fmla="*/ 170498 h 1495425"/>
                <a:gd name="connsiteX14" fmla="*/ 795954 w 1592289"/>
                <a:gd name="connsiteY14" fmla="*/ 0 h 1495425"/>
                <a:gd name="connsiteX15" fmla="*/ 793706 w 1592289"/>
                <a:gd name="connsiteY15" fmla="*/ 80932 h 1495425"/>
                <a:gd name="connsiteX16" fmla="*/ 703561 w 1592289"/>
                <a:gd name="connsiteY16" fmla="*/ 139065 h 1495425"/>
                <a:gd name="connsiteX17" fmla="*/ 395903 w 1592289"/>
                <a:gd name="connsiteY17" fmla="*/ 504825 h 1495425"/>
                <a:gd name="connsiteX18" fmla="*/ 97771 w 1592289"/>
                <a:gd name="connsiteY18" fmla="*/ 861060 h 1495425"/>
                <a:gd name="connsiteX19" fmla="*/ 91103 w 1592289"/>
                <a:gd name="connsiteY19" fmla="*/ 959167 h 1495425"/>
                <a:gd name="connsiteX20" fmla="*/ 424478 w 1592289"/>
                <a:gd name="connsiteY20" fmla="*/ 1182052 h 1495425"/>
                <a:gd name="connsiteX21" fmla="*/ 606406 w 1592289"/>
                <a:gd name="connsiteY21" fmla="*/ 1166812 h 1495425"/>
                <a:gd name="connsiteX22" fmla="*/ 714991 w 1592289"/>
                <a:gd name="connsiteY22" fmla="*/ 1092517 h 1495425"/>
                <a:gd name="connsiteX23" fmla="*/ 484486 w 1592289"/>
                <a:gd name="connsiteY23" fmla="*/ 939165 h 1495425"/>
                <a:gd name="connsiteX24" fmla="*/ 372091 w 1592289"/>
                <a:gd name="connsiteY24" fmla="*/ 861060 h 1495425"/>
                <a:gd name="connsiteX25" fmla="*/ 455911 w 1592289"/>
                <a:gd name="connsiteY25" fmla="*/ 758190 h 1495425"/>
                <a:gd name="connsiteX26" fmla="*/ 634028 w 1592289"/>
                <a:gd name="connsiteY26" fmla="*/ 547687 h 1495425"/>
                <a:gd name="connsiteX27" fmla="*/ 951211 w 1592289"/>
                <a:gd name="connsiteY27" fmla="*/ 280035 h 1495425"/>
                <a:gd name="connsiteX28" fmla="*/ 991216 w 1592289"/>
                <a:gd name="connsiteY28" fmla="*/ 266700 h 1495425"/>
                <a:gd name="connsiteX29" fmla="*/ 937876 w 1592289"/>
                <a:gd name="connsiteY29" fmla="*/ 199072 h 1495425"/>
                <a:gd name="connsiteX30" fmla="*/ 870248 w 1592289"/>
                <a:gd name="connsiteY30" fmla="*/ 117157 h 1495425"/>
                <a:gd name="connsiteX31" fmla="*/ 824528 w 1592289"/>
                <a:gd name="connsiteY31" fmla="*/ 85725 h 1495425"/>
                <a:gd name="connsiteX32" fmla="*/ 793706 w 1592289"/>
                <a:gd name="connsiteY32" fmla="*/ 80932 h 1495425"/>
                <a:gd name="connsiteX33" fmla="*/ 994192 w 1592289"/>
                <a:gd name="connsiteY33" fmla="*/ 359568 h 1495425"/>
                <a:gd name="connsiteX34" fmla="*/ 910253 w 1592289"/>
                <a:gd name="connsiteY34" fmla="*/ 377189 h 1495425"/>
                <a:gd name="connsiteX35" fmla="*/ 1025506 w 1592289"/>
                <a:gd name="connsiteY35" fmla="*/ 629602 h 1495425"/>
                <a:gd name="connsiteX36" fmla="*/ 1208386 w 1592289"/>
                <a:gd name="connsiteY36" fmla="*/ 849629 h 1495425"/>
                <a:gd name="connsiteX37" fmla="*/ 1113136 w 1592289"/>
                <a:gd name="connsiteY37" fmla="*/ 936307 h 1495425"/>
                <a:gd name="connsiteX38" fmla="*/ 634981 w 1592289"/>
                <a:gd name="connsiteY38" fmla="*/ 1247774 h 1495425"/>
                <a:gd name="connsiteX39" fmla="*/ 595928 w 1592289"/>
                <a:gd name="connsiteY39" fmla="*/ 1263014 h 1495425"/>
                <a:gd name="connsiteX40" fmla="*/ 559733 w 1592289"/>
                <a:gd name="connsiteY40" fmla="*/ 1277302 h 1495425"/>
                <a:gd name="connsiteX41" fmla="*/ 652126 w 1592289"/>
                <a:gd name="connsiteY41" fmla="*/ 1339214 h 1495425"/>
                <a:gd name="connsiteX42" fmla="*/ 765473 w 1592289"/>
                <a:gd name="connsiteY42" fmla="*/ 1409699 h 1495425"/>
                <a:gd name="connsiteX43" fmla="*/ 1030268 w 1592289"/>
                <a:gd name="connsiteY43" fmla="*/ 1280159 h 1495425"/>
                <a:gd name="connsiteX44" fmla="*/ 1350308 w 1592289"/>
                <a:gd name="connsiteY44" fmla="*/ 1069657 h 1495425"/>
                <a:gd name="connsiteX45" fmla="*/ 1501756 w 1592289"/>
                <a:gd name="connsiteY45" fmla="*/ 957262 h 1495425"/>
                <a:gd name="connsiteX46" fmla="*/ 1436033 w 1592289"/>
                <a:gd name="connsiteY46" fmla="*/ 789622 h 1495425"/>
                <a:gd name="connsiteX47" fmla="*/ 1272203 w 1592289"/>
                <a:gd name="connsiteY47" fmla="*/ 595312 h 1495425"/>
                <a:gd name="connsiteX48" fmla="*/ 1070273 w 1592289"/>
                <a:gd name="connsiteY48" fmla="*/ 367664 h 1495425"/>
                <a:gd name="connsiteX49" fmla="*/ 994192 w 1592289"/>
                <a:gd name="connsiteY49" fmla="*/ 359568 h 1495425"/>
                <a:gd name="connsiteX50" fmla="*/ 795953 w 1592289"/>
                <a:gd name="connsiteY50" fmla="*/ 485775 h 1495425"/>
                <a:gd name="connsiteX51" fmla="*/ 779760 w 1592289"/>
                <a:gd name="connsiteY51" fmla="*/ 494348 h 1495425"/>
                <a:gd name="connsiteX52" fmla="*/ 638790 w 1592289"/>
                <a:gd name="connsiteY52" fmla="*/ 666750 h 1495425"/>
                <a:gd name="connsiteX53" fmla="*/ 498773 w 1592289"/>
                <a:gd name="connsiteY53" fmla="*/ 841058 h 1495425"/>
                <a:gd name="connsiteX54" fmla="*/ 646410 w 1592289"/>
                <a:gd name="connsiteY54" fmla="*/ 949642 h 1495425"/>
                <a:gd name="connsiteX55" fmla="*/ 800715 w 1592289"/>
                <a:gd name="connsiteY55" fmla="*/ 1044893 h 1495425"/>
                <a:gd name="connsiteX56" fmla="*/ 1094085 w 1592289"/>
                <a:gd name="connsiteY56" fmla="*/ 841058 h 1495425"/>
                <a:gd name="connsiteX57" fmla="*/ 953115 w 1592289"/>
                <a:gd name="connsiteY57" fmla="*/ 666750 h 1495425"/>
                <a:gd name="connsiteX58" fmla="*/ 812145 w 1592289"/>
                <a:gd name="connsiteY58" fmla="*/ 494348 h 1495425"/>
                <a:gd name="connsiteX59" fmla="*/ 795953 w 1592289"/>
                <a:gd name="connsiteY59" fmla="*/ 485775 h 1495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592289" h="1495425">
                  <a:moveTo>
                    <a:pt x="795954" y="0"/>
                  </a:moveTo>
                  <a:cubicBezTo>
                    <a:pt x="860724" y="0"/>
                    <a:pt x="901681" y="27623"/>
                    <a:pt x="988359" y="132398"/>
                  </a:cubicBezTo>
                  <a:cubicBezTo>
                    <a:pt x="1025506" y="177165"/>
                    <a:pt x="1094086" y="259080"/>
                    <a:pt x="1140759" y="314325"/>
                  </a:cubicBezTo>
                  <a:cubicBezTo>
                    <a:pt x="1245534" y="438150"/>
                    <a:pt x="1366501" y="581978"/>
                    <a:pt x="1482706" y="720090"/>
                  </a:cubicBezTo>
                  <a:cubicBezTo>
                    <a:pt x="1579861" y="835343"/>
                    <a:pt x="1593196" y="861060"/>
                    <a:pt x="1592244" y="921068"/>
                  </a:cubicBezTo>
                  <a:cubicBezTo>
                    <a:pt x="1591291" y="1005840"/>
                    <a:pt x="1574146" y="1021080"/>
                    <a:pt x="1286491" y="1208723"/>
                  </a:cubicBezTo>
                  <a:cubicBezTo>
                    <a:pt x="1184574" y="1275398"/>
                    <a:pt x="1051224" y="1362075"/>
                    <a:pt x="991216" y="1402080"/>
                  </a:cubicBezTo>
                  <a:cubicBezTo>
                    <a:pt x="931209" y="1441133"/>
                    <a:pt x="872154" y="1478280"/>
                    <a:pt x="860724" y="1484948"/>
                  </a:cubicBezTo>
                  <a:cubicBezTo>
                    <a:pt x="849294" y="1490663"/>
                    <a:pt x="818814" y="1495425"/>
                    <a:pt x="793096" y="1495425"/>
                  </a:cubicBezTo>
                  <a:cubicBezTo>
                    <a:pt x="749281" y="1495425"/>
                    <a:pt x="734994" y="1487805"/>
                    <a:pt x="609264" y="1406843"/>
                  </a:cubicBezTo>
                  <a:cubicBezTo>
                    <a:pt x="62529" y="1053465"/>
                    <a:pt x="38716" y="1035368"/>
                    <a:pt x="14904" y="990600"/>
                  </a:cubicBezTo>
                  <a:cubicBezTo>
                    <a:pt x="-4146" y="953453"/>
                    <a:pt x="-5099" y="889635"/>
                    <a:pt x="12999" y="847725"/>
                  </a:cubicBezTo>
                  <a:cubicBezTo>
                    <a:pt x="20619" y="829628"/>
                    <a:pt x="105391" y="721995"/>
                    <a:pt x="200641" y="609600"/>
                  </a:cubicBezTo>
                  <a:cubicBezTo>
                    <a:pt x="401619" y="373380"/>
                    <a:pt x="435909" y="332423"/>
                    <a:pt x="571164" y="170498"/>
                  </a:cubicBezTo>
                  <a:cubicBezTo>
                    <a:pt x="690226" y="27623"/>
                    <a:pt x="727374" y="0"/>
                    <a:pt x="795954" y="0"/>
                  </a:cubicBezTo>
                  <a:close/>
                  <a:moveTo>
                    <a:pt x="793706" y="80932"/>
                  </a:moveTo>
                  <a:cubicBezTo>
                    <a:pt x="763390" y="82093"/>
                    <a:pt x="734279" y="101203"/>
                    <a:pt x="703561" y="139065"/>
                  </a:cubicBezTo>
                  <a:cubicBezTo>
                    <a:pt x="660698" y="192405"/>
                    <a:pt x="490201" y="395287"/>
                    <a:pt x="395903" y="504825"/>
                  </a:cubicBezTo>
                  <a:cubicBezTo>
                    <a:pt x="297796" y="620077"/>
                    <a:pt x="126346" y="824865"/>
                    <a:pt x="97771" y="861060"/>
                  </a:cubicBezTo>
                  <a:cubicBezTo>
                    <a:pt x="73006" y="892492"/>
                    <a:pt x="71101" y="929640"/>
                    <a:pt x="91103" y="959167"/>
                  </a:cubicBezTo>
                  <a:cubicBezTo>
                    <a:pt x="108248" y="982980"/>
                    <a:pt x="367328" y="1156335"/>
                    <a:pt x="424478" y="1182052"/>
                  </a:cubicBezTo>
                  <a:cubicBezTo>
                    <a:pt x="484486" y="1208722"/>
                    <a:pt x="532111" y="1204912"/>
                    <a:pt x="606406" y="1166812"/>
                  </a:cubicBezTo>
                  <a:cubicBezTo>
                    <a:pt x="674986" y="1132522"/>
                    <a:pt x="722611" y="1099185"/>
                    <a:pt x="714991" y="1092517"/>
                  </a:cubicBezTo>
                  <a:cubicBezTo>
                    <a:pt x="703561" y="1083945"/>
                    <a:pt x="586403" y="1005840"/>
                    <a:pt x="484486" y="939165"/>
                  </a:cubicBezTo>
                  <a:cubicBezTo>
                    <a:pt x="422573" y="899160"/>
                    <a:pt x="372091" y="863917"/>
                    <a:pt x="372091" y="861060"/>
                  </a:cubicBezTo>
                  <a:cubicBezTo>
                    <a:pt x="372091" y="858202"/>
                    <a:pt x="409238" y="811530"/>
                    <a:pt x="455911" y="758190"/>
                  </a:cubicBezTo>
                  <a:cubicBezTo>
                    <a:pt x="501631" y="704850"/>
                    <a:pt x="581641" y="610552"/>
                    <a:pt x="634028" y="547687"/>
                  </a:cubicBezTo>
                  <a:cubicBezTo>
                    <a:pt x="817861" y="327660"/>
                    <a:pt x="856913" y="295275"/>
                    <a:pt x="951211" y="280035"/>
                  </a:cubicBezTo>
                  <a:cubicBezTo>
                    <a:pt x="973118" y="276225"/>
                    <a:pt x="991216" y="270510"/>
                    <a:pt x="991216" y="266700"/>
                  </a:cubicBezTo>
                  <a:cubicBezTo>
                    <a:pt x="991216" y="263842"/>
                    <a:pt x="967403" y="233362"/>
                    <a:pt x="937876" y="199072"/>
                  </a:cubicBezTo>
                  <a:cubicBezTo>
                    <a:pt x="908348" y="165735"/>
                    <a:pt x="877868" y="128587"/>
                    <a:pt x="870248" y="117157"/>
                  </a:cubicBezTo>
                  <a:cubicBezTo>
                    <a:pt x="862628" y="105727"/>
                    <a:pt x="841673" y="91440"/>
                    <a:pt x="824528" y="85725"/>
                  </a:cubicBezTo>
                  <a:cubicBezTo>
                    <a:pt x="814051" y="82153"/>
                    <a:pt x="803811" y="80545"/>
                    <a:pt x="793706" y="80932"/>
                  </a:cubicBezTo>
                  <a:close/>
                  <a:moveTo>
                    <a:pt x="994192" y="359568"/>
                  </a:moveTo>
                  <a:cubicBezTo>
                    <a:pt x="962403" y="361473"/>
                    <a:pt x="929303" y="367664"/>
                    <a:pt x="910253" y="377189"/>
                  </a:cubicBezTo>
                  <a:cubicBezTo>
                    <a:pt x="840721" y="411479"/>
                    <a:pt x="838816" y="406717"/>
                    <a:pt x="1025506" y="629602"/>
                  </a:cubicBezTo>
                  <a:cubicBezTo>
                    <a:pt x="1118851" y="741997"/>
                    <a:pt x="1201718" y="841057"/>
                    <a:pt x="1208386" y="849629"/>
                  </a:cubicBezTo>
                  <a:cubicBezTo>
                    <a:pt x="1219816" y="863917"/>
                    <a:pt x="1208386" y="873442"/>
                    <a:pt x="1113136" y="936307"/>
                  </a:cubicBezTo>
                  <a:cubicBezTo>
                    <a:pt x="718801" y="1195387"/>
                    <a:pt x="637838" y="1247774"/>
                    <a:pt x="634981" y="1247774"/>
                  </a:cubicBezTo>
                  <a:cubicBezTo>
                    <a:pt x="633076" y="1247774"/>
                    <a:pt x="615931" y="1254442"/>
                    <a:pt x="595928" y="1263014"/>
                  </a:cubicBezTo>
                  <a:lnTo>
                    <a:pt x="559733" y="1277302"/>
                  </a:lnTo>
                  <a:lnTo>
                    <a:pt x="652126" y="1339214"/>
                  </a:lnTo>
                  <a:cubicBezTo>
                    <a:pt x="703561" y="1373504"/>
                    <a:pt x="754043" y="1404937"/>
                    <a:pt x="765473" y="1409699"/>
                  </a:cubicBezTo>
                  <a:cubicBezTo>
                    <a:pt x="806431" y="1425892"/>
                    <a:pt x="813098" y="1423034"/>
                    <a:pt x="1030268" y="1280159"/>
                  </a:cubicBezTo>
                  <a:cubicBezTo>
                    <a:pt x="1132186" y="1213484"/>
                    <a:pt x="1276013" y="1119187"/>
                    <a:pt x="1350308" y="1069657"/>
                  </a:cubicBezTo>
                  <a:cubicBezTo>
                    <a:pt x="1425556" y="1021079"/>
                    <a:pt x="1493183" y="970597"/>
                    <a:pt x="1501756" y="957262"/>
                  </a:cubicBezTo>
                  <a:cubicBezTo>
                    <a:pt x="1527473" y="917257"/>
                    <a:pt x="1512233" y="879157"/>
                    <a:pt x="1436033" y="789622"/>
                  </a:cubicBezTo>
                  <a:cubicBezTo>
                    <a:pt x="1398886" y="744854"/>
                    <a:pt x="1324591" y="657224"/>
                    <a:pt x="1272203" y="595312"/>
                  </a:cubicBezTo>
                  <a:cubicBezTo>
                    <a:pt x="1126471" y="421957"/>
                    <a:pt x="1086466" y="377189"/>
                    <a:pt x="1070273" y="367664"/>
                  </a:cubicBezTo>
                  <a:cubicBezTo>
                    <a:pt x="1056462" y="360044"/>
                    <a:pt x="1025982" y="357663"/>
                    <a:pt x="994192" y="359568"/>
                  </a:cubicBezTo>
                  <a:close/>
                  <a:moveTo>
                    <a:pt x="795953" y="485775"/>
                  </a:moveTo>
                  <a:cubicBezTo>
                    <a:pt x="789285" y="485775"/>
                    <a:pt x="781665" y="489585"/>
                    <a:pt x="779760" y="494348"/>
                  </a:cubicBezTo>
                  <a:cubicBezTo>
                    <a:pt x="778808" y="499110"/>
                    <a:pt x="714990" y="576263"/>
                    <a:pt x="638790" y="666750"/>
                  </a:cubicBezTo>
                  <a:cubicBezTo>
                    <a:pt x="562590" y="756285"/>
                    <a:pt x="499725" y="835342"/>
                    <a:pt x="498773" y="841058"/>
                  </a:cubicBezTo>
                  <a:cubicBezTo>
                    <a:pt x="496868" y="847725"/>
                    <a:pt x="563543" y="896303"/>
                    <a:pt x="646410" y="949642"/>
                  </a:cubicBezTo>
                  <a:cubicBezTo>
                    <a:pt x="728325" y="1003935"/>
                    <a:pt x="797858" y="1046797"/>
                    <a:pt x="800715" y="1044893"/>
                  </a:cubicBezTo>
                  <a:cubicBezTo>
                    <a:pt x="852150" y="1019175"/>
                    <a:pt x="1095038" y="849630"/>
                    <a:pt x="1094085" y="841058"/>
                  </a:cubicBezTo>
                  <a:cubicBezTo>
                    <a:pt x="1092180" y="835342"/>
                    <a:pt x="1029315" y="756285"/>
                    <a:pt x="953115" y="666750"/>
                  </a:cubicBezTo>
                  <a:cubicBezTo>
                    <a:pt x="876915" y="576263"/>
                    <a:pt x="814050" y="499110"/>
                    <a:pt x="812145" y="494348"/>
                  </a:cubicBezTo>
                  <a:cubicBezTo>
                    <a:pt x="810240" y="489585"/>
                    <a:pt x="802620" y="485775"/>
                    <a:pt x="795953" y="485775"/>
                  </a:cubicBezTo>
                  <a:close/>
                </a:path>
              </a:pathLst>
            </a:custGeom>
            <a:solidFill>
              <a:srgbClr val="FFFFFF"/>
            </a:solidFill>
            <a:ln w="309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46" name="Group 45">
            <a:extLst>
              <a:ext uri="{FF2B5EF4-FFF2-40B4-BE49-F238E27FC236}">
                <a16:creationId xmlns:a16="http://schemas.microsoft.com/office/drawing/2014/main" id="{792744FD-E6A1-8FE1-D7B5-C34E522D1AE1}"/>
              </a:ext>
            </a:extLst>
          </p:cNvPr>
          <p:cNvGrpSpPr/>
          <p:nvPr/>
        </p:nvGrpSpPr>
        <p:grpSpPr>
          <a:xfrm>
            <a:off x="8365804" y="2017781"/>
            <a:ext cx="2285163" cy="1142999"/>
            <a:chOff x="8365804" y="2017781"/>
            <a:chExt cx="2285163" cy="1142999"/>
          </a:xfrm>
        </p:grpSpPr>
        <p:grpSp>
          <p:nvGrpSpPr>
            <p:cNvPr id="335" name="Group 334">
              <a:extLst>
                <a:ext uri="{FF2B5EF4-FFF2-40B4-BE49-F238E27FC236}">
                  <a16:creationId xmlns:a16="http://schemas.microsoft.com/office/drawing/2014/main" id="{F099EB9B-157A-447A-EC77-91E7D5A1BC68}"/>
                </a:ext>
              </a:extLst>
            </p:cNvPr>
            <p:cNvGrpSpPr/>
            <p:nvPr/>
          </p:nvGrpSpPr>
          <p:grpSpPr>
            <a:xfrm>
              <a:off x="8365804" y="2246381"/>
              <a:ext cx="2057400" cy="914399"/>
              <a:chOff x="9668296" y="2311587"/>
              <a:chExt cx="1660636" cy="708346"/>
            </a:xfrm>
          </p:grpSpPr>
          <p:sp>
            <p:nvSpPr>
              <p:cNvPr id="357" name="Rectangle: Rounded Corners 356">
                <a:extLst>
                  <a:ext uri="{FF2B5EF4-FFF2-40B4-BE49-F238E27FC236}">
                    <a16:creationId xmlns:a16="http://schemas.microsoft.com/office/drawing/2014/main" id="{00DAB533-AF35-4D84-41AC-7938181A3EFB}"/>
                  </a:ext>
                </a:extLst>
              </p:cNvPr>
              <p:cNvSpPr/>
              <p:nvPr/>
            </p:nvSpPr>
            <p:spPr bwMode="auto">
              <a:xfrm>
                <a:off x="9668296" y="2311587"/>
                <a:ext cx="1660636" cy="708346"/>
              </a:xfrm>
              <a:prstGeom prst="roundRect">
                <a:avLst>
                  <a:gd name="adj" fmla="val 8934"/>
                </a:avLst>
              </a:prstGeom>
              <a:solidFill>
                <a:schemeClr val="bg1"/>
              </a:solidFill>
              <a:ln w="57150">
                <a:solidFill>
                  <a:srgbClr val="4A576D"/>
                </a:solidFill>
              </a:ln>
              <a:effectLst/>
            </p:spPr>
            <p:txBody>
              <a:bodyPr rot="0" spcFirstLastPara="0" vertOverflow="overflow" horzOverflow="overflow" vert="horz" wrap="square" lIns="91440" tIns="4572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gradFill>
                      <a:gsLst>
                        <a:gs pos="2917">
                          <a:srgbClr val="282828"/>
                        </a:gs>
                        <a:gs pos="100000">
                          <a:srgbClr val="282828"/>
                        </a:gs>
                      </a:gsLst>
                      <a:lin ang="5400000" scaled="0"/>
                    </a:gradFill>
                    <a:effectLst/>
                    <a:uLnTx/>
                    <a:uFillTx/>
                    <a:latin typeface="Segoe UI Semibold"/>
                    <a:ea typeface="+mn-ea"/>
                    <a:cs typeface="+mn-cs"/>
                  </a:rPr>
                  <a:t>Enterprise SaaS apps</a:t>
                </a:r>
              </a:p>
            </p:txBody>
          </p:sp>
          <p:grpSp>
            <p:nvGrpSpPr>
              <p:cNvPr id="358" name="Group 357">
                <a:extLst>
                  <a:ext uri="{FF2B5EF4-FFF2-40B4-BE49-F238E27FC236}">
                    <a16:creationId xmlns:a16="http://schemas.microsoft.com/office/drawing/2014/main" id="{FAF3BE09-9069-8510-1105-8995490EA72F}"/>
                  </a:ext>
                </a:extLst>
              </p:cNvPr>
              <p:cNvGrpSpPr/>
              <p:nvPr/>
            </p:nvGrpSpPr>
            <p:grpSpPr>
              <a:xfrm>
                <a:off x="10036133" y="2563062"/>
                <a:ext cx="910287" cy="372963"/>
                <a:chOff x="10081463" y="2614178"/>
                <a:chExt cx="910287" cy="372963"/>
              </a:xfrm>
            </p:grpSpPr>
            <p:grpSp>
              <p:nvGrpSpPr>
                <p:cNvPr id="359" name="Group 358">
                  <a:extLst>
                    <a:ext uri="{FF2B5EF4-FFF2-40B4-BE49-F238E27FC236}">
                      <a16:creationId xmlns:a16="http://schemas.microsoft.com/office/drawing/2014/main" id="{F0BE30FB-C2D7-DE63-3FE1-A4F910091F99}"/>
                    </a:ext>
                  </a:extLst>
                </p:cNvPr>
                <p:cNvGrpSpPr/>
                <p:nvPr/>
              </p:nvGrpSpPr>
              <p:grpSpPr>
                <a:xfrm>
                  <a:off x="10081463" y="2635695"/>
                  <a:ext cx="352747" cy="329922"/>
                  <a:chOff x="10230715" y="2804568"/>
                  <a:chExt cx="520963" cy="487262"/>
                </a:xfrm>
              </p:grpSpPr>
              <p:sp>
                <p:nvSpPr>
                  <p:cNvPr id="361" name="Graphic 25">
                    <a:extLst>
                      <a:ext uri="{FF2B5EF4-FFF2-40B4-BE49-F238E27FC236}">
                        <a16:creationId xmlns:a16="http://schemas.microsoft.com/office/drawing/2014/main" id="{4007AC35-FF25-0B5A-D812-DE4F39ED3214}"/>
                      </a:ext>
                    </a:extLst>
                  </p:cNvPr>
                  <p:cNvSpPr/>
                  <p:nvPr/>
                </p:nvSpPr>
                <p:spPr>
                  <a:xfrm flipH="1">
                    <a:off x="10230715" y="2804568"/>
                    <a:ext cx="437439" cy="349978"/>
                  </a:xfrm>
                  <a:custGeom>
                    <a:avLst/>
                    <a:gdLst>
                      <a:gd name="connsiteX0" fmla="*/ 446211 w 446210"/>
                      <a:gd name="connsiteY0" fmla="*/ 356997 h 356997"/>
                      <a:gd name="connsiteX1" fmla="*/ 0 w 446210"/>
                      <a:gd name="connsiteY1" fmla="*/ 356997 h 356997"/>
                      <a:gd name="connsiteX2" fmla="*/ 0 w 446210"/>
                      <a:gd name="connsiteY2" fmla="*/ 0 h 356997"/>
                      <a:gd name="connsiteX3" fmla="*/ 446211 w 446210"/>
                      <a:gd name="connsiteY3" fmla="*/ 0 h 356997"/>
                      <a:gd name="connsiteX4" fmla="*/ 446211 w 446210"/>
                      <a:gd name="connsiteY4" fmla="*/ 356997 h 356997"/>
                      <a:gd name="connsiteX5" fmla="*/ 446211 w 446210"/>
                      <a:gd name="connsiteY5" fmla="*/ 356997 h 356997"/>
                      <a:gd name="connsiteX6" fmla="*/ 446211 w 446210"/>
                      <a:gd name="connsiteY6" fmla="*/ 356997 h 356997"/>
                      <a:gd name="connsiteX7" fmla="*/ 0 w 446210"/>
                      <a:gd name="connsiteY7" fmla="*/ 89358 h 356997"/>
                      <a:gd name="connsiteX8" fmla="*/ 446211 w 446210"/>
                      <a:gd name="connsiteY8" fmla="*/ 89358 h 356997"/>
                      <a:gd name="connsiteX9" fmla="*/ 396905 w 446210"/>
                      <a:gd name="connsiteY9" fmla="*/ 44679 h 356997"/>
                      <a:gd name="connsiteX10" fmla="*/ 401676 w 446210"/>
                      <a:gd name="connsiteY10" fmla="*/ 49450 h 356997"/>
                      <a:gd name="connsiteX11" fmla="*/ 406303 w 446210"/>
                      <a:gd name="connsiteY11" fmla="*/ 44679 h 356997"/>
                      <a:gd name="connsiteX12" fmla="*/ 401676 w 446210"/>
                      <a:gd name="connsiteY12" fmla="*/ 40052 h 356997"/>
                      <a:gd name="connsiteX13" fmla="*/ 396905 w 446210"/>
                      <a:gd name="connsiteY13" fmla="*/ 44679 h 356997"/>
                      <a:gd name="connsiteX14" fmla="*/ 396905 w 446210"/>
                      <a:gd name="connsiteY14" fmla="*/ 44679 h 356997"/>
                      <a:gd name="connsiteX15" fmla="*/ 343406 w 446210"/>
                      <a:gd name="connsiteY15" fmla="*/ 44679 h 356997"/>
                      <a:gd name="connsiteX16" fmla="*/ 348033 w 446210"/>
                      <a:gd name="connsiteY16" fmla="*/ 49450 h 356997"/>
                      <a:gd name="connsiteX17" fmla="*/ 352804 w 446210"/>
                      <a:gd name="connsiteY17" fmla="*/ 44679 h 356997"/>
                      <a:gd name="connsiteX18" fmla="*/ 348033 w 446210"/>
                      <a:gd name="connsiteY18" fmla="*/ 40052 h 356997"/>
                      <a:gd name="connsiteX19" fmla="*/ 343406 w 446210"/>
                      <a:gd name="connsiteY19" fmla="*/ 44679 h 356997"/>
                      <a:gd name="connsiteX20" fmla="*/ 343406 w 446210"/>
                      <a:gd name="connsiteY20" fmla="*/ 44679 h 356997"/>
                      <a:gd name="connsiteX21" fmla="*/ 290051 w 446210"/>
                      <a:gd name="connsiteY21" fmla="*/ 44679 h 356997"/>
                      <a:gd name="connsiteX22" fmla="*/ 294678 w 446210"/>
                      <a:gd name="connsiteY22" fmla="*/ 49450 h 356997"/>
                      <a:gd name="connsiteX23" fmla="*/ 299450 w 446210"/>
                      <a:gd name="connsiteY23" fmla="*/ 44679 h 356997"/>
                      <a:gd name="connsiteX24" fmla="*/ 294678 w 446210"/>
                      <a:gd name="connsiteY24" fmla="*/ 40052 h 356997"/>
                      <a:gd name="connsiteX25" fmla="*/ 290051 w 446210"/>
                      <a:gd name="connsiteY25" fmla="*/ 44679 h 356997"/>
                      <a:gd name="connsiteX26" fmla="*/ 290051 w 446210"/>
                      <a:gd name="connsiteY26" fmla="*/ 44679 h 356997"/>
                      <a:gd name="connsiteX0" fmla="*/ 446211 w 446211"/>
                      <a:gd name="connsiteY0" fmla="*/ 356997 h 356997"/>
                      <a:gd name="connsiteX1" fmla="*/ 0 w 446211"/>
                      <a:gd name="connsiteY1" fmla="*/ 356997 h 356997"/>
                      <a:gd name="connsiteX2" fmla="*/ 0 w 446211"/>
                      <a:gd name="connsiteY2" fmla="*/ 0 h 356997"/>
                      <a:gd name="connsiteX3" fmla="*/ 446211 w 446211"/>
                      <a:gd name="connsiteY3" fmla="*/ 0 h 356997"/>
                      <a:gd name="connsiteX4" fmla="*/ 446211 w 446211"/>
                      <a:gd name="connsiteY4" fmla="*/ 356997 h 356997"/>
                      <a:gd name="connsiteX5" fmla="*/ 446211 w 446211"/>
                      <a:gd name="connsiteY5" fmla="*/ 356997 h 356997"/>
                      <a:gd name="connsiteX6" fmla="*/ 446211 w 446211"/>
                      <a:gd name="connsiteY6" fmla="*/ 356997 h 356997"/>
                      <a:gd name="connsiteX7" fmla="*/ 0 w 446211"/>
                      <a:gd name="connsiteY7" fmla="*/ 89358 h 356997"/>
                      <a:gd name="connsiteX8" fmla="*/ 446211 w 446211"/>
                      <a:gd name="connsiteY8" fmla="*/ 89358 h 356997"/>
                      <a:gd name="connsiteX9" fmla="*/ 396905 w 446211"/>
                      <a:gd name="connsiteY9" fmla="*/ 44679 h 356997"/>
                      <a:gd name="connsiteX10" fmla="*/ 401676 w 446211"/>
                      <a:gd name="connsiteY10" fmla="*/ 49450 h 356997"/>
                      <a:gd name="connsiteX11" fmla="*/ 406303 w 446211"/>
                      <a:gd name="connsiteY11" fmla="*/ 44679 h 356997"/>
                      <a:gd name="connsiteX12" fmla="*/ 401676 w 446211"/>
                      <a:gd name="connsiteY12" fmla="*/ 40052 h 356997"/>
                      <a:gd name="connsiteX13" fmla="*/ 396905 w 446211"/>
                      <a:gd name="connsiteY13" fmla="*/ 44679 h 356997"/>
                      <a:gd name="connsiteX14" fmla="*/ 396905 w 446211"/>
                      <a:gd name="connsiteY14" fmla="*/ 44679 h 356997"/>
                      <a:gd name="connsiteX15" fmla="*/ 343406 w 446211"/>
                      <a:gd name="connsiteY15" fmla="*/ 44679 h 356997"/>
                      <a:gd name="connsiteX16" fmla="*/ 348033 w 446211"/>
                      <a:gd name="connsiteY16" fmla="*/ 49450 h 356997"/>
                      <a:gd name="connsiteX17" fmla="*/ 352804 w 446211"/>
                      <a:gd name="connsiteY17" fmla="*/ 44679 h 356997"/>
                      <a:gd name="connsiteX18" fmla="*/ 348033 w 446211"/>
                      <a:gd name="connsiteY18" fmla="*/ 40052 h 356997"/>
                      <a:gd name="connsiteX19" fmla="*/ 343406 w 446211"/>
                      <a:gd name="connsiteY19" fmla="*/ 44679 h 356997"/>
                      <a:gd name="connsiteX20" fmla="*/ 343406 w 446211"/>
                      <a:gd name="connsiteY20" fmla="*/ 44679 h 356997"/>
                      <a:gd name="connsiteX21" fmla="*/ 290051 w 446211"/>
                      <a:gd name="connsiteY21" fmla="*/ 44679 h 356997"/>
                      <a:gd name="connsiteX22" fmla="*/ 294678 w 446211"/>
                      <a:gd name="connsiteY22" fmla="*/ 49450 h 356997"/>
                      <a:gd name="connsiteX23" fmla="*/ 299450 w 446211"/>
                      <a:gd name="connsiteY23" fmla="*/ 44679 h 356997"/>
                      <a:gd name="connsiteX24" fmla="*/ 294678 w 446211"/>
                      <a:gd name="connsiteY24" fmla="*/ 40052 h 356997"/>
                      <a:gd name="connsiteX25" fmla="*/ 290051 w 446211"/>
                      <a:gd name="connsiteY25" fmla="*/ 44679 h 356997"/>
                      <a:gd name="connsiteX26" fmla="*/ 290051 w 446211"/>
                      <a:gd name="connsiteY26" fmla="*/ 44679 h 356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46211" h="356997">
                        <a:moveTo>
                          <a:pt x="446211" y="356997"/>
                        </a:moveTo>
                        <a:lnTo>
                          <a:pt x="0" y="356997"/>
                        </a:lnTo>
                        <a:lnTo>
                          <a:pt x="0" y="0"/>
                        </a:lnTo>
                        <a:lnTo>
                          <a:pt x="446211" y="0"/>
                        </a:lnTo>
                        <a:lnTo>
                          <a:pt x="446211" y="356997"/>
                        </a:lnTo>
                        <a:lnTo>
                          <a:pt x="446211" y="356997"/>
                        </a:lnTo>
                        <a:lnTo>
                          <a:pt x="446211" y="356997"/>
                        </a:lnTo>
                        <a:close/>
                        <a:moveTo>
                          <a:pt x="0" y="89358"/>
                        </a:moveTo>
                        <a:lnTo>
                          <a:pt x="446211" y="89358"/>
                        </a:lnTo>
                        <a:moveTo>
                          <a:pt x="396905" y="44679"/>
                        </a:moveTo>
                        <a:cubicBezTo>
                          <a:pt x="396905" y="47282"/>
                          <a:pt x="399074" y="49450"/>
                          <a:pt x="401676" y="49450"/>
                        </a:cubicBezTo>
                        <a:cubicBezTo>
                          <a:pt x="404279" y="49450"/>
                          <a:pt x="406303" y="47282"/>
                          <a:pt x="406303" y="44679"/>
                        </a:cubicBezTo>
                        <a:cubicBezTo>
                          <a:pt x="406303" y="42076"/>
                          <a:pt x="404279" y="40052"/>
                          <a:pt x="401676" y="40052"/>
                        </a:cubicBezTo>
                        <a:cubicBezTo>
                          <a:pt x="398929" y="40052"/>
                          <a:pt x="396905" y="42076"/>
                          <a:pt x="396905" y="44679"/>
                        </a:cubicBezTo>
                        <a:lnTo>
                          <a:pt x="396905" y="44679"/>
                        </a:lnTo>
                        <a:close/>
                        <a:moveTo>
                          <a:pt x="343406" y="44679"/>
                        </a:moveTo>
                        <a:cubicBezTo>
                          <a:pt x="343406" y="47282"/>
                          <a:pt x="345575" y="49450"/>
                          <a:pt x="348033" y="49450"/>
                        </a:cubicBezTo>
                        <a:cubicBezTo>
                          <a:pt x="350635" y="49450"/>
                          <a:pt x="352804" y="47282"/>
                          <a:pt x="352804" y="44679"/>
                        </a:cubicBezTo>
                        <a:cubicBezTo>
                          <a:pt x="352804" y="42076"/>
                          <a:pt x="350635" y="40052"/>
                          <a:pt x="348033" y="40052"/>
                        </a:cubicBezTo>
                        <a:cubicBezTo>
                          <a:pt x="345575" y="40052"/>
                          <a:pt x="343406" y="42076"/>
                          <a:pt x="343406" y="44679"/>
                        </a:cubicBezTo>
                        <a:lnTo>
                          <a:pt x="343406" y="44679"/>
                        </a:lnTo>
                        <a:close/>
                        <a:moveTo>
                          <a:pt x="290051" y="44679"/>
                        </a:moveTo>
                        <a:cubicBezTo>
                          <a:pt x="290051" y="47282"/>
                          <a:pt x="292076" y="49450"/>
                          <a:pt x="294678" y="49450"/>
                        </a:cubicBezTo>
                        <a:cubicBezTo>
                          <a:pt x="297281" y="49450"/>
                          <a:pt x="299450" y="47282"/>
                          <a:pt x="299450" y="44679"/>
                        </a:cubicBezTo>
                        <a:cubicBezTo>
                          <a:pt x="299450" y="42076"/>
                          <a:pt x="297281" y="40052"/>
                          <a:pt x="294678" y="40052"/>
                        </a:cubicBezTo>
                        <a:cubicBezTo>
                          <a:pt x="292076" y="40052"/>
                          <a:pt x="290051" y="42076"/>
                          <a:pt x="290051" y="44679"/>
                        </a:cubicBezTo>
                        <a:lnTo>
                          <a:pt x="290051" y="44679"/>
                        </a:lnTo>
                        <a:close/>
                      </a:path>
                    </a:pathLst>
                  </a:custGeom>
                  <a:noFill/>
                  <a:ln w="158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gradFill>
                        <a:gsLst>
                          <a:gs pos="0">
                            <a:srgbClr val="505050"/>
                          </a:gs>
                          <a:gs pos="100000">
                            <a:srgbClr val="505050"/>
                          </a:gs>
                        </a:gsLst>
                        <a:lin ang="5400000" scaled="1"/>
                      </a:gradFill>
                      <a:effectLst/>
                      <a:uLnTx/>
                      <a:uFillTx/>
                      <a:latin typeface="Segoe UI Semibold"/>
                      <a:ea typeface="+mn-ea"/>
                      <a:cs typeface="+mn-cs"/>
                    </a:endParaRPr>
                  </a:p>
                </p:txBody>
              </p:sp>
              <p:sp>
                <p:nvSpPr>
                  <p:cNvPr id="362" name="Rectangle 361">
                    <a:extLst>
                      <a:ext uri="{FF2B5EF4-FFF2-40B4-BE49-F238E27FC236}">
                        <a16:creationId xmlns:a16="http://schemas.microsoft.com/office/drawing/2014/main" id="{1F4BEDDB-0F83-F968-081C-BF4C06E1904C}"/>
                      </a:ext>
                    </a:extLst>
                  </p:cNvPr>
                  <p:cNvSpPr/>
                  <p:nvPr/>
                </p:nvSpPr>
                <p:spPr bwMode="auto">
                  <a:xfrm>
                    <a:off x="10314247" y="2941851"/>
                    <a:ext cx="376971" cy="249505"/>
                  </a:xfrm>
                  <a:prstGeom prst="rect">
                    <a:avLst/>
                  </a:prstGeom>
                  <a:solidFill>
                    <a:schemeClr val="bg1"/>
                  </a:solidFill>
                  <a:ln w="15875" cap="flat">
                    <a:noFill/>
                    <a:prstDash val="solid"/>
                    <a:miter lim="800000"/>
                    <a:headEnd/>
                    <a:tailEnd/>
                  </a:ln>
                </p:spPr>
                <p:txBody>
                  <a:bodyPr vert="horz" wrap="square" lIns="91440" tIns="45720" rIns="91440"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gradFill>
                        <a:gsLst>
                          <a:gs pos="0">
                            <a:srgbClr val="505050"/>
                          </a:gs>
                          <a:gs pos="100000">
                            <a:srgbClr val="505050"/>
                          </a:gs>
                        </a:gsLst>
                        <a:lin ang="5400000" scaled="1"/>
                      </a:gradFill>
                      <a:effectLst/>
                      <a:uLnTx/>
                      <a:uFillTx/>
                      <a:latin typeface="Segoe UI Semibold"/>
                      <a:ea typeface="+mn-ea"/>
                      <a:cs typeface="+mn-cs"/>
                    </a:endParaRPr>
                  </a:p>
                </p:txBody>
              </p:sp>
              <p:grpSp>
                <p:nvGrpSpPr>
                  <p:cNvPr id="363" name="Group 362">
                    <a:extLst>
                      <a:ext uri="{FF2B5EF4-FFF2-40B4-BE49-F238E27FC236}">
                        <a16:creationId xmlns:a16="http://schemas.microsoft.com/office/drawing/2014/main" id="{4CC62B2F-AC3D-88A1-1D62-92713D809B55}"/>
                      </a:ext>
                    </a:extLst>
                  </p:cNvPr>
                  <p:cNvGrpSpPr/>
                  <p:nvPr/>
                </p:nvGrpSpPr>
                <p:grpSpPr>
                  <a:xfrm>
                    <a:off x="10314239" y="2941852"/>
                    <a:ext cx="437439" cy="349978"/>
                    <a:chOff x="9971998" y="2569191"/>
                    <a:chExt cx="437439" cy="349978"/>
                  </a:xfrm>
                </p:grpSpPr>
                <p:sp>
                  <p:nvSpPr>
                    <p:cNvPr id="364" name="Freeform: Shape 363">
                      <a:extLst>
                        <a:ext uri="{FF2B5EF4-FFF2-40B4-BE49-F238E27FC236}">
                          <a16:creationId xmlns:a16="http://schemas.microsoft.com/office/drawing/2014/main" id="{EE66D781-4DCD-B3EB-91B1-2FD0AB7F1D5B}"/>
                        </a:ext>
                      </a:extLst>
                    </p:cNvPr>
                    <p:cNvSpPr/>
                    <p:nvPr/>
                  </p:nvSpPr>
                  <p:spPr>
                    <a:xfrm>
                      <a:off x="10136513" y="2722748"/>
                      <a:ext cx="108409" cy="134427"/>
                    </a:xfrm>
                    <a:custGeom>
                      <a:avLst/>
                      <a:gdLst>
                        <a:gd name="connsiteX0" fmla="*/ 1475 w 108408"/>
                        <a:gd name="connsiteY0" fmla="*/ 1475 h 134426"/>
                        <a:gd name="connsiteX1" fmla="*/ 55812 w 108408"/>
                        <a:gd name="connsiteY1" fmla="*/ 40986 h 134426"/>
                        <a:gd name="connsiteX2" fmla="*/ 110003 w 108408"/>
                        <a:gd name="connsiteY2" fmla="*/ 80350 h 134426"/>
                        <a:gd name="connsiteX3" fmla="*/ 60852 w 108408"/>
                        <a:gd name="connsiteY3" fmla="*/ 94811 h 134426"/>
                        <a:gd name="connsiteX4" fmla="*/ 26818 w 108408"/>
                        <a:gd name="connsiteY4" fmla="*/ 133154 h 134426"/>
                        <a:gd name="connsiteX5" fmla="*/ 14183 w 108408"/>
                        <a:gd name="connsiteY5" fmla="*/ 67278 h 134426"/>
                        <a:gd name="connsiteX6" fmla="*/ 1475 w 108408"/>
                        <a:gd name="connsiteY6" fmla="*/ 1475 h 134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408" h="134426">
                          <a:moveTo>
                            <a:pt x="1475" y="1475"/>
                          </a:moveTo>
                          <a:lnTo>
                            <a:pt x="55812" y="40986"/>
                          </a:lnTo>
                          <a:lnTo>
                            <a:pt x="110003" y="80350"/>
                          </a:lnTo>
                          <a:lnTo>
                            <a:pt x="60852" y="94811"/>
                          </a:lnTo>
                          <a:lnTo>
                            <a:pt x="26818" y="133154"/>
                          </a:lnTo>
                          <a:lnTo>
                            <a:pt x="14183" y="67278"/>
                          </a:lnTo>
                          <a:lnTo>
                            <a:pt x="1475" y="1475"/>
                          </a:lnTo>
                          <a:close/>
                        </a:path>
                      </a:pathLst>
                    </a:custGeom>
                    <a:noFill/>
                    <a:ln w="158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gradFill>
                          <a:gsLst>
                            <a:gs pos="0">
                              <a:srgbClr val="505050"/>
                            </a:gs>
                            <a:gs pos="100000">
                              <a:srgbClr val="505050"/>
                            </a:gs>
                          </a:gsLst>
                          <a:lin ang="5400000" scaled="1"/>
                        </a:gradFill>
                        <a:effectLst/>
                        <a:uLnTx/>
                        <a:uFillTx/>
                        <a:latin typeface="Segoe UI Semibold"/>
                        <a:ea typeface="+mn-ea"/>
                        <a:cs typeface="+mn-cs"/>
                      </a:endParaRPr>
                    </a:p>
                  </p:txBody>
                </p:sp>
                <p:sp>
                  <p:nvSpPr>
                    <p:cNvPr id="365" name="Graphic 25">
                      <a:extLst>
                        <a:ext uri="{FF2B5EF4-FFF2-40B4-BE49-F238E27FC236}">
                          <a16:creationId xmlns:a16="http://schemas.microsoft.com/office/drawing/2014/main" id="{676B6A89-7F6C-5BE8-043C-3798164F917D}"/>
                        </a:ext>
                      </a:extLst>
                    </p:cNvPr>
                    <p:cNvSpPr/>
                    <p:nvPr/>
                  </p:nvSpPr>
                  <p:spPr>
                    <a:xfrm flipH="1">
                      <a:off x="9971998" y="2569191"/>
                      <a:ext cx="437439" cy="349978"/>
                    </a:xfrm>
                    <a:custGeom>
                      <a:avLst/>
                      <a:gdLst>
                        <a:gd name="connsiteX0" fmla="*/ 446211 w 446210"/>
                        <a:gd name="connsiteY0" fmla="*/ 356997 h 356997"/>
                        <a:gd name="connsiteX1" fmla="*/ 0 w 446210"/>
                        <a:gd name="connsiteY1" fmla="*/ 356997 h 356997"/>
                        <a:gd name="connsiteX2" fmla="*/ 0 w 446210"/>
                        <a:gd name="connsiteY2" fmla="*/ 0 h 356997"/>
                        <a:gd name="connsiteX3" fmla="*/ 446211 w 446210"/>
                        <a:gd name="connsiteY3" fmla="*/ 0 h 356997"/>
                        <a:gd name="connsiteX4" fmla="*/ 446211 w 446210"/>
                        <a:gd name="connsiteY4" fmla="*/ 356997 h 356997"/>
                        <a:gd name="connsiteX5" fmla="*/ 446211 w 446210"/>
                        <a:gd name="connsiteY5" fmla="*/ 356997 h 356997"/>
                        <a:gd name="connsiteX6" fmla="*/ 446211 w 446210"/>
                        <a:gd name="connsiteY6" fmla="*/ 356997 h 356997"/>
                        <a:gd name="connsiteX7" fmla="*/ 0 w 446210"/>
                        <a:gd name="connsiteY7" fmla="*/ 89358 h 356997"/>
                        <a:gd name="connsiteX8" fmla="*/ 446211 w 446210"/>
                        <a:gd name="connsiteY8" fmla="*/ 89358 h 356997"/>
                        <a:gd name="connsiteX9" fmla="*/ 396905 w 446210"/>
                        <a:gd name="connsiteY9" fmla="*/ 44679 h 356997"/>
                        <a:gd name="connsiteX10" fmla="*/ 401676 w 446210"/>
                        <a:gd name="connsiteY10" fmla="*/ 49450 h 356997"/>
                        <a:gd name="connsiteX11" fmla="*/ 406303 w 446210"/>
                        <a:gd name="connsiteY11" fmla="*/ 44679 h 356997"/>
                        <a:gd name="connsiteX12" fmla="*/ 401676 w 446210"/>
                        <a:gd name="connsiteY12" fmla="*/ 40052 h 356997"/>
                        <a:gd name="connsiteX13" fmla="*/ 396905 w 446210"/>
                        <a:gd name="connsiteY13" fmla="*/ 44679 h 356997"/>
                        <a:gd name="connsiteX14" fmla="*/ 396905 w 446210"/>
                        <a:gd name="connsiteY14" fmla="*/ 44679 h 356997"/>
                        <a:gd name="connsiteX15" fmla="*/ 343406 w 446210"/>
                        <a:gd name="connsiteY15" fmla="*/ 44679 h 356997"/>
                        <a:gd name="connsiteX16" fmla="*/ 348033 w 446210"/>
                        <a:gd name="connsiteY16" fmla="*/ 49450 h 356997"/>
                        <a:gd name="connsiteX17" fmla="*/ 352804 w 446210"/>
                        <a:gd name="connsiteY17" fmla="*/ 44679 h 356997"/>
                        <a:gd name="connsiteX18" fmla="*/ 348033 w 446210"/>
                        <a:gd name="connsiteY18" fmla="*/ 40052 h 356997"/>
                        <a:gd name="connsiteX19" fmla="*/ 343406 w 446210"/>
                        <a:gd name="connsiteY19" fmla="*/ 44679 h 356997"/>
                        <a:gd name="connsiteX20" fmla="*/ 343406 w 446210"/>
                        <a:gd name="connsiteY20" fmla="*/ 44679 h 356997"/>
                        <a:gd name="connsiteX21" fmla="*/ 290051 w 446210"/>
                        <a:gd name="connsiteY21" fmla="*/ 44679 h 356997"/>
                        <a:gd name="connsiteX22" fmla="*/ 294678 w 446210"/>
                        <a:gd name="connsiteY22" fmla="*/ 49450 h 356997"/>
                        <a:gd name="connsiteX23" fmla="*/ 299450 w 446210"/>
                        <a:gd name="connsiteY23" fmla="*/ 44679 h 356997"/>
                        <a:gd name="connsiteX24" fmla="*/ 294678 w 446210"/>
                        <a:gd name="connsiteY24" fmla="*/ 40052 h 356997"/>
                        <a:gd name="connsiteX25" fmla="*/ 290051 w 446210"/>
                        <a:gd name="connsiteY25" fmla="*/ 44679 h 356997"/>
                        <a:gd name="connsiteX26" fmla="*/ 290051 w 446210"/>
                        <a:gd name="connsiteY26" fmla="*/ 44679 h 356997"/>
                        <a:gd name="connsiteX0" fmla="*/ 446211 w 446211"/>
                        <a:gd name="connsiteY0" fmla="*/ 356997 h 356997"/>
                        <a:gd name="connsiteX1" fmla="*/ 0 w 446211"/>
                        <a:gd name="connsiteY1" fmla="*/ 356997 h 356997"/>
                        <a:gd name="connsiteX2" fmla="*/ 0 w 446211"/>
                        <a:gd name="connsiteY2" fmla="*/ 0 h 356997"/>
                        <a:gd name="connsiteX3" fmla="*/ 446211 w 446211"/>
                        <a:gd name="connsiteY3" fmla="*/ 0 h 356997"/>
                        <a:gd name="connsiteX4" fmla="*/ 446211 w 446211"/>
                        <a:gd name="connsiteY4" fmla="*/ 356997 h 356997"/>
                        <a:gd name="connsiteX5" fmla="*/ 446211 w 446211"/>
                        <a:gd name="connsiteY5" fmla="*/ 356997 h 356997"/>
                        <a:gd name="connsiteX6" fmla="*/ 446211 w 446211"/>
                        <a:gd name="connsiteY6" fmla="*/ 356997 h 356997"/>
                        <a:gd name="connsiteX7" fmla="*/ 0 w 446211"/>
                        <a:gd name="connsiteY7" fmla="*/ 89358 h 356997"/>
                        <a:gd name="connsiteX8" fmla="*/ 446211 w 446211"/>
                        <a:gd name="connsiteY8" fmla="*/ 89358 h 356997"/>
                        <a:gd name="connsiteX9" fmla="*/ 396905 w 446211"/>
                        <a:gd name="connsiteY9" fmla="*/ 44679 h 356997"/>
                        <a:gd name="connsiteX10" fmla="*/ 401676 w 446211"/>
                        <a:gd name="connsiteY10" fmla="*/ 49450 h 356997"/>
                        <a:gd name="connsiteX11" fmla="*/ 406303 w 446211"/>
                        <a:gd name="connsiteY11" fmla="*/ 44679 h 356997"/>
                        <a:gd name="connsiteX12" fmla="*/ 401676 w 446211"/>
                        <a:gd name="connsiteY12" fmla="*/ 40052 h 356997"/>
                        <a:gd name="connsiteX13" fmla="*/ 396905 w 446211"/>
                        <a:gd name="connsiteY13" fmla="*/ 44679 h 356997"/>
                        <a:gd name="connsiteX14" fmla="*/ 396905 w 446211"/>
                        <a:gd name="connsiteY14" fmla="*/ 44679 h 356997"/>
                        <a:gd name="connsiteX15" fmla="*/ 343406 w 446211"/>
                        <a:gd name="connsiteY15" fmla="*/ 44679 h 356997"/>
                        <a:gd name="connsiteX16" fmla="*/ 348033 w 446211"/>
                        <a:gd name="connsiteY16" fmla="*/ 49450 h 356997"/>
                        <a:gd name="connsiteX17" fmla="*/ 352804 w 446211"/>
                        <a:gd name="connsiteY17" fmla="*/ 44679 h 356997"/>
                        <a:gd name="connsiteX18" fmla="*/ 348033 w 446211"/>
                        <a:gd name="connsiteY18" fmla="*/ 40052 h 356997"/>
                        <a:gd name="connsiteX19" fmla="*/ 343406 w 446211"/>
                        <a:gd name="connsiteY19" fmla="*/ 44679 h 356997"/>
                        <a:gd name="connsiteX20" fmla="*/ 343406 w 446211"/>
                        <a:gd name="connsiteY20" fmla="*/ 44679 h 356997"/>
                        <a:gd name="connsiteX21" fmla="*/ 290051 w 446211"/>
                        <a:gd name="connsiteY21" fmla="*/ 44679 h 356997"/>
                        <a:gd name="connsiteX22" fmla="*/ 294678 w 446211"/>
                        <a:gd name="connsiteY22" fmla="*/ 49450 h 356997"/>
                        <a:gd name="connsiteX23" fmla="*/ 299450 w 446211"/>
                        <a:gd name="connsiteY23" fmla="*/ 44679 h 356997"/>
                        <a:gd name="connsiteX24" fmla="*/ 294678 w 446211"/>
                        <a:gd name="connsiteY24" fmla="*/ 40052 h 356997"/>
                        <a:gd name="connsiteX25" fmla="*/ 290051 w 446211"/>
                        <a:gd name="connsiteY25" fmla="*/ 44679 h 356997"/>
                        <a:gd name="connsiteX26" fmla="*/ 290051 w 446211"/>
                        <a:gd name="connsiteY26" fmla="*/ 44679 h 356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46211" h="356997">
                          <a:moveTo>
                            <a:pt x="446211" y="356997"/>
                          </a:moveTo>
                          <a:lnTo>
                            <a:pt x="0" y="356997"/>
                          </a:lnTo>
                          <a:lnTo>
                            <a:pt x="0" y="0"/>
                          </a:lnTo>
                          <a:lnTo>
                            <a:pt x="446211" y="0"/>
                          </a:lnTo>
                          <a:lnTo>
                            <a:pt x="446211" y="356997"/>
                          </a:lnTo>
                          <a:lnTo>
                            <a:pt x="446211" y="356997"/>
                          </a:lnTo>
                          <a:lnTo>
                            <a:pt x="446211" y="356997"/>
                          </a:lnTo>
                          <a:close/>
                          <a:moveTo>
                            <a:pt x="0" y="89358"/>
                          </a:moveTo>
                          <a:lnTo>
                            <a:pt x="446211" y="89358"/>
                          </a:lnTo>
                          <a:moveTo>
                            <a:pt x="396905" y="44679"/>
                          </a:moveTo>
                          <a:cubicBezTo>
                            <a:pt x="396905" y="47282"/>
                            <a:pt x="399074" y="49450"/>
                            <a:pt x="401676" y="49450"/>
                          </a:cubicBezTo>
                          <a:cubicBezTo>
                            <a:pt x="404279" y="49450"/>
                            <a:pt x="406303" y="47282"/>
                            <a:pt x="406303" y="44679"/>
                          </a:cubicBezTo>
                          <a:cubicBezTo>
                            <a:pt x="406303" y="42076"/>
                            <a:pt x="404279" y="40052"/>
                            <a:pt x="401676" y="40052"/>
                          </a:cubicBezTo>
                          <a:cubicBezTo>
                            <a:pt x="398929" y="40052"/>
                            <a:pt x="396905" y="42076"/>
                            <a:pt x="396905" y="44679"/>
                          </a:cubicBezTo>
                          <a:lnTo>
                            <a:pt x="396905" y="44679"/>
                          </a:lnTo>
                          <a:close/>
                          <a:moveTo>
                            <a:pt x="343406" y="44679"/>
                          </a:moveTo>
                          <a:cubicBezTo>
                            <a:pt x="343406" y="47282"/>
                            <a:pt x="345575" y="49450"/>
                            <a:pt x="348033" y="49450"/>
                          </a:cubicBezTo>
                          <a:cubicBezTo>
                            <a:pt x="350635" y="49450"/>
                            <a:pt x="352804" y="47282"/>
                            <a:pt x="352804" y="44679"/>
                          </a:cubicBezTo>
                          <a:cubicBezTo>
                            <a:pt x="352804" y="42076"/>
                            <a:pt x="350635" y="40052"/>
                            <a:pt x="348033" y="40052"/>
                          </a:cubicBezTo>
                          <a:cubicBezTo>
                            <a:pt x="345575" y="40052"/>
                            <a:pt x="343406" y="42076"/>
                            <a:pt x="343406" y="44679"/>
                          </a:cubicBezTo>
                          <a:lnTo>
                            <a:pt x="343406" y="44679"/>
                          </a:lnTo>
                          <a:close/>
                          <a:moveTo>
                            <a:pt x="290051" y="44679"/>
                          </a:moveTo>
                          <a:cubicBezTo>
                            <a:pt x="290051" y="47282"/>
                            <a:pt x="292076" y="49450"/>
                            <a:pt x="294678" y="49450"/>
                          </a:cubicBezTo>
                          <a:cubicBezTo>
                            <a:pt x="297281" y="49450"/>
                            <a:pt x="299450" y="47282"/>
                            <a:pt x="299450" y="44679"/>
                          </a:cubicBezTo>
                          <a:cubicBezTo>
                            <a:pt x="299450" y="42076"/>
                            <a:pt x="297281" y="40052"/>
                            <a:pt x="294678" y="40052"/>
                          </a:cubicBezTo>
                          <a:cubicBezTo>
                            <a:pt x="292076" y="40052"/>
                            <a:pt x="290051" y="42076"/>
                            <a:pt x="290051" y="44679"/>
                          </a:cubicBezTo>
                          <a:lnTo>
                            <a:pt x="290051" y="44679"/>
                          </a:lnTo>
                          <a:close/>
                        </a:path>
                      </a:pathLst>
                    </a:custGeom>
                    <a:noFill/>
                    <a:ln w="158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gradFill>
                          <a:gsLst>
                            <a:gs pos="0">
                              <a:srgbClr val="505050"/>
                            </a:gs>
                            <a:gs pos="100000">
                              <a:srgbClr val="505050"/>
                            </a:gs>
                          </a:gsLst>
                          <a:lin ang="5400000" scaled="1"/>
                        </a:gradFill>
                        <a:effectLst/>
                        <a:uLnTx/>
                        <a:uFillTx/>
                        <a:latin typeface="Segoe UI Semibold"/>
                        <a:ea typeface="+mn-ea"/>
                        <a:cs typeface="+mn-cs"/>
                      </a:endParaRPr>
                    </a:p>
                  </p:txBody>
                </p:sp>
              </p:grpSp>
            </p:grpSp>
            <p:pic>
              <p:nvPicPr>
                <p:cNvPr id="360" name="Graphic 359">
                  <a:extLst>
                    <a:ext uri="{FF2B5EF4-FFF2-40B4-BE49-F238E27FC236}">
                      <a16:creationId xmlns:a16="http://schemas.microsoft.com/office/drawing/2014/main" id="{7BDCC2CF-8A12-3EE6-F970-CAD9C4AF1CA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652693" y="2614178"/>
                  <a:ext cx="339057" cy="372963"/>
                </a:xfrm>
                <a:prstGeom prst="rect">
                  <a:avLst/>
                </a:prstGeom>
              </p:spPr>
            </p:pic>
          </p:grpSp>
        </p:grpSp>
        <p:grpSp>
          <p:nvGrpSpPr>
            <p:cNvPr id="34" name="Group 33">
              <a:extLst>
                <a:ext uri="{FF2B5EF4-FFF2-40B4-BE49-F238E27FC236}">
                  <a16:creationId xmlns:a16="http://schemas.microsoft.com/office/drawing/2014/main" id="{D5BFA8B3-FA30-B954-BFF9-D6BADD3266A3}"/>
                </a:ext>
              </a:extLst>
            </p:cNvPr>
            <p:cNvGrpSpPr/>
            <p:nvPr/>
          </p:nvGrpSpPr>
          <p:grpSpPr>
            <a:xfrm>
              <a:off x="10193767" y="2017781"/>
              <a:ext cx="457200" cy="457200"/>
              <a:chOff x="10193767" y="1664857"/>
              <a:chExt cx="457200" cy="457200"/>
            </a:xfrm>
          </p:grpSpPr>
          <p:sp>
            <p:nvSpPr>
              <p:cNvPr id="28" name="Oval 27">
                <a:extLst>
                  <a:ext uri="{FF2B5EF4-FFF2-40B4-BE49-F238E27FC236}">
                    <a16:creationId xmlns:a16="http://schemas.microsoft.com/office/drawing/2014/main" id="{6D636813-53A1-B04B-C621-758996FBC01D}"/>
                  </a:ext>
                </a:extLst>
              </p:cNvPr>
              <p:cNvSpPr/>
              <p:nvPr/>
            </p:nvSpPr>
            <p:spPr bwMode="auto">
              <a:xfrm>
                <a:off x="10193767" y="1664857"/>
                <a:ext cx="457200" cy="457200"/>
              </a:xfrm>
              <a:prstGeom prst="ellipse">
                <a:avLst/>
              </a:prstGeom>
              <a:solidFill>
                <a:schemeClr val="bg1"/>
              </a:solidFill>
              <a:ln w="28575">
                <a:solidFill>
                  <a:srgbClr val="4A576D"/>
                </a:solidFill>
              </a:ln>
              <a:effectLst/>
            </p:spPr>
            <p:txBody>
              <a:bodyPr wrap="square" lIns="0" tIns="0" rIns="0" bIns="0" rtlCol="0"/>
              <a:lstStyle/>
              <a:p>
                <a:pPr marL="0" marR="0" lvl="0" indent="0" algn="l" defTabSz="623318"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latin typeface="Calibri"/>
                  <a:ea typeface="+mn-ea"/>
                  <a:cs typeface="+mn-cs"/>
                </a:endParaRPr>
              </a:p>
            </p:txBody>
          </p:sp>
          <p:sp>
            <p:nvSpPr>
              <p:cNvPr id="33" name="Freeform 13">
                <a:extLst>
                  <a:ext uri="{FF2B5EF4-FFF2-40B4-BE49-F238E27FC236}">
                    <a16:creationId xmlns:a16="http://schemas.microsoft.com/office/drawing/2014/main" id="{FC5AE9CE-7C2E-7A3E-089F-FA3BC23F6263}"/>
                  </a:ext>
                  <a:ext uri="{C183D7F6-B498-43B3-948B-1728B52AA6E4}">
                    <adec:decorative xmlns:adec="http://schemas.microsoft.com/office/drawing/2017/decorative" val="1"/>
                  </a:ext>
                </a:extLst>
              </p:cNvPr>
              <p:cNvSpPr>
                <a:spLocks noChangeAspect="1"/>
              </p:cNvSpPr>
              <p:nvPr/>
            </p:nvSpPr>
            <p:spPr bwMode="auto">
              <a:xfrm>
                <a:off x="10282796" y="1807370"/>
                <a:ext cx="279144" cy="153126"/>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Sans Display Semibold"/>
                  <a:ea typeface="+mn-ea"/>
                  <a:cs typeface="+mn-cs"/>
                </a:endParaRPr>
              </a:p>
            </p:txBody>
          </p:sp>
        </p:grpSp>
      </p:grpSp>
      <p:sp>
        <p:nvSpPr>
          <p:cNvPr id="8" name="Rectangle: Rounded Corners 7">
            <a:extLst>
              <a:ext uri="{FF2B5EF4-FFF2-40B4-BE49-F238E27FC236}">
                <a16:creationId xmlns:a16="http://schemas.microsoft.com/office/drawing/2014/main" id="{17F6F1C2-BC26-6704-2D99-239E5DE82333}"/>
              </a:ext>
            </a:extLst>
          </p:cNvPr>
          <p:cNvSpPr/>
          <p:nvPr/>
        </p:nvSpPr>
        <p:spPr bwMode="auto">
          <a:xfrm>
            <a:off x="1769633" y="4357964"/>
            <a:ext cx="2057400" cy="914400"/>
          </a:xfrm>
          <a:prstGeom prst="roundRect">
            <a:avLst>
              <a:gd name="adj" fmla="val 8726"/>
            </a:avLst>
          </a:prstGeom>
          <a:solidFill>
            <a:schemeClr val="bg1"/>
          </a:solidFill>
          <a:ln w="57150">
            <a:solidFill>
              <a:srgbClr val="4A576D"/>
            </a:solidFill>
          </a:ln>
          <a:effectLst/>
        </p:spPr>
        <p:txBody>
          <a:bodyPr rot="0" spcFirstLastPara="0" vertOverflow="overflow" horzOverflow="overflow" vert="horz" wrap="square" lIns="91440" tIns="4572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gradFill>
                  <a:gsLst>
                    <a:gs pos="2917">
                      <a:srgbClr val="282828"/>
                    </a:gs>
                    <a:gs pos="100000">
                      <a:srgbClr val="282828"/>
                    </a:gs>
                  </a:gsLst>
                  <a:lin ang="5400000" scaled="0"/>
                </a:gradFill>
                <a:effectLst/>
                <a:uLnTx/>
                <a:uFillTx/>
                <a:latin typeface="Segoe UI Semibold"/>
                <a:ea typeface="+mn-ea"/>
                <a:cs typeface="+mn-cs"/>
              </a:rPr>
              <a:t>Other identity providers</a:t>
            </a:r>
          </a:p>
        </p:txBody>
      </p:sp>
      <p:grpSp>
        <p:nvGrpSpPr>
          <p:cNvPr id="37" name="Group 36">
            <a:extLst>
              <a:ext uri="{FF2B5EF4-FFF2-40B4-BE49-F238E27FC236}">
                <a16:creationId xmlns:a16="http://schemas.microsoft.com/office/drawing/2014/main" id="{EBBE48E7-2C39-550A-2778-CE69B092E273}"/>
              </a:ext>
            </a:extLst>
          </p:cNvPr>
          <p:cNvGrpSpPr/>
          <p:nvPr/>
        </p:nvGrpSpPr>
        <p:grpSpPr>
          <a:xfrm>
            <a:off x="2370229" y="4562261"/>
            <a:ext cx="834471" cy="696038"/>
            <a:chOff x="2472112" y="4289715"/>
            <a:chExt cx="601771" cy="501943"/>
          </a:xfrm>
        </p:grpSpPr>
        <p:grpSp>
          <p:nvGrpSpPr>
            <p:cNvPr id="349" name="Group 348">
              <a:extLst>
                <a:ext uri="{FF2B5EF4-FFF2-40B4-BE49-F238E27FC236}">
                  <a16:creationId xmlns:a16="http://schemas.microsoft.com/office/drawing/2014/main" id="{D43C11A5-ED8E-0C18-F4EF-57A071FBCDD0}"/>
                </a:ext>
              </a:extLst>
            </p:cNvPr>
            <p:cNvGrpSpPr>
              <a:grpSpLocks noChangeAspect="1"/>
            </p:cNvGrpSpPr>
            <p:nvPr/>
          </p:nvGrpSpPr>
          <p:grpSpPr>
            <a:xfrm>
              <a:off x="2616685" y="4289715"/>
              <a:ext cx="457198" cy="457200"/>
              <a:chOff x="7484110" y="1786399"/>
              <a:chExt cx="664678" cy="664678"/>
            </a:xfrm>
          </p:grpSpPr>
          <p:sp>
            <p:nvSpPr>
              <p:cNvPr id="353" name="Freeform: Shape 352">
                <a:extLst>
                  <a:ext uri="{FF2B5EF4-FFF2-40B4-BE49-F238E27FC236}">
                    <a16:creationId xmlns:a16="http://schemas.microsoft.com/office/drawing/2014/main" id="{FC1DF048-DD6F-BB43-04E8-F0A20E92EF81}"/>
                  </a:ext>
                </a:extLst>
              </p:cNvPr>
              <p:cNvSpPr/>
              <p:nvPr/>
            </p:nvSpPr>
            <p:spPr>
              <a:xfrm>
                <a:off x="7548699" y="1884417"/>
                <a:ext cx="535500" cy="468643"/>
              </a:xfrm>
              <a:custGeom>
                <a:avLst/>
                <a:gdLst>
                  <a:gd name="connsiteX0" fmla="*/ 264659 w 535500"/>
                  <a:gd name="connsiteY0" fmla="*/ 473 h 468643"/>
                  <a:gd name="connsiteX1" fmla="*/ 274316 w 535500"/>
                  <a:gd name="connsiteY1" fmla="*/ 1635 h 468643"/>
                  <a:gd name="connsiteX2" fmla="*/ 279255 w 535500"/>
                  <a:gd name="connsiteY2" fmla="*/ 6662 h 468643"/>
                  <a:gd name="connsiteX3" fmla="*/ 533734 w 535500"/>
                  <a:gd name="connsiteY3" fmla="*/ 448935 h 468643"/>
                  <a:gd name="connsiteX4" fmla="*/ 533654 w 535500"/>
                  <a:gd name="connsiteY4" fmla="*/ 462261 h 468643"/>
                  <a:gd name="connsiteX5" fmla="*/ 522326 w 535500"/>
                  <a:gd name="connsiteY5" fmla="*/ 468642 h 468643"/>
                  <a:gd name="connsiteX6" fmla="*/ 13190 w 535500"/>
                  <a:gd name="connsiteY6" fmla="*/ 468642 h 468643"/>
                  <a:gd name="connsiteX7" fmla="*/ 1871 w 535500"/>
                  <a:gd name="connsiteY7" fmla="*/ 462253 h 468643"/>
                  <a:gd name="connsiteX8" fmla="*/ 1685 w 535500"/>
                  <a:gd name="connsiteY8" fmla="*/ 449120 h 468643"/>
                  <a:gd name="connsiteX9" fmla="*/ 257002 w 535500"/>
                  <a:gd name="connsiteY9" fmla="*/ 6477 h 468643"/>
                  <a:gd name="connsiteX10" fmla="*/ 264659 w 535500"/>
                  <a:gd name="connsiteY10" fmla="*/ 473 h 46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5500" h="468643">
                    <a:moveTo>
                      <a:pt x="264659" y="473"/>
                    </a:moveTo>
                    <a:cubicBezTo>
                      <a:pt x="267792" y="-403"/>
                      <a:pt x="271259" y="-85"/>
                      <a:pt x="274316" y="1635"/>
                    </a:cubicBezTo>
                    <a:cubicBezTo>
                      <a:pt x="276403" y="2811"/>
                      <a:pt x="278119" y="4552"/>
                      <a:pt x="279255" y="6662"/>
                    </a:cubicBezTo>
                    <a:lnTo>
                      <a:pt x="533734" y="448935"/>
                    </a:lnTo>
                    <a:cubicBezTo>
                      <a:pt x="536119" y="453060"/>
                      <a:pt x="536087" y="458160"/>
                      <a:pt x="533654" y="462261"/>
                    </a:cubicBezTo>
                    <a:cubicBezTo>
                      <a:pt x="531309" y="466281"/>
                      <a:pt x="526983" y="468722"/>
                      <a:pt x="522326" y="468642"/>
                    </a:cubicBezTo>
                    <a:lnTo>
                      <a:pt x="13190" y="468642"/>
                    </a:lnTo>
                    <a:cubicBezTo>
                      <a:pt x="8534" y="468722"/>
                      <a:pt x="4207" y="466273"/>
                      <a:pt x="1871" y="462253"/>
                    </a:cubicBezTo>
                    <a:cubicBezTo>
                      <a:pt x="-554" y="458225"/>
                      <a:pt x="-627" y="453205"/>
                      <a:pt x="1685" y="449120"/>
                    </a:cubicBezTo>
                    <a:lnTo>
                      <a:pt x="257002" y="6477"/>
                    </a:lnTo>
                    <a:cubicBezTo>
                      <a:pt x="258727" y="3420"/>
                      <a:pt x="261526" y="1349"/>
                      <a:pt x="264659" y="473"/>
                    </a:cubicBezTo>
                    <a:close/>
                  </a:path>
                </a:pathLst>
              </a:custGeom>
              <a:solidFill>
                <a:srgbClr val="FFFFFF"/>
              </a:solidFill>
              <a:ln w="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pic>
            <p:nvPicPr>
              <p:cNvPr id="354" name="Graphic 353">
                <a:extLst>
                  <a:ext uri="{FF2B5EF4-FFF2-40B4-BE49-F238E27FC236}">
                    <a16:creationId xmlns:a16="http://schemas.microsoft.com/office/drawing/2014/main" id="{8BCECF70-A8F4-26B7-22D9-297F6C4E773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484110" y="1786399"/>
                <a:ext cx="664678" cy="664678"/>
              </a:xfrm>
              <a:prstGeom prst="rect">
                <a:avLst/>
              </a:prstGeom>
            </p:spPr>
          </p:pic>
        </p:grpSp>
        <p:grpSp>
          <p:nvGrpSpPr>
            <p:cNvPr id="350" name="Group 349">
              <a:extLst>
                <a:ext uri="{FF2B5EF4-FFF2-40B4-BE49-F238E27FC236}">
                  <a16:creationId xmlns:a16="http://schemas.microsoft.com/office/drawing/2014/main" id="{DA7A62F9-E5B2-F65A-7596-0F5A2C6B5564}"/>
                </a:ext>
              </a:extLst>
            </p:cNvPr>
            <p:cNvGrpSpPr>
              <a:grpSpLocks noChangeAspect="1"/>
            </p:cNvGrpSpPr>
            <p:nvPr/>
          </p:nvGrpSpPr>
          <p:grpSpPr>
            <a:xfrm>
              <a:off x="2472112" y="4334458"/>
              <a:ext cx="457198" cy="457200"/>
              <a:chOff x="7000203" y="1847470"/>
              <a:chExt cx="664678" cy="664678"/>
            </a:xfrm>
          </p:grpSpPr>
          <p:sp>
            <p:nvSpPr>
              <p:cNvPr id="351" name="Freeform: Shape 350">
                <a:extLst>
                  <a:ext uri="{FF2B5EF4-FFF2-40B4-BE49-F238E27FC236}">
                    <a16:creationId xmlns:a16="http://schemas.microsoft.com/office/drawing/2014/main" id="{D18AF64F-6D41-7DEE-0744-40266BE71CB6}"/>
                  </a:ext>
                </a:extLst>
              </p:cNvPr>
              <p:cNvSpPr/>
              <p:nvPr/>
            </p:nvSpPr>
            <p:spPr>
              <a:xfrm>
                <a:off x="7064792" y="1945488"/>
                <a:ext cx="535500" cy="468643"/>
              </a:xfrm>
              <a:custGeom>
                <a:avLst/>
                <a:gdLst>
                  <a:gd name="connsiteX0" fmla="*/ 264659 w 535500"/>
                  <a:gd name="connsiteY0" fmla="*/ 473 h 468643"/>
                  <a:gd name="connsiteX1" fmla="*/ 274316 w 535500"/>
                  <a:gd name="connsiteY1" fmla="*/ 1635 h 468643"/>
                  <a:gd name="connsiteX2" fmla="*/ 279255 w 535500"/>
                  <a:gd name="connsiteY2" fmla="*/ 6662 h 468643"/>
                  <a:gd name="connsiteX3" fmla="*/ 533734 w 535500"/>
                  <a:gd name="connsiteY3" fmla="*/ 448935 h 468643"/>
                  <a:gd name="connsiteX4" fmla="*/ 533654 w 535500"/>
                  <a:gd name="connsiteY4" fmla="*/ 462261 h 468643"/>
                  <a:gd name="connsiteX5" fmla="*/ 522326 w 535500"/>
                  <a:gd name="connsiteY5" fmla="*/ 468642 h 468643"/>
                  <a:gd name="connsiteX6" fmla="*/ 13190 w 535500"/>
                  <a:gd name="connsiteY6" fmla="*/ 468642 h 468643"/>
                  <a:gd name="connsiteX7" fmla="*/ 1871 w 535500"/>
                  <a:gd name="connsiteY7" fmla="*/ 462253 h 468643"/>
                  <a:gd name="connsiteX8" fmla="*/ 1685 w 535500"/>
                  <a:gd name="connsiteY8" fmla="*/ 449120 h 468643"/>
                  <a:gd name="connsiteX9" fmla="*/ 257002 w 535500"/>
                  <a:gd name="connsiteY9" fmla="*/ 6477 h 468643"/>
                  <a:gd name="connsiteX10" fmla="*/ 264659 w 535500"/>
                  <a:gd name="connsiteY10" fmla="*/ 473 h 46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5500" h="468643">
                    <a:moveTo>
                      <a:pt x="264659" y="473"/>
                    </a:moveTo>
                    <a:cubicBezTo>
                      <a:pt x="267792" y="-403"/>
                      <a:pt x="271259" y="-85"/>
                      <a:pt x="274316" y="1635"/>
                    </a:cubicBezTo>
                    <a:cubicBezTo>
                      <a:pt x="276403" y="2811"/>
                      <a:pt x="278119" y="4552"/>
                      <a:pt x="279255" y="6662"/>
                    </a:cubicBezTo>
                    <a:lnTo>
                      <a:pt x="533734" y="448935"/>
                    </a:lnTo>
                    <a:cubicBezTo>
                      <a:pt x="536119" y="453060"/>
                      <a:pt x="536087" y="458160"/>
                      <a:pt x="533654" y="462261"/>
                    </a:cubicBezTo>
                    <a:cubicBezTo>
                      <a:pt x="531309" y="466281"/>
                      <a:pt x="526983" y="468722"/>
                      <a:pt x="522326" y="468642"/>
                    </a:cubicBezTo>
                    <a:lnTo>
                      <a:pt x="13190" y="468642"/>
                    </a:lnTo>
                    <a:cubicBezTo>
                      <a:pt x="8534" y="468722"/>
                      <a:pt x="4207" y="466273"/>
                      <a:pt x="1871" y="462253"/>
                    </a:cubicBezTo>
                    <a:cubicBezTo>
                      <a:pt x="-554" y="458225"/>
                      <a:pt x="-627" y="453205"/>
                      <a:pt x="1685" y="449120"/>
                    </a:cubicBezTo>
                    <a:lnTo>
                      <a:pt x="257002" y="6477"/>
                    </a:lnTo>
                    <a:cubicBezTo>
                      <a:pt x="258727" y="3420"/>
                      <a:pt x="261526" y="1349"/>
                      <a:pt x="264659" y="473"/>
                    </a:cubicBezTo>
                    <a:close/>
                  </a:path>
                </a:pathLst>
              </a:custGeom>
              <a:solidFill>
                <a:srgbClr val="FFFFFF"/>
              </a:solidFill>
              <a:ln w="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pic>
            <p:nvPicPr>
              <p:cNvPr id="352" name="Graphic 351">
                <a:extLst>
                  <a:ext uri="{FF2B5EF4-FFF2-40B4-BE49-F238E27FC236}">
                    <a16:creationId xmlns:a16="http://schemas.microsoft.com/office/drawing/2014/main" id="{49E244BC-17C0-6CE2-7B8B-EC8971B363C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000203" y="1847470"/>
                <a:ext cx="664678" cy="664678"/>
              </a:xfrm>
              <a:prstGeom prst="rect">
                <a:avLst/>
              </a:prstGeom>
            </p:spPr>
          </p:pic>
        </p:grpSp>
      </p:grpSp>
      <p:grpSp>
        <p:nvGrpSpPr>
          <p:cNvPr id="334" name="Group 333">
            <a:extLst>
              <a:ext uri="{FF2B5EF4-FFF2-40B4-BE49-F238E27FC236}">
                <a16:creationId xmlns:a16="http://schemas.microsoft.com/office/drawing/2014/main" id="{0AD78504-47A6-B89C-90CF-027A009BB949}"/>
              </a:ext>
            </a:extLst>
          </p:cNvPr>
          <p:cNvGrpSpPr/>
          <p:nvPr/>
        </p:nvGrpSpPr>
        <p:grpSpPr>
          <a:xfrm>
            <a:off x="4335102" y="3699812"/>
            <a:ext cx="180461" cy="164224"/>
            <a:chOff x="6304821" y="3538504"/>
            <a:chExt cx="180461" cy="164224"/>
          </a:xfrm>
        </p:grpSpPr>
        <p:sp>
          <p:nvSpPr>
            <p:cNvPr id="366" name="Freeform: Shape 365">
              <a:extLst>
                <a:ext uri="{FF2B5EF4-FFF2-40B4-BE49-F238E27FC236}">
                  <a16:creationId xmlns:a16="http://schemas.microsoft.com/office/drawing/2014/main" id="{DA10B28B-7B77-03D6-3965-577CB867939B}"/>
                </a:ext>
              </a:extLst>
            </p:cNvPr>
            <p:cNvSpPr/>
            <p:nvPr/>
          </p:nvSpPr>
          <p:spPr>
            <a:xfrm rot="10800000" flipH="1">
              <a:off x="6304821" y="3538504"/>
              <a:ext cx="95861" cy="164224"/>
            </a:xfrm>
            <a:custGeom>
              <a:avLst/>
              <a:gdLst>
                <a:gd name="connsiteX0" fmla="*/ 113444 w 113443"/>
                <a:gd name="connsiteY0" fmla="*/ 92725 h 186518"/>
                <a:gd name="connsiteX1" fmla="*/ 107677 w 113443"/>
                <a:gd name="connsiteY1" fmla="*/ 106609 h 186518"/>
                <a:gd name="connsiteX2" fmla="*/ 34202 w 113443"/>
                <a:gd name="connsiteY2" fmla="*/ 180725 h 186518"/>
                <a:gd name="connsiteX3" fmla="*/ 6435 w 113443"/>
                <a:gd name="connsiteY3" fmla="*/ 180938 h 186518"/>
                <a:gd name="connsiteX4" fmla="*/ 6221 w 113443"/>
                <a:gd name="connsiteY4" fmla="*/ 153172 h 186518"/>
                <a:gd name="connsiteX5" fmla="*/ 65813 w 113443"/>
                <a:gd name="connsiteY5" fmla="*/ 93153 h 186518"/>
                <a:gd name="connsiteX6" fmla="*/ 5794 w 113443"/>
                <a:gd name="connsiteY6" fmla="*/ 33561 h 186518"/>
                <a:gd name="connsiteX7" fmla="*/ 5580 w 113443"/>
                <a:gd name="connsiteY7" fmla="*/ 5794 h 186518"/>
                <a:gd name="connsiteX8" fmla="*/ 33347 w 113443"/>
                <a:gd name="connsiteY8" fmla="*/ 5580 h 186518"/>
                <a:gd name="connsiteX9" fmla="*/ 107463 w 113443"/>
                <a:gd name="connsiteY9" fmla="*/ 79056 h 186518"/>
                <a:gd name="connsiteX10" fmla="*/ 113444 w 113443"/>
                <a:gd name="connsiteY10" fmla="*/ 92725 h 186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443" h="186518">
                  <a:moveTo>
                    <a:pt x="113444" y="92725"/>
                  </a:moveTo>
                  <a:cubicBezTo>
                    <a:pt x="113444" y="97852"/>
                    <a:pt x="111521" y="102764"/>
                    <a:pt x="107677" y="106609"/>
                  </a:cubicBezTo>
                  <a:lnTo>
                    <a:pt x="34202" y="180725"/>
                  </a:lnTo>
                  <a:cubicBezTo>
                    <a:pt x="26512" y="188414"/>
                    <a:pt x="14124" y="188414"/>
                    <a:pt x="6435" y="180938"/>
                  </a:cubicBezTo>
                  <a:cubicBezTo>
                    <a:pt x="-1255" y="173249"/>
                    <a:pt x="-1255" y="160861"/>
                    <a:pt x="6221" y="153172"/>
                  </a:cubicBezTo>
                  <a:lnTo>
                    <a:pt x="65813" y="93153"/>
                  </a:lnTo>
                  <a:lnTo>
                    <a:pt x="5794" y="33561"/>
                  </a:lnTo>
                  <a:cubicBezTo>
                    <a:pt x="-1895" y="25871"/>
                    <a:pt x="-1895" y="13483"/>
                    <a:pt x="5580" y="5794"/>
                  </a:cubicBezTo>
                  <a:cubicBezTo>
                    <a:pt x="13270" y="-1895"/>
                    <a:pt x="25658" y="-1895"/>
                    <a:pt x="33347" y="5580"/>
                  </a:cubicBezTo>
                  <a:lnTo>
                    <a:pt x="107463" y="79056"/>
                  </a:lnTo>
                  <a:cubicBezTo>
                    <a:pt x="111521" y="82473"/>
                    <a:pt x="113444" y="87599"/>
                    <a:pt x="113444" y="92725"/>
                  </a:cubicBezTo>
                  <a:close/>
                </a:path>
              </a:pathLst>
            </a:custGeom>
            <a:solidFill>
              <a:schemeClr val="accent6"/>
            </a:solidFill>
            <a:ln w="2129" cap="flat">
              <a:noFill/>
              <a:prstDash val="solid"/>
              <a:miter/>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367" name="Freeform: Shape 366">
              <a:extLst>
                <a:ext uri="{FF2B5EF4-FFF2-40B4-BE49-F238E27FC236}">
                  <a16:creationId xmlns:a16="http://schemas.microsoft.com/office/drawing/2014/main" id="{3376AB6B-BC80-8855-8279-2B8C37C9AD49}"/>
                </a:ext>
              </a:extLst>
            </p:cNvPr>
            <p:cNvSpPr/>
            <p:nvPr/>
          </p:nvSpPr>
          <p:spPr>
            <a:xfrm rot="10800000" flipH="1">
              <a:off x="6389421" y="3538504"/>
              <a:ext cx="95861" cy="164224"/>
            </a:xfrm>
            <a:custGeom>
              <a:avLst/>
              <a:gdLst>
                <a:gd name="connsiteX0" fmla="*/ 113444 w 113443"/>
                <a:gd name="connsiteY0" fmla="*/ 92725 h 186518"/>
                <a:gd name="connsiteX1" fmla="*/ 107677 w 113443"/>
                <a:gd name="connsiteY1" fmla="*/ 106609 h 186518"/>
                <a:gd name="connsiteX2" fmla="*/ 34202 w 113443"/>
                <a:gd name="connsiteY2" fmla="*/ 180725 h 186518"/>
                <a:gd name="connsiteX3" fmla="*/ 6435 w 113443"/>
                <a:gd name="connsiteY3" fmla="*/ 180938 h 186518"/>
                <a:gd name="connsiteX4" fmla="*/ 6221 w 113443"/>
                <a:gd name="connsiteY4" fmla="*/ 153172 h 186518"/>
                <a:gd name="connsiteX5" fmla="*/ 65813 w 113443"/>
                <a:gd name="connsiteY5" fmla="*/ 93153 h 186518"/>
                <a:gd name="connsiteX6" fmla="*/ 5794 w 113443"/>
                <a:gd name="connsiteY6" fmla="*/ 33561 h 186518"/>
                <a:gd name="connsiteX7" fmla="*/ 5580 w 113443"/>
                <a:gd name="connsiteY7" fmla="*/ 5794 h 186518"/>
                <a:gd name="connsiteX8" fmla="*/ 33347 w 113443"/>
                <a:gd name="connsiteY8" fmla="*/ 5580 h 186518"/>
                <a:gd name="connsiteX9" fmla="*/ 107463 w 113443"/>
                <a:gd name="connsiteY9" fmla="*/ 79056 h 186518"/>
                <a:gd name="connsiteX10" fmla="*/ 113444 w 113443"/>
                <a:gd name="connsiteY10" fmla="*/ 92725 h 186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443" h="186518">
                  <a:moveTo>
                    <a:pt x="113444" y="92725"/>
                  </a:moveTo>
                  <a:cubicBezTo>
                    <a:pt x="113444" y="97852"/>
                    <a:pt x="111521" y="102764"/>
                    <a:pt x="107677" y="106609"/>
                  </a:cubicBezTo>
                  <a:lnTo>
                    <a:pt x="34202" y="180725"/>
                  </a:lnTo>
                  <a:cubicBezTo>
                    <a:pt x="26512" y="188414"/>
                    <a:pt x="14124" y="188414"/>
                    <a:pt x="6435" y="180938"/>
                  </a:cubicBezTo>
                  <a:cubicBezTo>
                    <a:pt x="-1255" y="173249"/>
                    <a:pt x="-1255" y="160861"/>
                    <a:pt x="6221" y="153172"/>
                  </a:cubicBezTo>
                  <a:lnTo>
                    <a:pt x="65813" y="93153"/>
                  </a:lnTo>
                  <a:lnTo>
                    <a:pt x="5794" y="33561"/>
                  </a:lnTo>
                  <a:cubicBezTo>
                    <a:pt x="-1895" y="25871"/>
                    <a:pt x="-1895" y="13483"/>
                    <a:pt x="5580" y="5794"/>
                  </a:cubicBezTo>
                  <a:cubicBezTo>
                    <a:pt x="13270" y="-1895"/>
                    <a:pt x="25658" y="-1895"/>
                    <a:pt x="33347" y="5580"/>
                  </a:cubicBezTo>
                  <a:lnTo>
                    <a:pt x="107463" y="79056"/>
                  </a:lnTo>
                  <a:cubicBezTo>
                    <a:pt x="111521" y="82473"/>
                    <a:pt x="113444" y="87599"/>
                    <a:pt x="113444" y="92725"/>
                  </a:cubicBezTo>
                  <a:close/>
                </a:path>
              </a:pathLst>
            </a:custGeom>
            <a:solidFill>
              <a:srgbClr val="F49C1C"/>
            </a:solidFill>
            <a:ln w="2129" cap="flat">
              <a:noFill/>
              <a:prstDash val="solid"/>
              <a:miter/>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grpSp>
      <p:grpSp>
        <p:nvGrpSpPr>
          <p:cNvPr id="58" name="Group 57">
            <a:extLst>
              <a:ext uri="{FF2B5EF4-FFF2-40B4-BE49-F238E27FC236}">
                <a16:creationId xmlns:a16="http://schemas.microsoft.com/office/drawing/2014/main" id="{D8FE2D7F-BE54-9B24-1089-50F3BCED14C8}"/>
              </a:ext>
            </a:extLst>
          </p:cNvPr>
          <p:cNvGrpSpPr/>
          <p:nvPr/>
        </p:nvGrpSpPr>
        <p:grpSpPr>
          <a:xfrm rot="16200000">
            <a:off x="2708103" y="4059829"/>
            <a:ext cx="180461" cy="164224"/>
            <a:chOff x="6304821" y="3538504"/>
            <a:chExt cx="180461" cy="164224"/>
          </a:xfrm>
        </p:grpSpPr>
        <p:sp>
          <p:nvSpPr>
            <p:cNvPr id="59" name="Freeform: Shape 58">
              <a:extLst>
                <a:ext uri="{FF2B5EF4-FFF2-40B4-BE49-F238E27FC236}">
                  <a16:creationId xmlns:a16="http://schemas.microsoft.com/office/drawing/2014/main" id="{258604B5-DDF1-D3BE-E9AE-A3B13FACD828}"/>
                </a:ext>
              </a:extLst>
            </p:cNvPr>
            <p:cNvSpPr/>
            <p:nvPr/>
          </p:nvSpPr>
          <p:spPr>
            <a:xfrm rot="10800000" flipH="1">
              <a:off x="6304821" y="3538504"/>
              <a:ext cx="95861" cy="164224"/>
            </a:xfrm>
            <a:custGeom>
              <a:avLst/>
              <a:gdLst>
                <a:gd name="connsiteX0" fmla="*/ 113444 w 113443"/>
                <a:gd name="connsiteY0" fmla="*/ 92725 h 186518"/>
                <a:gd name="connsiteX1" fmla="*/ 107677 w 113443"/>
                <a:gd name="connsiteY1" fmla="*/ 106609 h 186518"/>
                <a:gd name="connsiteX2" fmla="*/ 34202 w 113443"/>
                <a:gd name="connsiteY2" fmla="*/ 180725 h 186518"/>
                <a:gd name="connsiteX3" fmla="*/ 6435 w 113443"/>
                <a:gd name="connsiteY3" fmla="*/ 180938 h 186518"/>
                <a:gd name="connsiteX4" fmla="*/ 6221 w 113443"/>
                <a:gd name="connsiteY4" fmla="*/ 153172 h 186518"/>
                <a:gd name="connsiteX5" fmla="*/ 65813 w 113443"/>
                <a:gd name="connsiteY5" fmla="*/ 93153 h 186518"/>
                <a:gd name="connsiteX6" fmla="*/ 5794 w 113443"/>
                <a:gd name="connsiteY6" fmla="*/ 33561 h 186518"/>
                <a:gd name="connsiteX7" fmla="*/ 5580 w 113443"/>
                <a:gd name="connsiteY7" fmla="*/ 5794 h 186518"/>
                <a:gd name="connsiteX8" fmla="*/ 33347 w 113443"/>
                <a:gd name="connsiteY8" fmla="*/ 5580 h 186518"/>
                <a:gd name="connsiteX9" fmla="*/ 107463 w 113443"/>
                <a:gd name="connsiteY9" fmla="*/ 79056 h 186518"/>
                <a:gd name="connsiteX10" fmla="*/ 113444 w 113443"/>
                <a:gd name="connsiteY10" fmla="*/ 92725 h 186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443" h="186518">
                  <a:moveTo>
                    <a:pt x="113444" y="92725"/>
                  </a:moveTo>
                  <a:cubicBezTo>
                    <a:pt x="113444" y="97852"/>
                    <a:pt x="111521" y="102764"/>
                    <a:pt x="107677" y="106609"/>
                  </a:cubicBezTo>
                  <a:lnTo>
                    <a:pt x="34202" y="180725"/>
                  </a:lnTo>
                  <a:cubicBezTo>
                    <a:pt x="26512" y="188414"/>
                    <a:pt x="14124" y="188414"/>
                    <a:pt x="6435" y="180938"/>
                  </a:cubicBezTo>
                  <a:cubicBezTo>
                    <a:pt x="-1255" y="173249"/>
                    <a:pt x="-1255" y="160861"/>
                    <a:pt x="6221" y="153172"/>
                  </a:cubicBezTo>
                  <a:lnTo>
                    <a:pt x="65813" y="93153"/>
                  </a:lnTo>
                  <a:lnTo>
                    <a:pt x="5794" y="33561"/>
                  </a:lnTo>
                  <a:cubicBezTo>
                    <a:pt x="-1895" y="25871"/>
                    <a:pt x="-1895" y="13483"/>
                    <a:pt x="5580" y="5794"/>
                  </a:cubicBezTo>
                  <a:cubicBezTo>
                    <a:pt x="13270" y="-1895"/>
                    <a:pt x="25658" y="-1895"/>
                    <a:pt x="33347" y="5580"/>
                  </a:cubicBezTo>
                  <a:lnTo>
                    <a:pt x="107463" y="79056"/>
                  </a:lnTo>
                  <a:cubicBezTo>
                    <a:pt x="111521" y="82473"/>
                    <a:pt x="113444" y="87599"/>
                    <a:pt x="113444" y="92725"/>
                  </a:cubicBezTo>
                  <a:close/>
                </a:path>
              </a:pathLst>
            </a:custGeom>
            <a:solidFill>
              <a:schemeClr val="accent6"/>
            </a:solidFill>
            <a:ln w="2129" cap="flat">
              <a:noFill/>
              <a:prstDash val="solid"/>
              <a:miter/>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60" name="Freeform: Shape 59">
              <a:extLst>
                <a:ext uri="{FF2B5EF4-FFF2-40B4-BE49-F238E27FC236}">
                  <a16:creationId xmlns:a16="http://schemas.microsoft.com/office/drawing/2014/main" id="{12FC3DC0-C016-7165-C021-AF7F8D9EE412}"/>
                </a:ext>
              </a:extLst>
            </p:cNvPr>
            <p:cNvSpPr/>
            <p:nvPr/>
          </p:nvSpPr>
          <p:spPr>
            <a:xfrm rot="10800000" flipH="1">
              <a:off x="6389421" y="3538504"/>
              <a:ext cx="95861" cy="164224"/>
            </a:xfrm>
            <a:custGeom>
              <a:avLst/>
              <a:gdLst>
                <a:gd name="connsiteX0" fmla="*/ 113444 w 113443"/>
                <a:gd name="connsiteY0" fmla="*/ 92725 h 186518"/>
                <a:gd name="connsiteX1" fmla="*/ 107677 w 113443"/>
                <a:gd name="connsiteY1" fmla="*/ 106609 h 186518"/>
                <a:gd name="connsiteX2" fmla="*/ 34202 w 113443"/>
                <a:gd name="connsiteY2" fmla="*/ 180725 h 186518"/>
                <a:gd name="connsiteX3" fmla="*/ 6435 w 113443"/>
                <a:gd name="connsiteY3" fmla="*/ 180938 h 186518"/>
                <a:gd name="connsiteX4" fmla="*/ 6221 w 113443"/>
                <a:gd name="connsiteY4" fmla="*/ 153172 h 186518"/>
                <a:gd name="connsiteX5" fmla="*/ 65813 w 113443"/>
                <a:gd name="connsiteY5" fmla="*/ 93153 h 186518"/>
                <a:gd name="connsiteX6" fmla="*/ 5794 w 113443"/>
                <a:gd name="connsiteY6" fmla="*/ 33561 h 186518"/>
                <a:gd name="connsiteX7" fmla="*/ 5580 w 113443"/>
                <a:gd name="connsiteY7" fmla="*/ 5794 h 186518"/>
                <a:gd name="connsiteX8" fmla="*/ 33347 w 113443"/>
                <a:gd name="connsiteY8" fmla="*/ 5580 h 186518"/>
                <a:gd name="connsiteX9" fmla="*/ 107463 w 113443"/>
                <a:gd name="connsiteY9" fmla="*/ 79056 h 186518"/>
                <a:gd name="connsiteX10" fmla="*/ 113444 w 113443"/>
                <a:gd name="connsiteY10" fmla="*/ 92725 h 186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443" h="186518">
                  <a:moveTo>
                    <a:pt x="113444" y="92725"/>
                  </a:moveTo>
                  <a:cubicBezTo>
                    <a:pt x="113444" y="97852"/>
                    <a:pt x="111521" y="102764"/>
                    <a:pt x="107677" y="106609"/>
                  </a:cubicBezTo>
                  <a:lnTo>
                    <a:pt x="34202" y="180725"/>
                  </a:lnTo>
                  <a:cubicBezTo>
                    <a:pt x="26512" y="188414"/>
                    <a:pt x="14124" y="188414"/>
                    <a:pt x="6435" y="180938"/>
                  </a:cubicBezTo>
                  <a:cubicBezTo>
                    <a:pt x="-1255" y="173249"/>
                    <a:pt x="-1255" y="160861"/>
                    <a:pt x="6221" y="153172"/>
                  </a:cubicBezTo>
                  <a:lnTo>
                    <a:pt x="65813" y="93153"/>
                  </a:lnTo>
                  <a:lnTo>
                    <a:pt x="5794" y="33561"/>
                  </a:lnTo>
                  <a:cubicBezTo>
                    <a:pt x="-1895" y="25871"/>
                    <a:pt x="-1895" y="13483"/>
                    <a:pt x="5580" y="5794"/>
                  </a:cubicBezTo>
                  <a:cubicBezTo>
                    <a:pt x="13270" y="-1895"/>
                    <a:pt x="25658" y="-1895"/>
                    <a:pt x="33347" y="5580"/>
                  </a:cubicBezTo>
                  <a:lnTo>
                    <a:pt x="107463" y="79056"/>
                  </a:lnTo>
                  <a:cubicBezTo>
                    <a:pt x="111521" y="82473"/>
                    <a:pt x="113444" y="87599"/>
                    <a:pt x="113444" y="92725"/>
                  </a:cubicBezTo>
                  <a:close/>
                </a:path>
              </a:pathLst>
            </a:custGeom>
            <a:solidFill>
              <a:schemeClr val="accent5"/>
            </a:solidFill>
            <a:ln w="2129" cap="flat">
              <a:noFill/>
              <a:prstDash val="solid"/>
              <a:miter/>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grpSp>
      <p:sp>
        <p:nvSpPr>
          <p:cNvPr id="62" name="Rectangle: Rounded Corners 61">
            <a:extLst>
              <a:ext uri="{FF2B5EF4-FFF2-40B4-BE49-F238E27FC236}">
                <a16:creationId xmlns:a16="http://schemas.microsoft.com/office/drawing/2014/main" id="{F3309E94-C321-DE9A-1BA6-E11A35ACF0A9}"/>
              </a:ext>
            </a:extLst>
          </p:cNvPr>
          <p:cNvSpPr/>
          <p:nvPr/>
        </p:nvSpPr>
        <p:spPr bwMode="auto">
          <a:xfrm rot="10800000" flipH="1">
            <a:off x="6298323" y="3637932"/>
            <a:ext cx="3230914" cy="287984"/>
          </a:xfrm>
          <a:prstGeom prst="roundRect">
            <a:avLst>
              <a:gd name="adj" fmla="val 50000"/>
            </a:avLst>
          </a:prstGeom>
          <a:solidFill>
            <a:srgbClr val="4A576D"/>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endParaRPr>
          </a:p>
        </p:txBody>
      </p:sp>
      <p:grpSp>
        <p:nvGrpSpPr>
          <p:cNvPr id="390" name="Group 389">
            <a:extLst>
              <a:ext uri="{FF2B5EF4-FFF2-40B4-BE49-F238E27FC236}">
                <a16:creationId xmlns:a16="http://schemas.microsoft.com/office/drawing/2014/main" id="{931E70C9-01C5-A205-D219-91EFAF80310E}"/>
              </a:ext>
            </a:extLst>
          </p:cNvPr>
          <p:cNvGrpSpPr/>
          <p:nvPr/>
        </p:nvGrpSpPr>
        <p:grpSpPr>
          <a:xfrm>
            <a:off x="6017425" y="3722885"/>
            <a:ext cx="157987" cy="472020"/>
            <a:chOff x="6017425" y="3593104"/>
            <a:chExt cx="157987" cy="472020"/>
          </a:xfrm>
          <a:solidFill>
            <a:schemeClr val="accent6"/>
          </a:solidFill>
        </p:grpSpPr>
        <p:grpSp>
          <p:nvGrpSpPr>
            <p:cNvPr id="327" name="Group 326">
              <a:extLst>
                <a:ext uri="{FF2B5EF4-FFF2-40B4-BE49-F238E27FC236}">
                  <a16:creationId xmlns:a16="http://schemas.microsoft.com/office/drawing/2014/main" id="{44C63C6C-FAD9-73F4-C244-586C174D9565}"/>
                </a:ext>
              </a:extLst>
            </p:cNvPr>
            <p:cNvGrpSpPr/>
            <p:nvPr/>
          </p:nvGrpSpPr>
          <p:grpSpPr>
            <a:xfrm rot="10800000">
              <a:off x="6017425" y="3877981"/>
              <a:ext cx="157987" cy="187143"/>
              <a:chOff x="7804611" y="2869831"/>
              <a:chExt cx="117716" cy="133825"/>
            </a:xfrm>
            <a:grpFill/>
          </p:grpSpPr>
          <p:sp>
            <p:nvSpPr>
              <p:cNvPr id="370" name="Freeform: Shape 369">
                <a:extLst>
                  <a:ext uri="{FF2B5EF4-FFF2-40B4-BE49-F238E27FC236}">
                    <a16:creationId xmlns:a16="http://schemas.microsoft.com/office/drawing/2014/main" id="{519179BA-44F9-55A8-473A-75C357C7FCAD}"/>
                  </a:ext>
                </a:extLst>
              </p:cNvPr>
              <p:cNvSpPr/>
              <p:nvPr/>
            </p:nvSpPr>
            <p:spPr>
              <a:xfrm rot="5400000" flipH="1">
                <a:off x="7827616" y="2909225"/>
                <a:ext cx="71426" cy="117435"/>
              </a:xfrm>
              <a:custGeom>
                <a:avLst/>
                <a:gdLst>
                  <a:gd name="connsiteX0" fmla="*/ 113444 w 113443"/>
                  <a:gd name="connsiteY0" fmla="*/ 92725 h 186518"/>
                  <a:gd name="connsiteX1" fmla="*/ 107677 w 113443"/>
                  <a:gd name="connsiteY1" fmla="*/ 106609 h 186518"/>
                  <a:gd name="connsiteX2" fmla="*/ 34202 w 113443"/>
                  <a:gd name="connsiteY2" fmla="*/ 180725 h 186518"/>
                  <a:gd name="connsiteX3" fmla="*/ 6435 w 113443"/>
                  <a:gd name="connsiteY3" fmla="*/ 180939 h 186518"/>
                  <a:gd name="connsiteX4" fmla="*/ 6221 w 113443"/>
                  <a:gd name="connsiteY4" fmla="*/ 153172 h 186518"/>
                  <a:gd name="connsiteX5" fmla="*/ 65813 w 113443"/>
                  <a:gd name="connsiteY5" fmla="*/ 93153 h 186518"/>
                  <a:gd name="connsiteX6" fmla="*/ 5794 w 113443"/>
                  <a:gd name="connsiteY6" fmla="*/ 33561 h 186518"/>
                  <a:gd name="connsiteX7" fmla="*/ 5580 w 113443"/>
                  <a:gd name="connsiteY7" fmla="*/ 5794 h 186518"/>
                  <a:gd name="connsiteX8" fmla="*/ 33347 w 113443"/>
                  <a:gd name="connsiteY8" fmla="*/ 5580 h 186518"/>
                  <a:gd name="connsiteX9" fmla="*/ 107463 w 113443"/>
                  <a:gd name="connsiteY9" fmla="*/ 79056 h 186518"/>
                  <a:gd name="connsiteX10" fmla="*/ 113444 w 113443"/>
                  <a:gd name="connsiteY10" fmla="*/ 92725 h 186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443" h="186518">
                    <a:moveTo>
                      <a:pt x="113444" y="92725"/>
                    </a:moveTo>
                    <a:cubicBezTo>
                      <a:pt x="113444" y="97852"/>
                      <a:pt x="111522" y="102764"/>
                      <a:pt x="107677" y="106609"/>
                    </a:cubicBezTo>
                    <a:lnTo>
                      <a:pt x="34202" y="180725"/>
                    </a:lnTo>
                    <a:cubicBezTo>
                      <a:pt x="26512" y="188414"/>
                      <a:pt x="14124" y="188414"/>
                      <a:pt x="6435" y="180939"/>
                    </a:cubicBezTo>
                    <a:cubicBezTo>
                      <a:pt x="-1254" y="173249"/>
                      <a:pt x="-1254" y="160861"/>
                      <a:pt x="6221" y="153172"/>
                    </a:cubicBezTo>
                    <a:lnTo>
                      <a:pt x="65813" y="93153"/>
                    </a:lnTo>
                    <a:lnTo>
                      <a:pt x="5794" y="33561"/>
                    </a:lnTo>
                    <a:cubicBezTo>
                      <a:pt x="-1895" y="25871"/>
                      <a:pt x="-1895" y="13483"/>
                      <a:pt x="5580" y="5794"/>
                    </a:cubicBezTo>
                    <a:cubicBezTo>
                      <a:pt x="13270" y="-1895"/>
                      <a:pt x="25658" y="-1895"/>
                      <a:pt x="33347" y="5580"/>
                    </a:cubicBezTo>
                    <a:lnTo>
                      <a:pt x="107463" y="79056"/>
                    </a:lnTo>
                    <a:cubicBezTo>
                      <a:pt x="111522" y="82473"/>
                      <a:pt x="113444" y="87599"/>
                      <a:pt x="113444" y="92725"/>
                    </a:cubicBezTo>
                    <a:close/>
                  </a:path>
                </a:pathLst>
              </a:custGeom>
              <a:grpFill/>
              <a:ln w="2129" cap="flat">
                <a:noFill/>
                <a:prstDash val="solid"/>
                <a:miter/>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371" name="Freeform: Shape 370">
                <a:extLst>
                  <a:ext uri="{FF2B5EF4-FFF2-40B4-BE49-F238E27FC236}">
                    <a16:creationId xmlns:a16="http://schemas.microsoft.com/office/drawing/2014/main" id="{276E6207-5A61-1A7F-80AD-2EFC300BBF1F}"/>
                  </a:ext>
                </a:extLst>
              </p:cNvPr>
              <p:cNvSpPr/>
              <p:nvPr/>
            </p:nvSpPr>
            <p:spPr>
              <a:xfrm rot="5400000" flipH="1">
                <a:off x="7827897" y="2846826"/>
                <a:ext cx="71426" cy="117435"/>
              </a:xfrm>
              <a:custGeom>
                <a:avLst/>
                <a:gdLst>
                  <a:gd name="connsiteX0" fmla="*/ 113444 w 113443"/>
                  <a:gd name="connsiteY0" fmla="*/ 92725 h 186518"/>
                  <a:gd name="connsiteX1" fmla="*/ 107677 w 113443"/>
                  <a:gd name="connsiteY1" fmla="*/ 106609 h 186518"/>
                  <a:gd name="connsiteX2" fmla="*/ 34202 w 113443"/>
                  <a:gd name="connsiteY2" fmla="*/ 180725 h 186518"/>
                  <a:gd name="connsiteX3" fmla="*/ 6435 w 113443"/>
                  <a:gd name="connsiteY3" fmla="*/ 180938 h 186518"/>
                  <a:gd name="connsiteX4" fmla="*/ 6221 w 113443"/>
                  <a:gd name="connsiteY4" fmla="*/ 153172 h 186518"/>
                  <a:gd name="connsiteX5" fmla="*/ 65813 w 113443"/>
                  <a:gd name="connsiteY5" fmla="*/ 93153 h 186518"/>
                  <a:gd name="connsiteX6" fmla="*/ 5794 w 113443"/>
                  <a:gd name="connsiteY6" fmla="*/ 33561 h 186518"/>
                  <a:gd name="connsiteX7" fmla="*/ 5580 w 113443"/>
                  <a:gd name="connsiteY7" fmla="*/ 5794 h 186518"/>
                  <a:gd name="connsiteX8" fmla="*/ 33347 w 113443"/>
                  <a:gd name="connsiteY8" fmla="*/ 5580 h 186518"/>
                  <a:gd name="connsiteX9" fmla="*/ 107463 w 113443"/>
                  <a:gd name="connsiteY9" fmla="*/ 79056 h 186518"/>
                  <a:gd name="connsiteX10" fmla="*/ 113444 w 113443"/>
                  <a:gd name="connsiteY10" fmla="*/ 92725 h 186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443" h="186518">
                    <a:moveTo>
                      <a:pt x="113444" y="92725"/>
                    </a:moveTo>
                    <a:cubicBezTo>
                      <a:pt x="113444" y="97852"/>
                      <a:pt x="111521" y="102764"/>
                      <a:pt x="107677" y="106609"/>
                    </a:cubicBezTo>
                    <a:lnTo>
                      <a:pt x="34202" y="180725"/>
                    </a:lnTo>
                    <a:cubicBezTo>
                      <a:pt x="26512" y="188414"/>
                      <a:pt x="14124" y="188414"/>
                      <a:pt x="6435" y="180938"/>
                    </a:cubicBezTo>
                    <a:cubicBezTo>
                      <a:pt x="-1255" y="173249"/>
                      <a:pt x="-1255" y="160861"/>
                      <a:pt x="6221" y="153172"/>
                    </a:cubicBezTo>
                    <a:lnTo>
                      <a:pt x="65813" y="93153"/>
                    </a:lnTo>
                    <a:lnTo>
                      <a:pt x="5794" y="33561"/>
                    </a:lnTo>
                    <a:cubicBezTo>
                      <a:pt x="-1895" y="25871"/>
                      <a:pt x="-1895" y="13483"/>
                      <a:pt x="5580" y="5794"/>
                    </a:cubicBezTo>
                    <a:cubicBezTo>
                      <a:pt x="13270" y="-1895"/>
                      <a:pt x="25658" y="-1895"/>
                      <a:pt x="33347" y="5580"/>
                    </a:cubicBezTo>
                    <a:lnTo>
                      <a:pt x="107463" y="79056"/>
                    </a:lnTo>
                    <a:cubicBezTo>
                      <a:pt x="111521" y="82473"/>
                      <a:pt x="113444" y="87599"/>
                      <a:pt x="113444" y="92725"/>
                    </a:cubicBezTo>
                    <a:close/>
                  </a:path>
                </a:pathLst>
              </a:custGeom>
              <a:grpFill/>
              <a:ln w="2129" cap="flat">
                <a:noFill/>
                <a:prstDash val="solid"/>
                <a:miter/>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grpSp>
        <p:grpSp>
          <p:nvGrpSpPr>
            <p:cNvPr id="381" name="Group 380">
              <a:extLst>
                <a:ext uri="{FF2B5EF4-FFF2-40B4-BE49-F238E27FC236}">
                  <a16:creationId xmlns:a16="http://schemas.microsoft.com/office/drawing/2014/main" id="{61FECF68-3225-0A82-01D8-6E0A6A964761}"/>
                </a:ext>
              </a:extLst>
            </p:cNvPr>
            <p:cNvGrpSpPr/>
            <p:nvPr/>
          </p:nvGrpSpPr>
          <p:grpSpPr>
            <a:xfrm rot="10800000" flipV="1">
              <a:off x="6017425" y="3593104"/>
              <a:ext cx="157987" cy="187143"/>
              <a:chOff x="7804611" y="2869831"/>
              <a:chExt cx="117716" cy="133825"/>
            </a:xfrm>
            <a:grpFill/>
          </p:grpSpPr>
          <p:sp>
            <p:nvSpPr>
              <p:cNvPr id="382" name="Freeform: Shape 381">
                <a:extLst>
                  <a:ext uri="{FF2B5EF4-FFF2-40B4-BE49-F238E27FC236}">
                    <a16:creationId xmlns:a16="http://schemas.microsoft.com/office/drawing/2014/main" id="{9B7A49FB-C38A-E91A-2EAF-0EA82BBD82E1}"/>
                  </a:ext>
                </a:extLst>
              </p:cNvPr>
              <p:cNvSpPr/>
              <p:nvPr/>
            </p:nvSpPr>
            <p:spPr>
              <a:xfrm rot="5400000" flipH="1">
                <a:off x="7827616" y="2909225"/>
                <a:ext cx="71426" cy="117435"/>
              </a:xfrm>
              <a:custGeom>
                <a:avLst/>
                <a:gdLst>
                  <a:gd name="connsiteX0" fmla="*/ 113444 w 113443"/>
                  <a:gd name="connsiteY0" fmla="*/ 92725 h 186518"/>
                  <a:gd name="connsiteX1" fmla="*/ 107677 w 113443"/>
                  <a:gd name="connsiteY1" fmla="*/ 106609 h 186518"/>
                  <a:gd name="connsiteX2" fmla="*/ 34202 w 113443"/>
                  <a:gd name="connsiteY2" fmla="*/ 180725 h 186518"/>
                  <a:gd name="connsiteX3" fmla="*/ 6435 w 113443"/>
                  <a:gd name="connsiteY3" fmla="*/ 180939 h 186518"/>
                  <a:gd name="connsiteX4" fmla="*/ 6221 w 113443"/>
                  <a:gd name="connsiteY4" fmla="*/ 153172 h 186518"/>
                  <a:gd name="connsiteX5" fmla="*/ 65813 w 113443"/>
                  <a:gd name="connsiteY5" fmla="*/ 93153 h 186518"/>
                  <a:gd name="connsiteX6" fmla="*/ 5794 w 113443"/>
                  <a:gd name="connsiteY6" fmla="*/ 33561 h 186518"/>
                  <a:gd name="connsiteX7" fmla="*/ 5580 w 113443"/>
                  <a:gd name="connsiteY7" fmla="*/ 5794 h 186518"/>
                  <a:gd name="connsiteX8" fmla="*/ 33347 w 113443"/>
                  <a:gd name="connsiteY8" fmla="*/ 5580 h 186518"/>
                  <a:gd name="connsiteX9" fmla="*/ 107463 w 113443"/>
                  <a:gd name="connsiteY9" fmla="*/ 79056 h 186518"/>
                  <a:gd name="connsiteX10" fmla="*/ 113444 w 113443"/>
                  <a:gd name="connsiteY10" fmla="*/ 92725 h 186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443" h="186518">
                    <a:moveTo>
                      <a:pt x="113444" y="92725"/>
                    </a:moveTo>
                    <a:cubicBezTo>
                      <a:pt x="113444" y="97852"/>
                      <a:pt x="111522" y="102764"/>
                      <a:pt x="107677" y="106609"/>
                    </a:cubicBezTo>
                    <a:lnTo>
                      <a:pt x="34202" y="180725"/>
                    </a:lnTo>
                    <a:cubicBezTo>
                      <a:pt x="26512" y="188414"/>
                      <a:pt x="14124" y="188414"/>
                      <a:pt x="6435" y="180939"/>
                    </a:cubicBezTo>
                    <a:cubicBezTo>
                      <a:pt x="-1254" y="173249"/>
                      <a:pt x="-1254" y="160861"/>
                      <a:pt x="6221" y="153172"/>
                    </a:cubicBezTo>
                    <a:lnTo>
                      <a:pt x="65813" y="93153"/>
                    </a:lnTo>
                    <a:lnTo>
                      <a:pt x="5794" y="33561"/>
                    </a:lnTo>
                    <a:cubicBezTo>
                      <a:pt x="-1895" y="25871"/>
                      <a:pt x="-1895" y="13483"/>
                      <a:pt x="5580" y="5794"/>
                    </a:cubicBezTo>
                    <a:cubicBezTo>
                      <a:pt x="13270" y="-1895"/>
                      <a:pt x="25658" y="-1895"/>
                      <a:pt x="33347" y="5580"/>
                    </a:cubicBezTo>
                    <a:lnTo>
                      <a:pt x="107463" y="79056"/>
                    </a:lnTo>
                    <a:cubicBezTo>
                      <a:pt x="111522" y="82473"/>
                      <a:pt x="113444" y="87599"/>
                      <a:pt x="113444" y="92725"/>
                    </a:cubicBezTo>
                    <a:close/>
                  </a:path>
                </a:pathLst>
              </a:custGeom>
              <a:grpFill/>
              <a:ln w="2129" cap="flat">
                <a:noFill/>
                <a:prstDash val="solid"/>
                <a:miter/>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383" name="Freeform: Shape 382">
                <a:extLst>
                  <a:ext uri="{FF2B5EF4-FFF2-40B4-BE49-F238E27FC236}">
                    <a16:creationId xmlns:a16="http://schemas.microsoft.com/office/drawing/2014/main" id="{D35F4402-087D-B8D7-1275-D3C9CDDFA994}"/>
                  </a:ext>
                </a:extLst>
              </p:cNvPr>
              <p:cNvSpPr/>
              <p:nvPr/>
            </p:nvSpPr>
            <p:spPr>
              <a:xfrm rot="5400000" flipH="1">
                <a:off x="7827897" y="2846826"/>
                <a:ext cx="71426" cy="117435"/>
              </a:xfrm>
              <a:custGeom>
                <a:avLst/>
                <a:gdLst>
                  <a:gd name="connsiteX0" fmla="*/ 113444 w 113443"/>
                  <a:gd name="connsiteY0" fmla="*/ 92725 h 186518"/>
                  <a:gd name="connsiteX1" fmla="*/ 107677 w 113443"/>
                  <a:gd name="connsiteY1" fmla="*/ 106609 h 186518"/>
                  <a:gd name="connsiteX2" fmla="*/ 34202 w 113443"/>
                  <a:gd name="connsiteY2" fmla="*/ 180725 h 186518"/>
                  <a:gd name="connsiteX3" fmla="*/ 6435 w 113443"/>
                  <a:gd name="connsiteY3" fmla="*/ 180938 h 186518"/>
                  <a:gd name="connsiteX4" fmla="*/ 6221 w 113443"/>
                  <a:gd name="connsiteY4" fmla="*/ 153172 h 186518"/>
                  <a:gd name="connsiteX5" fmla="*/ 65813 w 113443"/>
                  <a:gd name="connsiteY5" fmla="*/ 93153 h 186518"/>
                  <a:gd name="connsiteX6" fmla="*/ 5794 w 113443"/>
                  <a:gd name="connsiteY6" fmla="*/ 33561 h 186518"/>
                  <a:gd name="connsiteX7" fmla="*/ 5580 w 113443"/>
                  <a:gd name="connsiteY7" fmla="*/ 5794 h 186518"/>
                  <a:gd name="connsiteX8" fmla="*/ 33347 w 113443"/>
                  <a:gd name="connsiteY8" fmla="*/ 5580 h 186518"/>
                  <a:gd name="connsiteX9" fmla="*/ 107463 w 113443"/>
                  <a:gd name="connsiteY9" fmla="*/ 79056 h 186518"/>
                  <a:gd name="connsiteX10" fmla="*/ 113444 w 113443"/>
                  <a:gd name="connsiteY10" fmla="*/ 92725 h 186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443" h="186518">
                    <a:moveTo>
                      <a:pt x="113444" y="92725"/>
                    </a:moveTo>
                    <a:cubicBezTo>
                      <a:pt x="113444" y="97852"/>
                      <a:pt x="111521" y="102764"/>
                      <a:pt x="107677" y="106609"/>
                    </a:cubicBezTo>
                    <a:lnTo>
                      <a:pt x="34202" y="180725"/>
                    </a:lnTo>
                    <a:cubicBezTo>
                      <a:pt x="26512" y="188414"/>
                      <a:pt x="14124" y="188414"/>
                      <a:pt x="6435" y="180938"/>
                    </a:cubicBezTo>
                    <a:cubicBezTo>
                      <a:pt x="-1255" y="173249"/>
                      <a:pt x="-1255" y="160861"/>
                      <a:pt x="6221" y="153172"/>
                    </a:cubicBezTo>
                    <a:lnTo>
                      <a:pt x="65813" y="93153"/>
                    </a:lnTo>
                    <a:lnTo>
                      <a:pt x="5794" y="33561"/>
                    </a:lnTo>
                    <a:cubicBezTo>
                      <a:pt x="-1895" y="25871"/>
                      <a:pt x="-1895" y="13483"/>
                      <a:pt x="5580" y="5794"/>
                    </a:cubicBezTo>
                    <a:cubicBezTo>
                      <a:pt x="13270" y="-1895"/>
                      <a:pt x="25658" y="-1895"/>
                      <a:pt x="33347" y="5580"/>
                    </a:cubicBezTo>
                    <a:lnTo>
                      <a:pt x="107463" y="79056"/>
                    </a:lnTo>
                    <a:cubicBezTo>
                      <a:pt x="111521" y="82473"/>
                      <a:pt x="113444" y="87599"/>
                      <a:pt x="113444" y="92725"/>
                    </a:cubicBezTo>
                    <a:close/>
                  </a:path>
                </a:pathLst>
              </a:custGeom>
              <a:grpFill/>
              <a:ln w="2129" cap="flat">
                <a:noFill/>
                <a:prstDash val="solid"/>
                <a:miter/>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grpSp>
      </p:grpSp>
      <p:grpSp>
        <p:nvGrpSpPr>
          <p:cNvPr id="384" name="Group 383">
            <a:extLst>
              <a:ext uri="{FF2B5EF4-FFF2-40B4-BE49-F238E27FC236}">
                <a16:creationId xmlns:a16="http://schemas.microsoft.com/office/drawing/2014/main" id="{6BBB923D-EB2D-27C1-34D3-A4C5BC2130C1}"/>
              </a:ext>
            </a:extLst>
          </p:cNvPr>
          <p:cNvGrpSpPr/>
          <p:nvPr/>
        </p:nvGrpSpPr>
        <p:grpSpPr>
          <a:xfrm rot="5400000" flipV="1">
            <a:off x="2708106" y="3317245"/>
            <a:ext cx="180461" cy="164224"/>
            <a:chOff x="6304821" y="3538504"/>
            <a:chExt cx="180461" cy="164224"/>
          </a:xfrm>
        </p:grpSpPr>
        <p:sp>
          <p:nvSpPr>
            <p:cNvPr id="385" name="Freeform: Shape 384">
              <a:extLst>
                <a:ext uri="{FF2B5EF4-FFF2-40B4-BE49-F238E27FC236}">
                  <a16:creationId xmlns:a16="http://schemas.microsoft.com/office/drawing/2014/main" id="{0BCA2123-8DBA-3639-C3D7-213205E58125}"/>
                </a:ext>
              </a:extLst>
            </p:cNvPr>
            <p:cNvSpPr/>
            <p:nvPr/>
          </p:nvSpPr>
          <p:spPr>
            <a:xfrm rot="10800000" flipH="1">
              <a:off x="6304821" y="3538504"/>
              <a:ext cx="95861" cy="164224"/>
            </a:xfrm>
            <a:custGeom>
              <a:avLst/>
              <a:gdLst>
                <a:gd name="connsiteX0" fmla="*/ 113444 w 113443"/>
                <a:gd name="connsiteY0" fmla="*/ 92725 h 186518"/>
                <a:gd name="connsiteX1" fmla="*/ 107677 w 113443"/>
                <a:gd name="connsiteY1" fmla="*/ 106609 h 186518"/>
                <a:gd name="connsiteX2" fmla="*/ 34202 w 113443"/>
                <a:gd name="connsiteY2" fmla="*/ 180725 h 186518"/>
                <a:gd name="connsiteX3" fmla="*/ 6435 w 113443"/>
                <a:gd name="connsiteY3" fmla="*/ 180938 h 186518"/>
                <a:gd name="connsiteX4" fmla="*/ 6221 w 113443"/>
                <a:gd name="connsiteY4" fmla="*/ 153172 h 186518"/>
                <a:gd name="connsiteX5" fmla="*/ 65813 w 113443"/>
                <a:gd name="connsiteY5" fmla="*/ 93153 h 186518"/>
                <a:gd name="connsiteX6" fmla="*/ 5794 w 113443"/>
                <a:gd name="connsiteY6" fmla="*/ 33561 h 186518"/>
                <a:gd name="connsiteX7" fmla="*/ 5580 w 113443"/>
                <a:gd name="connsiteY7" fmla="*/ 5794 h 186518"/>
                <a:gd name="connsiteX8" fmla="*/ 33347 w 113443"/>
                <a:gd name="connsiteY8" fmla="*/ 5580 h 186518"/>
                <a:gd name="connsiteX9" fmla="*/ 107463 w 113443"/>
                <a:gd name="connsiteY9" fmla="*/ 79056 h 186518"/>
                <a:gd name="connsiteX10" fmla="*/ 113444 w 113443"/>
                <a:gd name="connsiteY10" fmla="*/ 92725 h 186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443" h="186518">
                  <a:moveTo>
                    <a:pt x="113444" y="92725"/>
                  </a:moveTo>
                  <a:cubicBezTo>
                    <a:pt x="113444" y="97852"/>
                    <a:pt x="111521" y="102764"/>
                    <a:pt x="107677" y="106609"/>
                  </a:cubicBezTo>
                  <a:lnTo>
                    <a:pt x="34202" y="180725"/>
                  </a:lnTo>
                  <a:cubicBezTo>
                    <a:pt x="26512" y="188414"/>
                    <a:pt x="14124" y="188414"/>
                    <a:pt x="6435" y="180938"/>
                  </a:cubicBezTo>
                  <a:cubicBezTo>
                    <a:pt x="-1255" y="173249"/>
                    <a:pt x="-1255" y="160861"/>
                    <a:pt x="6221" y="153172"/>
                  </a:cubicBezTo>
                  <a:lnTo>
                    <a:pt x="65813" y="93153"/>
                  </a:lnTo>
                  <a:lnTo>
                    <a:pt x="5794" y="33561"/>
                  </a:lnTo>
                  <a:cubicBezTo>
                    <a:pt x="-1895" y="25871"/>
                    <a:pt x="-1895" y="13483"/>
                    <a:pt x="5580" y="5794"/>
                  </a:cubicBezTo>
                  <a:cubicBezTo>
                    <a:pt x="13270" y="-1895"/>
                    <a:pt x="25658" y="-1895"/>
                    <a:pt x="33347" y="5580"/>
                  </a:cubicBezTo>
                  <a:lnTo>
                    <a:pt x="107463" y="79056"/>
                  </a:lnTo>
                  <a:cubicBezTo>
                    <a:pt x="111521" y="82473"/>
                    <a:pt x="113444" y="87599"/>
                    <a:pt x="113444" y="92725"/>
                  </a:cubicBezTo>
                  <a:close/>
                </a:path>
              </a:pathLst>
            </a:custGeom>
            <a:solidFill>
              <a:srgbClr val="D59DFF"/>
            </a:solidFill>
            <a:ln w="2129" cap="flat">
              <a:noFill/>
              <a:prstDash val="solid"/>
              <a:miter/>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386" name="Freeform: Shape 385">
              <a:extLst>
                <a:ext uri="{FF2B5EF4-FFF2-40B4-BE49-F238E27FC236}">
                  <a16:creationId xmlns:a16="http://schemas.microsoft.com/office/drawing/2014/main" id="{2B7E294C-5056-1D12-6334-79AD9F652AB9}"/>
                </a:ext>
              </a:extLst>
            </p:cNvPr>
            <p:cNvSpPr/>
            <p:nvPr/>
          </p:nvSpPr>
          <p:spPr>
            <a:xfrm rot="10800000" flipH="1">
              <a:off x="6389421" y="3538504"/>
              <a:ext cx="95861" cy="164224"/>
            </a:xfrm>
            <a:custGeom>
              <a:avLst/>
              <a:gdLst>
                <a:gd name="connsiteX0" fmla="*/ 113444 w 113443"/>
                <a:gd name="connsiteY0" fmla="*/ 92725 h 186518"/>
                <a:gd name="connsiteX1" fmla="*/ 107677 w 113443"/>
                <a:gd name="connsiteY1" fmla="*/ 106609 h 186518"/>
                <a:gd name="connsiteX2" fmla="*/ 34202 w 113443"/>
                <a:gd name="connsiteY2" fmla="*/ 180725 h 186518"/>
                <a:gd name="connsiteX3" fmla="*/ 6435 w 113443"/>
                <a:gd name="connsiteY3" fmla="*/ 180938 h 186518"/>
                <a:gd name="connsiteX4" fmla="*/ 6221 w 113443"/>
                <a:gd name="connsiteY4" fmla="*/ 153172 h 186518"/>
                <a:gd name="connsiteX5" fmla="*/ 65813 w 113443"/>
                <a:gd name="connsiteY5" fmla="*/ 93153 h 186518"/>
                <a:gd name="connsiteX6" fmla="*/ 5794 w 113443"/>
                <a:gd name="connsiteY6" fmla="*/ 33561 h 186518"/>
                <a:gd name="connsiteX7" fmla="*/ 5580 w 113443"/>
                <a:gd name="connsiteY7" fmla="*/ 5794 h 186518"/>
                <a:gd name="connsiteX8" fmla="*/ 33347 w 113443"/>
                <a:gd name="connsiteY8" fmla="*/ 5580 h 186518"/>
                <a:gd name="connsiteX9" fmla="*/ 107463 w 113443"/>
                <a:gd name="connsiteY9" fmla="*/ 79056 h 186518"/>
                <a:gd name="connsiteX10" fmla="*/ 113444 w 113443"/>
                <a:gd name="connsiteY10" fmla="*/ 92725 h 186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443" h="186518">
                  <a:moveTo>
                    <a:pt x="113444" y="92725"/>
                  </a:moveTo>
                  <a:cubicBezTo>
                    <a:pt x="113444" y="97852"/>
                    <a:pt x="111521" y="102764"/>
                    <a:pt x="107677" y="106609"/>
                  </a:cubicBezTo>
                  <a:lnTo>
                    <a:pt x="34202" y="180725"/>
                  </a:lnTo>
                  <a:cubicBezTo>
                    <a:pt x="26512" y="188414"/>
                    <a:pt x="14124" y="188414"/>
                    <a:pt x="6435" y="180938"/>
                  </a:cubicBezTo>
                  <a:cubicBezTo>
                    <a:pt x="-1255" y="173249"/>
                    <a:pt x="-1255" y="160861"/>
                    <a:pt x="6221" y="153172"/>
                  </a:cubicBezTo>
                  <a:lnTo>
                    <a:pt x="65813" y="93153"/>
                  </a:lnTo>
                  <a:lnTo>
                    <a:pt x="5794" y="33561"/>
                  </a:lnTo>
                  <a:cubicBezTo>
                    <a:pt x="-1895" y="25871"/>
                    <a:pt x="-1895" y="13483"/>
                    <a:pt x="5580" y="5794"/>
                  </a:cubicBezTo>
                  <a:cubicBezTo>
                    <a:pt x="13270" y="-1895"/>
                    <a:pt x="25658" y="-1895"/>
                    <a:pt x="33347" y="5580"/>
                  </a:cubicBezTo>
                  <a:lnTo>
                    <a:pt x="107463" y="79056"/>
                  </a:lnTo>
                  <a:cubicBezTo>
                    <a:pt x="111521" y="82473"/>
                    <a:pt x="113444" y="87599"/>
                    <a:pt x="113444" y="92725"/>
                  </a:cubicBezTo>
                  <a:close/>
                </a:path>
              </a:pathLst>
            </a:custGeom>
            <a:solidFill>
              <a:srgbClr val="F49C1C"/>
            </a:solidFill>
            <a:ln w="2129" cap="flat">
              <a:noFill/>
              <a:prstDash val="solid"/>
              <a:miter/>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grpSp>
      <p:grpSp>
        <p:nvGrpSpPr>
          <p:cNvPr id="387" name="Group 386">
            <a:extLst>
              <a:ext uri="{FF2B5EF4-FFF2-40B4-BE49-F238E27FC236}">
                <a16:creationId xmlns:a16="http://schemas.microsoft.com/office/drawing/2014/main" id="{7377EA57-F3F9-AE5B-4630-D895400E5336}"/>
              </a:ext>
            </a:extLst>
          </p:cNvPr>
          <p:cNvGrpSpPr/>
          <p:nvPr/>
        </p:nvGrpSpPr>
        <p:grpSpPr>
          <a:xfrm>
            <a:off x="4163652" y="3699812"/>
            <a:ext cx="180461" cy="164224"/>
            <a:chOff x="6304821" y="3538504"/>
            <a:chExt cx="180461" cy="164224"/>
          </a:xfrm>
        </p:grpSpPr>
        <p:sp>
          <p:nvSpPr>
            <p:cNvPr id="388" name="Freeform: Shape 387">
              <a:extLst>
                <a:ext uri="{FF2B5EF4-FFF2-40B4-BE49-F238E27FC236}">
                  <a16:creationId xmlns:a16="http://schemas.microsoft.com/office/drawing/2014/main" id="{4BE24500-D8A5-3C9F-770F-4736DCAECA4F}"/>
                </a:ext>
              </a:extLst>
            </p:cNvPr>
            <p:cNvSpPr/>
            <p:nvPr/>
          </p:nvSpPr>
          <p:spPr>
            <a:xfrm rot="10800000" flipH="1">
              <a:off x="6304821" y="3538504"/>
              <a:ext cx="95861" cy="164224"/>
            </a:xfrm>
            <a:custGeom>
              <a:avLst/>
              <a:gdLst>
                <a:gd name="connsiteX0" fmla="*/ 113444 w 113443"/>
                <a:gd name="connsiteY0" fmla="*/ 92725 h 186518"/>
                <a:gd name="connsiteX1" fmla="*/ 107677 w 113443"/>
                <a:gd name="connsiteY1" fmla="*/ 106609 h 186518"/>
                <a:gd name="connsiteX2" fmla="*/ 34202 w 113443"/>
                <a:gd name="connsiteY2" fmla="*/ 180725 h 186518"/>
                <a:gd name="connsiteX3" fmla="*/ 6435 w 113443"/>
                <a:gd name="connsiteY3" fmla="*/ 180938 h 186518"/>
                <a:gd name="connsiteX4" fmla="*/ 6221 w 113443"/>
                <a:gd name="connsiteY4" fmla="*/ 153172 h 186518"/>
                <a:gd name="connsiteX5" fmla="*/ 65813 w 113443"/>
                <a:gd name="connsiteY5" fmla="*/ 93153 h 186518"/>
                <a:gd name="connsiteX6" fmla="*/ 5794 w 113443"/>
                <a:gd name="connsiteY6" fmla="*/ 33561 h 186518"/>
                <a:gd name="connsiteX7" fmla="*/ 5580 w 113443"/>
                <a:gd name="connsiteY7" fmla="*/ 5794 h 186518"/>
                <a:gd name="connsiteX8" fmla="*/ 33347 w 113443"/>
                <a:gd name="connsiteY8" fmla="*/ 5580 h 186518"/>
                <a:gd name="connsiteX9" fmla="*/ 107463 w 113443"/>
                <a:gd name="connsiteY9" fmla="*/ 79056 h 186518"/>
                <a:gd name="connsiteX10" fmla="*/ 113444 w 113443"/>
                <a:gd name="connsiteY10" fmla="*/ 92725 h 186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443" h="186518">
                  <a:moveTo>
                    <a:pt x="113444" y="92725"/>
                  </a:moveTo>
                  <a:cubicBezTo>
                    <a:pt x="113444" y="97852"/>
                    <a:pt x="111521" y="102764"/>
                    <a:pt x="107677" y="106609"/>
                  </a:cubicBezTo>
                  <a:lnTo>
                    <a:pt x="34202" y="180725"/>
                  </a:lnTo>
                  <a:cubicBezTo>
                    <a:pt x="26512" y="188414"/>
                    <a:pt x="14124" y="188414"/>
                    <a:pt x="6435" y="180938"/>
                  </a:cubicBezTo>
                  <a:cubicBezTo>
                    <a:pt x="-1255" y="173249"/>
                    <a:pt x="-1255" y="160861"/>
                    <a:pt x="6221" y="153172"/>
                  </a:cubicBezTo>
                  <a:lnTo>
                    <a:pt x="65813" y="93153"/>
                  </a:lnTo>
                  <a:lnTo>
                    <a:pt x="5794" y="33561"/>
                  </a:lnTo>
                  <a:cubicBezTo>
                    <a:pt x="-1895" y="25871"/>
                    <a:pt x="-1895" y="13483"/>
                    <a:pt x="5580" y="5794"/>
                  </a:cubicBezTo>
                  <a:cubicBezTo>
                    <a:pt x="13270" y="-1895"/>
                    <a:pt x="25658" y="-1895"/>
                    <a:pt x="33347" y="5580"/>
                  </a:cubicBezTo>
                  <a:lnTo>
                    <a:pt x="107463" y="79056"/>
                  </a:lnTo>
                  <a:cubicBezTo>
                    <a:pt x="111521" y="82473"/>
                    <a:pt x="113444" y="87599"/>
                    <a:pt x="113444" y="92725"/>
                  </a:cubicBezTo>
                  <a:close/>
                </a:path>
              </a:pathLst>
            </a:custGeom>
            <a:solidFill>
              <a:schemeClr val="accent5"/>
            </a:solidFill>
            <a:ln w="2129" cap="flat">
              <a:noFill/>
              <a:prstDash val="solid"/>
              <a:miter/>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389" name="Freeform: Shape 388">
              <a:extLst>
                <a:ext uri="{FF2B5EF4-FFF2-40B4-BE49-F238E27FC236}">
                  <a16:creationId xmlns:a16="http://schemas.microsoft.com/office/drawing/2014/main" id="{8408C8B0-86AB-AEAF-765F-C6F740D32D8A}"/>
                </a:ext>
              </a:extLst>
            </p:cNvPr>
            <p:cNvSpPr/>
            <p:nvPr/>
          </p:nvSpPr>
          <p:spPr>
            <a:xfrm rot="10800000" flipH="1">
              <a:off x="6389421" y="3538504"/>
              <a:ext cx="95861" cy="164224"/>
            </a:xfrm>
            <a:custGeom>
              <a:avLst/>
              <a:gdLst>
                <a:gd name="connsiteX0" fmla="*/ 113444 w 113443"/>
                <a:gd name="connsiteY0" fmla="*/ 92725 h 186518"/>
                <a:gd name="connsiteX1" fmla="*/ 107677 w 113443"/>
                <a:gd name="connsiteY1" fmla="*/ 106609 h 186518"/>
                <a:gd name="connsiteX2" fmla="*/ 34202 w 113443"/>
                <a:gd name="connsiteY2" fmla="*/ 180725 h 186518"/>
                <a:gd name="connsiteX3" fmla="*/ 6435 w 113443"/>
                <a:gd name="connsiteY3" fmla="*/ 180938 h 186518"/>
                <a:gd name="connsiteX4" fmla="*/ 6221 w 113443"/>
                <a:gd name="connsiteY4" fmla="*/ 153172 h 186518"/>
                <a:gd name="connsiteX5" fmla="*/ 65813 w 113443"/>
                <a:gd name="connsiteY5" fmla="*/ 93153 h 186518"/>
                <a:gd name="connsiteX6" fmla="*/ 5794 w 113443"/>
                <a:gd name="connsiteY6" fmla="*/ 33561 h 186518"/>
                <a:gd name="connsiteX7" fmla="*/ 5580 w 113443"/>
                <a:gd name="connsiteY7" fmla="*/ 5794 h 186518"/>
                <a:gd name="connsiteX8" fmla="*/ 33347 w 113443"/>
                <a:gd name="connsiteY8" fmla="*/ 5580 h 186518"/>
                <a:gd name="connsiteX9" fmla="*/ 107463 w 113443"/>
                <a:gd name="connsiteY9" fmla="*/ 79056 h 186518"/>
                <a:gd name="connsiteX10" fmla="*/ 113444 w 113443"/>
                <a:gd name="connsiteY10" fmla="*/ 92725 h 186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443" h="186518">
                  <a:moveTo>
                    <a:pt x="113444" y="92725"/>
                  </a:moveTo>
                  <a:cubicBezTo>
                    <a:pt x="113444" y="97852"/>
                    <a:pt x="111521" y="102764"/>
                    <a:pt x="107677" y="106609"/>
                  </a:cubicBezTo>
                  <a:lnTo>
                    <a:pt x="34202" y="180725"/>
                  </a:lnTo>
                  <a:cubicBezTo>
                    <a:pt x="26512" y="188414"/>
                    <a:pt x="14124" y="188414"/>
                    <a:pt x="6435" y="180938"/>
                  </a:cubicBezTo>
                  <a:cubicBezTo>
                    <a:pt x="-1255" y="173249"/>
                    <a:pt x="-1255" y="160861"/>
                    <a:pt x="6221" y="153172"/>
                  </a:cubicBezTo>
                  <a:lnTo>
                    <a:pt x="65813" y="93153"/>
                  </a:lnTo>
                  <a:lnTo>
                    <a:pt x="5794" y="33561"/>
                  </a:lnTo>
                  <a:cubicBezTo>
                    <a:pt x="-1895" y="25871"/>
                    <a:pt x="-1895" y="13483"/>
                    <a:pt x="5580" y="5794"/>
                  </a:cubicBezTo>
                  <a:cubicBezTo>
                    <a:pt x="13270" y="-1895"/>
                    <a:pt x="25658" y="-1895"/>
                    <a:pt x="33347" y="5580"/>
                  </a:cubicBezTo>
                  <a:lnTo>
                    <a:pt x="107463" y="79056"/>
                  </a:lnTo>
                  <a:cubicBezTo>
                    <a:pt x="111521" y="82473"/>
                    <a:pt x="113444" y="87599"/>
                    <a:pt x="113444" y="92725"/>
                  </a:cubicBezTo>
                  <a:close/>
                </a:path>
              </a:pathLst>
            </a:custGeom>
            <a:solidFill>
              <a:srgbClr val="D59DFF"/>
            </a:solidFill>
            <a:ln w="2129" cap="flat">
              <a:noFill/>
              <a:prstDash val="solid"/>
              <a:miter/>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grpSp>
      <p:grpSp>
        <p:nvGrpSpPr>
          <p:cNvPr id="397" name="Group 396">
            <a:extLst>
              <a:ext uri="{FF2B5EF4-FFF2-40B4-BE49-F238E27FC236}">
                <a16:creationId xmlns:a16="http://schemas.microsoft.com/office/drawing/2014/main" id="{A5774FCC-8C09-D410-C75A-32D98357C662}"/>
              </a:ext>
            </a:extLst>
          </p:cNvPr>
          <p:cNvGrpSpPr/>
          <p:nvPr/>
        </p:nvGrpSpPr>
        <p:grpSpPr>
          <a:xfrm>
            <a:off x="7737825" y="3699812"/>
            <a:ext cx="351911" cy="164224"/>
            <a:chOff x="7070985" y="3346888"/>
            <a:chExt cx="351911" cy="164224"/>
          </a:xfrm>
          <a:solidFill>
            <a:schemeClr val="bg1"/>
          </a:solidFill>
        </p:grpSpPr>
        <p:grpSp>
          <p:nvGrpSpPr>
            <p:cNvPr id="391" name="Group 390">
              <a:extLst>
                <a:ext uri="{FF2B5EF4-FFF2-40B4-BE49-F238E27FC236}">
                  <a16:creationId xmlns:a16="http://schemas.microsoft.com/office/drawing/2014/main" id="{703253F2-C768-CF56-E60B-4B34E2DF68A7}"/>
                </a:ext>
              </a:extLst>
            </p:cNvPr>
            <p:cNvGrpSpPr/>
            <p:nvPr/>
          </p:nvGrpSpPr>
          <p:grpSpPr>
            <a:xfrm>
              <a:off x="7242435" y="3346888"/>
              <a:ext cx="180461" cy="164224"/>
              <a:chOff x="6304821" y="3538504"/>
              <a:chExt cx="180461" cy="164224"/>
            </a:xfrm>
            <a:grpFill/>
          </p:grpSpPr>
          <p:sp>
            <p:nvSpPr>
              <p:cNvPr id="392" name="Freeform: Shape 391">
                <a:extLst>
                  <a:ext uri="{FF2B5EF4-FFF2-40B4-BE49-F238E27FC236}">
                    <a16:creationId xmlns:a16="http://schemas.microsoft.com/office/drawing/2014/main" id="{590760FF-A0CA-25C8-3DD9-9E60DDAD8E58}"/>
                  </a:ext>
                </a:extLst>
              </p:cNvPr>
              <p:cNvSpPr/>
              <p:nvPr/>
            </p:nvSpPr>
            <p:spPr>
              <a:xfrm rot="10800000" flipH="1">
                <a:off x="6304821" y="3538504"/>
                <a:ext cx="95861" cy="164224"/>
              </a:xfrm>
              <a:custGeom>
                <a:avLst/>
                <a:gdLst>
                  <a:gd name="connsiteX0" fmla="*/ 113444 w 113443"/>
                  <a:gd name="connsiteY0" fmla="*/ 92725 h 186518"/>
                  <a:gd name="connsiteX1" fmla="*/ 107677 w 113443"/>
                  <a:gd name="connsiteY1" fmla="*/ 106609 h 186518"/>
                  <a:gd name="connsiteX2" fmla="*/ 34202 w 113443"/>
                  <a:gd name="connsiteY2" fmla="*/ 180725 h 186518"/>
                  <a:gd name="connsiteX3" fmla="*/ 6435 w 113443"/>
                  <a:gd name="connsiteY3" fmla="*/ 180938 h 186518"/>
                  <a:gd name="connsiteX4" fmla="*/ 6221 w 113443"/>
                  <a:gd name="connsiteY4" fmla="*/ 153172 h 186518"/>
                  <a:gd name="connsiteX5" fmla="*/ 65813 w 113443"/>
                  <a:gd name="connsiteY5" fmla="*/ 93153 h 186518"/>
                  <a:gd name="connsiteX6" fmla="*/ 5794 w 113443"/>
                  <a:gd name="connsiteY6" fmla="*/ 33561 h 186518"/>
                  <a:gd name="connsiteX7" fmla="*/ 5580 w 113443"/>
                  <a:gd name="connsiteY7" fmla="*/ 5794 h 186518"/>
                  <a:gd name="connsiteX8" fmla="*/ 33347 w 113443"/>
                  <a:gd name="connsiteY8" fmla="*/ 5580 h 186518"/>
                  <a:gd name="connsiteX9" fmla="*/ 107463 w 113443"/>
                  <a:gd name="connsiteY9" fmla="*/ 79056 h 186518"/>
                  <a:gd name="connsiteX10" fmla="*/ 113444 w 113443"/>
                  <a:gd name="connsiteY10" fmla="*/ 92725 h 186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443" h="186518">
                    <a:moveTo>
                      <a:pt x="113444" y="92725"/>
                    </a:moveTo>
                    <a:cubicBezTo>
                      <a:pt x="113444" y="97852"/>
                      <a:pt x="111521" y="102764"/>
                      <a:pt x="107677" y="106609"/>
                    </a:cubicBezTo>
                    <a:lnTo>
                      <a:pt x="34202" y="180725"/>
                    </a:lnTo>
                    <a:cubicBezTo>
                      <a:pt x="26512" y="188414"/>
                      <a:pt x="14124" y="188414"/>
                      <a:pt x="6435" y="180938"/>
                    </a:cubicBezTo>
                    <a:cubicBezTo>
                      <a:pt x="-1255" y="173249"/>
                      <a:pt x="-1255" y="160861"/>
                      <a:pt x="6221" y="153172"/>
                    </a:cubicBezTo>
                    <a:lnTo>
                      <a:pt x="65813" y="93153"/>
                    </a:lnTo>
                    <a:lnTo>
                      <a:pt x="5794" y="33561"/>
                    </a:lnTo>
                    <a:cubicBezTo>
                      <a:pt x="-1895" y="25871"/>
                      <a:pt x="-1895" y="13483"/>
                      <a:pt x="5580" y="5794"/>
                    </a:cubicBezTo>
                    <a:cubicBezTo>
                      <a:pt x="13270" y="-1895"/>
                      <a:pt x="25658" y="-1895"/>
                      <a:pt x="33347" y="5580"/>
                    </a:cubicBezTo>
                    <a:lnTo>
                      <a:pt x="107463" y="79056"/>
                    </a:lnTo>
                    <a:cubicBezTo>
                      <a:pt x="111521" y="82473"/>
                      <a:pt x="113444" y="87599"/>
                      <a:pt x="113444" y="92725"/>
                    </a:cubicBezTo>
                    <a:close/>
                  </a:path>
                </a:pathLst>
              </a:custGeom>
              <a:grpFill/>
              <a:ln w="2129" cap="flat">
                <a:noFill/>
                <a:prstDash val="solid"/>
                <a:miter/>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393" name="Freeform: Shape 392">
                <a:extLst>
                  <a:ext uri="{FF2B5EF4-FFF2-40B4-BE49-F238E27FC236}">
                    <a16:creationId xmlns:a16="http://schemas.microsoft.com/office/drawing/2014/main" id="{36DAC01A-12C2-8178-F776-97EFCF6FBD43}"/>
                  </a:ext>
                </a:extLst>
              </p:cNvPr>
              <p:cNvSpPr/>
              <p:nvPr/>
            </p:nvSpPr>
            <p:spPr>
              <a:xfrm rot="10800000" flipH="1">
                <a:off x="6389421" y="3538504"/>
                <a:ext cx="95861" cy="164224"/>
              </a:xfrm>
              <a:custGeom>
                <a:avLst/>
                <a:gdLst>
                  <a:gd name="connsiteX0" fmla="*/ 113444 w 113443"/>
                  <a:gd name="connsiteY0" fmla="*/ 92725 h 186518"/>
                  <a:gd name="connsiteX1" fmla="*/ 107677 w 113443"/>
                  <a:gd name="connsiteY1" fmla="*/ 106609 h 186518"/>
                  <a:gd name="connsiteX2" fmla="*/ 34202 w 113443"/>
                  <a:gd name="connsiteY2" fmla="*/ 180725 h 186518"/>
                  <a:gd name="connsiteX3" fmla="*/ 6435 w 113443"/>
                  <a:gd name="connsiteY3" fmla="*/ 180938 h 186518"/>
                  <a:gd name="connsiteX4" fmla="*/ 6221 w 113443"/>
                  <a:gd name="connsiteY4" fmla="*/ 153172 h 186518"/>
                  <a:gd name="connsiteX5" fmla="*/ 65813 w 113443"/>
                  <a:gd name="connsiteY5" fmla="*/ 93153 h 186518"/>
                  <a:gd name="connsiteX6" fmla="*/ 5794 w 113443"/>
                  <a:gd name="connsiteY6" fmla="*/ 33561 h 186518"/>
                  <a:gd name="connsiteX7" fmla="*/ 5580 w 113443"/>
                  <a:gd name="connsiteY7" fmla="*/ 5794 h 186518"/>
                  <a:gd name="connsiteX8" fmla="*/ 33347 w 113443"/>
                  <a:gd name="connsiteY8" fmla="*/ 5580 h 186518"/>
                  <a:gd name="connsiteX9" fmla="*/ 107463 w 113443"/>
                  <a:gd name="connsiteY9" fmla="*/ 79056 h 186518"/>
                  <a:gd name="connsiteX10" fmla="*/ 113444 w 113443"/>
                  <a:gd name="connsiteY10" fmla="*/ 92725 h 186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443" h="186518">
                    <a:moveTo>
                      <a:pt x="113444" y="92725"/>
                    </a:moveTo>
                    <a:cubicBezTo>
                      <a:pt x="113444" y="97852"/>
                      <a:pt x="111521" y="102764"/>
                      <a:pt x="107677" y="106609"/>
                    </a:cubicBezTo>
                    <a:lnTo>
                      <a:pt x="34202" y="180725"/>
                    </a:lnTo>
                    <a:cubicBezTo>
                      <a:pt x="26512" y="188414"/>
                      <a:pt x="14124" y="188414"/>
                      <a:pt x="6435" y="180938"/>
                    </a:cubicBezTo>
                    <a:cubicBezTo>
                      <a:pt x="-1255" y="173249"/>
                      <a:pt x="-1255" y="160861"/>
                      <a:pt x="6221" y="153172"/>
                    </a:cubicBezTo>
                    <a:lnTo>
                      <a:pt x="65813" y="93153"/>
                    </a:lnTo>
                    <a:lnTo>
                      <a:pt x="5794" y="33561"/>
                    </a:lnTo>
                    <a:cubicBezTo>
                      <a:pt x="-1895" y="25871"/>
                      <a:pt x="-1895" y="13483"/>
                      <a:pt x="5580" y="5794"/>
                    </a:cubicBezTo>
                    <a:cubicBezTo>
                      <a:pt x="13270" y="-1895"/>
                      <a:pt x="25658" y="-1895"/>
                      <a:pt x="33347" y="5580"/>
                    </a:cubicBezTo>
                    <a:lnTo>
                      <a:pt x="107463" y="79056"/>
                    </a:lnTo>
                    <a:cubicBezTo>
                      <a:pt x="111521" y="82473"/>
                      <a:pt x="113444" y="87599"/>
                      <a:pt x="113444" y="92725"/>
                    </a:cubicBezTo>
                    <a:close/>
                  </a:path>
                </a:pathLst>
              </a:custGeom>
              <a:grpFill/>
              <a:ln w="2129" cap="flat">
                <a:noFill/>
                <a:prstDash val="solid"/>
                <a:miter/>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grpSp>
        <p:grpSp>
          <p:nvGrpSpPr>
            <p:cNvPr id="394" name="Group 393">
              <a:extLst>
                <a:ext uri="{FF2B5EF4-FFF2-40B4-BE49-F238E27FC236}">
                  <a16:creationId xmlns:a16="http://schemas.microsoft.com/office/drawing/2014/main" id="{5D66CB59-28C9-4966-B3DF-B2E64A2589B7}"/>
                </a:ext>
              </a:extLst>
            </p:cNvPr>
            <p:cNvGrpSpPr/>
            <p:nvPr/>
          </p:nvGrpSpPr>
          <p:grpSpPr>
            <a:xfrm>
              <a:off x="7070985" y="3346888"/>
              <a:ext cx="180461" cy="164224"/>
              <a:chOff x="6304821" y="3538504"/>
              <a:chExt cx="180461" cy="164224"/>
            </a:xfrm>
            <a:grpFill/>
          </p:grpSpPr>
          <p:sp>
            <p:nvSpPr>
              <p:cNvPr id="395" name="Freeform: Shape 394">
                <a:extLst>
                  <a:ext uri="{FF2B5EF4-FFF2-40B4-BE49-F238E27FC236}">
                    <a16:creationId xmlns:a16="http://schemas.microsoft.com/office/drawing/2014/main" id="{8892698A-25ED-B234-A7E8-67EC0EEE36E5}"/>
                  </a:ext>
                </a:extLst>
              </p:cNvPr>
              <p:cNvSpPr/>
              <p:nvPr/>
            </p:nvSpPr>
            <p:spPr>
              <a:xfrm rot="10800000" flipH="1">
                <a:off x="6304821" y="3538504"/>
                <a:ext cx="95861" cy="164224"/>
              </a:xfrm>
              <a:custGeom>
                <a:avLst/>
                <a:gdLst>
                  <a:gd name="connsiteX0" fmla="*/ 113444 w 113443"/>
                  <a:gd name="connsiteY0" fmla="*/ 92725 h 186518"/>
                  <a:gd name="connsiteX1" fmla="*/ 107677 w 113443"/>
                  <a:gd name="connsiteY1" fmla="*/ 106609 h 186518"/>
                  <a:gd name="connsiteX2" fmla="*/ 34202 w 113443"/>
                  <a:gd name="connsiteY2" fmla="*/ 180725 h 186518"/>
                  <a:gd name="connsiteX3" fmla="*/ 6435 w 113443"/>
                  <a:gd name="connsiteY3" fmla="*/ 180938 h 186518"/>
                  <a:gd name="connsiteX4" fmla="*/ 6221 w 113443"/>
                  <a:gd name="connsiteY4" fmla="*/ 153172 h 186518"/>
                  <a:gd name="connsiteX5" fmla="*/ 65813 w 113443"/>
                  <a:gd name="connsiteY5" fmla="*/ 93153 h 186518"/>
                  <a:gd name="connsiteX6" fmla="*/ 5794 w 113443"/>
                  <a:gd name="connsiteY6" fmla="*/ 33561 h 186518"/>
                  <a:gd name="connsiteX7" fmla="*/ 5580 w 113443"/>
                  <a:gd name="connsiteY7" fmla="*/ 5794 h 186518"/>
                  <a:gd name="connsiteX8" fmla="*/ 33347 w 113443"/>
                  <a:gd name="connsiteY8" fmla="*/ 5580 h 186518"/>
                  <a:gd name="connsiteX9" fmla="*/ 107463 w 113443"/>
                  <a:gd name="connsiteY9" fmla="*/ 79056 h 186518"/>
                  <a:gd name="connsiteX10" fmla="*/ 113444 w 113443"/>
                  <a:gd name="connsiteY10" fmla="*/ 92725 h 186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443" h="186518">
                    <a:moveTo>
                      <a:pt x="113444" y="92725"/>
                    </a:moveTo>
                    <a:cubicBezTo>
                      <a:pt x="113444" y="97852"/>
                      <a:pt x="111521" y="102764"/>
                      <a:pt x="107677" y="106609"/>
                    </a:cubicBezTo>
                    <a:lnTo>
                      <a:pt x="34202" y="180725"/>
                    </a:lnTo>
                    <a:cubicBezTo>
                      <a:pt x="26512" y="188414"/>
                      <a:pt x="14124" y="188414"/>
                      <a:pt x="6435" y="180938"/>
                    </a:cubicBezTo>
                    <a:cubicBezTo>
                      <a:pt x="-1255" y="173249"/>
                      <a:pt x="-1255" y="160861"/>
                      <a:pt x="6221" y="153172"/>
                    </a:cubicBezTo>
                    <a:lnTo>
                      <a:pt x="65813" y="93153"/>
                    </a:lnTo>
                    <a:lnTo>
                      <a:pt x="5794" y="33561"/>
                    </a:lnTo>
                    <a:cubicBezTo>
                      <a:pt x="-1895" y="25871"/>
                      <a:pt x="-1895" y="13483"/>
                      <a:pt x="5580" y="5794"/>
                    </a:cubicBezTo>
                    <a:cubicBezTo>
                      <a:pt x="13270" y="-1895"/>
                      <a:pt x="25658" y="-1895"/>
                      <a:pt x="33347" y="5580"/>
                    </a:cubicBezTo>
                    <a:lnTo>
                      <a:pt x="107463" y="79056"/>
                    </a:lnTo>
                    <a:cubicBezTo>
                      <a:pt x="111521" y="82473"/>
                      <a:pt x="113444" y="87599"/>
                      <a:pt x="113444" y="92725"/>
                    </a:cubicBezTo>
                    <a:close/>
                  </a:path>
                </a:pathLst>
              </a:custGeom>
              <a:grpFill/>
              <a:ln w="2129" cap="flat">
                <a:noFill/>
                <a:prstDash val="solid"/>
                <a:miter/>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396" name="Freeform: Shape 395">
                <a:extLst>
                  <a:ext uri="{FF2B5EF4-FFF2-40B4-BE49-F238E27FC236}">
                    <a16:creationId xmlns:a16="http://schemas.microsoft.com/office/drawing/2014/main" id="{146179B4-400E-A8A6-B06F-7C99BDDD0FFE}"/>
                  </a:ext>
                </a:extLst>
              </p:cNvPr>
              <p:cNvSpPr/>
              <p:nvPr/>
            </p:nvSpPr>
            <p:spPr>
              <a:xfrm rot="10800000" flipH="1">
                <a:off x="6389421" y="3538504"/>
                <a:ext cx="95861" cy="164224"/>
              </a:xfrm>
              <a:custGeom>
                <a:avLst/>
                <a:gdLst>
                  <a:gd name="connsiteX0" fmla="*/ 113444 w 113443"/>
                  <a:gd name="connsiteY0" fmla="*/ 92725 h 186518"/>
                  <a:gd name="connsiteX1" fmla="*/ 107677 w 113443"/>
                  <a:gd name="connsiteY1" fmla="*/ 106609 h 186518"/>
                  <a:gd name="connsiteX2" fmla="*/ 34202 w 113443"/>
                  <a:gd name="connsiteY2" fmla="*/ 180725 h 186518"/>
                  <a:gd name="connsiteX3" fmla="*/ 6435 w 113443"/>
                  <a:gd name="connsiteY3" fmla="*/ 180938 h 186518"/>
                  <a:gd name="connsiteX4" fmla="*/ 6221 w 113443"/>
                  <a:gd name="connsiteY4" fmla="*/ 153172 h 186518"/>
                  <a:gd name="connsiteX5" fmla="*/ 65813 w 113443"/>
                  <a:gd name="connsiteY5" fmla="*/ 93153 h 186518"/>
                  <a:gd name="connsiteX6" fmla="*/ 5794 w 113443"/>
                  <a:gd name="connsiteY6" fmla="*/ 33561 h 186518"/>
                  <a:gd name="connsiteX7" fmla="*/ 5580 w 113443"/>
                  <a:gd name="connsiteY7" fmla="*/ 5794 h 186518"/>
                  <a:gd name="connsiteX8" fmla="*/ 33347 w 113443"/>
                  <a:gd name="connsiteY8" fmla="*/ 5580 h 186518"/>
                  <a:gd name="connsiteX9" fmla="*/ 107463 w 113443"/>
                  <a:gd name="connsiteY9" fmla="*/ 79056 h 186518"/>
                  <a:gd name="connsiteX10" fmla="*/ 113444 w 113443"/>
                  <a:gd name="connsiteY10" fmla="*/ 92725 h 186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443" h="186518">
                    <a:moveTo>
                      <a:pt x="113444" y="92725"/>
                    </a:moveTo>
                    <a:cubicBezTo>
                      <a:pt x="113444" y="97852"/>
                      <a:pt x="111521" y="102764"/>
                      <a:pt x="107677" y="106609"/>
                    </a:cubicBezTo>
                    <a:lnTo>
                      <a:pt x="34202" y="180725"/>
                    </a:lnTo>
                    <a:cubicBezTo>
                      <a:pt x="26512" y="188414"/>
                      <a:pt x="14124" y="188414"/>
                      <a:pt x="6435" y="180938"/>
                    </a:cubicBezTo>
                    <a:cubicBezTo>
                      <a:pt x="-1255" y="173249"/>
                      <a:pt x="-1255" y="160861"/>
                      <a:pt x="6221" y="153172"/>
                    </a:cubicBezTo>
                    <a:lnTo>
                      <a:pt x="65813" y="93153"/>
                    </a:lnTo>
                    <a:lnTo>
                      <a:pt x="5794" y="33561"/>
                    </a:lnTo>
                    <a:cubicBezTo>
                      <a:pt x="-1895" y="25871"/>
                      <a:pt x="-1895" y="13483"/>
                      <a:pt x="5580" y="5794"/>
                    </a:cubicBezTo>
                    <a:cubicBezTo>
                      <a:pt x="13270" y="-1895"/>
                      <a:pt x="25658" y="-1895"/>
                      <a:pt x="33347" y="5580"/>
                    </a:cubicBezTo>
                    <a:lnTo>
                      <a:pt x="107463" y="79056"/>
                    </a:lnTo>
                    <a:cubicBezTo>
                      <a:pt x="111521" y="82473"/>
                      <a:pt x="113444" y="87599"/>
                      <a:pt x="113444" y="92725"/>
                    </a:cubicBezTo>
                    <a:close/>
                  </a:path>
                </a:pathLst>
              </a:custGeom>
              <a:grpFill/>
              <a:ln w="2129" cap="flat">
                <a:noFill/>
                <a:prstDash val="solid"/>
                <a:miter/>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grpSp>
      </p:grpSp>
      <p:grpSp>
        <p:nvGrpSpPr>
          <p:cNvPr id="399" name="Group 398">
            <a:extLst>
              <a:ext uri="{FF2B5EF4-FFF2-40B4-BE49-F238E27FC236}">
                <a16:creationId xmlns:a16="http://schemas.microsoft.com/office/drawing/2014/main" id="{FD7E3BFB-4251-8D15-6AFA-7BD0110155C7}"/>
              </a:ext>
            </a:extLst>
          </p:cNvPr>
          <p:cNvGrpSpPr/>
          <p:nvPr/>
        </p:nvGrpSpPr>
        <p:grpSpPr>
          <a:xfrm rot="5400000">
            <a:off x="9304603" y="4053856"/>
            <a:ext cx="180461" cy="164224"/>
            <a:chOff x="6304821" y="3538504"/>
            <a:chExt cx="180461" cy="164224"/>
          </a:xfrm>
          <a:solidFill>
            <a:schemeClr val="bg1"/>
          </a:solidFill>
        </p:grpSpPr>
        <p:sp>
          <p:nvSpPr>
            <p:cNvPr id="403" name="Freeform: Shape 402">
              <a:extLst>
                <a:ext uri="{FF2B5EF4-FFF2-40B4-BE49-F238E27FC236}">
                  <a16:creationId xmlns:a16="http://schemas.microsoft.com/office/drawing/2014/main" id="{35C884AA-FFF0-94BB-7E42-0E2CA92F5CDF}"/>
                </a:ext>
              </a:extLst>
            </p:cNvPr>
            <p:cNvSpPr/>
            <p:nvPr/>
          </p:nvSpPr>
          <p:spPr>
            <a:xfrm rot="10800000" flipH="1">
              <a:off x="6304821" y="3538504"/>
              <a:ext cx="95861" cy="164224"/>
            </a:xfrm>
            <a:custGeom>
              <a:avLst/>
              <a:gdLst>
                <a:gd name="connsiteX0" fmla="*/ 113444 w 113443"/>
                <a:gd name="connsiteY0" fmla="*/ 92725 h 186518"/>
                <a:gd name="connsiteX1" fmla="*/ 107677 w 113443"/>
                <a:gd name="connsiteY1" fmla="*/ 106609 h 186518"/>
                <a:gd name="connsiteX2" fmla="*/ 34202 w 113443"/>
                <a:gd name="connsiteY2" fmla="*/ 180725 h 186518"/>
                <a:gd name="connsiteX3" fmla="*/ 6435 w 113443"/>
                <a:gd name="connsiteY3" fmla="*/ 180938 h 186518"/>
                <a:gd name="connsiteX4" fmla="*/ 6221 w 113443"/>
                <a:gd name="connsiteY4" fmla="*/ 153172 h 186518"/>
                <a:gd name="connsiteX5" fmla="*/ 65813 w 113443"/>
                <a:gd name="connsiteY5" fmla="*/ 93153 h 186518"/>
                <a:gd name="connsiteX6" fmla="*/ 5794 w 113443"/>
                <a:gd name="connsiteY6" fmla="*/ 33561 h 186518"/>
                <a:gd name="connsiteX7" fmla="*/ 5580 w 113443"/>
                <a:gd name="connsiteY7" fmla="*/ 5794 h 186518"/>
                <a:gd name="connsiteX8" fmla="*/ 33347 w 113443"/>
                <a:gd name="connsiteY8" fmla="*/ 5580 h 186518"/>
                <a:gd name="connsiteX9" fmla="*/ 107463 w 113443"/>
                <a:gd name="connsiteY9" fmla="*/ 79056 h 186518"/>
                <a:gd name="connsiteX10" fmla="*/ 113444 w 113443"/>
                <a:gd name="connsiteY10" fmla="*/ 92725 h 186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443" h="186518">
                  <a:moveTo>
                    <a:pt x="113444" y="92725"/>
                  </a:moveTo>
                  <a:cubicBezTo>
                    <a:pt x="113444" y="97852"/>
                    <a:pt x="111521" y="102764"/>
                    <a:pt x="107677" y="106609"/>
                  </a:cubicBezTo>
                  <a:lnTo>
                    <a:pt x="34202" y="180725"/>
                  </a:lnTo>
                  <a:cubicBezTo>
                    <a:pt x="26512" y="188414"/>
                    <a:pt x="14124" y="188414"/>
                    <a:pt x="6435" y="180938"/>
                  </a:cubicBezTo>
                  <a:cubicBezTo>
                    <a:pt x="-1255" y="173249"/>
                    <a:pt x="-1255" y="160861"/>
                    <a:pt x="6221" y="153172"/>
                  </a:cubicBezTo>
                  <a:lnTo>
                    <a:pt x="65813" y="93153"/>
                  </a:lnTo>
                  <a:lnTo>
                    <a:pt x="5794" y="33561"/>
                  </a:lnTo>
                  <a:cubicBezTo>
                    <a:pt x="-1895" y="25871"/>
                    <a:pt x="-1895" y="13483"/>
                    <a:pt x="5580" y="5794"/>
                  </a:cubicBezTo>
                  <a:cubicBezTo>
                    <a:pt x="13270" y="-1895"/>
                    <a:pt x="25658" y="-1895"/>
                    <a:pt x="33347" y="5580"/>
                  </a:cubicBezTo>
                  <a:lnTo>
                    <a:pt x="107463" y="79056"/>
                  </a:lnTo>
                  <a:cubicBezTo>
                    <a:pt x="111521" y="82473"/>
                    <a:pt x="113444" y="87599"/>
                    <a:pt x="113444" y="92725"/>
                  </a:cubicBezTo>
                  <a:close/>
                </a:path>
              </a:pathLst>
            </a:custGeom>
            <a:grpFill/>
            <a:ln w="2129" cap="flat">
              <a:noFill/>
              <a:prstDash val="solid"/>
              <a:miter/>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404" name="Freeform: Shape 403">
              <a:extLst>
                <a:ext uri="{FF2B5EF4-FFF2-40B4-BE49-F238E27FC236}">
                  <a16:creationId xmlns:a16="http://schemas.microsoft.com/office/drawing/2014/main" id="{F9466EFE-DFBF-E427-D46C-BFE37A9B0EDC}"/>
                </a:ext>
              </a:extLst>
            </p:cNvPr>
            <p:cNvSpPr/>
            <p:nvPr/>
          </p:nvSpPr>
          <p:spPr>
            <a:xfrm rot="10800000" flipH="1">
              <a:off x="6389421" y="3538504"/>
              <a:ext cx="95861" cy="164224"/>
            </a:xfrm>
            <a:custGeom>
              <a:avLst/>
              <a:gdLst>
                <a:gd name="connsiteX0" fmla="*/ 113444 w 113443"/>
                <a:gd name="connsiteY0" fmla="*/ 92725 h 186518"/>
                <a:gd name="connsiteX1" fmla="*/ 107677 w 113443"/>
                <a:gd name="connsiteY1" fmla="*/ 106609 h 186518"/>
                <a:gd name="connsiteX2" fmla="*/ 34202 w 113443"/>
                <a:gd name="connsiteY2" fmla="*/ 180725 h 186518"/>
                <a:gd name="connsiteX3" fmla="*/ 6435 w 113443"/>
                <a:gd name="connsiteY3" fmla="*/ 180938 h 186518"/>
                <a:gd name="connsiteX4" fmla="*/ 6221 w 113443"/>
                <a:gd name="connsiteY4" fmla="*/ 153172 h 186518"/>
                <a:gd name="connsiteX5" fmla="*/ 65813 w 113443"/>
                <a:gd name="connsiteY5" fmla="*/ 93153 h 186518"/>
                <a:gd name="connsiteX6" fmla="*/ 5794 w 113443"/>
                <a:gd name="connsiteY6" fmla="*/ 33561 h 186518"/>
                <a:gd name="connsiteX7" fmla="*/ 5580 w 113443"/>
                <a:gd name="connsiteY7" fmla="*/ 5794 h 186518"/>
                <a:gd name="connsiteX8" fmla="*/ 33347 w 113443"/>
                <a:gd name="connsiteY8" fmla="*/ 5580 h 186518"/>
                <a:gd name="connsiteX9" fmla="*/ 107463 w 113443"/>
                <a:gd name="connsiteY9" fmla="*/ 79056 h 186518"/>
                <a:gd name="connsiteX10" fmla="*/ 113444 w 113443"/>
                <a:gd name="connsiteY10" fmla="*/ 92725 h 186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443" h="186518">
                  <a:moveTo>
                    <a:pt x="113444" y="92725"/>
                  </a:moveTo>
                  <a:cubicBezTo>
                    <a:pt x="113444" y="97852"/>
                    <a:pt x="111521" y="102764"/>
                    <a:pt x="107677" y="106609"/>
                  </a:cubicBezTo>
                  <a:lnTo>
                    <a:pt x="34202" y="180725"/>
                  </a:lnTo>
                  <a:cubicBezTo>
                    <a:pt x="26512" y="188414"/>
                    <a:pt x="14124" y="188414"/>
                    <a:pt x="6435" y="180938"/>
                  </a:cubicBezTo>
                  <a:cubicBezTo>
                    <a:pt x="-1255" y="173249"/>
                    <a:pt x="-1255" y="160861"/>
                    <a:pt x="6221" y="153172"/>
                  </a:cubicBezTo>
                  <a:lnTo>
                    <a:pt x="65813" y="93153"/>
                  </a:lnTo>
                  <a:lnTo>
                    <a:pt x="5794" y="33561"/>
                  </a:lnTo>
                  <a:cubicBezTo>
                    <a:pt x="-1895" y="25871"/>
                    <a:pt x="-1895" y="13483"/>
                    <a:pt x="5580" y="5794"/>
                  </a:cubicBezTo>
                  <a:cubicBezTo>
                    <a:pt x="13270" y="-1895"/>
                    <a:pt x="25658" y="-1895"/>
                    <a:pt x="33347" y="5580"/>
                  </a:cubicBezTo>
                  <a:lnTo>
                    <a:pt x="107463" y="79056"/>
                  </a:lnTo>
                  <a:cubicBezTo>
                    <a:pt x="111521" y="82473"/>
                    <a:pt x="113444" y="87599"/>
                    <a:pt x="113444" y="92725"/>
                  </a:cubicBezTo>
                  <a:close/>
                </a:path>
              </a:pathLst>
            </a:custGeom>
            <a:grpFill/>
            <a:ln w="2129" cap="flat">
              <a:noFill/>
              <a:prstDash val="solid"/>
              <a:miter/>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grpSp>
      <p:grpSp>
        <p:nvGrpSpPr>
          <p:cNvPr id="400" name="Group 399">
            <a:extLst>
              <a:ext uri="{FF2B5EF4-FFF2-40B4-BE49-F238E27FC236}">
                <a16:creationId xmlns:a16="http://schemas.microsoft.com/office/drawing/2014/main" id="{BE55078D-2D58-D050-AADF-B6E87D3BE8D6}"/>
              </a:ext>
            </a:extLst>
          </p:cNvPr>
          <p:cNvGrpSpPr/>
          <p:nvPr/>
        </p:nvGrpSpPr>
        <p:grpSpPr>
          <a:xfrm rot="16200000">
            <a:off x="9304604" y="3317245"/>
            <a:ext cx="180461" cy="164224"/>
            <a:chOff x="6304821" y="3538504"/>
            <a:chExt cx="180461" cy="164224"/>
          </a:xfrm>
          <a:solidFill>
            <a:schemeClr val="bg1"/>
          </a:solidFill>
        </p:grpSpPr>
        <p:sp>
          <p:nvSpPr>
            <p:cNvPr id="401" name="Freeform: Shape 400">
              <a:extLst>
                <a:ext uri="{FF2B5EF4-FFF2-40B4-BE49-F238E27FC236}">
                  <a16:creationId xmlns:a16="http://schemas.microsoft.com/office/drawing/2014/main" id="{6B613E8A-31A4-6F6E-F009-69216B9356CF}"/>
                </a:ext>
              </a:extLst>
            </p:cNvPr>
            <p:cNvSpPr/>
            <p:nvPr/>
          </p:nvSpPr>
          <p:spPr>
            <a:xfrm rot="10800000" flipH="1">
              <a:off x="6304821" y="3538504"/>
              <a:ext cx="95861" cy="164224"/>
            </a:xfrm>
            <a:custGeom>
              <a:avLst/>
              <a:gdLst>
                <a:gd name="connsiteX0" fmla="*/ 113444 w 113443"/>
                <a:gd name="connsiteY0" fmla="*/ 92725 h 186518"/>
                <a:gd name="connsiteX1" fmla="*/ 107677 w 113443"/>
                <a:gd name="connsiteY1" fmla="*/ 106609 h 186518"/>
                <a:gd name="connsiteX2" fmla="*/ 34202 w 113443"/>
                <a:gd name="connsiteY2" fmla="*/ 180725 h 186518"/>
                <a:gd name="connsiteX3" fmla="*/ 6435 w 113443"/>
                <a:gd name="connsiteY3" fmla="*/ 180938 h 186518"/>
                <a:gd name="connsiteX4" fmla="*/ 6221 w 113443"/>
                <a:gd name="connsiteY4" fmla="*/ 153172 h 186518"/>
                <a:gd name="connsiteX5" fmla="*/ 65813 w 113443"/>
                <a:gd name="connsiteY5" fmla="*/ 93153 h 186518"/>
                <a:gd name="connsiteX6" fmla="*/ 5794 w 113443"/>
                <a:gd name="connsiteY6" fmla="*/ 33561 h 186518"/>
                <a:gd name="connsiteX7" fmla="*/ 5580 w 113443"/>
                <a:gd name="connsiteY7" fmla="*/ 5794 h 186518"/>
                <a:gd name="connsiteX8" fmla="*/ 33347 w 113443"/>
                <a:gd name="connsiteY8" fmla="*/ 5580 h 186518"/>
                <a:gd name="connsiteX9" fmla="*/ 107463 w 113443"/>
                <a:gd name="connsiteY9" fmla="*/ 79056 h 186518"/>
                <a:gd name="connsiteX10" fmla="*/ 113444 w 113443"/>
                <a:gd name="connsiteY10" fmla="*/ 92725 h 186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443" h="186518">
                  <a:moveTo>
                    <a:pt x="113444" y="92725"/>
                  </a:moveTo>
                  <a:cubicBezTo>
                    <a:pt x="113444" y="97852"/>
                    <a:pt x="111521" y="102764"/>
                    <a:pt x="107677" y="106609"/>
                  </a:cubicBezTo>
                  <a:lnTo>
                    <a:pt x="34202" y="180725"/>
                  </a:lnTo>
                  <a:cubicBezTo>
                    <a:pt x="26512" y="188414"/>
                    <a:pt x="14124" y="188414"/>
                    <a:pt x="6435" y="180938"/>
                  </a:cubicBezTo>
                  <a:cubicBezTo>
                    <a:pt x="-1255" y="173249"/>
                    <a:pt x="-1255" y="160861"/>
                    <a:pt x="6221" y="153172"/>
                  </a:cubicBezTo>
                  <a:lnTo>
                    <a:pt x="65813" y="93153"/>
                  </a:lnTo>
                  <a:lnTo>
                    <a:pt x="5794" y="33561"/>
                  </a:lnTo>
                  <a:cubicBezTo>
                    <a:pt x="-1895" y="25871"/>
                    <a:pt x="-1895" y="13483"/>
                    <a:pt x="5580" y="5794"/>
                  </a:cubicBezTo>
                  <a:cubicBezTo>
                    <a:pt x="13270" y="-1895"/>
                    <a:pt x="25658" y="-1895"/>
                    <a:pt x="33347" y="5580"/>
                  </a:cubicBezTo>
                  <a:lnTo>
                    <a:pt x="107463" y="79056"/>
                  </a:lnTo>
                  <a:cubicBezTo>
                    <a:pt x="111521" y="82473"/>
                    <a:pt x="113444" y="87599"/>
                    <a:pt x="113444" y="92725"/>
                  </a:cubicBezTo>
                  <a:close/>
                </a:path>
              </a:pathLst>
            </a:custGeom>
            <a:grpFill/>
            <a:ln w="2129" cap="flat">
              <a:noFill/>
              <a:prstDash val="solid"/>
              <a:miter/>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402" name="Freeform: Shape 401">
              <a:extLst>
                <a:ext uri="{FF2B5EF4-FFF2-40B4-BE49-F238E27FC236}">
                  <a16:creationId xmlns:a16="http://schemas.microsoft.com/office/drawing/2014/main" id="{D75D75A5-B242-8D75-0477-F5A91BB2FA9F}"/>
                </a:ext>
              </a:extLst>
            </p:cNvPr>
            <p:cNvSpPr/>
            <p:nvPr/>
          </p:nvSpPr>
          <p:spPr>
            <a:xfrm rot="10800000" flipH="1">
              <a:off x="6389421" y="3538504"/>
              <a:ext cx="95861" cy="164224"/>
            </a:xfrm>
            <a:custGeom>
              <a:avLst/>
              <a:gdLst>
                <a:gd name="connsiteX0" fmla="*/ 113444 w 113443"/>
                <a:gd name="connsiteY0" fmla="*/ 92725 h 186518"/>
                <a:gd name="connsiteX1" fmla="*/ 107677 w 113443"/>
                <a:gd name="connsiteY1" fmla="*/ 106609 h 186518"/>
                <a:gd name="connsiteX2" fmla="*/ 34202 w 113443"/>
                <a:gd name="connsiteY2" fmla="*/ 180725 h 186518"/>
                <a:gd name="connsiteX3" fmla="*/ 6435 w 113443"/>
                <a:gd name="connsiteY3" fmla="*/ 180938 h 186518"/>
                <a:gd name="connsiteX4" fmla="*/ 6221 w 113443"/>
                <a:gd name="connsiteY4" fmla="*/ 153172 h 186518"/>
                <a:gd name="connsiteX5" fmla="*/ 65813 w 113443"/>
                <a:gd name="connsiteY5" fmla="*/ 93153 h 186518"/>
                <a:gd name="connsiteX6" fmla="*/ 5794 w 113443"/>
                <a:gd name="connsiteY6" fmla="*/ 33561 h 186518"/>
                <a:gd name="connsiteX7" fmla="*/ 5580 w 113443"/>
                <a:gd name="connsiteY7" fmla="*/ 5794 h 186518"/>
                <a:gd name="connsiteX8" fmla="*/ 33347 w 113443"/>
                <a:gd name="connsiteY8" fmla="*/ 5580 h 186518"/>
                <a:gd name="connsiteX9" fmla="*/ 107463 w 113443"/>
                <a:gd name="connsiteY9" fmla="*/ 79056 h 186518"/>
                <a:gd name="connsiteX10" fmla="*/ 113444 w 113443"/>
                <a:gd name="connsiteY10" fmla="*/ 92725 h 186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443" h="186518">
                  <a:moveTo>
                    <a:pt x="113444" y="92725"/>
                  </a:moveTo>
                  <a:cubicBezTo>
                    <a:pt x="113444" y="97852"/>
                    <a:pt x="111521" y="102764"/>
                    <a:pt x="107677" y="106609"/>
                  </a:cubicBezTo>
                  <a:lnTo>
                    <a:pt x="34202" y="180725"/>
                  </a:lnTo>
                  <a:cubicBezTo>
                    <a:pt x="26512" y="188414"/>
                    <a:pt x="14124" y="188414"/>
                    <a:pt x="6435" y="180938"/>
                  </a:cubicBezTo>
                  <a:cubicBezTo>
                    <a:pt x="-1255" y="173249"/>
                    <a:pt x="-1255" y="160861"/>
                    <a:pt x="6221" y="153172"/>
                  </a:cubicBezTo>
                  <a:lnTo>
                    <a:pt x="65813" y="93153"/>
                  </a:lnTo>
                  <a:lnTo>
                    <a:pt x="5794" y="33561"/>
                  </a:lnTo>
                  <a:cubicBezTo>
                    <a:pt x="-1895" y="25871"/>
                    <a:pt x="-1895" y="13483"/>
                    <a:pt x="5580" y="5794"/>
                  </a:cubicBezTo>
                  <a:cubicBezTo>
                    <a:pt x="13270" y="-1895"/>
                    <a:pt x="25658" y="-1895"/>
                    <a:pt x="33347" y="5580"/>
                  </a:cubicBezTo>
                  <a:lnTo>
                    <a:pt x="107463" y="79056"/>
                  </a:lnTo>
                  <a:cubicBezTo>
                    <a:pt x="111521" y="82473"/>
                    <a:pt x="113444" y="87599"/>
                    <a:pt x="113444" y="92725"/>
                  </a:cubicBezTo>
                  <a:close/>
                </a:path>
              </a:pathLst>
            </a:custGeom>
            <a:grpFill/>
            <a:ln w="2129" cap="flat">
              <a:noFill/>
              <a:prstDash val="solid"/>
              <a:miter/>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grpSp>
      <p:sp>
        <p:nvSpPr>
          <p:cNvPr id="13" name="Rectangle: Rounded Corners 12">
            <a:extLst>
              <a:ext uri="{FF2B5EF4-FFF2-40B4-BE49-F238E27FC236}">
                <a16:creationId xmlns:a16="http://schemas.microsoft.com/office/drawing/2014/main" id="{31741D4A-9A44-DC43-DBE5-F4DD703AF742}"/>
              </a:ext>
            </a:extLst>
          </p:cNvPr>
          <p:cNvSpPr/>
          <p:nvPr/>
        </p:nvSpPr>
        <p:spPr bwMode="auto">
          <a:xfrm>
            <a:off x="8365804" y="4357964"/>
            <a:ext cx="2057400" cy="914399"/>
          </a:xfrm>
          <a:prstGeom prst="roundRect">
            <a:avLst>
              <a:gd name="adj" fmla="val 8934"/>
            </a:avLst>
          </a:prstGeom>
          <a:solidFill>
            <a:schemeClr val="bg1"/>
          </a:solidFill>
          <a:ln w="57150">
            <a:solidFill>
              <a:srgbClr val="4A576D"/>
            </a:solidFill>
          </a:ln>
          <a:effectLst/>
        </p:spPr>
        <p:txBody>
          <a:bodyPr rot="0" spcFirstLastPara="0" vertOverflow="overflow" horzOverflow="overflow" vert="horz" wrap="square" lIns="91440" tIns="4572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gradFill>
                  <a:gsLst>
                    <a:gs pos="2917">
                      <a:srgbClr val="282828"/>
                    </a:gs>
                    <a:gs pos="100000">
                      <a:srgbClr val="282828"/>
                    </a:gs>
                  </a:gsLst>
                  <a:lin ang="5400000" scaled="0"/>
                </a:gradFill>
                <a:effectLst/>
                <a:uLnTx/>
                <a:uFillTx/>
                <a:latin typeface="Segoe UI Semibold"/>
                <a:ea typeface="+mn-ea"/>
                <a:cs typeface="+mn-cs"/>
              </a:rPr>
              <a:t>On-premises apps</a:t>
            </a:r>
          </a:p>
        </p:txBody>
      </p:sp>
      <p:grpSp>
        <p:nvGrpSpPr>
          <p:cNvPr id="15" name="Group 14">
            <a:extLst>
              <a:ext uri="{FF2B5EF4-FFF2-40B4-BE49-F238E27FC236}">
                <a16:creationId xmlns:a16="http://schemas.microsoft.com/office/drawing/2014/main" id="{25A098D5-5966-CDF3-F17D-A834D72695A1}"/>
              </a:ext>
            </a:extLst>
          </p:cNvPr>
          <p:cNvGrpSpPr/>
          <p:nvPr/>
        </p:nvGrpSpPr>
        <p:grpSpPr>
          <a:xfrm>
            <a:off x="9819698" y="4699303"/>
            <a:ext cx="369301" cy="359895"/>
            <a:chOff x="11074425" y="2804571"/>
            <a:chExt cx="520952" cy="487251"/>
          </a:xfrm>
        </p:grpSpPr>
        <p:sp>
          <p:nvSpPr>
            <p:cNvPr id="17" name="Graphic 25">
              <a:extLst>
                <a:ext uri="{FF2B5EF4-FFF2-40B4-BE49-F238E27FC236}">
                  <a16:creationId xmlns:a16="http://schemas.microsoft.com/office/drawing/2014/main" id="{90B387E9-D810-C857-4DD6-EFBB5A4BCD62}"/>
                </a:ext>
              </a:extLst>
            </p:cNvPr>
            <p:cNvSpPr/>
            <p:nvPr/>
          </p:nvSpPr>
          <p:spPr>
            <a:xfrm flipH="1">
              <a:off x="11074425" y="2804571"/>
              <a:ext cx="437439" cy="349979"/>
            </a:xfrm>
            <a:custGeom>
              <a:avLst/>
              <a:gdLst>
                <a:gd name="connsiteX0" fmla="*/ 446211 w 446210"/>
                <a:gd name="connsiteY0" fmla="*/ 356997 h 356997"/>
                <a:gd name="connsiteX1" fmla="*/ 0 w 446210"/>
                <a:gd name="connsiteY1" fmla="*/ 356997 h 356997"/>
                <a:gd name="connsiteX2" fmla="*/ 0 w 446210"/>
                <a:gd name="connsiteY2" fmla="*/ 0 h 356997"/>
                <a:gd name="connsiteX3" fmla="*/ 446211 w 446210"/>
                <a:gd name="connsiteY3" fmla="*/ 0 h 356997"/>
                <a:gd name="connsiteX4" fmla="*/ 446211 w 446210"/>
                <a:gd name="connsiteY4" fmla="*/ 356997 h 356997"/>
                <a:gd name="connsiteX5" fmla="*/ 446211 w 446210"/>
                <a:gd name="connsiteY5" fmla="*/ 356997 h 356997"/>
                <a:gd name="connsiteX6" fmla="*/ 446211 w 446210"/>
                <a:gd name="connsiteY6" fmla="*/ 356997 h 356997"/>
                <a:gd name="connsiteX7" fmla="*/ 0 w 446210"/>
                <a:gd name="connsiteY7" fmla="*/ 89358 h 356997"/>
                <a:gd name="connsiteX8" fmla="*/ 446211 w 446210"/>
                <a:gd name="connsiteY8" fmla="*/ 89358 h 356997"/>
                <a:gd name="connsiteX9" fmla="*/ 396905 w 446210"/>
                <a:gd name="connsiteY9" fmla="*/ 44679 h 356997"/>
                <a:gd name="connsiteX10" fmla="*/ 401676 w 446210"/>
                <a:gd name="connsiteY10" fmla="*/ 49450 h 356997"/>
                <a:gd name="connsiteX11" fmla="*/ 406303 w 446210"/>
                <a:gd name="connsiteY11" fmla="*/ 44679 h 356997"/>
                <a:gd name="connsiteX12" fmla="*/ 401676 w 446210"/>
                <a:gd name="connsiteY12" fmla="*/ 40052 h 356997"/>
                <a:gd name="connsiteX13" fmla="*/ 396905 w 446210"/>
                <a:gd name="connsiteY13" fmla="*/ 44679 h 356997"/>
                <a:gd name="connsiteX14" fmla="*/ 396905 w 446210"/>
                <a:gd name="connsiteY14" fmla="*/ 44679 h 356997"/>
                <a:gd name="connsiteX15" fmla="*/ 343406 w 446210"/>
                <a:gd name="connsiteY15" fmla="*/ 44679 h 356997"/>
                <a:gd name="connsiteX16" fmla="*/ 348033 w 446210"/>
                <a:gd name="connsiteY16" fmla="*/ 49450 h 356997"/>
                <a:gd name="connsiteX17" fmla="*/ 352804 w 446210"/>
                <a:gd name="connsiteY17" fmla="*/ 44679 h 356997"/>
                <a:gd name="connsiteX18" fmla="*/ 348033 w 446210"/>
                <a:gd name="connsiteY18" fmla="*/ 40052 h 356997"/>
                <a:gd name="connsiteX19" fmla="*/ 343406 w 446210"/>
                <a:gd name="connsiteY19" fmla="*/ 44679 h 356997"/>
                <a:gd name="connsiteX20" fmla="*/ 343406 w 446210"/>
                <a:gd name="connsiteY20" fmla="*/ 44679 h 356997"/>
                <a:gd name="connsiteX21" fmla="*/ 290051 w 446210"/>
                <a:gd name="connsiteY21" fmla="*/ 44679 h 356997"/>
                <a:gd name="connsiteX22" fmla="*/ 294678 w 446210"/>
                <a:gd name="connsiteY22" fmla="*/ 49450 h 356997"/>
                <a:gd name="connsiteX23" fmla="*/ 299450 w 446210"/>
                <a:gd name="connsiteY23" fmla="*/ 44679 h 356997"/>
                <a:gd name="connsiteX24" fmla="*/ 294678 w 446210"/>
                <a:gd name="connsiteY24" fmla="*/ 40052 h 356997"/>
                <a:gd name="connsiteX25" fmla="*/ 290051 w 446210"/>
                <a:gd name="connsiteY25" fmla="*/ 44679 h 356997"/>
                <a:gd name="connsiteX26" fmla="*/ 290051 w 446210"/>
                <a:gd name="connsiteY26" fmla="*/ 44679 h 356997"/>
                <a:gd name="connsiteX0" fmla="*/ 446211 w 446211"/>
                <a:gd name="connsiteY0" fmla="*/ 356997 h 356997"/>
                <a:gd name="connsiteX1" fmla="*/ 0 w 446211"/>
                <a:gd name="connsiteY1" fmla="*/ 356997 h 356997"/>
                <a:gd name="connsiteX2" fmla="*/ 0 w 446211"/>
                <a:gd name="connsiteY2" fmla="*/ 0 h 356997"/>
                <a:gd name="connsiteX3" fmla="*/ 446211 w 446211"/>
                <a:gd name="connsiteY3" fmla="*/ 0 h 356997"/>
                <a:gd name="connsiteX4" fmla="*/ 446211 w 446211"/>
                <a:gd name="connsiteY4" fmla="*/ 356997 h 356997"/>
                <a:gd name="connsiteX5" fmla="*/ 446211 w 446211"/>
                <a:gd name="connsiteY5" fmla="*/ 356997 h 356997"/>
                <a:gd name="connsiteX6" fmla="*/ 446211 w 446211"/>
                <a:gd name="connsiteY6" fmla="*/ 356997 h 356997"/>
                <a:gd name="connsiteX7" fmla="*/ 0 w 446211"/>
                <a:gd name="connsiteY7" fmla="*/ 89358 h 356997"/>
                <a:gd name="connsiteX8" fmla="*/ 446211 w 446211"/>
                <a:gd name="connsiteY8" fmla="*/ 89358 h 356997"/>
                <a:gd name="connsiteX9" fmla="*/ 396905 w 446211"/>
                <a:gd name="connsiteY9" fmla="*/ 44679 h 356997"/>
                <a:gd name="connsiteX10" fmla="*/ 401676 w 446211"/>
                <a:gd name="connsiteY10" fmla="*/ 49450 h 356997"/>
                <a:gd name="connsiteX11" fmla="*/ 406303 w 446211"/>
                <a:gd name="connsiteY11" fmla="*/ 44679 h 356997"/>
                <a:gd name="connsiteX12" fmla="*/ 401676 w 446211"/>
                <a:gd name="connsiteY12" fmla="*/ 40052 h 356997"/>
                <a:gd name="connsiteX13" fmla="*/ 396905 w 446211"/>
                <a:gd name="connsiteY13" fmla="*/ 44679 h 356997"/>
                <a:gd name="connsiteX14" fmla="*/ 396905 w 446211"/>
                <a:gd name="connsiteY14" fmla="*/ 44679 h 356997"/>
                <a:gd name="connsiteX15" fmla="*/ 343406 w 446211"/>
                <a:gd name="connsiteY15" fmla="*/ 44679 h 356997"/>
                <a:gd name="connsiteX16" fmla="*/ 348033 w 446211"/>
                <a:gd name="connsiteY16" fmla="*/ 49450 h 356997"/>
                <a:gd name="connsiteX17" fmla="*/ 352804 w 446211"/>
                <a:gd name="connsiteY17" fmla="*/ 44679 h 356997"/>
                <a:gd name="connsiteX18" fmla="*/ 348033 w 446211"/>
                <a:gd name="connsiteY18" fmla="*/ 40052 h 356997"/>
                <a:gd name="connsiteX19" fmla="*/ 343406 w 446211"/>
                <a:gd name="connsiteY19" fmla="*/ 44679 h 356997"/>
                <a:gd name="connsiteX20" fmla="*/ 343406 w 446211"/>
                <a:gd name="connsiteY20" fmla="*/ 44679 h 356997"/>
                <a:gd name="connsiteX21" fmla="*/ 290051 w 446211"/>
                <a:gd name="connsiteY21" fmla="*/ 44679 h 356997"/>
                <a:gd name="connsiteX22" fmla="*/ 294678 w 446211"/>
                <a:gd name="connsiteY22" fmla="*/ 49450 h 356997"/>
                <a:gd name="connsiteX23" fmla="*/ 299450 w 446211"/>
                <a:gd name="connsiteY23" fmla="*/ 44679 h 356997"/>
                <a:gd name="connsiteX24" fmla="*/ 294678 w 446211"/>
                <a:gd name="connsiteY24" fmla="*/ 40052 h 356997"/>
                <a:gd name="connsiteX25" fmla="*/ 290051 w 446211"/>
                <a:gd name="connsiteY25" fmla="*/ 44679 h 356997"/>
                <a:gd name="connsiteX26" fmla="*/ 290051 w 446211"/>
                <a:gd name="connsiteY26" fmla="*/ 44679 h 356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46211" h="356997">
                  <a:moveTo>
                    <a:pt x="446211" y="356997"/>
                  </a:moveTo>
                  <a:lnTo>
                    <a:pt x="0" y="356997"/>
                  </a:lnTo>
                  <a:lnTo>
                    <a:pt x="0" y="0"/>
                  </a:lnTo>
                  <a:lnTo>
                    <a:pt x="446211" y="0"/>
                  </a:lnTo>
                  <a:lnTo>
                    <a:pt x="446211" y="356997"/>
                  </a:lnTo>
                  <a:lnTo>
                    <a:pt x="446211" y="356997"/>
                  </a:lnTo>
                  <a:lnTo>
                    <a:pt x="446211" y="356997"/>
                  </a:lnTo>
                  <a:close/>
                  <a:moveTo>
                    <a:pt x="0" y="89358"/>
                  </a:moveTo>
                  <a:lnTo>
                    <a:pt x="446211" y="89358"/>
                  </a:lnTo>
                  <a:moveTo>
                    <a:pt x="396905" y="44679"/>
                  </a:moveTo>
                  <a:cubicBezTo>
                    <a:pt x="396905" y="47282"/>
                    <a:pt x="399074" y="49450"/>
                    <a:pt x="401676" y="49450"/>
                  </a:cubicBezTo>
                  <a:cubicBezTo>
                    <a:pt x="404279" y="49450"/>
                    <a:pt x="406303" y="47282"/>
                    <a:pt x="406303" y="44679"/>
                  </a:cubicBezTo>
                  <a:cubicBezTo>
                    <a:pt x="406303" y="42076"/>
                    <a:pt x="404279" y="40052"/>
                    <a:pt x="401676" y="40052"/>
                  </a:cubicBezTo>
                  <a:cubicBezTo>
                    <a:pt x="398929" y="40052"/>
                    <a:pt x="396905" y="42076"/>
                    <a:pt x="396905" y="44679"/>
                  </a:cubicBezTo>
                  <a:lnTo>
                    <a:pt x="396905" y="44679"/>
                  </a:lnTo>
                  <a:close/>
                  <a:moveTo>
                    <a:pt x="343406" y="44679"/>
                  </a:moveTo>
                  <a:cubicBezTo>
                    <a:pt x="343406" y="47282"/>
                    <a:pt x="345575" y="49450"/>
                    <a:pt x="348033" y="49450"/>
                  </a:cubicBezTo>
                  <a:cubicBezTo>
                    <a:pt x="350635" y="49450"/>
                    <a:pt x="352804" y="47282"/>
                    <a:pt x="352804" y="44679"/>
                  </a:cubicBezTo>
                  <a:cubicBezTo>
                    <a:pt x="352804" y="42076"/>
                    <a:pt x="350635" y="40052"/>
                    <a:pt x="348033" y="40052"/>
                  </a:cubicBezTo>
                  <a:cubicBezTo>
                    <a:pt x="345575" y="40052"/>
                    <a:pt x="343406" y="42076"/>
                    <a:pt x="343406" y="44679"/>
                  </a:cubicBezTo>
                  <a:lnTo>
                    <a:pt x="343406" y="44679"/>
                  </a:lnTo>
                  <a:close/>
                  <a:moveTo>
                    <a:pt x="290051" y="44679"/>
                  </a:moveTo>
                  <a:cubicBezTo>
                    <a:pt x="290051" y="47282"/>
                    <a:pt x="292076" y="49450"/>
                    <a:pt x="294678" y="49450"/>
                  </a:cubicBezTo>
                  <a:cubicBezTo>
                    <a:pt x="297281" y="49450"/>
                    <a:pt x="299450" y="47282"/>
                    <a:pt x="299450" y="44679"/>
                  </a:cubicBezTo>
                  <a:cubicBezTo>
                    <a:pt x="299450" y="42076"/>
                    <a:pt x="297281" y="40052"/>
                    <a:pt x="294678" y="40052"/>
                  </a:cubicBezTo>
                  <a:cubicBezTo>
                    <a:pt x="292076" y="40052"/>
                    <a:pt x="290051" y="42076"/>
                    <a:pt x="290051" y="44679"/>
                  </a:cubicBezTo>
                  <a:lnTo>
                    <a:pt x="290051" y="44679"/>
                  </a:lnTo>
                  <a:close/>
                </a:path>
              </a:pathLst>
            </a:custGeom>
            <a:noFill/>
            <a:ln w="158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gradFill>
                  <a:gsLst>
                    <a:gs pos="0">
                      <a:srgbClr val="505050"/>
                    </a:gs>
                    <a:gs pos="100000">
                      <a:srgbClr val="505050"/>
                    </a:gs>
                  </a:gsLst>
                  <a:lin ang="5400000" scaled="1"/>
                </a:gradFill>
                <a:effectLst/>
                <a:uLnTx/>
                <a:uFillTx/>
                <a:latin typeface="Segoe UI Semibold"/>
                <a:ea typeface="+mn-ea"/>
                <a:cs typeface="+mn-cs"/>
              </a:endParaRPr>
            </a:p>
          </p:txBody>
        </p:sp>
        <p:sp>
          <p:nvSpPr>
            <p:cNvPr id="18" name="Rectangle 17">
              <a:extLst>
                <a:ext uri="{FF2B5EF4-FFF2-40B4-BE49-F238E27FC236}">
                  <a16:creationId xmlns:a16="http://schemas.microsoft.com/office/drawing/2014/main" id="{660ED0C2-79CD-9CE6-D399-1D0B91699820}"/>
                </a:ext>
              </a:extLst>
            </p:cNvPr>
            <p:cNvSpPr/>
            <p:nvPr/>
          </p:nvSpPr>
          <p:spPr bwMode="auto">
            <a:xfrm>
              <a:off x="11157958" y="2941855"/>
              <a:ext cx="376972" cy="249506"/>
            </a:xfrm>
            <a:prstGeom prst="rect">
              <a:avLst/>
            </a:prstGeom>
            <a:solidFill>
              <a:schemeClr val="bg1"/>
            </a:solidFill>
            <a:ln w="15875" cap="flat">
              <a:noFill/>
              <a:prstDash val="solid"/>
              <a:miter lim="800000"/>
              <a:headEnd/>
              <a:tailEnd/>
            </a:ln>
          </p:spPr>
          <p:txBody>
            <a:bodyPr vert="horz" wrap="square" lIns="91440" tIns="45720" rIns="91440"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gradFill>
                  <a:gsLst>
                    <a:gs pos="0">
                      <a:srgbClr val="505050"/>
                    </a:gs>
                    <a:gs pos="100000">
                      <a:srgbClr val="505050"/>
                    </a:gs>
                  </a:gsLst>
                  <a:lin ang="5400000" scaled="1"/>
                </a:gradFill>
                <a:effectLst/>
                <a:uLnTx/>
                <a:uFillTx/>
                <a:latin typeface="Segoe UI Semibold"/>
                <a:ea typeface="+mn-ea"/>
                <a:cs typeface="+mn-cs"/>
              </a:endParaRPr>
            </a:p>
          </p:txBody>
        </p:sp>
        <p:grpSp>
          <p:nvGrpSpPr>
            <p:cNvPr id="19" name="Group 18">
              <a:extLst>
                <a:ext uri="{FF2B5EF4-FFF2-40B4-BE49-F238E27FC236}">
                  <a16:creationId xmlns:a16="http://schemas.microsoft.com/office/drawing/2014/main" id="{ED2583C1-94BB-FD4B-23A9-3F3B7F30AC3F}"/>
                </a:ext>
              </a:extLst>
            </p:cNvPr>
            <p:cNvGrpSpPr/>
            <p:nvPr/>
          </p:nvGrpSpPr>
          <p:grpSpPr>
            <a:xfrm>
              <a:off x="11157938" y="2941844"/>
              <a:ext cx="437439" cy="349978"/>
              <a:chOff x="10815697" y="2569191"/>
              <a:chExt cx="437439" cy="349978"/>
            </a:xfrm>
          </p:grpSpPr>
          <p:sp>
            <p:nvSpPr>
              <p:cNvPr id="20" name="Freeform: Shape 19">
                <a:extLst>
                  <a:ext uri="{FF2B5EF4-FFF2-40B4-BE49-F238E27FC236}">
                    <a16:creationId xmlns:a16="http://schemas.microsoft.com/office/drawing/2014/main" id="{A6589755-00BE-26DB-DFAD-69518A4D965B}"/>
                  </a:ext>
                </a:extLst>
              </p:cNvPr>
              <p:cNvSpPr/>
              <p:nvPr/>
            </p:nvSpPr>
            <p:spPr>
              <a:xfrm>
                <a:off x="10980211" y="2722748"/>
                <a:ext cx="108409" cy="134427"/>
              </a:xfrm>
              <a:custGeom>
                <a:avLst/>
                <a:gdLst>
                  <a:gd name="connsiteX0" fmla="*/ 1475 w 108408"/>
                  <a:gd name="connsiteY0" fmla="*/ 1475 h 134426"/>
                  <a:gd name="connsiteX1" fmla="*/ 55812 w 108408"/>
                  <a:gd name="connsiteY1" fmla="*/ 40986 h 134426"/>
                  <a:gd name="connsiteX2" fmla="*/ 110003 w 108408"/>
                  <a:gd name="connsiteY2" fmla="*/ 80350 h 134426"/>
                  <a:gd name="connsiteX3" fmla="*/ 60852 w 108408"/>
                  <a:gd name="connsiteY3" fmla="*/ 94811 h 134426"/>
                  <a:gd name="connsiteX4" fmla="*/ 26818 w 108408"/>
                  <a:gd name="connsiteY4" fmla="*/ 133154 h 134426"/>
                  <a:gd name="connsiteX5" fmla="*/ 14183 w 108408"/>
                  <a:gd name="connsiteY5" fmla="*/ 67278 h 134426"/>
                  <a:gd name="connsiteX6" fmla="*/ 1475 w 108408"/>
                  <a:gd name="connsiteY6" fmla="*/ 1475 h 134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408" h="134426">
                    <a:moveTo>
                      <a:pt x="1475" y="1475"/>
                    </a:moveTo>
                    <a:lnTo>
                      <a:pt x="55812" y="40986"/>
                    </a:lnTo>
                    <a:lnTo>
                      <a:pt x="110003" y="80350"/>
                    </a:lnTo>
                    <a:lnTo>
                      <a:pt x="60852" y="94811"/>
                    </a:lnTo>
                    <a:lnTo>
                      <a:pt x="26818" y="133154"/>
                    </a:lnTo>
                    <a:lnTo>
                      <a:pt x="14183" y="67278"/>
                    </a:lnTo>
                    <a:lnTo>
                      <a:pt x="1475" y="1475"/>
                    </a:lnTo>
                    <a:close/>
                  </a:path>
                </a:pathLst>
              </a:custGeom>
              <a:noFill/>
              <a:ln w="158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gradFill>
                    <a:gsLst>
                      <a:gs pos="0">
                        <a:srgbClr val="505050"/>
                      </a:gs>
                      <a:gs pos="100000">
                        <a:srgbClr val="505050"/>
                      </a:gs>
                    </a:gsLst>
                    <a:lin ang="5400000" scaled="1"/>
                  </a:gradFill>
                  <a:effectLst/>
                  <a:uLnTx/>
                  <a:uFillTx/>
                  <a:latin typeface="Segoe UI Semibold"/>
                  <a:ea typeface="+mn-ea"/>
                  <a:cs typeface="+mn-cs"/>
                </a:endParaRPr>
              </a:p>
            </p:txBody>
          </p:sp>
          <p:sp>
            <p:nvSpPr>
              <p:cNvPr id="21" name="Graphic 25">
                <a:extLst>
                  <a:ext uri="{FF2B5EF4-FFF2-40B4-BE49-F238E27FC236}">
                    <a16:creationId xmlns:a16="http://schemas.microsoft.com/office/drawing/2014/main" id="{96E8DD8C-E51D-CD09-D5DC-023FEA885400}"/>
                  </a:ext>
                </a:extLst>
              </p:cNvPr>
              <p:cNvSpPr/>
              <p:nvPr/>
            </p:nvSpPr>
            <p:spPr>
              <a:xfrm flipH="1">
                <a:off x="10815697" y="2569191"/>
                <a:ext cx="437439" cy="349978"/>
              </a:xfrm>
              <a:custGeom>
                <a:avLst/>
                <a:gdLst>
                  <a:gd name="connsiteX0" fmla="*/ 446211 w 446210"/>
                  <a:gd name="connsiteY0" fmla="*/ 356997 h 356997"/>
                  <a:gd name="connsiteX1" fmla="*/ 0 w 446210"/>
                  <a:gd name="connsiteY1" fmla="*/ 356997 h 356997"/>
                  <a:gd name="connsiteX2" fmla="*/ 0 w 446210"/>
                  <a:gd name="connsiteY2" fmla="*/ 0 h 356997"/>
                  <a:gd name="connsiteX3" fmla="*/ 446211 w 446210"/>
                  <a:gd name="connsiteY3" fmla="*/ 0 h 356997"/>
                  <a:gd name="connsiteX4" fmla="*/ 446211 w 446210"/>
                  <a:gd name="connsiteY4" fmla="*/ 356997 h 356997"/>
                  <a:gd name="connsiteX5" fmla="*/ 446211 w 446210"/>
                  <a:gd name="connsiteY5" fmla="*/ 356997 h 356997"/>
                  <a:gd name="connsiteX6" fmla="*/ 446211 w 446210"/>
                  <a:gd name="connsiteY6" fmla="*/ 356997 h 356997"/>
                  <a:gd name="connsiteX7" fmla="*/ 0 w 446210"/>
                  <a:gd name="connsiteY7" fmla="*/ 89358 h 356997"/>
                  <a:gd name="connsiteX8" fmla="*/ 446211 w 446210"/>
                  <a:gd name="connsiteY8" fmla="*/ 89358 h 356997"/>
                  <a:gd name="connsiteX9" fmla="*/ 396905 w 446210"/>
                  <a:gd name="connsiteY9" fmla="*/ 44679 h 356997"/>
                  <a:gd name="connsiteX10" fmla="*/ 401676 w 446210"/>
                  <a:gd name="connsiteY10" fmla="*/ 49450 h 356997"/>
                  <a:gd name="connsiteX11" fmla="*/ 406303 w 446210"/>
                  <a:gd name="connsiteY11" fmla="*/ 44679 h 356997"/>
                  <a:gd name="connsiteX12" fmla="*/ 401676 w 446210"/>
                  <a:gd name="connsiteY12" fmla="*/ 40052 h 356997"/>
                  <a:gd name="connsiteX13" fmla="*/ 396905 w 446210"/>
                  <a:gd name="connsiteY13" fmla="*/ 44679 h 356997"/>
                  <a:gd name="connsiteX14" fmla="*/ 396905 w 446210"/>
                  <a:gd name="connsiteY14" fmla="*/ 44679 h 356997"/>
                  <a:gd name="connsiteX15" fmla="*/ 343406 w 446210"/>
                  <a:gd name="connsiteY15" fmla="*/ 44679 h 356997"/>
                  <a:gd name="connsiteX16" fmla="*/ 348033 w 446210"/>
                  <a:gd name="connsiteY16" fmla="*/ 49450 h 356997"/>
                  <a:gd name="connsiteX17" fmla="*/ 352804 w 446210"/>
                  <a:gd name="connsiteY17" fmla="*/ 44679 h 356997"/>
                  <a:gd name="connsiteX18" fmla="*/ 348033 w 446210"/>
                  <a:gd name="connsiteY18" fmla="*/ 40052 h 356997"/>
                  <a:gd name="connsiteX19" fmla="*/ 343406 w 446210"/>
                  <a:gd name="connsiteY19" fmla="*/ 44679 h 356997"/>
                  <a:gd name="connsiteX20" fmla="*/ 343406 w 446210"/>
                  <a:gd name="connsiteY20" fmla="*/ 44679 h 356997"/>
                  <a:gd name="connsiteX21" fmla="*/ 290051 w 446210"/>
                  <a:gd name="connsiteY21" fmla="*/ 44679 h 356997"/>
                  <a:gd name="connsiteX22" fmla="*/ 294678 w 446210"/>
                  <a:gd name="connsiteY22" fmla="*/ 49450 h 356997"/>
                  <a:gd name="connsiteX23" fmla="*/ 299450 w 446210"/>
                  <a:gd name="connsiteY23" fmla="*/ 44679 h 356997"/>
                  <a:gd name="connsiteX24" fmla="*/ 294678 w 446210"/>
                  <a:gd name="connsiteY24" fmla="*/ 40052 h 356997"/>
                  <a:gd name="connsiteX25" fmla="*/ 290051 w 446210"/>
                  <a:gd name="connsiteY25" fmla="*/ 44679 h 356997"/>
                  <a:gd name="connsiteX26" fmla="*/ 290051 w 446210"/>
                  <a:gd name="connsiteY26" fmla="*/ 44679 h 356997"/>
                  <a:gd name="connsiteX0" fmla="*/ 446211 w 446211"/>
                  <a:gd name="connsiteY0" fmla="*/ 356997 h 356997"/>
                  <a:gd name="connsiteX1" fmla="*/ 0 w 446211"/>
                  <a:gd name="connsiteY1" fmla="*/ 356997 h 356997"/>
                  <a:gd name="connsiteX2" fmla="*/ 0 w 446211"/>
                  <a:gd name="connsiteY2" fmla="*/ 0 h 356997"/>
                  <a:gd name="connsiteX3" fmla="*/ 446211 w 446211"/>
                  <a:gd name="connsiteY3" fmla="*/ 0 h 356997"/>
                  <a:gd name="connsiteX4" fmla="*/ 446211 w 446211"/>
                  <a:gd name="connsiteY4" fmla="*/ 356997 h 356997"/>
                  <a:gd name="connsiteX5" fmla="*/ 446211 w 446211"/>
                  <a:gd name="connsiteY5" fmla="*/ 356997 h 356997"/>
                  <a:gd name="connsiteX6" fmla="*/ 446211 w 446211"/>
                  <a:gd name="connsiteY6" fmla="*/ 356997 h 356997"/>
                  <a:gd name="connsiteX7" fmla="*/ 0 w 446211"/>
                  <a:gd name="connsiteY7" fmla="*/ 89358 h 356997"/>
                  <a:gd name="connsiteX8" fmla="*/ 446211 w 446211"/>
                  <a:gd name="connsiteY8" fmla="*/ 89358 h 356997"/>
                  <a:gd name="connsiteX9" fmla="*/ 396905 w 446211"/>
                  <a:gd name="connsiteY9" fmla="*/ 44679 h 356997"/>
                  <a:gd name="connsiteX10" fmla="*/ 401676 w 446211"/>
                  <a:gd name="connsiteY10" fmla="*/ 49450 h 356997"/>
                  <a:gd name="connsiteX11" fmla="*/ 406303 w 446211"/>
                  <a:gd name="connsiteY11" fmla="*/ 44679 h 356997"/>
                  <a:gd name="connsiteX12" fmla="*/ 401676 w 446211"/>
                  <a:gd name="connsiteY12" fmla="*/ 40052 h 356997"/>
                  <a:gd name="connsiteX13" fmla="*/ 396905 w 446211"/>
                  <a:gd name="connsiteY13" fmla="*/ 44679 h 356997"/>
                  <a:gd name="connsiteX14" fmla="*/ 396905 w 446211"/>
                  <a:gd name="connsiteY14" fmla="*/ 44679 h 356997"/>
                  <a:gd name="connsiteX15" fmla="*/ 343406 w 446211"/>
                  <a:gd name="connsiteY15" fmla="*/ 44679 h 356997"/>
                  <a:gd name="connsiteX16" fmla="*/ 348033 w 446211"/>
                  <a:gd name="connsiteY16" fmla="*/ 49450 h 356997"/>
                  <a:gd name="connsiteX17" fmla="*/ 352804 w 446211"/>
                  <a:gd name="connsiteY17" fmla="*/ 44679 h 356997"/>
                  <a:gd name="connsiteX18" fmla="*/ 348033 w 446211"/>
                  <a:gd name="connsiteY18" fmla="*/ 40052 h 356997"/>
                  <a:gd name="connsiteX19" fmla="*/ 343406 w 446211"/>
                  <a:gd name="connsiteY19" fmla="*/ 44679 h 356997"/>
                  <a:gd name="connsiteX20" fmla="*/ 343406 w 446211"/>
                  <a:gd name="connsiteY20" fmla="*/ 44679 h 356997"/>
                  <a:gd name="connsiteX21" fmla="*/ 290051 w 446211"/>
                  <a:gd name="connsiteY21" fmla="*/ 44679 h 356997"/>
                  <a:gd name="connsiteX22" fmla="*/ 294678 w 446211"/>
                  <a:gd name="connsiteY22" fmla="*/ 49450 h 356997"/>
                  <a:gd name="connsiteX23" fmla="*/ 299450 w 446211"/>
                  <a:gd name="connsiteY23" fmla="*/ 44679 h 356997"/>
                  <a:gd name="connsiteX24" fmla="*/ 294678 w 446211"/>
                  <a:gd name="connsiteY24" fmla="*/ 40052 h 356997"/>
                  <a:gd name="connsiteX25" fmla="*/ 290051 w 446211"/>
                  <a:gd name="connsiteY25" fmla="*/ 44679 h 356997"/>
                  <a:gd name="connsiteX26" fmla="*/ 290051 w 446211"/>
                  <a:gd name="connsiteY26" fmla="*/ 44679 h 356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46211" h="356997">
                    <a:moveTo>
                      <a:pt x="446211" y="356997"/>
                    </a:moveTo>
                    <a:lnTo>
                      <a:pt x="0" y="356997"/>
                    </a:lnTo>
                    <a:lnTo>
                      <a:pt x="0" y="0"/>
                    </a:lnTo>
                    <a:lnTo>
                      <a:pt x="446211" y="0"/>
                    </a:lnTo>
                    <a:lnTo>
                      <a:pt x="446211" y="356997"/>
                    </a:lnTo>
                    <a:lnTo>
                      <a:pt x="446211" y="356997"/>
                    </a:lnTo>
                    <a:lnTo>
                      <a:pt x="446211" y="356997"/>
                    </a:lnTo>
                    <a:close/>
                    <a:moveTo>
                      <a:pt x="0" y="89358"/>
                    </a:moveTo>
                    <a:lnTo>
                      <a:pt x="446211" y="89358"/>
                    </a:lnTo>
                    <a:moveTo>
                      <a:pt x="396905" y="44679"/>
                    </a:moveTo>
                    <a:cubicBezTo>
                      <a:pt x="396905" y="47282"/>
                      <a:pt x="399074" y="49450"/>
                      <a:pt x="401676" y="49450"/>
                    </a:cubicBezTo>
                    <a:cubicBezTo>
                      <a:pt x="404279" y="49450"/>
                      <a:pt x="406303" y="47282"/>
                      <a:pt x="406303" y="44679"/>
                    </a:cubicBezTo>
                    <a:cubicBezTo>
                      <a:pt x="406303" y="42076"/>
                      <a:pt x="404279" y="40052"/>
                      <a:pt x="401676" y="40052"/>
                    </a:cubicBezTo>
                    <a:cubicBezTo>
                      <a:pt x="398929" y="40052"/>
                      <a:pt x="396905" y="42076"/>
                      <a:pt x="396905" y="44679"/>
                    </a:cubicBezTo>
                    <a:lnTo>
                      <a:pt x="396905" y="44679"/>
                    </a:lnTo>
                    <a:close/>
                    <a:moveTo>
                      <a:pt x="343406" y="44679"/>
                    </a:moveTo>
                    <a:cubicBezTo>
                      <a:pt x="343406" y="47282"/>
                      <a:pt x="345575" y="49450"/>
                      <a:pt x="348033" y="49450"/>
                    </a:cubicBezTo>
                    <a:cubicBezTo>
                      <a:pt x="350635" y="49450"/>
                      <a:pt x="352804" y="47282"/>
                      <a:pt x="352804" y="44679"/>
                    </a:cubicBezTo>
                    <a:cubicBezTo>
                      <a:pt x="352804" y="42076"/>
                      <a:pt x="350635" y="40052"/>
                      <a:pt x="348033" y="40052"/>
                    </a:cubicBezTo>
                    <a:cubicBezTo>
                      <a:pt x="345575" y="40052"/>
                      <a:pt x="343406" y="42076"/>
                      <a:pt x="343406" y="44679"/>
                    </a:cubicBezTo>
                    <a:lnTo>
                      <a:pt x="343406" y="44679"/>
                    </a:lnTo>
                    <a:close/>
                    <a:moveTo>
                      <a:pt x="290051" y="44679"/>
                    </a:moveTo>
                    <a:cubicBezTo>
                      <a:pt x="290051" y="47282"/>
                      <a:pt x="292076" y="49450"/>
                      <a:pt x="294678" y="49450"/>
                    </a:cubicBezTo>
                    <a:cubicBezTo>
                      <a:pt x="297281" y="49450"/>
                      <a:pt x="299450" y="47282"/>
                      <a:pt x="299450" y="44679"/>
                    </a:cubicBezTo>
                    <a:cubicBezTo>
                      <a:pt x="299450" y="42076"/>
                      <a:pt x="297281" y="40052"/>
                      <a:pt x="294678" y="40052"/>
                    </a:cubicBezTo>
                    <a:cubicBezTo>
                      <a:pt x="292076" y="40052"/>
                      <a:pt x="290051" y="42076"/>
                      <a:pt x="290051" y="44679"/>
                    </a:cubicBezTo>
                    <a:lnTo>
                      <a:pt x="290051" y="44679"/>
                    </a:lnTo>
                    <a:close/>
                  </a:path>
                </a:pathLst>
              </a:custGeom>
              <a:noFill/>
              <a:ln w="158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gradFill>
                    <a:gsLst>
                      <a:gs pos="0">
                        <a:srgbClr val="505050"/>
                      </a:gs>
                      <a:gs pos="100000">
                        <a:srgbClr val="505050"/>
                      </a:gs>
                    </a:gsLst>
                    <a:lin ang="5400000" scaled="1"/>
                  </a:gradFill>
                  <a:effectLst/>
                  <a:uLnTx/>
                  <a:uFillTx/>
                  <a:latin typeface="Segoe UI Semibold"/>
                  <a:ea typeface="+mn-ea"/>
                  <a:cs typeface="+mn-cs"/>
                </a:endParaRPr>
              </a:p>
            </p:txBody>
          </p:sp>
        </p:grpSp>
      </p:grpSp>
      <p:grpSp>
        <p:nvGrpSpPr>
          <p:cNvPr id="40" name="Group 39">
            <a:extLst>
              <a:ext uri="{FF2B5EF4-FFF2-40B4-BE49-F238E27FC236}">
                <a16:creationId xmlns:a16="http://schemas.microsoft.com/office/drawing/2014/main" id="{D294926A-0F54-A23A-A02B-62DF98F87133}"/>
              </a:ext>
            </a:extLst>
          </p:cNvPr>
          <p:cNvGrpSpPr>
            <a:grpSpLocks noChangeAspect="1"/>
          </p:cNvGrpSpPr>
          <p:nvPr/>
        </p:nvGrpSpPr>
        <p:grpSpPr>
          <a:xfrm>
            <a:off x="8508800" y="4684365"/>
            <a:ext cx="575019" cy="513651"/>
            <a:chOff x="7349150" y="4562259"/>
            <a:chExt cx="1217855" cy="1087880"/>
          </a:xfrm>
        </p:grpSpPr>
        <p:pic>
          <p:nvPicPr>
            <p:cNvPr id="29" name="Graphic 28">
              <a:extLst>
                <a:ext uri="{FF2B5EF4-FFF2-40B4-BE49-F238E27FC236}">
                  <a16:creationId xmlns:a16="http://schemas.microsoft.com/office/drawing/2014/main" id="{69B545D1-2012-E594-8D9B-050C3F0885A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550712" y="4562259"/>
              <a:ext cx="1016293" cy="518070"/>
            </a:xfrm>
            <a:prstGeom prst="rect">
              <a:avLst/>
            </a:prstGeom>
          </p:spPr>
        </p:pic>
        <p:pic>
          <p:nvPicPr>
            <p:cNvPr id="39" name="Graphic 38">
              <a:extLst>
                <a:ext uri="{FF2B5EF4-FFF2-40B4-BE49-F238E27FC236}">
                  <a16:creationId xmlns:a16="http://schemas.microsoft.com/office/drawing/2014/main" id="{AB823D5A-9796-055E-844B-4B8EB86D8F24}"/>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349150" y="4984997"/>
              <a:ext cx="933532" cy="665142"/>
            </a:xfrm>
            <a:prstGeom prst="rect">
              <a:avLst/>
            </a:prstGeom>
          </p:spPr>
        </p:pic>
      </p:grpSp>
      <p:pic>
        <p:nvPicPr>
          <p:cNvPr id="43" name="Picture 42" descr="A logo of a database&#10;&#10;Description automatically generated">
            <a:extLst>
              <a:ext uri="{FF2B5EF4-FFF2-40B4-BE49-F238E27FC236}">
                <a16:creationId xmlns:a16="http://schemas.microsoft.com/office/drawing/2014/main" id="{2F938FFA-E562-8959-76D4-FA4C86860DC5}"/>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9174956" y="4676719"/>
            <a:ext cx="507678" cy="397314"/>
          </a:xfrm>
          <a:prstGeom prst="rect">
            <a:avLst/>
          </a:prstGeom>
        </p:spPr>
      </p:pic>
      <p:grpSp>
        <p:nvGrpSpPr>
          <p:cNvPr id="26" name="Group 25">
            <a:extLst>
              <a:ext uri="{FF2B5EF4-FFF2-40B4-BE49-F238E27FC236}">
                <a16:creationId xmlns:a16="http://schemas.microsoft.com/office/drawing/2014/main" id="{C5064EA5-10FF-F424-426A-50D06BF2909A}"/>
              </a:ext>
            </a:extLst>
          </p:cNvPr>
          <p:cNvGrpSpPr>
            <a:grpSpLocks/>
          </p:cNvGrpSpPr>
          <p:nvPr/>
        </p:nvGrpSpPr>
        <p:grpSpPr>
          <a:xfrm>
            <a:off x="10193759" y="5042066"/>
            <a:ext cx="457200" cy="457200"/>
            <a:chOff x="10493284" y="4480885"/>
            <a:chExt cx="489939" cy="495450"/>
          </a:xfrm>
        </p:grpSpPr>
        <p:sp>
          <p:nvSpPr>
            <p:cNvPr id="24" name="Oval 23">
              <a:extLst>
                <a:ext uri="{FF2B5EF4-FFF2-40B4-BE49-F238E27FC236}">
                  <a16:creationId xmlns:a16="http://schemas.microsoft.com/office/drawing/2014/main" id="{79B459D4-AFDF-6935-B471-BFBE187966D7}"/>
                </a:ext>
              </a:extLst>
            </p:cNvPr>
            <p:cNvSpPr/>
            <p:nvPr/>
          </p:nvSpPr>
          <p:spPr bwMode="auto">
            <a:xfrm>
              <a:off x="10493284" y="4480885"/>
              <a:ext cx="489939" cy="495450"/>
            </a:xfrm>
            <a:prstGeom prst="ellipse">
              <a:avLst/>
            </a:prstGeom>
            <a:solidFill>
              <a:schemeClr val="bg1"/>
            </a:solidFill>
            <a:ln w="28575">
              <a:solidFill>
                <a:srgbClr val="4A576D"/>
              </a:solidFill>
            </a:ln>
            <a:effectLst/>
          </p:spPr>
          <p:txBody>
            <a:bodyPr wrap="square" lIns="0" tIns="0" rIns="0" bIns="0" rtlCol="0"/>
            <a:lstStyle/>
            <a:p>
              <a:pPr marL="0" marR="0" lvl="0" indent="0" algn="l" defTabSz="623318"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latin typeface="Calibri"/>
                <a:ea typeface="+mn-ea"/>
                <a:cs typeface="+mn-cs"/>
              </a:endParaRPr>
            </a:p>
          </p:txBody>
        </p:sp>
        <p:sp>
          <p:nvSpPr>
            <p:cNvPr id="22" name="Graphic 7">
              <a:extLst>
                <a:ext uri="{FF2B5EF4-FFF2-40B4-BE49-F238E27FC236}">
                  <a16:creationId xmlns:a16="http://schemas.microsoft.com/office/drawing/2014/main" id="{47172650-6FD0-691E-F13F-B6888AAA96CD}"/>
                </a:ext>
                <a:ext uri="{C183D7F6-B498-43B3-948B-1728B52AA6E4}">
                  <adec:decorative xmlns:adec="http://schemas.microsoft.com/office/drawing/2017/decorative" val="1"/>
                </a:ext>
              </a:extLst>
            </p:cNvPr>
            <p:cNvSpPr/>
            <p:nvPr/>
          </p:nvSpPr>
          <p:spPr>
            <a:xfrm>
              <a:off x="10625222" y="4591050"/>
              <a:ext cx="226034" cy="246510"/>
            </a:xfrm>
            <a:custGeom>
              <a:avLst/>
              <a:gdLst>
                <a:gd name="connsiteX0" fmla="*/ 261502 w 345463"/>
                <a:gd name="connsiteY0" fmla="*/ 124874 h 376759"/>
                <a:gd name="connsiteX1" fmla="*/ 261502 w 345463"/>
                <a:gd name="connsiteY1" fmla="*/ 376759 h 376759"/>
                <a:gd name="connsiteX2" fmla="*/ 211583 w 345463"/>
                <a:gd name="connsiteY2" fmla="*/ 376759 h 376759"/>
                <a:gd name="connsiteX3" fmla="*/ 211583 w 345463"/>
                <a:gd name="connsiteY3" fmla="*/ 292492 h 376759"/>
                <a:gd name="connsiteX4" fmla="*/ 158306 w 345463"/>
                <a:gd name="connsiteY4" fmla="*/ 292492 h 376759"/>
                <a:gd name="connsiteX5" fmla="*/ 158306 w 345463"/>
                <a:gd name="connsiteY5" fmla="*/ 376759 h 376759"/>
                <a:gd name="connsiteX6" fmla="*/ 105944 w 345463"/>
                <a:gd name="connsiteY6" fmla="*/ 376759 h 376759"/>
                <a:gd name="connsiteX7" fmla="*/ 105944 w 345463"/>
                <a:gd name="connsiteY7" fmla="*/ 132507 h 376759"/>
                <a:gd name="connsiteX8" fmla="*/ 184716 w 345463"/>
                <a:gd name="connsiteY8" fmla="*/ 132507 h 376759"/>
                <a:gd name="connsiteX9" fmla="*/ 261655 w 345463"/>
                <a:gd name="connsiteY9" fmla="*/ 132507 h 376759"/>
                <a:gd name="connsiteX10" fmla="*/ 184563 w 345463"/>
                <a:gd name="connsiteY10" fmla="*/ 132660 h 376759"/>
                <a:gd name="connsiteX11" fmla="*/ 184563 w 345463"/>
                <a:gd name="connsiteY11" fmla="*/ 80756 h 376759"/>
                <a:gd name="connsiteX12" fmla="*/ 0 w 345463"/>
                <a:gd name="connsiteY12" fmla="*/ 80756 h 376759"/>
                <a:gd name="connsiteX13" fmla="*/ 0 w 345463"/>
                <a:gd name="connsiteY13" fmla="*/ 376759 h 376759"/>
                <a:gd name="connsiteX14" fmla="*/ 345464 w 345463"/>
                <a:gd name="connsiteY14" fmla="*/ 376759 h 376759"/>
                <a:gd name="connsiteX15" fmla="*/ 345464 w 345463"/>
                <a:gd name="connsiteY15" fmla="*/ 108082 h 376759"/>
                <a:gd name="connsiteX16" fmla="*/ 234329 w 345463"/>
                <a:gd name="connsiteY16" fmla="*/ 0 h 376759"/>
                <a:gd name="connsiteX17" fmla="*/ 234329 w 345463"/>
                <a:gd name="connsiteY17" fmla="*/ 132660 h 376759"/>
                <a:gd name="connsiteX18" fmla="*/ 54346 w 345463"/>
                <a:gd name="connsiteY18" fmla="*/ 132660 h 376759"/>
                <a:gd name="connsiteX19" fmla="*/ 49003 w 345463"/>
                <a:gd name="connsiteY19" fmla="*/ 132660 h 376759"/>
                <a:gd name="connsiteX20" fmla="*/ 49003 w 345463"/>
                <a:gd name="connsiteY20" fmla="*/ 136171 h 376759"/>
                <a:gd name="connsiteX21" fmla="*/ 54193 w 345463"/>
                <a:gd name="connsiteY21" fmla="*/ 136171 h 376759"/>
                <a:gd name="connsiteX22" fmla="*/ 54193 w 345463"/>
                <a:gd name="connsiteY22" fmla="*/ 132660 h 376759"/>
                <a:gd name="connsiteX23" fmla="*/ 54346 w 345463"/>
                <a:gd name="connsiteY23" fmla="*/ 185326 h 376759"/>
                <a:gd name="connsiteX24" fmla="*/ 49003 w 345463"/>
                <a:gd name="connsiteY24" fmla="*/ 185326 h 376759"/>
                <a:gd name="connsiteX25" fmla="*/ 49003 w 345463"/>
                <a:gd name="connsiteY25" fmla="*/ 190669 h 376759"/>
                <a:gd name="connsiteX26" fmla="*/ 54193 w 345463"/>
                <a:gd name="connsiteY26" fmla="*/ 190669 h 376759"/>
                <a:gd name="connsiteX27" fmla="*/ 54193 w 345463"/>
                <a:gd name="connsiteY27" fmla="*/ 185326 h 376759"/>
                <a:gd name="connsiteX28" fmla="*/ 54346 w 345463"/>
                <a:gd name="connsiteY28" fmla="*/ 237993 h 376759"/>
                <a:gd name="connsiteX29" fmla="*/ 49003 w 345463"/>
                <a:gd name="connsiteY29" fmla="*/ 237993 h 376759"/>
                <a:gd name="connsiteX30" fmla="*/ 49003 w 345463"/>
                <a:gd name="connsiteY30" fmla="*/ 243336 h 376759"/>
                <a:gd name="connsiteX31" fmla="*/ 54193 w 345463"/>
                <a:gd name="connsiteY31" fmla="*/ 243336 h 376759"/>
                <a:gd name="connsiteX32" fmla="*/ 54193 w 345463"/>
                <a:gd name="connsiteY32" fmla="*/ 237993 h 376759"/>
                <a:gd name="connsiteX33" fmla="*/ 54346 w 345463"/>
                <a:gd name="connsiteY33" fmla="*/ 291576 h 376759"/>
                <a:gd name="connsiteX34" fmla="*/ 49003 w 345463"/>
                <a:gd name="connsiteY34" fmla="*/ 291576 h 376759"/>
                <a:gd name="connsiteX35" fmla="*/ 49003 w 345463"/>
                <a:gd name="connsiteY35" fmla="*/ 296003 h 376759"/>
                <a:gd name="connsiteX36" fmla="*/ 54193 w 345463"/>
                <a:gd name="connsiteY36" fmla="*/ 296003 h 376759"/>
                <a:gd name="connsiteX37" fmla="*/ 54193 w 345463"/>
                <a:gd name="connsiteY37" fmla="*/ 291576 h 376759"/>
                <a:gd name="connsiteX38" fmla="*/ 54346 w 345463"/>
                <a:gd name="connsiteY38" fmla="*/ 344243 h 376759"/>
                <a:gd name="connsiteX39" fmla="*/ 49003 w 345463"/>
                <a:gd name="connsiteY39" fmla="*/ 344243 h 376759"/>
                <a:gd name="connsiteX40" fmla="*/ 49003 w 345463"/>
                <a:gd name="connsiteY40" fmla="*/ 348670 h 376759"/>
                <a:gd name="connsiteX41" fmla="*/ 54193 w 345463"/>
                <a:gd name="connsiteY41" fmla="*/ 348670 h 376759"/>
                <a:gd name="connsiteX42" fmla="*/ 54193 w 345463"/>
                <a:gd name="connsiteY42" fmla="*/ 344243 h 376759"/>
                <a:gd name="connsiteX43" fmla="*/ 159222 w 345463"/>
                <a:gd name="connsiteY43" fmla="*/ 185326 h 376759"/>
                <a:gd name="connsiteX44" fmla="*/ 154795 w 345463"/>
                <a:gd name="connsiteY44" fmla="*/ 185326 h 376759"/>
                <a:gd name="connsiteX45" fmla="*/ 154795 w 345463"/>
                <a:gd name="connsiteY45" fmla="*/ 190669 h 376759"/>
                <a:gd name="connsiteX46" fmla="*/ 159222 w 345463"/>
                <a:gd name="connsiteY46" fmla="*/ 190669 h 376759"/>
                <a:gd name="connsiteX47" fmla="*/ 159222 w 345463"/>
                <a:gd name="connsiteY47" fmla="*/ 185326 h 376759"/>
                <a:gd name="connsiteX48" fmla="*/ 159222 w 345463"/>
                <a:gd name="connsiteY48" fmla="*/ 239825 h 376759"/>
                <a:gd name="connsiteX49" fmla="*/ 154795 w 345463"/>
                <a:gd name="connsiteY49" fmla="*/ 239825 h 376759"/>
                <a:gd name="connsiteX50" fmla="*/ 154795 w 345463"/>
                <a:gd name="connsiteY50" fmla="*/ 243336 h 376759"/>
                <a:gd name="connsiteX51" fmla="*/ 159222 w 345463"/>
                <a:gd name="connsiteY51" fmla="*/ 243336 h 376759"/>
                <a:gd name="connsiteX52" fmla="*/ 159222 w 345463"/>
                <a:gd name="connsiteY52" fmla="*/ 239825 h 376759"/>
                <a:gd name="connsiteX53" fmla="*/ 212652 w 345463"/>
                <a:gd name="connsiteY53" fmla="*/ 185326 h 376759"/>
                <a:gd name="connsiteX54" fmla="*/ 207462 w 345463"/>
                <a:gd name="connsiteY54" fmla="*/ 185326 h 376759"/>
                <a:gd name="connsiteX55" fmla="*/ 207462 w 345463"/>
                <a:gd name="connsiteY55" fmla="*/ 190669 h 376759"/>
                <a:gd name="connsiteX56" fmla="*/ 212652 w 345463"/>
                <a:gd name="connsiteY56" fmla="*/ 190669 h 376759"/>
                <a:gd name="connsiteX57" fmla="*/ 212652 w 345463"/>
                <a:gd name="connsiteY57" fmla="*/ 185326 h 376759"/>
                <a:gd name="connsiteX58" fmla="*/ 212652 w 345463"/>
                <a:gd name="connsiteY58" fmla="*/ 239825 h 376759"/>
                <a:gd name="connsiteX59" fmla="*/ 207462 w 345463"/>
                <a:gd name="connsiteY59" fmla="*/ 239825 h 376759"/>
                <a:gd name="connsiteX60" fmla="*/ 207462 w 345463"/>
                <a:gd name="connsiteY60" fmla="*/ 243336 h 376759"/>
                <a:gd name="connsiteX61" fmla="*/ 212652 w 345463"/>
                <a:gd name="connsiteY61" fmla="*/ 243336 h 376759"/>
                <a:gd name="connsiteX62" fmla="*/ 212652 w 345463"/>
                <a:gd name="connsiteY62" fmla="*/ 239825 h 376759"/>
                <a:gd name="connsiteX0" fmla="*/ 261502 w 345464"/>
                <a:gd name="connsiteY0" fmla="*/ 124874 h 376759"/>
                <a:gd name="connsiteX1" fmla="*/ 261502 w 345464"/>
                <a:gd name="connsiteY1" fmla="*/ 376759 h 376759"/>
                <a:gd name="connsiteX2" fmla="*/ 211583 w 345464"/>
                <a:gd name="connsiteY2" fmla="*/ 376759 h 376759"/>
                <a:gd name="connsiteX3" fmla="*/ 211583 w 345464"/>
                <a:gd name="connsiteY3" fmla="*/ 292492 h 376759"/>
                <a:gd name="connsiteX4" fmla="*/ 158306 w 345464"/>
                <a:gd name="connsiteY4" fmla="*/ 292492 h 376759"/>
                <a:gd name="connsiteX5" fmla="*/ 158306 w 345464"/>
                <a:gd name="connsiteY5" fmla="*/ 376759 h 376759"/>
                <a:gd name="connsiteX6" fmla="*/ 105944 w 345464"/>
                <a:gd name="connsiteY6" fmla="*/ 376759 h 376759"/>
                <a:gd name="connsiteX7" fmla="*/ 105944 w 345464"/>
                <a:gd name="connsiteY7" fmla="*/ 132507 h 376759"/>
                <a:gd name="connsiteX8" fmla="*/ 184716 w 345464"/>
                <a:gd name="connsiteY8" fmla="*/ 132507 h 376759"/>
                <a:gd name="connsiteX9" fmla="*/ 261655 w 345464"/>
                <a:gd name="connsiteY9" fmla="*/ 132507 h 376759"/>
                <a:gd name="connsiteX10" fmla="*/ 184563 w 345464"/>
                <a:gd name="connsiteY10" fmla="*/ 132660 h 376759"/>
                <a:gd name="connsiteX11" fmla="*/ 184563 w 345464"/>
                <a:gd name="connsiteY11" fmla="*/ 80756 h 376759"/>
                <a:gd name="connsiteX12" fmla="*/ 0 w 345464"/>
                <a:gd name="connsiteY12" fmla="*/ 80756 h 376759"/>
                <a:gd name="connsiteX13" fmla="*/ 0 w 345464"/>
                <a:gd name="connsiteY13" fmla="*/ 376759 h 376759"/>
                <a:gd name="connsiteX14" fmla="*/ 345464 w 345464"/>
                <a:gd name="connsiteY14" fmla="*/ 376759 h 376759"/>
                <a:gd name="connsiteX15" fmla="*/ 345464 w 345464"/>
                <a:gd name="connsiteY15" fmla="*/ 108082 h 376759"/>
                <a:gd name="connsiteX16" fmla="*/ 234329 w 345464"/>
                <a:gd name="connsiteY16" fmla="*/ 0 h 376759"/>
                <a:gd name="connsiteX17" fmla="*/ 234329 w 345464"/>
                <a:gd name="connsiteY17" fmla="*/ 132660 h 376759"/>
                <a:gd name="connsiteX18" fmla="*/ 54346 w 345464"/>
                <a:gd name="connsiteY18" fmla="*/ 132660 h 376759"/>
                <a:gd name="connsiteX19" fmla="*/ 49003 w 345464"/>
                <a:gd name="connsiteY19" fmla="*/ 132660 h 376759"/>
                <a:gd name="connsiteX20" fmla="*/ 49003 w 345464"/>
                <a:gd name="connsiteY20" fmla="*/ 136171 h 376759"/>
                <a:gd name="connsiteX21" fmla="*/ 54193 w 345464"/>
                <a:gd name="connsiteY21" fmla="*/ 136171 h 376759"/>
                <a:gd name="connsiteX22" fmla="*/ 54193 w 345464"/>
                <a:gd name="connsiteY22" fmla="*/ 132660 h 376759"/>
                <a:gd name="connsiteX23" fmla="*/ 54346 w 345464"/>
                <a:gd name="connsiteY23" fmla="*/ 185326 h 376759"/>
                <a:gd name="connsiteX24" fmla="*/ 49003 w 345464"/>
                <a:gd name="connsiteY24" fmla="*/ 185326 h 376759"/>
                <a:gd name="connsiteX25" fmla="*/ 49003 w 345464"/>
                <a:gd name="connsiteY25" fmla="*/ 190669 h 376759"/>
                <a:gd name="connsiteX26" fmla="*/ 54193 w 345464"/>
                <a:gd name="connsiteY26" fmla="*/ 190669 h 376759"/>
                <a:gd name="connsiteX27" fmla="*/ 54193 w 345464"/>
                <a:gd name="connsiteY27" fmla="*/ 185326 h 376759"/>
                <a:gd name="connsiteX28" fmla="*/ 54346 w 345464"/>
                <a:gd name="connsiteY28" fmla="*/ 237993 h 376759"/>
                <a:gd name="connsiteX29" fmla="*/ 49003 w 345464"/>
                <a:gd name="connsiteY29" fmla="*/ 237993 h 376759"/>
                <a:gd name="connsiteX30" fmla="*/ 49003 w 345464"/>
                <a:gd name="connsiteY30" fmla="*/ 243336 h 376759"/>
                <a:gd name="connsiteX31" fmla="*/ 54193 w 345464"/>
                <a:gd name="connsiteY31" fmla="*/ 243336 h 376759"/>
                <a:gd name="connsiteX32" fmla="*/ 54193 w 345464"/>
                <a:gd name="connsiteY32" fmla="*/ 237993 h 376759"/>
                <a:gd name="connsiteX33" fmla="*/ 54346 w 345464"/>
                <a:gd name="connsiteY33" fmla="*/ 291576 h 376759"/>
                <a:gd name="connsiteX34" fmla="*/ 49003 w 345464"/>
                <a:gd name="connsiteY34" fmla="*/ 291576 h 376759"/>
                <a:gd name="connsiteX35" fmla="*/ 49003 w 345464"/>
                <a:gd name="connsiteY35" fmla="*/ 296003 h 376759"/>
                <a:gd name="connsiteX36" fmla="*/ 54193 w 345464"/>
                <a:gd name="connsiteY36" fmla="*/ 296003 h 376759"/>
                <a:gd name="connsiteX37" fmla="*/ 54193 w 345464"/>
                <a:gd name="connsiteY37" fmla="*/ 291576 h 376759"/>
                <a:gd name="connsiteX38" fmla="*/ 54346 w 345464"/>
                <a:gd name="connsiteY38" fmla="*/ 344243 h 376759"/>
                <a:gd name="connsiteX39" fmla="*/ 49003 w 345464"/>
                <a:gd name="connsiteY39" fmla="*/ 344243 h 376759"/>
                <a:gd name="connsiteX40" fmla="*/ 49003 w 345464"/>
                <a:gd name="connsiteY40" fmla="*/ 348670 h 376759"/>
                <a:gd name="connsiteX41" fmla="*/ 54193 w 345464"/>
                <a:gd name="connsiteY41" fmla="*/ 348670 h 376759"/>
                <a:gd name="connsiteX42" fmla="*/ 54193 w 345464"/>
                <a:gd name="connsiteY42" fmla="*/ 344243 h 376759"/>
                <a:gd name="connsiteX43" fmla="*/ 159222 w 345464"/>
                <a:gd name="connsiteY43" fmla="*/ 185326 h 376759"/>
                <a:gd name="connsiteX44" fmla="*/ 154795 w 345464"/>
                <a:gd name="connsiteY44" fmla="*/ 185326 h 376759"/>
                <a:gd name="connsiteX45" fmla="*/ 154795 w 345464"/>
                <a:gd name="connsiteY45" fmla="*/ 190669 h 376759"/>
                <a:gd name="connsiteX46" fmla="*/ 159222 w 345464"/>
                <a:gd name="connsiteY46" fmla="*/ 190669 h 376759"/>
                <a:gd name="connsiteX47" fmla="*/ 159222 w 345464"/>
                <a:gd name="connsiteY47" fmla="*/ 185326 h 376759"/>
                <a:gd name="connsiteX48" fmla="*/ 159222 w 345464"/>
                <a:gd name="connsiteY48" fmla="*/ 239825 h 376759"/>
                <a:gd name="connsiteX49" fmla="*/ 154795 w 345464"/>
                <a:gd name="connsiteY49" fmla="*/ 239825 h 376759"/>
                <a:gd name="connsiteX50" fmla="*/ 154795 w 345464"/>
                <a:gd name="connsiteY50" fmla="*/ 243336 h 376759"/>
                <a:gd name="connsiteX51" fmla="*/ 159222 w 345464"/>
                <a:gd name="connsiteY51" fmla="*/ 243336 h 376759"/>
                <a:gd name="connsiteX52" fmla="*/ 159222 w 345464"/>
                <a:gd name="connsiteY52" fmla="*/ 239825 h 376759"/>
                <a:gd name="connsiteX53" fmla="*/ 212652 w 345464"/>
                <a:gd name="connsiteY53" fmla="*/ 185326 h 376759"/>
                <a:gd name="connsiteX54" fmla="*/ 207462 w 345464"/>
                <a:gd name="connsiteY54" fmla="*/ 185326 h 376759"/>
                <a:gd name="connsiteX55" fmla="*/ 207462 w 345464"/>
                <a:gd name="connsiteY55" fmla="*/ 190669 h 376759"/>
                <a:gd name="connsiteX56" fmla="*/ 212652 w 345464"/>
                <a:gd name="connsiteY56" fmla="*/ 190669 h 376759"/>
                <a:gd name="connsiteX57" fmla="*/ 212652 w 345464"/>
                <a:gd name="connsiteY57" fmla="*/ 185326 h 376759"/>
                <a:gd name="connsiteX58" fmla="*/ 212652 w 345464"/>
                <a:gd name="connsiteY58" fmla="*/ 239825 h 376759"/>
                <a:gd name="connsiteX59" fmla="*/ 207462 w 345464"/>
                <a:gd name="connsiteY59" fmla="*/ 239825 h 376759"/>
                <a:gd name="connsiteX60" fmla="*/ 207462 w 345464"/>
                <a:gd name="connsiteY60" fmla="*/ 243336 h 376759"/>
                <a:gd name="connsiteX61" fmla="*/ 212652 w 345464"/>
                <a:gd name="connsiteY61" fmla="*/ 243336 h 376759"/>
                <a:gd name="connsiteX62" fmla="*/ 212652 w 345464"/>
                <a:gd name="connsiteY62" fmla="*/ 239825 h 376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45464" h="376759">
                  <a:moveTo>
                    <a:pt x="261502" y="124874"/>
                  </a:moveTo>
                  <a:lnTo>
                    <a:pt x="261502" y="376759"/>
                  </a:lnTo>
                  <a:lnTo>
                    <a:pt x="211583" y="376759"/>
                  </a:lnTo>
                  <a:lnTo>
                    <a:pt x="211583" y="292492"/>
                  </a:lnTo>
                  <a:lnTo>
                    <a:pt x="158306" y="292492"/>
                  </a:lnTo>
                  <a:lnTo>
                    <a:pt x="158306" y="376759"/>
                  </a:lnTo>
                  <a:lnTo>
                    <a:pt x="105944" y="376759"/>
                  </a:lnTo>
                  <a:lnTo>
                    <a:pt x="105944" y="132507"/>
                  </a:lnTo>
                  <a:lnTo>
                    <a:pt x="184716" y="132507"/>
                  </a:lnTo>
                  <a:lnTo>
                    <a:pt x="261655" y="132507"/>
                  </a:lnTo>
                  <a:moveTo>
                    <a:pt x="184563" y="132660"/>
                  </a:moveTo>
                  <a:lnTo>
                    <a:pt x="184563" y="80756"/>
                  </a:lnTo>
                  <a:lnTo>
                    <a:pt x="0" y="80756"/>
                  </a:lnTo>
                  <a:lnTo>
                    <a:pt x="0" y="376759"/>
                  </a:lnTo>
                  <a:moveTo>
                    <a:pt x="345464" y="376759"/>
                  </a:moveTo>
                  <a:lnTo>
                    <a:pt x="345464" y="108082"/>
                  </a:lnTo>
                  <a:lnTo>
                    <a:pt x="234329" y="0"/>
                  </a:lnTo>
                  <a:lnTo>
                    <a:pt x="234329" y="132660"/>
                  </a:lnTo>
                  <a:moveTo>
                    <a:pt x="54346" y="132660"/>
                  </a:moveTo>
                  <a:lnTo>
                    <a:pt x="49003" y="132660"/>
                  </a:lnTo>
                  <a:lnTo>
                    <a:pt x="49003" y="136171"/>
                  </a:lnTo>
                  <a:lnTo>
                    <a:pt x="54193" y="136171"/>
                  </a:lnTo>
                  <a:lnTo>
                    <a:pt x="54193" y="132660"/>
                  </a:lnTo>
                  <a:moveTo>
                    <a:pt x="54346" y="185326"/>
                  </a:moveTo>
                  <a:lnTo>
                    <a:pt x="49003" y="185326"/>
                  </a:lnTo>
                  <a:lnTo>
                    <a:pt x="49003" y="190669"/>
                  </a:lnTo>
                  <a:lnTo>
                    <a:pt x="54193" y="190669"/>
                  </a:lnTo>
                  <a:lnTo>
                    <a:pt x="54193" y="185326"/>
                  </a:lnTo>
                  <a:moveTo>
                    <a:pt x="54346" y="237993"/>
                  </a:moveTo>
                  <a:lnTo>
                    <a:pt x="49003" y="237993"/>
                  </a:lnTo>
                  <a:lnTo>
                    <a:pt x="49003" y="243336"/>
                  </a:lnTo>
                  <a:lnTo>
                    <a:pt x="54193" y="243336"/>
                  </a:lnTo>
                  <a:lnTo>
                    <a:pt x="54193" y="237993"/>
                  </a:lnTo>
                  <a:moveTo>
                    <a:pt x="54346" y="291576"/>
                  </a:moveTo>
                  <a:lnTo>
                    <a:pt x="49003" y="291576"/>
                  </a:lnTo>
                  <a:lnTo>
                    <a:pt x="49003" y="296003"/>
                  </a:lnTo>
                  <a:lnTo>
                    <a:pt x="54193" y="296003"/>
                  </a:lnTo>
                  <a:lnTo>
                    <a:pt x="54193" y="291576"/>
                  </a:lnTo>
                  <a:moveTo>
                    <a:pt x="54346" y="344243"/>
                  </a:moveTo>
                  <a:lnTo>
                    <a:pt x="49003" y="344243"/>
                  </a:lnTo>
                  <a:lnTo>
                    <a:pt x="49003" y="348670"/>
                  </a:lnTo>
                  <a:lnTo>
                    <a:pt x="54193" y="348670"/>
                  </a:lnTo>
                  <a:lnTo>
                    <a:pt x="54193" y="344243"/>
                  </a:lnTo>
                  <a:moveTo>
                    <a:pt x="159222" y="185326"/>
                  </a:moveTo>
                  <a:lnTo>
                    <a:pt x="154795" y="185326"/>
                  </a:lnTo>
                  <a:lnTo>
                    <a:pt x="154795" y="190669"/>
                  </a:lnTo>
                  <a:lnTo>
                    <a:pt x="159222" y="190669"/>
                  </a:lnTo>
                  <a:lnTo>
                    <a:pt x="159222" y="185326"/>
                  </a:lnTo>
                  <a:moveTo>
                    <a:pt x="159222" y="239825"/>
                  </a:moveTo>
                  <a:lnTo>
                    <a:pt x="154795" y="239825"/>
                  </a:lnTo>
                  <a:lnTo>
                    <a:pt x="154795" y="243336"/>
                  </a:lnTo>
                  <a:lnTo>
                    <a:pt x="159222" y="243336"/>
                  </a:lnTo>
                  <a:lnTo>
                    <a:pt x="159222" y="239825"/>
                  </a:lnTo>
                  <a:moveTo>
                    <a:pt x="212652" y="185326"/>
                  </a:moveTo>
                  <a:lnTo>
                    <a:pt x="207462" y="185326"/>
                  </a:lnTo>
                  <a:lnTo>
                    <a:pt x="207462" y="190669"/>
                  </a:lnTo>
                  <a:lnTo>
                    <a:pt x="212652" y="190669"/>
                  </a:lnTo>
                  <a:lnTo>
                    <a:pt x="212652" y="185326"/>
                  </a:lnTo>
                  <a:moveTo>
                    <a:pt x="212652" y="239825"/>
                  </a:moveTo>
                  <a:lnTo>
                    <a:pt x="207462" y="239825"/>
                  </a:lnTo>
                  <a:lnTo>
                    <a:pt x="207462" y="243336"/>
                  </a:lnTo>
                  <a:lnTo>
                    <a:pt x="212652" y="243336"/>
                  </a:lnTo>
                  <a:lnTo>
                    <a:pt x="212652" y="239825"/>
                  </a:lnTo>
                </a:path>
              </a:pathLst>
            </a:custGeom>
            <a:solidFill>
              <a:srgbClr val="FFFFFF"/>
            </a:solidFill>
            <a:ln w="15875" cap="sq">
              <a:solidFill>
                <a:schemeClr val="tx1"/>
              </a:solidFill>
              <a:prstDash val="solid"/>
              <a:miter lim="800000"/>
              <a:headEnd/>
              <a:tailEnd/>
            </a:ln>
          </p:spPr>
          <p:txBody>
            <a:bodyPr vert="horz" wrap="square" lIns="0" tIns="44821" rIns="0"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Sans Display Semibold"/>
                <a:ea typeface="+mn-ea"/>
                <a:cs typeface="+mn-cs"/>
              </a:endParaRPr>
            </a:p>
          </p:txBody>
        </p:sp>
      </p:grpSp>
      <p:sp useBgFill="1">
        <p:nvSpPr>
          <p:cNvPr id="10" name="Freeform: Shape 9">
            <a:extLst>
              <a:ext uri="{FF2B5EF4-FFF2-40B4-BE49-F238E27FC236}">
                <a16:creationId xmlns:a16="http://schemas.microsoft.com/office/drawing/2014/main" id="{F4C93A10-7C9C-3F56-0A50-CB5633CCC7F8}"/>
              </a:ext>
            </a:extLst>
          </p:cNvPr>
          <p:cNvSpPr/>
          <p:nvPr/>
        </p:nvSpPr>
        <p:spPr bwMode="auto">
          <a:xfrm>
            <a:off x="5922169" y="4620484"/>
            <a:ext cx="204981" cy="764616"/>
          </a:xfrm>
          <a:custGeom>
            <a:avLst/>
            <a:gdLst>
              <a:gd name="connsiteX0" fmla="*/ 0 w 203303"/>
              <a:gd name="connsiteY0" fmla="*/ 0 h 764618"/>
              <a:gd name="connsiteX1" fmla="*/ 106505 w 203303"/>
              <a:gd name="connsiteY1" fmla="*/ 117325 h 764618"/>
              <a:gd name="connsiteX2" fmla="*/ 203303 w 203303"/>
              <a:gd name="connsiteY2" fmla="*/ 214124 h 764618"/>
              <a:gd name="connsiteX3" fmla="*/ 203303 w 203303"/>
              <a:gd name="connsiteY3" fmla="*/ 223957 h 764618"/>
              <a:gd name="connsiteX4" fmla="*/ 203303 w 203303"/>
              <a:gd name="connsiteY4" fmla="*/ 764618 h 764618"/>
              <a:gd name="connsiteX5" fmla="*/ 0 w 203303"/>
              <a:gd name="connsiteY5" fmla="*/ 764618 h 764618"/>
              <a:gd name="connsiteX6" fmla="*/ 0 w 203303"/>
              <a:gd name="connsiteY6" fmla="*/ 223957 h 764618"/>
              <a:gd name="connsiteX7" fmla="*/ 0 w 203303"/>
              <a:gd name="connsiteY7" fmla="*/ 112472 h 764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3303" h="764618">
                <a:moveTo>
                  <a:pt x="0" y="0"/>
                </a:moveTo>
                <a:lnTo>
                  <a:pt x="106505" y="117325"/>
                </a:lnTo>
                <a:lnTo>
                  <a:pt x="203303" y="214124"/>
                </a:lnTo>
                <a:lnTo>
                  <a:pt x="203303" y="223957"/>
                </a:lnTo>
                <a:lnTo>
                  <a:pt x="203303" y="764618"/>
                </a:lnTo>
                <a:lnTo>
                  <a:pt x="0" y="764618"/>
                </a:lnTo>
                <a:lnTo>
                  <a:pt x="0" y="223957"/>
                </a:lnTo>
                <a:lnTo>
                  <a:pt x="0" y="112472"/>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grpSp>
        <p:nvGrpSpPr>
          <p:cNvPr id="328" name="Group 327">
            <a:extLst>
              <a:ext uri="{FF2B5EF4-FFF2-40B4-BE49-F238E27FC236}">
                <a16:creationId xmlns:a16="http://schemas.microsoft.com/office/drawing/2014/main" id="{40EE3555-3914-C990-4DEE-FD71DAF527D8}"/>
              </a:ext>
            </a:extLst>
          </p:cNvPr>
          <p:cNvGrpSpPr/>
          <p:nvPr/>
        </p:nvGrpSpPr>
        <p:grpSpPr>
          <a:xfrm>
            <a:off x="5455230" y="4605709"/>
            <a:ext cx="1302687" cy="855658"/>
            <a:chOff x="7806975" y="3864360"/>
            <a:chExt cx="1051467" cy="662842"/>
          </a:xfrm>
        </p:grpSpPr>
        <p:sp>
          <p:nvSpPr>
            <p:cNvPr id="368" name="building_8">
              <a:extLst>
                <a:ext uri="{FF2B5EF4-FFF2-40B4-BE49-F238E27FC236}">
                  <a16:creationId xmlns:a16="http://schemas.microsoft.com/office/drawing/2014/main" id="{D5453BE4-E50A-0675-1818-D9E7AF207CDB}"/>
                </a:ext>
              </a:extLst>
            </p:cNvPr>
            <p:cNvSpPr>
              <a:spLocks noChangeAspect="1" noEditPoints="1"/>
            </p:cNvSpPr>
            <p:nvPr/>
          </p:nvSpPr>
          <p:spPr bwMode="auto">
            <a:xfrm>
              <a:off x="7806975" y="3864360"/>
              <a:ext cx="541775" cy="588409"/>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28575" cap="sq">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gradFill>
                  <a:gsLst>
                    <a:gs pos="0">
                      <a:srgbClr val="505050"/>
                    </a:gs>
                    <a:gs pos="100000">
                      <a:srgbClr val="505050"/>
                    </a:gs>
                  </a:gsLst>
                  <a:lin ang="5400000" scaled="1"/>
                </a:gradFill>
                <a:effectLst/>
                <a:uLnTx/>
                <a:uFillTx/>
                <a:latin typeface="Segoe UI Semibold"/>
                <a:ea typeface="+mn-ea"/>
                <a:cs typeface="+mn-cs"/>
              </a:endParaRPr>
            </a:p>
          </p:txBody>
        </p:sp>
        <p:pic>
          <p:nvPicPr>
            <p:cNvPr id="369" name="Picture 368">
              <a:extLst>
                <a:ext uri="{FF2B5EF4-FFF2-40B4-BE49-F238E27FC236}">
                  <a16:creationId xmlns:a16="http://schemas.microsoft.com/office/drawing/2014/main" id="{F0FF6961-7055-1C52-4CB3-FBBF34009119}"/>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8119049" y="4053294"/>
              <a:ext cx="739393" cy="473908"/>
            </a:xfrm>
            <a:prstGeom prst="rect">
              <a:avLst/>
            </a:prstGeom>
          </p:spPr>
        </p:pic>
      </p:grpSp>
    </p:spTree>
    <p:extLst>
      <p:ext uri="{BB962C8B-B14F-4D97-AF65-F5344CB8AC3E}">
        <p14:creationId xmlns:p14="http://schemas.microsoft.com/office/powerpoint/2010/main" val="36602554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2.08333E-7 3.7037E-6 L -2.08333E-7 -0.03287 " pathEditMode="relative" rAng="0" ptsTypes="AA">
                                      <p:cBhvr>
                                        <p:cTn id="9" dur="700" spd="-100000" fill="hold"/>
                                        <p:tgtEl>
                                          <p:spTgt spid="2"/>
                                        </p:tgtEl>
                                        <p:attrNameLst>
                                          <p:attrName>ppt_x</p:attrName>
                                          <p:attrName>ppt_y</p:attrName>
                                        </p:attrNameLst>
                                      </p:cBhvr>
                                      <p:rCtr x="0" y="-1644"/>
                                    </p:animMotion>
                                  </p:childTnLst>
                                </p:cTn>
                              </p:par>
                              <p:par>
                                <p:cTn id="10" presetID="10" presetClass="entr" presetSubtype="0" fill="hold" grpId="0" nodeType="withEffect">
                                  <p:stCondLst>
                                    <p:cond delay="25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250"/>
                                        <p:tgtEl>
                                          <p:spTgt spid="3"/>
                                        </p:tgtEl>
                                      </p:cBhvr>
                                    </p:animEffect>
                                  </p:childTnLst>
                                </p:cTn>
                              </p:par>
                              <p:par>
                                <p:cTn id="13" presetID="42" presetClass="path" presetSubtype="0" decel="100000" fill="hold" grpId="1" nodeType="withEffect">
                                  <p:stCondLst>
                                    <p:cond delay="250"/>
                                  </p:stCondLst>
                                  <p:childTnLst>
                                    <p:animMotion origin="layout" path="M 0 0.03889 L 0 7.40741E-7 " pathEditMode="relative" rAng="0" ptsTypes="AA">
                                      <p:cBhvr>
                                        <p:cTn id="14" dur="500" fill="hold"/>
                                        <p:tgtEl>
                                          <p:spTgt spid="3"/>
                                        </p:tgtEl>
                                        <p:attrNameLst>
                                          <p:attrName>ppt_x</p:attrName>
                                          <p:attrName>ppt_y</p:attrName>
                                        </p:attrNameLst>
                                      </p:cBhvr>
                                      <p:rCtr x="0" y="-1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9E358-87FD-EB2B-52C2-9BAA2D80251B}"/>
              </a:ext>
            </a:extLst>
          </p:cNvPr>
          <p:cNvSpPr>
            <a:spLocks noGrp="1"/>
          </p:cNvSpPr>
          <p:nvPr>
            <p:ph type="title" idx="4294967295"/>
          </p:nvPr>
        </p:nvSpPr>
        <p:spPr>
          <a:xfrm>
            <a:off x="582609" y="180320"/>
            <a:ext cx="11026775" cy="1071563"/>
          </a:xfrm>
        </p:spPr>
        <p:txBody>
          <a:bodyPr/>
          <a:lstStyle/>
          <a:p>
            <a:pPr algn="ctr"/>
            <a:r>
              <a:rPr lang="en-US" sz="3000" dirty="0">
                <a:latin typeface="Segoe Sans Display Semibold"/>
                <a:cs typeface="Segoe Sans Display"/>
              </a:rPr>
              <a:t>Provide only necessary access and automate access lifecycle</a:t>
            </a:r>
          </a:p>
        </p:txBody>
      </p:sp>
      <p:sp>
        <p:nvSpPr>
          <p:cNvPr id="6" name="Rectangle: Rounded Corners 130">
            <a:extLst>
              <a:ext uri="{FF2B5EF4-FFF2-40B4-BE49-F238E27FC236}">
                <a16:creationId xmlns:a16="http://schemas.microsoft.com/office/drawing/2014/main" id="{E8D235CF-155E-CF9F-EF2E-2621B778A58E}"/>
              </a:ext>
              <a:ext uri="{C183D7F6-B498-43B3-948B-1728B52AA6E4}">
                <adec:decorative xmlns:adec="http://schemas.microsoft.com/office/drawing/2017/decorative" val="0"/>
              </a:ext>
            </a:extLst>
          </p:cNvPr>
          <p:cNvSpPr txBox="1">
            <a:spLocks/>
          </p:cNvSpPr>
          <p:nvPr/>
        </p:nvSpPr>
        <p:spPr bwMode="auto">
          <a:xfrm>
            <a:off x="-2" y="6292487"/>
            <a:ext cx="12191999" cy="246221"/>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ctr" defTabSz="932742" rtl="0" eaLnBrk="1" latinLnBrk="0" hangingPunct="1">
              <a:lnSpc>
                <a:spcPct val="100000"/>
              </a:lnSpc>
              <a:spcBef>
                <a:spcPct val="0"/>
              </a:spcBef>
              <a:buNone/>
              <a:defRPr lang="en-US" sz="3200" b="0" kern="1200" cap="none" spc="-50" baseline="0">
                <a:ln w="3175">
                  <a:noFill/>
                </a:ln>
                <a:gradFill>
                  <a:gsLst>
                    <a:gs pos="2917">
                      <a:srgbClr val="282828"/>
                    </a:gs>
                    <a:gs pos="100000">
                      <a:srgbClr val="282828"/>
                    </a:gs>
                  </a:gsLst>
                  <a:lin ang="5400000" scaled="0"/>
                </a:gradFill>
                <a:effectLst/>
                <a:latin typeface="+mj-lt"/>
                <a:ea typeface="+mn-ea"/>
                <a:cs typeface="Segoe UI" pitchFamily="34" charset="0"/>
              </a:defRPr>
            </a:lvl1pPr>
          </a:lstStyle>
          <a:p>
            <a:r>
              <a:rPr lang="en-US" sz="1600" spc="-30">
                <a:solidFill>
                  <a:schemeClr val="tx1"/>
                </a:solidFill>
                <a:latin typeface="Segoe UI" panose="020B0502040204020203" pitchFamily="34" charset="0"/>
              </a:rPr>
              <a:t>Grant access to the right resource in a single step</a:t>
            </a:r>
            <a:r>
              <a:rPr lang="en-IN" sz="1600" spc="-30">
                <a:solidFill>
                  <a:schemeClr val="tx1"/>
                </a:solidFill>
                <a:latin typeface="Segoe UI" panose="020B0502040204020203" pitchFamily="34" charset="0"/>
              </a:rPr>
              <a:t>  ·  Get ML-based access recommendations  ·  Automate identity workflows</a:t>
            </a:r>
          </a:p>
        </p:txBody>
      </p:sp>
      <p:pic>
        <p:nvPicPr>
          <p:cNvPr id="3" name="Screen Recording 1">
            <a:hlinkClick r:id="" action="ppaction://media"/>
            <a:extLst>
              <a:ext uri="{FF2B5EF4-FFF2-40B4-BE49-F238E27FC236}">
                <a16:creationId xmlns:a16="http://schemas.microsoft.com/office/drawing/2014/main" id="{E0C29500-0FC2-AD25-6FE4-639B26B5B1D8}"/>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385902" y="1288191"/>
            <a:ext cx="9096773" cy="4757727"/>
          </a:xfrm>
          <a:prstGeom prst="roundRect">
            <a:avLst>
              <a:gd name="adj" fmla="val 1733"/>
            </a:avLst>
          </a:prstGeom>
          <a:ln w="101600">
            <a:solidFill>
              <a:schemeClr val="accent1">
                <a:lumMod val="50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9688379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1.25E-6 0.03889 L 1.25E-6 1.85185E-6 " pathEditMode="relative" rAng="0" ptsTypes="AA">
                                      <p:cBhvr>
                                        <p:cTn id="9" dur="750" fill="hold"/>
                                        <p:tgtEl>
                                          <p:spTgt spid="3"/>
                                        </p:tgtEl>
                                        <p:attrNameLst>
                                          <p:attrName>ppt_x</p:attrName>
                                          <p:attrName>ppt_y</p:attrName>
                                        </p:attrNameLst>
                                      </p:cBhvr>
                                      <p:rCtr x="0" y="-1944"/>
                                    </p:animMotion>
                                  </p:childTnLst>
                                </p:cTn>
                              </p:par>
                              <p:par>
                                <p:cTn id="10" presetID="10" presetClass="entr" presetSubtype="0" fill="hold" grpId="0" nodeType="withEffect">
                                  <p:stCondLst>
                                    <p:cond delay="35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250"/>
                                        <p:tgtEl>
                                          <p:spTgt spid="6"/>
                                        </p:tgtEl>
                                      </p:cBhvr>
                                    </p:animEffect>
                                  </p:childTnLst>
                                </p:cTn>
                              </p:par>
                              <p:par>
                                <p:cTn id="13" presetID="42" presetClass="path" presetSubtype="0" decel="100000" fill="hold" grpId="1" nodeType="withEffect">
                                  <p:stCondLst>
                                    <p:cond delay="350"/>
                                  </p:stCondLst>
                                  <p:childTnLst>
                                    <p:animMotion origin="layout" path="M 0 0.03889 L 0 3.33333E-6 " pathEditMode="relative" rAng="0" ptsTypes="AA">
                                      <p:cBhvr>
                                        <p:cTn id="14" dur="500" fill="hold"/>
                                        <p:tgtEl>
                                          <p:spTgt spid="6"/>
                                        </p:tgtEl>
                                        <p:attrNameLst>
                                          <p:attrName>ppt_x</p:attrName>
                                          <p:attrName>ppt_y</p:attrName>
                                        </p:attrNameLst>
                                      </p:cBhvr>
                                      <p:rCtr x="0" y="-1944"/>
                                    </p:animMotion>
                                  </p:childTnLst>
                                </p:cTn>
                              </p:par>
                              <p:par>
                                <p:cTn id="15" presetID="1" presetClass="mediacall" presetSubtype="0" fill="hold" nodeType="withEffect">
                                  <p:stCondLst>
                                    <p:cond delay="350"/>
                                  </p:stCondLst>
                                  <p:childTnLst>
                                    <p:cmd type="call" cmd="playFrom(0.0)">
                                      <p:cBhvr>
                                        <p:cTn id="16" dur="5164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7" repeatCount="indefinite" display="0">
                  <p:stCondLst>
                    <p:cond delay="indefinite"/>
                  </p:stCondLst>
                </p:cTn>
                <p:tgtEl>
                  <p:spTgt spid="3"/>
                </p:tgtEl>
              </p:cMediaNode>
            </p:video>
          </p:childTnLst>
        </p:cTn>
      </p:par>
    </p:tnLst>
    <p:bldLst>
      <p:bldP spid="6" grpId="0"/>
      <p:bldP spid="6" grpId="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9E358-87FD-EB2B-52C2-9BAA2D80251B}"/>
              </a:ext>
            </a:extLst>
          </p:cNvPr>
          <p:cNvSpPr>
            <a:spLocks noGrp="1"/>
          </p:cNvSpPr>
          <p:nvPr>
            <p:ph type="title" idx="4294967295"/>
          </p:nvPr>
        </p:nvSpPr>
        <p:spPr>
          <a:xfrm>
            <a:off x="503373" y="363157"/>
            <a:ext cx="11026775" cy="1071563"/>
          </a:xfrm>
        </p:spPr>
        <p:txBody>
          <a:bodyPr/>
          <a:lstStyle/>
          <a:p>
            <a:pPr algn="ctr"/>
            <a:r>
              <a:rPr lang="en-US" sz="3200" dirty="0">
                <a:latin typeface="Segoe Sans Display Semibold" pitchFamily="2" charset="0"/>
                <a:cs typeface="Segoe Sans Display Semibold" pitchFamily="2" charset="0"/>
              </a:rPr>
              <a:t>Simplify access reviews with ML-driven insights</a:t>
            </a:r>
          </a:p>
        </p:txBody>
      </p:sp>
      <p:cxnSp>
        <p:nvCxnSpPr>
          <p:cNvPr id="4" name="Straight Connector 3">
            <a:extLst>
              <a:ext uri="{FF2B5EF4-FFF2-40B4-BE49-F238E27FC236}">
                <a16:creationId xmlns:a16="http://schemas.microsoft.com/office/drawing/2014/main" id="{D506EE69-227F-E416-9FB8-6E98DB74D1C0}"/>
              </a:ext>
            </a:extLst>
          </p:cNvPr>
          <p:cNvCxnSpPr>
            <a:cxnSpLocks/>
          </p:cNvCxnSpPr>
          <p:nvPr/>
        </p:nvCxnSpPr>
        <p:spPr>
          <a:xfrm>
            <a:off x="1192420" y="4051100"/>
            <a:ext cx="8074787" cy="0"/>
          </a:xfrm>
          <a:prstGeom prst="line">
            <a:avLst/>
          </a:prstGeom>
          <a:noFill/>
          <a:ln w="301625" cap="rnd">
            <a:solidFill>
              <a:srgbClr val="4A576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6" name="Straight Connector 5">
            <a:extLst>
              <a:ext uri="{FF2B5EF4-FFF2-40B4-BE49-F238E27FC236}">
                <a16:creationId xmlns:a16="http://schemas.microsoft.com/office/drawing/2014/main" id="{A4E33EB1-C53F-7A7D-10E3-1B039113DE54}"/>
              </a:ext>
            </a:extLst>
          </p:cNvPr>
          <p:cNvCxnSpPr>
            <a:cxnSpLocks/>
          </p:cNvCxnSpPr>
          <p:nvPr/>
        </p:nvCxnSpPr>
        <p:spPr>
          <a:xfrm>
            <a:off x="5795049" y="3152882"/>
            <a:ext cx="0" cy="898218"/>
          </a:xfrm>
          <a:prstGeom prst="line">
            <a:avLst/>
          </a:prstGeom>
          <a:noFill/>
          <a:ln w="301625" cap="rnd">
            <a:solidFill>
              <a:srgbClr val="4A576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7" name="Group 6">
            <a:extLst>
              <a:ext uri="{FF2B5EF4-FFF2-40B4-BE49-F238E27FC236}">
                <a16:creationId xmlns:a16="http://schemas.microsoft.com/office/drawing/2014/main" id="{3C383F9D-62C1-133D-0144-6447F3A06DA8}"/>
              </a:ext>
            </a:extLst>
          </p:cNvPr>
          <p:cNvGrpSpPr/>
          <p:nvPr/>
        </p:nvGrpSpPr>
        <p:grpSpPr>
          <a:xfrm>
            <a:off x="2236767" y="3908202"/>
            <a:ext cx="282618" cy="285797"/>
            <a:chOff x="5951900" y="4858778"/>
            <a:chExt cx="320040" cy="320040"/>
          </a:xfrm>
        </p:grpSpPr>
        <p:sp>
          <p:nvSpPr>
            <p:cNvPr id="119" name="Oval 118">
              <a:extLst>
                <a:ext uri="{FF2B5EF4-FFF2-40B4-BE49-F238E27FC236}">
                  <a16:creationId xmlns:a16="http://schemas.microsoft.com/office/drawing/2014/main" id="{44A45E35-0827-6BE1-FC1C-83E3D2239C4D}"/>
                </a:ext>
              </a:extLst>
            </p:cNvPr>
            <p:cNvSpPr/>
            <p:nvPr/>
          </p:nvSpPr>
          <p:spPr bwMode="auto">
            <a:xfrm>
              <a:off x="5951900" y="4858778"/>
              <a:ext cx="320040" cy="320040"/>
            </a:xfrm>
            <a:prstGeom prst="ellipse">
              <a:avLst/>
            </a:prstGeom>
            <a:solidFill>
              <a:schemeClr val="bg1"/>
            </a:solidFill>
            <a:ln w="28575">
              <a:solidFill>
                <a:srgbClr val="4A576D"/>
              </a:solidFill>
            </a:ln>
            <a:effectLst/>
          </p:spPr>
          <p:txBody>
            <a:bodyPr wrap="square" lIns="0" tIns="0" rIns="0" bIns="0" rtlCol="0"/>
            <a:lstStyle/>
            <a:p>
              <a:pPr marL="0" marR="0" lvl="0" indent="0" algn="l" defTabSz="623318"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latin typeface="Calibri"/>
                <a:ea typeface="+mn-ea"/>
                <a:cs typeface="+mn-cs"/>
              </a:endParaRPr>
            </a:p>
          </p:txBody>
        </p:sp>
        <p:sp>
          <p:nvSpPr>
            <p:cNvPr id="120" name="Freeform: Shape 119">
              <a:extLst>
                <a:ext uri="{FF2B5EF4-FFF2-40B4-BE49-F238E27FC236}">
                  <a16:creationId xmlns:a16="http://schemas.microsoft.com/office/drawing/2014/main" id="{C5B8196A-7711-1AF2-8283-C193863E6E07}"/>
                </a:ext>
              </a:extLst>
            </p:cNvPr>
            <p:cNvSpPr>
              <a:spLocks noChangeAspect="1"/>
            </p:cNvSpPr>
            <p:nvPr/>
          </p:nvSpPr>
          <p:spPr>
            <a:xfrm flipH="1">
              <a:off x="6025720" y="4953344"/>
              <a:ext cx="172400" cy="126872"/>
            </a:xfrm>
            <a:custGeom>
              <a:avLst/>
              <a:gdLst>
                <a:gd name="connsiteX0" fmla="*/ 438125 w 438124"/>
                <a:gd name="connsiteY0" fmla="*/ 161212 h 322424"/>
                <a:gd name="connsiteX1" fmla="*/ 409550 w 438124"/>
                <a:gd name="connsiteY1" fmla="*/ 189787 h 322424"/>
                <a:gd name="connsiteX2" fmla="*/ 97511 w 438124"/>
                <a:gd name="connsiteY2" fmla="*/ 189787 h 322424"/>
                <a:gd name="connsiteX3" fmla="*/ 182093 w 438124"/>
                <a:gd name="connsiteY3" fmla="*/ 274369 h 322424"/>
                <a:gd name="connsiteX4" fmla="*/ 180667 w 438124"/>
                <a:gd name="connsiteY4" fmla="*/ 314755 h 322424"/>
                <a:gd name="connsiteX5" fmla="*/ 141707 w 438124"/>
                <a:gd name="connsiteY5" fmla="*/ 314755 h 322424"/>
                <a:gd name="connsiteX6" fmla="*/ 8357 w 438124"/>
                <a:gd name="connsiteY6" fmla="*/ 181405 h 322424"/>
                <a:gd name="connsiteX7" fmla="*/ 8357 w 438124"/>
                <a:gd name="connsiteY7" fmla="*/ 141019 h 322424"/>
                <a:gd name="connsiteX8" fmla="*/ 141707 w 438124"/>
                <a:gd name="connsiteY8" fmla="*/ 7669 h 322424"/>
                <a:gd name="connsiteX9" fmla="*/ 182093 w 438124"/>
                <a:gd name="connsiteY9" fmla="*/ 9095 h 322424"/>
                <a:gd name="connsiteX10" fmla="*/ 182093 w 438124"/>
                <a:gd name="connsiteY10" fmla="*/ 48055 h 322424"/>
                <a:gd name="connsiteX11" fmla="*/ 97511 w 438124"/>
                <a:gd name="connsiteY11" fmla="*/ 132637 h 322424"/>
                <a:gd name="connsiteX12" fmla="*/ 409550 w 438124"/>
                <a:gd name="connsiteY12" fmla="*/ 132637 h 322424"/>
                <a:gd name="connsiteX13" fmla="*/ 438125 w 438124"/>
                <a:gd name="connsiteY13" fmla="*/ 161212 h 32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8124" h="322424">
                  <a:moveTo>
                    <a:pt x="438125" y="161212"/>
                  </a:moveTo>
                  <a:cubicBezTo>
                    <a:pt x="438125" y="176994"/>
                    <a:pt x="425332" y="189787"/>
                    <a:pt x="409550" y="189787"/>
                  </a:cubicBezTo>
                  <a:lnTo>
                    <a:pt x="97511" y="189787"/>
                  </a:lnTo>
                  <a:lnTo>
                    <a:pt x="182093" y="274369"/>
                  </a:lnTo>
                  <a:cubicBezTo>
                    <a:pt x="192851" y="285915"/>
                    <a:pt x="192213" y="303997"/>
                    <a:pt x="180667" y="314755"/>
                  </a:cubicBezTo>
                  <a:cubicBezTo>
                    <a:pt x="169693" y="324981"/>
                    <a:pt x="152681" y="324981"/>
                    <a:pt x="141707" y="314755"/>
                  </a:cubicBezTo>
                  <a:lnTo>
                    <a:pt x="8357" y="181405"/>
                  </a:lnTo>
                  <a:cubicBezTo>
                    <a:pt x="-2786" y="170249"/>
                    <a:pt x="-2786" y="152176"/>
                    <a:pt x="8357" y="141019"/>
                  </a:cubicBezTo>
                  <a:lnTo>
                    <a:pt x="141707" y="7669"/>
                  </a:lnTo>
                  <a:cubicBezTo>
                    <a:pt x="153253" y="-3089"/>
                    <a:pt x="171334" y="-2451"/>
                    <a:pt x="182093" y="9095"/>
                  </a:cubicBezTo>
                  <a:cubicBezTo>
                    <a:pt x="192319" y="20069"/>
                    <a:pt x="192319" y="37081"/>
                    <a:pt x="182093" y="48055"/>
                  </a:cubicBezTo>
                  <a:lnTo>
                    <a:pt x="97511" y="132637"/>
                  </a:lnTo>
                  <a:lnTo>
                    <a:pt x="409550" y="132637"/>
                  </a:lnTo>
                  <a:cubicBezTo>
                    <a:pt x="425332" y="132637"/>
                    <a:pt x="438125" y="145430"/>
                    <a:pt x="438125" y="161212"/>
                  </a:cubicBezTo>
                  <a:close/>
                </a:path>
              </a:pathLst>
            </a:custGeom>
            <a:solidFill>
              <a:srgbClr val="000000"/>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17" name="Oval 116">
            <a:extLst>
              <a:ext uri="{FF2B5EF4-FFF2-40B4-BE49-F238E27FC236}">
                <a16:creationId xmlns:a16="http://schemas.microsoft.com/office/drawing/2014/main" id="{174A782D-7FEC-DD43-F2E3-131EBFE0ED51}"/>
              </a:ext>
            </a:extLst>
          </p:cNvPr>
          <p:cNvSpPr/>
          <p:nvPr/>
        </p:nvSpPr>
        <p:spPr bwMode="auto">
          <a:xfrm>
            <a:off x="928645" y="3683648"/>
            <a:ext cx="726731" cy="734906"/>
          </a:xfrm>
          <a:prstGeom prst="ellipse">
            <a:avLst/>
          </a:prstGeom>
          <a:solidFill>
            <a:schemeClr val="bg1"/>
          </a:solidFill>
          <a:ln w="63500">
            <a:solidFill>
              <a:srgbClr val="4A576D"/>
            </a:solidFill>
          </a:ln>
          <a:effectLst/>
        </p:spPr>
        <p:txBody>
          <a:bodyPr wrap="square" lIns="0" tIns="0" rIns="0" bIns="0" rtlCol="0"/>
          <a:lstStyle/>
          <a:p>
            <a:pPr marL="0" marR="0" lvl="0" indent="0" algn="l" defTabSz="623318"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a:ea typeface="+mn-ea"/>
              <a:cs typeface="+mn-cs"/>
            </a:endParaRPr>
          </a:p>
        </p:txBody>
      </p:sp>
      <p:sp>
        <p:nvSpPr>
          <p:cNvPr id="18" name="TextBox 17">
            <a:extLst>
              <a:ext uri="{FF2B5EF4-FFF2-40B4-BE49-F238E27FC236}">
                <a16:creationId xmlns:a16="http://schemas.microsoft.com/office/drawing/2014/main" id="{8C78EC25-4503-98BF-9EC5-F8EAC060C728}"/>
              </a:ext>
            </a:extLst>
          </p:cNvPr>
          <p:cNvSpPr txBox="1"/>
          <p:nvPr/>
        </p:nvSpPr>
        <p:spPr>
          <a:xfrm>
            <a:off x="7742699" y="2713086"/>
            <a:ext cx="3071972" cy="43088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878441">
              <a:spcAft>
                <a:spcPct val="0"/>
              </a:spcAft>
              <a:defRPr sz="1400" kern="0">
                <a:solidFill>
                  <a:srgbClr val="353535"/>
                </a:solidFill>
                <a:latin typeface="Segoe UI"/>
                <a:cs typeface="Segoe UI"/>
              </a:defRPr>
            </a:lvl1pPr>
          </a:lstStyle>
          <a:p>
            <a:pPr marL="0" marR="0" lvl="0" indent="0" algn="ctr" defTabSz="878441" rtl="0" eaLnBrk="1" fontAlgn="auto" latinLnBrk="0" hangingPunct="1">
              <a:lnSpc>
                <a:spcPct val="100000"/>
              </a:lnSpc>
              <a:spcBef>
                <a:spcPts val="0"/>
              </a:spcBef>
              <a:spcAft>
                <a:spcPct val="0"/>
              </a:spcAft>
              <a:buClrTx/>
              <a:buSzTx/>
              <a:buFontTx/>
              <a:buNone/>
              <a:tabLst/>
              <a:defRPr/>
            </a:pPr>
            <a:r>
              <a:rPr kumimoji="0" lang="en-US" sz="1400" b="0" i="0" u="none" strike="noStrike" kern="0" cap="none" spc="-3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ML-driven recommendations based on last sign-in date and group affiliation</a:t>
            </a:r>
          </a:p>
        </p:txBody>
      </p:sp>
      <p:pic>
        <p:nvPicPr>
          <p:cNvPr id="116" name="Graphic 115">
            <a:extLst>
              <a:ext uri="{FF2B5EF4-FFF2-40B4-BE49-F238E27FC236}">
                <a16:creationId xmlns:a16="http://schemas.microsoft.com/office/drawing/2014/main" id="{B70D9A50-11D1-6BA6-0595-95B086F6982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85850" y="3792976"/>
            <a:ext cx="477754" cy="483128"/>
          </a:xfrm>
          <a:prstGeom prst="rect">
            <a:avLst/>
          </a:prstGeom>
        </p:spPr>
      </p:pic>
      <p:sp>
        <p:nvSpPr>
          <p:cNvPr id="20" name="TextBox 19">
            <a:extLst>
              <a:ext uri="{FF2B5EF4-FFF2-40B4-BE49-F238E27FC236}">
                <a16:creationId xmlns:a16="http://schemas.microsoft.com/office/drawing/2014/main" id="{8469D703-D647-6683-A2A0-926C7091618B}"/>
              </a:ext>
            </a:extLst>
          </p:cNvPr>
          <p:cNvSpPr txBox="1"/>
          <p:nvPr/>
        </p:nvSpPr>
        <p:spPr>
          <a:xfrm>
            <a:off x="2096932" y="2224530"/>
            <a:ext cx="2334547" cy="43088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878441">
              <a:spcAft>
                <a:spcPct val="0"/>
              </a:spcAft>
              <a:defRPr sz="1400" kern="0">
                <a:solidFill>
                  <a:srgbClr val="353535"/>
                </a:solidFill>
                <a:latin typeface="Segoe UI"/>
                <a:cs typeface="Segoe UI"/>
              </a:defRPr>
            </a:lvl1pPr>
          </a:lstStyle>
          <a:p>
            <a:pPr marL="0" marR="0" lvl="0" indent="0" algn="ctr" defTabSz="878441" rtl="0" eaLnBrk="1" fontAlgn="auto" latinLnBrk="0" hangingPunct="1">
              <a:lnSpc>
                <a:spcPct val="100000"/>
              </a:lnSpc>
              <a:spcBef>
                <a:spcPts val="0"/>
              </a:spcBef>
              <a:spcAft>
                <a:spcPct val="0"/>
              </a:spcAft>
              <a:buClrTx/>
              <a:buSzTx/>
              <a:buFontTx/>
              <a:buNone/>
              <a:tabLst/>
              <a:defRPr/>
            </a:pPr>
            <a:r>
              <a:rPr kumimoji="0" lang="en-US" sz="1400" b="0" i="0" u="none" strike="noStrike" kern="0" cap="none" spc="-30" normalizeH="0" baseline="0" noProof="0" dirty="0">
                <a:ln>
                  <a:noFill/>
                </a:ln>
                <a:solidFill>
                  <a:schemeClr val="tx1"/>
                </a:solidFill>
                <a:effectLst/>
                <a:uLnTx/>
                <a:uFillTx/>
                <a:latin typeface="Segoe UI Semibold" panose="020B0702040204020203" pitchFamily="34" charset="0"/>
                <a:ea typeface="+mn-ea"/>
                <a:cs typeface="Segoe UI Semibold" panose="020B0702040204020203" pitchFamily="34" charset="0"/>
              </a:rPr>
              <a:t>Group affiliation calculated from organizational distance</a:t>
            </a:r>
          </a:p>
        </p:txBody>
      </p:sp>
      <p:grpSp>
        <p:nvGrpSpPr>
          <p:cNvPr id="21" name="Group 20">
            <a:extLst>
              <a:ext uri="{FF2B5EF4-FFF2-40B4-BE49-F238E27FC236}">
                <a16:creationId xmlns:a16="http://schemas.microsoft.com/office/drawing/2014/main" id="{6623006B-DF07-EAD4-4A7C-6554C89CCF6B}"/>
              </a:ext>
            </a:extLst>
          </p:cNvPr>
          <p:cNvGrpSpPr/>
          <p:nvPr/>
        </p:nvGrpSpPr>
        <p:grpSpPr>
          <a:xfrm>
            <a:off x="4583831" y="1743361"/>
            <a:ext cx="2422436" cy="1393227"/>
            <a:chOff x="4724400" y="1389383"/>
            <a:chExt cx="2743200" cy="1560159"/>
          </a:xfrm>
        </p:grpSpPr>
        <p:sp>
          <p:nvSpPr>
            <p:cNvPr id="64" name="Rectangle: Rounded Corners 63">
              <a:extLst>
                <a:ext uri="{FF2B5EF4-FFF2-40B4-BE49-F238E27FC236}">
                  <a16:creationId xmlns:a16="http://schemas.microsoft.com/office/drawing/2014/main" id="{90B92F5D-CE47-65F4-AF04-B88F63A07380}"/>
                </a:ext>
              </a:extLst>
            </p:cNvPr>
            <p:cNvSpPr/>
            <p:nvPr/>
          </p:nvSpPr>
          <p:spPr bwMode="auto">
            <a:xfrm>
              <a:off x="4724400" y="1389383"/>
              <a:ext cx="2743200" cy="1560159"/>
            </a:xfrm>
            <a:prstGeom prst="roundRect">
              <a:avLst/>
            </a:prstGeom>
            <a:solidFill>
              <a:schemeClr val="bg1"/>
            </a:solidFill>
            <a:ln w="63500">
              <a:solidFill>
                <a:srgbClr val="4A576D"/>
              </a:solidFill>
            </a:ln>
            <a:effectLst/>
          </p:spPr>
          <p:txBody>
            <a:bodyPr wrap="square" lIns="0" tIns="0" rIns="0" bIns="0" rtlCol="0"/>
            <a:lstStyle/>
            <a:p>
              <a:pPr marL="0" marR="0" lvl="0" indent="0" algn="l" defTabSz="623318"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a:ea typeface="+mn-ea"/>
                <a:cs typeface="+mn-cs"/>
              </a:endParaRPr>
            </a:p>
          </p:txBody>
        </p:sp>
        <p:grpSp>
          <p:nvGrpSpPr>
            <p:cNvPr id="65" name="Group 64">
              <a:extLst>
                <a:ext uri="{FF2B5EF4-FFF2-40B4-BE49-F238E27FC236}">
                  <a16:creationId xmlns:a16="http://schemas.microsoft.com/office/drawing/2014/main" id="{8D46004E-445B-B106-7D5B-AC8364BDF558}"/>
                </a:ext>
              </a:extLst>
            </p:cNvPr>
            <p:cNvGrpSpPr/>
            <p:nvPr/>
          </p:nvGrpSpPr>
          <p:grpSpPr>
            <a:xfrm>
              <a:off x="4889658" y="1675672"/>
              <a:ext cx="2412684" cy="1140516"/>
              <a:chOff x="4889658" y="1685219"/>
              <a:chExt cx="2412684" cy="1140516"/>
            </a:xfrm>
          </p:grpSpPr>
          <p:grpSp>
            <p:nvGrpSpPr>
              <p:cNvPr id="66" name="Group 65">
                <a:extLst>
                  <a:ext uri="{FF2B5EF4-FFF2-40B4-BE49-F238E27FC236}">
                    <a16:creationId xmlns:a16="http://schemas.microsoft.com/office/drawing/2014/main" id="{27EF2C6C-E6EA-2A21-6ECC-24F8216052D2}"/>
                  </a:ext>
                </a:extLst>
              </p:cNvPr>
              <p:cNvGrpSpPr/>
              <p:nvPr/>
            </p:nvGrpSpPr>
            <p:grpSpPr>
              <a:xfrm>
                <a:off x="4889658" y="2638474"/>
                <a:ext cx="2412684" cy="187261"/>
                <a:chOff x="4889658" y="2651001"/>
                <a:chExt cx="2412684" cy="187261"/>
              </a:xfrm>
            </p:grpSpPr>
            <p:grpSp>
              <p:nvGrpSpPr>
                <p:cNvPr id="93" name="Group 92">
                  <a:extLst>
                    <a:ext uri="{FF2B5EF4-FFF2-40B4-BE49-F238E27FC236}">
                      <a16:creationId xmlns:a16="http://schemas.microsoft.com/office/drawing/2014/main" id="{02959686-B631-4546-6B0A-7E3A18D41C29}"/>
                    </a:ext>
                  </a:extLst>
                </p:cNvPr>
                <p:cNvGrpSpPr/>
                <p:nvPr/>
              </p:nvGrpSpPr>
              <p:grpSpPr>
                <a:xfrm>
                  <a:off x="4889658" y="2741107"/>
                  <a:ext cx="2412684" cy="0"/>
                  <a:chOff x="4889658" y="2507550"/>
                  <a:chExt cx="2412684" cy="0"/>
                </a:xfrm>
              </p:grpSpPr>
              <p:cxnSp>
                <p:nvCxnSpPr>
                  <p:cNvPr id="113" name="Straight Connector 112">
                    <a:extLst>
                      <a:ext uri="{FF2B5EF4-FFF2-40B4-BE49-F238E27FC236}">
                        <a16:creationId xmlns:a16="http://schemas.microsoft.com/office/drawing/2014/main" id="{0F794996-6393-4C7F-0812-BE66605FD816}"/>
                      </a:ext>
                    </a:extLst>
                  </p:cNvPr>
                  <p:cNvCxnSpPr>
                    <a:cxnSpLocks/>
                  </p:cNvCxnSpPr>
                  <p:nvPr/>
                </p:nvCxnSpPr>
                <p:spPr>
                  <a:xfrm>
                    <a:off x="4889658" y="2507550"/>
                    <a:ext cx="1113283" cy="0"/>
                  </a:xfrm>
                  <a:prstGeom prst="line">
                    <a:avLst/>
                  </a:prstGeom>
                  <a:ln w="25400" cap="rnd">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7826A514-91BE-8A73-96F0-9E5B85B95666}"/>
                      </a:ext>
                    </a:extLst>
                  </p:cNvPr>
                  <p:cNvCxnSpPr>
                    <a:cxnSpLocks/>
                  </p:cNvCxnSpPr>
                  <p:nvPr/>
                </p:nvCxnSpPr>
                <p:spPr>
                  <a:xfrm>
                    <a:off x="6002941" y="2507550"/>
                    <a:ext cx="1299401" cy="0"/>
                  </a:xfrm>
                  <a:prstGeom prst="line">
                    <a:avLst/>
                  </a:prstGeom>
                  <a:ln w="25400" cap="rnd">
                    <a:gradFill flip="none" rotWithShape="1">
                      <a:gsLst>
                        <a:gs pos="9000">
                          <a:schemeClr val="accent3"/>
                        </a:gs>
                        <a:gs pos="0">
                          <a:schemeClr val="accent3"/>
                        </a:gs>
                        <a:gs pos="30000">
                          <a:schemeClr val="accent2"/>
                        </a:gs>
                        <a:gs pos="69000">
                          <a:srgbClr val="D83B01"/>
                        </a:gs>
                        <a:gs pos="100000">
                          <a:srgbClr val="D83B01"/>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94" name="Group 93">
                  <a:extLst>
                    <a:ext uri="{FF2B5EF4-FFF2-40B4-BE49-F238E27FC236}">
                      <a16:creationId xmlns:a16="http://schemas.microsoft.com/office/drawing/2014/main" id="{33233E22-0756-9BB4-FDC1-298525296ABC}"/>
                    </a:ext>
                  </a:extLst>
                </p:cNvPr>
                <p:cNvGrpSpPr/>
                <p:nvPr/>
              </p:nvGrpSpPr>
              <p:grpSpPr>
                <a:xfrm>
                  <a:off x="4910695" y="2672527"/>
                  <a:ext cx="137160" cy="165735"/>
                  <a:chOff x="5339422" y="2682141"/>
                  <a:chExt cx="137160" cy="165735"/>
                </a:xfrm>
              </p:grpSpPr>
              <p:sp>
                <p:nvSpPr>
                  <p:cNvPr id="111" name="Oval 110">
                    <a:extLst>
                      <a:ext uri="{FF2B5EF4-FFF2-40B4-BE49-F238E27FC236}">
                        <a16:creationId xmlns:a16="http://schemas.microsoft.com/office/drawing/2014/main" id="{DE504DC7-7701-DB64-5C96-603C79ACF8B9}"/>
                      </a:ext>
                    </a:extLst>
                  </p:cNvPr>
                  <p:cNvSpPr>
                    <a:spLocks noChangeAspect="1"/>
                  </p:cNvSpPr>
                  <p:nvPr/>
                </p:nvSpPr>
                <p:spPr bwMode="auto">
                  <a:xfrm>
                    <a:off x="5343994" y="2710716"/>
                    <a:ext cx="128016" cy="13716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2" name="Freeform: Shape 111">
                    <a:extLst>
                      <a:ext uri="{FF2B5EF4-FFF2-40B4-BE49-F238E27FC236}">
                        <a16:creationId xmlns:a16="http://schemas.microsoft.com/office/drawing/2014/main" id="{A8DABD4A-DB17-CBE8-7063-F4585273F20E}"/>
                      </a:ext>
                    </a:extLst>
                  </p:cNvPr>
                  <p:cNvSpPr>
                    <a:spLocks noChangeAspect="1"/>
                  </p:cNvSpPr>
                  <p:nvPr/>
                </p:nvSpPr>
                <p:spPr bwMode="auto">
                  <a:xfrm>
                    <a:off x="5339422" y="2682141"/>
                    <a:ext cx="137160" cy="137160"/>
                  </a:xfrm>
                  <a:custGeom>
                    <a:avLst/>
                    <a:gdLst>
                      <a:gd name="connsiteX0" fmla="*/ 360450 w 720900"/>
                      <a:gd name="connsiteY0" fmla="*/ 0 h 720901"/>
                      <a:gd name="connsiteX1" fmla="*/ 720900 w 720900"/>
                      <a:gd name="connsiteY1" fmla="*/ 360450 h 720901"/>
                      <a:gd name="connsiteX2" fmla="*/ 360450 w 720900"/>
                      <a:gd name="connsiteY2" fmla="*/ 720901 h 720901"/>
                      <a:gd name="connsiteX3" fmla="*/ 0 w 720900"/>
                      <a:gd name="connsiteY3" fmla="*/ 360450 h 720901"/>
                      <a:gd name="connsiteX4" fmla="*/ 360450 w 720900"/>
                      <a:gd name="connsiteY4" fmla="*/ 0 h 720901"/>
                      <a:gd name="connsiteX5" fmla="*/ 557059 w 720900"/>
                      <a:gd name="connsiteY5" fmla="*/ 196609 h 720901"/>
                      <a:gd name="connsiteX6" fmla="*/ 533885 w 720900"/>
                      <a:gd name="connsiteY6" fmla="*/ 206204 h 720901"/>
                      <a:gd name="connsiteX7" fmla="*/ 294913 w 720900"/>
                      <a:gd name="connsiteY7" fmla="*/ 445183 h 720901"/>
                      <a:gd name="connsiteX8" fmla="*/ 187014 w 720900"/>
                      <a:gd name="connsiteY8" fmla="*/ 337277 h 720901"/>
                      <a:gd name="connsiteX9" fmla="*/ 140667 w 720900"/>
                      <a:gd name="connsiteY9" fmla="*/ 337277 h 720901"/>
                      <a:gd name="connsiteX10" fmla="*/ 140667 w 720900"/>
                      <a:gd name="connsiteY10" fmla="*/ 383624 h 720901"/>
                      <a:gd name="connsiteX11" fmla="*/ 271740 w 720900"/>
                      <a:gd name="connsiteY11" fmla="*/ 514697 h 720901"/>
                      <a:gd name="connsiteX12" fmla="*/ 318087 w 720900"/>
                      <a:gd name="connsiteY12" fmla="*/ 514697 h 720901"/>
                      <a:gd name="connsiteX13" fmla="*/ 580233 w 720900"/>
                      <a:gd name="connsiteY13" fmla="*/ 252551 h 720901"/>
                      <a:gd name="connsiteX14" fmla="*/ 580233 w 720900"/>
                      <a:gd name="connsiteY14" fmla="*/ 206204 h 720901"/>
                      <a:gd name="connsiteX15" fmla="*/ 557059 w 720900"/>
                      <a:gd name="connsiteY15" fmla="*/ 196609 h 72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20900" h="720901">
                        <a:moveTo>
                          <a:pt x="360450" y="0"/>
                        </a:moveTo>
                        <a:cubicBezTo>
                          <a:pt x="559523" y="0"/>
                          <a:pt x="720900" y="161377"/>
                          <a:pt x="720900" y="360450"/>
                        </a:cubicBezTo>
                        <a:cubicBezTo>
                          <a:pt x="720900" y="559524"/>
                          <a:pt x="559523" y="720901"/>
                          <a:pt x="360450" y="720901"/>
                        </a:cubicBezTo>
                        <a:cubicBezTo>
                          <a:pt x="161376" y="720901"/>
                          <a:pt x="0" y="559524"/>
                          <a:pt x="0" y="360450"/>
                        </a:cubicBezTo>
                        <a:cubicBezTo>
                          <a:pt x="0" y="161377"/>
                          <a:pt x="161376" y="0"/>
                          <a:pt x="360450" y="0"/>
                        </a:cubicBezTo>
                        <a:close/>
                        <a:moveTo>
                          <a:pt x="557059" y="196609"/>
                        </a:moveTo>
                        <a:cubicBezTo>
                          <a:pt x="548672" y="196609"/>
                          <a:pt x="540285" y="199808"/>
                          <a:pt x="533885" y="206204"/>
                        </a:cubicBezTo>
                        <a:lnTo>
                          <a:pt x="294913" y="445183"/>
                        </a:lnTo>
                        <a:lnTo>
                          <a:pt x="187014" y="337277"/>
                        </a:lnTo>
                        <a:cubicBezTo>
                          <a:pt x="174215" y="324484"/>
                          <a:pt x="153466" y="324484"/>
                          <a:pt x="140667" y="337277"/>
                        </a:cubicBezTo>
                        <a:cubicBezTo>
                          <a:pt x="127874" y="350076"/>
                          <a:pt x="127874" y="370825"/>
                          <a:pt x="140667" y="383624"/>
                        </a:cubicBezTo>
                        <a:lnTo>
                          <a:pt x="271740" y="514697"/>
                        </a:lnTo>
                        <a:cubicBezTo>
                          <a:pt x="284539" y="527490"/>
                          <a:pt x="305288" y="527490"/>
                          <a:pt x="318087" y="514697"/>
                        </a:cubicBezTo>
                        <a:lnTo>
                          <a:pt x="580233" y="252551"/>
                        </a:lnTo>
                        <a:cubicBezTo>
                          <a:pt x="593025" y="239752"/>
                          <a:pt x="593025" y="219003"/>
                          <a:pt x="580233" y="206204"/>
                        </a:cubicBezTo>
                        <a:cubicBezTo>
                          <a:pt x="573834" y="199808"/>
                          <a:pt x="565446" y="196609"/>
                          <a:pt x="557059" y="196609"/>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95" name="Group 94">
                  <a:extLst>
                    <a:ext uri="{FF2B5EF4-FFF2-40B4-BE49-F238E27FC236}">
                      <a16:creationId xmlns:a16="http://schemas.microsoft.com/office/drawing/2014/main" id="{36C26A00-B6F4-9F13-E8CE-C00BA7BB83D5}"/>
                    </a:ext>
                  </a:extLst>
                </p:cNvPr>
                <p:cNvGrpSpPr/>
                <p:nvPr/>
              </p:nvGrpSpPr>
              <p:grpSpPr>
                <a:xfrm>
                  <a:off x="5192635" y="2672527"/>
                  <a:ext cx="137160" cy="165735"/>
                  <a:chOff x="5339422" y="2682141"/>
                  <a:chExt cx="137160" cy="165735"/>
                </a:xfrm>
              </p:grpSpPr>
              <p:sp>
                <p:nvSpPr>
                  <p:cNvPr id="109" name="Oval 108">
                    <a:extLst>
                      <a:ext uri="{FF2B5EF4-FFF2-40B4-BE49-F238E27FC236}">
                        <a16:creationId xmlns:a16="http://schemas.microsoft.com/office/drawing/2014/main" id="{09C6B5FA-25F0-1A6F-C1EB-E3DF88DA19D0}"/>
                      </a:ext>
                    </a:extLst>
                  </p:cNvPr>
                  <p:cNvSpPr>
                    <a:spLocks noChangeAspect="1"/>
                  </p:cNvSpPr>
                  <p:nvPr/>
                </p:nvSpPr>
                <p:spPr bwMode="auto">
                  <a:xfrm>
                    <a:off x="5343994" y="2710716"/>
                    <a:ext cx="128016" cy="13716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0" name="Freeform: Shape 109">
                    <a:extLst>
                      <a:ext uri="{FF2B5EF4-FFF2-40B4-BE49-F238E27FC236}">
                        <a16:creationId xmlns:a16="http://schemas.microsoft.com/office/drawing/2014/main" id="{F7BB0305-DF0B-8D50-F796-88DAF49FFB81}"/>
                      </a:ext>
                    </a:extLst>
                  </p:cNvPr>
                  <p:cNvSpPr>
                    <a:spLocks noChangeAspect="1"/>
                  </p:cNvSpPr>
                  <p:nvPr/>
                </p:nvSpPr>
                <p:spPr bwMode="auto">
                  <a:xfrm>
                    <a:off x="5339422" y="2682141"/>
                    <a:ext cx="137160" cy="137160"/>
                  </a:xfrm>
                  <a:custGeom>
                    <a:avLst/>
                    <a:gdLst>
                      <a:gd name="connsiteX0" fmla="*/ 360450 w 720900"/>
                      <a:gd name="connsiteY0" fmla="*/ 0 h 720901"/>
                      <a:gd name="connsiteX1" fmla="*/ 720900 w 720900"/>
                      <a:gd name="connsiteY1" fmla="*/ 360450 h 720901"/>
                      <a:gd name="connsiteX2" fmla="*/ 360450 w 720900"/>
                      <a:gd name="connsiteY2" fmla="*/ 720901 h 720901"/>
                      <a:gd name="connsiteX3" fmla="*/ 0 w 720900"/>
                      <a:gd name="connsiteY3" fmla="*/ 360450 h 720901"/>
                      <a:gd name="connsiteX4" fmla="*/ 360450 w 720900"/>
                      <a:gd name="connsiteY4" fmla="*/ 0 h 720901"/>
                      <a:gd name="connsiteX5" fmla="*/ 557059 w 720900"/>
                      <a:gd name="connsiteY5" fmla="*/ 196609 h 720901"/>
                      <a:gd name="connsiteX6" fmla="*/ 533885 w 720900"/>
                      <a:gd name="connsiteY6" fmla="*/ 206204 h 720901"/>
                      <a:gd name="connsiteX7" fmla="*/ 294913 w 720900"/>
                      <a:gd name="connsiteY7" fmla="*/ 445183 h 720901"/>
                      <a:gd name="connsiteX8" fmla="*/ 187014 w 720900"/>
                      <a:gd name="connsiteY8" fmla="*/ 337277 h 720901"/>
                      <a:gd name="connsiteX9" fmla="*/ 140667 w 720900"/>
                      <a:gd name="connsiteY9" fmla="*/ 337277 h 720901"/>
                      <a:gd name="connsiteX10" fmla="*/ 140667 w 720900"/>
                      <a:gd name="connsiteY10" fmla="*/ 383624 h 720901"/>
                      <a:gd name="connsiteX11" fmla="*/ 271740 w 720900"/>
                      <a:gd name="connsiteY11" fmla="*/ 514697 h 720901"/>
                      <a:gd name="connsiteX12" fmla="*/ 318087 w 720900"/>
                      <a:gd name="connsiteY12" fmla="*/ 514697 h 720901"/>
                      <a:gd name="connsiteX13" fmla="*/ 580233 w 720900"/>
                      <a:gd name="connsiteY13" fmla="*/ 252551 h 720901"/>
                      <a:gd name="connsiteX14" fmla="*/ 580233 w 720900"/>
                      <a:gd name="connsiteY14" fmla="*/ 206204 h 720901"/>
                      <a:gd name="connsiteX15" fmla="*/ 557059 w 720900"/>
                      <a:gd name="connsiteY15" fmla="*/ 196609 h 72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20900" h="720901">
                        <a:moveTo>
                          <a:pt x="360450" y="0"/>
                        </a:moveTo>
                        <a:cubicBezTo>
                          <a:pt x="559523" y="0"/>
                          <a:pt x="720900" y="161377"/>
                          <a:pt x="720900" y="360450"/>
                        </a:cubicBezTo>
                        <a:cubicBezTo>
                          <a:pt x="720900" y="559524"/>
                          <a:pt x="559523" y="720901"/>
                          <a:pt x="360450" y="720901"/>
                        </a:cubicBezTo>
                        <a:cubicBezTo>
                          <a:pt x="161376" y="720901"/>
                          <a:pt x="0" y="559524"/>
                          <a:pt x="0" y="360450"/>
                        </a:cubicBezTo>
                        <a:cubicBezTo>
                          <a:pt x="0" y="161377"/>
                          <a:pt x="161376" y="0"/>
                          <a:pt x="360450" y="0"/>
                        </a:cubicBezTo>
                        <a:close/>
                        <a:moveTo>
                          <a:pt x="557059" y="196609"/>
                        </a:moveTo>
                        <a:cubicBezTo>
                          <a:pt x="548672" y="196609"/>
                          <a:pt x="540285" y="199808"/>
                          <a:pt x="533885" y="206204"/>
                        </a:cubicBezTo>
                        <a:lnTo>
                          <a:pt x="294913" y="445183"/>
                        </a:lnTo>
                        <a:lnTo>
                          <a:pt x="187014" y="337277"/>
                        </a:lnTo>
                        <a:cubicBezTo>
                          <a:pt x="174215" y="324484"/>
                          <a:pt x="153466" y="324484"/>
                          <a:pt x="140667" y="337277"/>
                        </a:cubicBezTo>
                        <a:cubicBezTo>
                          <a:pt x="127874" y="350076"/>
                          <a:pt x="127874" y="370825"/>
                          <a:pt x="140667" y="383624"/>
                        </a:cubicBezTo>
                        <a:lnTo>
                          <a:pt x="271740" y="514697"/>
                        </a:lnTo>
                        <a:cubicBezTo>
                          <a:pt x="284539" y="527490"/>
                          <a:pt x="305288" y="527490"/>
                          <a:pt x="318087" y="514697"/>
                        </a:cubicBezTo>
                        <a:lnTo>
                          <a:pt x="580233" y="252551"/>
                        </a:lnTo>
                        <a:cubicBezTo>
                          <a:pt x="593025" y="239752"/>
                          <a:pt x="593025" y="219003"/>
                          <a:pt x="580233" y="206204"/>
                        </a:cubicBezTo>
                        <a:cubicBezTo>
                          <a:pt x="573834" y="199808"/>
                          <a:pt x="565446" y="196609"/>
                          <a:pt x="557059" y="196609"/>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96" name="Group 95">
                  <a:extLst>
                    <a:ext uri="{FF2B5EF4-FFF2-40B4-BE49-F238E27FC236}">
                      <a16:creationId xmlns:a16="http://schemas.microsoft.com/office/drawing/2014/main" id="{50D07C89-7E91-10C8-DF17-2C016423B3FE}"/>
                    </a:ext>
                  </a:extLst>
                </p:cNvPr>
                <p:cNvGrpSpPr/>
                <p:nvPr/>
              </p:nvGrpSpPr>
              <p:grpSpPr>
                <a:xfrm>
                  <a:off x="5468860" y="2672527"/>
                  <a:ext cx="137160" cy="165735"/>
                  <a:chOff x="5339422" y="2682141"/>
                  <a:chExt cx="137160" cy="165735"/>
                </a:xfrm>
              </p:grpSpPr>
              <p:sp>
                <p:nvSpPr>
                  <p:cNvPr id="107" name="Oval 106">
                    <a:extLst>
                      <a:ext uri="{FF2B5EF4-FFF2-40B4-BE49-F238E27FC236}">
                        <a16:creationId xmlns:a16="http://schemas.microsoft.com/office/drawing/2014/main" id="{3759EA13-097C-A80B-6965-619140C96DCE}"/>
                      </a:ext>
                    </a:extLst>
                  </p:cNvPr>
                  <p:cNvSpPr>
                    <a:spLocks noChangeAspect="1"/>
                  </p:cNvSpPr>
                  <p:nvPr/>
                </p:nvSpPr>
                <p:spPr bwMode="auto">
                  <a:xfrm>
                    <a:off x="5343994" y="2710716"/>
                    <a:ext cx="128016" cy="13716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8" name="Freeform: Shape 107">
                    <a:extLst>
                      <a:ext uri="{FF2B5EF4-FFF2-40B4-BE49-F238E27FC236}">
                        <a16:creationId xmlns:a16="http://schemas.microsoft.com/office/drawing/2014/main" id="{E50908E9-4650-0311-FE3D-D5E87C591BC8}"/>
                      </a:ext>
                    </a:extLst>
                  </p:cNvPr>
                  <p:cNvSpPr>
                    <a:spLocks noChangeAspect="1"/>
                  </p:cNvSpPr>
                  <p:nvPr/>
                </p:nvSpPr>
                <p:spPr bwMode="auto">
                  <a:xfrm>
                    <a:off x="5339422" y="2682141"/>
                    <a:ext cx="137160" cy="137160"/>
                  </a:xfrm>
                  <a:custGeom>
                    <a:avLst/>
                    <a:gdLst>
                      <a:gd name="connsiteX0" fmla="*/ 360450 w 720900"/>
                      <a:gd name="connsiteY0" fmla="*/ 0 h 720901"/>
                      <a:gd name="connsiteX1" fmla="*/ 720900 w 720900"/>
                      <a:gd name="connsiteY1" fmla="*/ 360450 h 720901"/>
                      <a:gd name="connsiteX2" fmla="*/ 360450 w 720900"/>
                      <a:gd name="connsiteY2" fmla="*/ 720901 h 720901"/>
                      <a:gd name="connsiteX3" fmla="*/ 0 w 720900"/>
                      <a:gd name="connsiteY3" fmla="*/ 360450 h 720901"/>
                      <a:gd name="connsiteX4" fmla="*/ 360450 w 720900"/>
                      <a:gd name="connsiteY4" fmla="*/ 0 h 720901"/>
                      <a:gd name="connsiteX5" fmla="*/ 557059 w 720900"/>
                      <a:gd name="connsiteY5" fmla="*/ 196609 h 720901"/>
                      <a:gd name="connsiteX6" fmla="*/ 533885 w 720900"/>
                      <a:gd name="connsiteY6" fmla="*/ 206204 h 720901"/>
                      <a:gd name="connsiteX7" fmla="*/ 294913 w 720900"/>
                      <a:gd name="connsiteY7" fmla="*/ 445183 h 720901"/>
                      <a:gd name="connsiteX8" fmla="*/ 187014 w 720900"/>
                      <a:gd name="connsiteY8" fmla="*/ 337277 h 720901"/>
                      <a:gd name="connsiteX9" fmla="*/ 140667 w 720900"/>
                      <a:gd name="connsiteY9" fmla="*/ 337277 h 720901"/>
                      <a:gd name="connsiteX10" fmla="*/ 140667 w 720900"/>
                      <a:gd name="connsiteY10" fmla="*/ 383624 h 720901"/>
                      <a:gd name="connsiteX11" fmla="*/ 271740 w 720900"/>
                      <a:gd name="connsiteY11" fmla="*/ 514697 h 720901"/>
                      <a:gd name="connsiteX12" fmla="*/ 318087 w 720900"/>
                      <a:gd name="connsiteY12" fmla="*/ 514697 h 720901"/>
                      <a:gd name="connsiteX13" fmla="*/ 580233 w 720900"/>
                      <a:gd name="connsiteY13" fmla="*/ 252551 h 720901"/>
                      <a:gd name="connsiteX14" fmla="*/ 580233 w 720900"/>
                      <a:gd name="connsiteY14" fmla="*/ 206204 h 720901"/>
                      <a:gd name="connsiteX15" fmla="*/ 557059 w 720900"/>
                      <a:gd name="connsiteY15" fmla="*/ 196609 h 72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20900" h="720901">
                        <a:moveTo>
                          <a:pt x="360450" y="0"/>
                        </a:moveTo>
                        <a:cubicBezTo>
                          <a:pt x="559523" y="0"/>
                          <a:pt x="720900" y="161377"/>
                          <a:pt x="720900" y="360450"/>
                        </a:cubicBezTo>
                        <a:cubicBezTo>
                          <a:pt x="720900" y="559524"/>
                          <a:pt x="559523" y="720901"/>
                          <a:pt x="360450" y="720901"/>
                        </a:cubicBezTo>
                        <a:cubicBezTo>
                          <a:pt x="161376" y="720901"/>
                          <a:pt x="0" y="559524"/>
                          <a:pt x="0" y="360450"/>
                        </a:cubicBezTo>
                        <a:cubicBezTo>
                          <a:pt x="0" y="161377"/>
                          <a:pt x="161376" y="0"/>
                          <a:pt x="360450" y="0"/>
                        </a:cubicBezTo>
                        <a:close/>
                        <a:moveTo>
                          <a:pt x="557059" y="196609"/>
                        </a:moveTo>
                        <a:cubicBezTo>
                          <a:pt x="548672" y="196609"/>
                          <a:pt x="540285" y="199808"/>
                          <a:pt x="533885" y="206204"/>
                        </a:cubicBezTo>
                        <a:lnTo>
                          <a:pt x="294913" y="445183"/>
                        </a:lnTo>
                        <a:lnTo>
                          <a:pt x="187014" y="337277"/>
                        </a:lnTo>
                        <a:cubicBezTo>
                          <a:pt x="174215" y="324484"/>
                          <a:pt x="153466" y="324484"/>
                          <a:pt x="140667" y="337277"/>
                        </a:cubicBezTo>
                        <a:cubicBezTo>
                          <a:pt x="127874" y="350076"/>
                          <a:pt x="127874" y="370825"/>
                          <a:pt x="140667" y="383624"/>
                        </a:cubicBezTo>
                        <a:lnTo>
                          <a:pt x="271740" y="514697"/>
                        </a:lnTo>
                        <a:cubicBezTo>
                          <a:pt x="284539" y="527490"/>
                          <a:pt x="305288" y="527490"/>
                          <a:pt x="318087" y="514697"/>
                        </a:cubicBezTo>
                        <a:lnTo>
                          <a:pt x="580233" y="252551"/>
                        </a:lnTo>
                        <a:cubicBezTo>
                          <a:pt x="593025" y="239752"/>
                          <a:pt x="593025" y="219003"/>
                          <a:pt x="580233" y="206204"/>
                        </a:cubicBezTo>
                        <a:cubicBezTo>
                          <a:pt x="573834" y="199808"/>
                          <a:pt x="565446" y="196609"/>
                          <a:pt x="557059" y="196609"/>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97" name="Group 96">
                  <a:extLst>
                    <a:ext uri="{FF2B5EF4-FFF2-40B4-BE49-F238E27FC236}">
                      <a16:creationId xmlns:a16="http://schemas.microsoft.com/office/drawing/2014/main" id="{6127B861-9224-9902-D5F9-0D8A7300043F}"/>
                    </a:ext>
                  </a:extLst>
                </p:cNvPr>
                <p:cNvGrpSpPr/>
                <p:nvPr/>
              </p:nvGrpSpPr>
              <p:grpSpPr>
                <a:xfrm>
                  <a:off x="5748895" y="2672527"/>
                  <a:ext cx="137160" cy="165735"/>
                  <a:chOff x="5339422" y="2682141"/>
                  <a:chExt cx="137160" cy="165735"/>
                </a:xfrm>
              </p:grpSpPr>
              <p:sp>
                <p:nvSpPr>
                  <p:cNvPr id="105" name="Oval 104">
                    <a:extLst>
                      <a:ext uri="{FF2B5EF4-FFF2-40B4-BE49-F238E27FC236}">
                        <a16:creationId xmlns:a16="http://schemas.microsoft.com/office/drawing/2014/main" id="{E4CD93BF-76B8-20D8-64F1-CC9D8C6B2B7F}"/>
                      </a:ext>
                    </a:extLst>
                  </p:cNvPr>
                  <p:cNvSpPr>
                    <a:spLocks noChangeAspect="1"/>
                  </p:cNvSpPr>
                  <p:nvPr/>
                </p:nvSpPr>
                <p:spPr bwMode="auto">
                  <a:xfrm>
                    <a:off x="5343994" y="2710716"/>
                    <a:ext cx="128016" cy="13716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6" name="Freeform: Shape 105">
                    <a:extLst>
                      <a:ext uri="{FF2B5EF4-FFF2-40B4-BE49-F238E27FC236}">
                        <a16:creationId xmlns:a16="http://schemas.microsoft.com/office/drawing/2014/main" id="{93679EB9-BA71-C4F9-2269-C4B48C91D2DC}"/>
                      </a:ext>
                    </a:extLst>
                  </p:cNvPr>
                  <p:cNvSpPr>
                    <a:spLocks noChangeAspect="1"/>
                  </p:cNvSpPr>
                  <p:nvPr/>
                </p:nvSpPr>
                <p:spPr bwMode="auto">
                  <a:xfrm>
                    <a:off x="5339422" y="2682141"/>
                    <a:ext cx="137160" cy="137160"/>
                  </a:xfrm>
                  <a:custGeom>
                    <a:avLst/>
                    <a:gdLst>
                      <a:gd name="connsiteX0" fmla="*/ 360450 w 720900"/>
                      <a:gd name="connsiteY0" fmla="*/ 0 h 720901"/>
                      <a:gd name="connsiteX1" fmla="*/ 720900 w 720900"/>
                      <a:gd name="connsiteY1" fmla="*/ 360450 h 720901"/>
                      <a:gd name="connsiteX2" fmla="*/ 360450 w 720900"/>
                      <a:gd name="connsiteY2" fmla="*/ 720901 h 720901"/>
                      <a:gd name="connsiteX3" fmla="*/ 0 w 720900"/>
                      <a:gd name="connsiteY3" fmla="*/ 360450 h 720901"/>
                      <a:gd name="connsiteX4" fmla="*/ 360450 w 720900"/>
                      <a:gd name="connsiteY4" fmla="*/ 0 h 720901"/>
                      <a:gd name="connsiteX5" fmla="*/ 557059 w 720900"/>
                      <a:gd name="connsiteY5" fmla="*/ 196609 h 720901"/>
                      <a:gd name="connsiteX6" fmla="*/ 533885 w 720900"/>
                      <a:gd name="connsiteY6" fmla="*/ 206204 h 720901"/>
                      <a:gd name="connsiteX7" fmla="*/ 294913 w 720900"/>
                      <a:gd name="connsiteY7" fmla="*/ 445183 h 720901"/>
                      <a:gd name="connsiteX8" fmla="*/ 187014 w 720900"/>
                      <a:gd name="connsiteY8" fmla="*/ 337277 h 720901"/>
                      <a:gd name="connsiteX9" fmla="*/ 140667 w 720900"/>
                      <a:gd name="connsiteY9" fmla="*/ 337277 h 720901"/>
                      <a:gd name="connsiteX10" fmla="*/ 140667 w 720900"/>
                      <a:gd name="connsiteY10" fmla="*/ 383624 h 720901"/>
                      <a:gd name="connsiteX11" fmla="*/ 271740 w 720900"/>
                      <a:gd name="connsiteY11" fmla="*/ 514697 h 720901"/>
                      <a:gd name="connsiteX12" fmla="*/ 318087 w 720900"/>
                      <a:gd name="connsiteY12" fmla="*/ 514697 h 720901"/>
                      <a:gd name="connsiteX13" fmla="*/ 580233 w 720900"/>
                      <a:gd name="connsiteY13" fmla="*/ 252551 h 720901"/>
                      <a:gd name="connsiteX14" fmla="*/ 580233 w 720900"/>
                      <a:gd name="connsiteY14" fmla="*/ 206204 h 720901"/>
                      <a:gd name="connsiteX15" fmla="*/ 557059 w 720900"/>
                      <a:gd name="connsiteY15" fmla="*/ 196609 h 72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20900" h="720901">
                        <a:moveTo>
                          <a:pt x="360450" y="0"/>
                        </a:moveTo>
                        <a:cubicBezTo>
                          <a:pt x="559523" y="0"/>
                          <a:pt x="720900" y="161377"/>
                          <a:pt x="720900" y="360450"/>
                        </a:cubicBezTo>
                        <a:cubicBezTo>
                          <a:pt x="720900" y="559524"/>
                          <a:pt x="559523" y="720901"/>
                          <a:pt x="360450" y="720901"/>
                        </a:cubicBezTo>
                        <a:cubicBezTo>
                          <a:pt x="161376" y="720901"/>
                          <a:pt x="0" y="559524"/>
                          <a:pt x="0" y="360450"/>
                        </a:cubicBezTo>
                        <a:cubicBezTo>
                          <a:pt x="0" y="161377"/>
                          <a:pt x="161376" y="0"/>
                          <a:pt x="360450" y="0"/>
                        </a:cubicBezTo>
                        <a:close/>
                        <a:moveTo>
                          <a:pt x="557059" y="196609"/>
                        </a:moveTo>
                        <a:cubicBezTo>
                          <a:pt x="548672" y="196609"/>
                          <a:pt x="540285" y="199808"/>
                          <a:pt x="533885" y="206204"/>
                        </a:cubicBezTo>
                        <a:lnTo>
                          <a:pt x="294913" y="445183"/>
                        </a:lnTo>
                        <a:lnTo>
                          <a:pt x="187014" y="337277"/>
                        </a:lnTo>
                        <a:cubicBezTo>
                          <a:pt x="174215" y="324484"/>
                          <a:pt x="153466" y="324484"/>
                          <a:pt x="140667" y="337277"/>
                        </a:cubicBezTo>
                        <a:cubicBezTo>
                          <a:pt x="127874" y="350076"/>
                          <a:pt x="127874" y="370825"/>
                          <a:pt x="140667" y="383624"/>
                        </a:cubicBezTo>
                        <a:lnTo>
                          <a:pt x="271740" y="514697"/>
                        </a:lnTo>
                        <a:cubicBezTo>
                          <a:pt x="284539" y="527490"/>
                          <a:pt x="305288" y="527490"/>
                          <a:pt x="318087" y="514697"/>
                        </a:cubicBezTo>
                        <a:lnTo>
                          <a:pt x="580233" y="252551"/>
                        </a:lnTo>
                        <a:cubicBezTo>
                          <a:pt x="593025" y="239752"/>
                          <a:pt x="593025" y="219003"/>
                          <a:pt x="580233" y="206204"/>
                        </a:cubicBezTo>
                        <a:cubicBezTo>
                          <a:pt x="573834" y="199808"/>
                          <a:pt x="565446" y="196609"/>
                          <a:pt x="557059" y="196609"/>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98" name="Group 97">
                  <a:extLst>
                    <a:ext uri="{FF2B5EF4-FFF2-40B4-BE49-F238E27FC236}">
                      <a16:creationId xmlns:a16="http://schemas.microsoft.com/office/drawing/2014/main" id="{B7934A9A-5675-463F-F408-2F16710D6FB8}"/>
                    </a:ext>
                  </a:extLst>
                </p:cNvPr>
                <p:cNvGrpSpPr/>
                <p:nvPr/>
              </p:nvGrpSpPr>
              <p:grpSpPr>
                <a:xfrm>
                  <a:off x="7119462" y="2651001"/>
                  <a:ext cx="182880" cy="182880"/>
                  <a:chOff x="7120968" y="2652906"/>
                  <a:chExt cx="182880" cy="182880"/>
                </a:xfrm>
              </p:grpSpPr>
              <p:sp>
                <p:nvSpPr>
                  <p:cNvPr id="99" name="Oval 98">
                    <a:extLst>
                      <a:ext uri="{FF2B5EF4-FFF2-40B4-BE49-F238E27FC236}">
                        <a16:creationId xmlns:a16="http://schemas.microsoft.com/office/drawing/2014/main" id="{8985A465-EE5B-3AC5-20FC-8DDDE1198F5F}"/>
                      </a:ext>
                    </a:extLst>
                  </p:cNvPr>
                  <p:cNvSpPr>
                    <a:spLocks/>
                  </p:cNvSpPr>
                  <p:nvPr/>
                </p:nvSpPr>
                <p:spPr bwMode="auto">
                  <a:xfrm>
                    <a:off x="7120968" y="2652906"/>
                    <a:ext cx="182880" cy="182880"/>
                  </a:xfrm>
                  <a:prstGeom prst="ellipse">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100" name="Group 99">
                    <a:extLst>
                      <a:ext uri="{FF2B5EF4-FFF2-40B4-BE49-F238E27FC236}">
                        <a16:creationId xmlns:a16="http://schemas.microsoft.com/office/drawing/2014/main" id="{51DCCB11-0C0D-7285-175C-A7FED7DE7ED4}"/>
                      </a:ext>
                    </a:extLst>
                  </p:cNvPr>
                  <p:cNvGrpSpPr>
                    <a:grpSpLocks noChangeAspect="1"/>
                  </p:cNvGrpSpPr>
                  <p:nvPr/>
                </p:nvGrpSpPr>
                <p:grpSpPr>
                  <a:xfrm>
                    <a:off x="7149924" y="2685672"/>
                    <a:ext cx="109728" cy="138303"/>
                    <a:chOff x="1079856" y="1986996"/>
                    <a:chExt cx="914400" cy="1152525"/>
                  </a:xfrm>
                </p:grpSpPr>
                <p:sp>
                  <p:nvSpPr>
                    <p:cNvPr id="101" name="Rectangle 100">
                      <a:extLst>
                        <a:ext uri="{FF2B5EF4-FFF2-40B4-BE49-F238E27FC236}">
                          <a16:creationId xmlns:a16="http://schemas.microsoft.com/office/drawing/2014/main" id="{E6662CEA-3103-1372-4909-F4DD24DB188D}"/>
                        </a:ext>
                      </a:extLst>
                    </p:cNvPr>
                    <p:cNvSpPr/>
                    <p:nvPr/>
                  </p:nvSpPr>
                  <p:spPr bwMode="auto">
                    <a:xfrm>
                      <a:off x="1079856" y="2225121"/>
                      <a:ext cx="914400" cy="914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102" name="Group 101">
                      <a:extLst>
                        <a:ext uri="{FF2B5EF4-FFF2-40B4-BE49-F238E27FC236}">
                          <a16:creationId xmlns:a16="http://schemas.microsoft.com/office/drawing/2014/main" id="{8009AF3C-7DAB-2A38-39F3-6CA093A1232D}"/>
                        </a:ext>
                      </a:extLst>
                    </p:cNvPr>
                    <p:cNvGrpSpPr>
                      <a:grpSpLocks noChangeAspect="1"/>
                    </p:cNvGrpSpPr>
                    <p:nvPr/>
                  </p:nvGrpSpPr>
                  <p:grpSpPr>
                    <a:xfrm>
                      <a:off x="1079856" y="1986996"/>
                      <a:ext cx="914400" cy="914400"/>
                      <a:chOff x="1241943" y="2116948"/>
                      <a:chExt cx="914400" cy="914400"/>
                    </a:xfrm>
                  </p:grpSpPr>
                  <p:pic>
                    <p:nvPicPr>
                      <p:cNvPr id="103" name="Graphic 102">
                        <a:extLst>
                          <a:ext uri="{FF2B5EF4-FFF2-40B4-BE49-F238E27FC236}">
                            <a16:creationId xmlns:a16="http://schemas.microsoft.com/office/drawing/2014/main" id="{2F7C89E6-5CD5-838F-DC87-EA0A2BFCCCF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41943" y="2116948"/>
                        <a:ext cx="914400" cy="914400"/>
                      </a:xfrm>
                      <a:prstGeom prst="rect">
                        <a:avLst/>
                      </a:prstGeom>
                    </p:spPr>
                  </p:pic>
                  <p:sp>
                    <p:nvSpPr>
                      <p:cNvPr id="104" name="Freeform: Shape 103">
                        <a:extLst>
                          <a:ext uri="{FF2B5EF4-FFF2-40B4-BE49-F238E27FC236}">
                            <a16:creationId xmlns:a16="http://schemas.microsoft.com/office/drawing/2014/main" id="{1F11C6A9-42FA-C2BA-0A86-3BBFC8A89FAA}"/>
                          </a:ext>
                        </a:extLst>
                      </p:cNvPr>
                      <p:cNvSpPr/>
                      <p:nvPr/>
                    </p:nvSpPr>
                    <p:spPr bwMode="auto">
                      <a:xfrm>
                        <a:off x="1893476" y="2761981"/>
                        <a:ext cx="257175" cy="257175"/>
                      </a:xfrm>
                      <a:custGeom>
                        <a:avLst/>
                        <a:gdLst>
                          <a:gd name="connsiteX0" fmla="*/ 28575 w 257175"/>
                          <a:gd name="connsiteY0" fmla="*/ 0 h 257175"/>
                          <a:gd name="connsiteX1" fmla="*/ 48666 w 257175"/>
                          <a:gd name="connsiteY1" fmla="*/ 8483 h 257175"/>
                          <a:gd name="connsiteX2" fmla="*/ 128587 w 257175"/>
                          <a:gd name="connsiteY2" fmla="*/ 87957 h 257175"/>
                          <a:gd name="connsiteX3" fmla="*/ 208508 w 257175"/>
                          <a:gd name="connsiteY3" fmla="*/ 8483 h 257175"/>
                          <a:gd name="connsiteX4" fmla="*/ 228600 w 257175"/>
                          <a:gd name="connsiteY4" fmla="*/ 0 h 257175"/>
                          <a:gd name="connsiteX5" fmla="*/ 248691 w 257175"/>
                          <a:gd name="connsiteY5" fmla="*/ 8483 h 257175"/>
                          <a:gd name="connsiteX6" fmla="*/ 257175 w 257175"/>
                          <a:gd name="connsiteY6" fmla="*/ 28575 h 257175"/>
                          <a:gd name="connsiteX7" fmla="*/ 248691 w 257175"/>
                          <a:gd name="connsiteY7" fmla="*/ 48666 h 257175"/>
                          <a:gd name="connsiteX8" fmla="*/ 169217 w 257175"/>
                          <a:gd name="connsiteY8" fmla="*/ 128587 h 257175"/>
                          <a:gd name="connsiteX9" fmla="*/ 248691 w 257175"/>
                          <a:gd name="connsiteY9" fmla="*/ 208508 h 257175"/>
                          <a:gd name="connsiteX10" fmla="*/ 257175 w 257175"/>
                          <a:gd name="connsiteY10" fmla="*/ 228600 h 257175"/>
                          <a:gd name="connsiteX11" fmla="*/ 248691 w 257175"/>
                          <a:gd name="connsiteY11" fmla="*/ 248691 h 257175"/>
                          <a:gd name="connsiteX12" fmla="*/ 228600 w 257175"/>
                          <a:gd name="connsiteY12" fmla="*/ 257175 h 257175"/>
                          <a:gd name="connsiteX13" fmla="*/ 208508 w 257175"/>
                          <a:gd name="connsiteY13" fmla="*/ 248691 h 257175"/>
                          <a:gd name="connsiteX14" fmla="*/ 128587 w 257175"/>
                          <a:gd name="connsiteY14" fmla="*/ 168771 h 257175"/>
                          <a:gd name="connsiteX15" fmla="*/ 48666 w 257175"/>
                          <a:gd name="connsiteY15" fmla="*/ 248691 h 257175"/>
                          <a:gd name="connsiteX16" fmla="*/ 28575 w 257175"/>
                          <a:gd name="connsiteY16" fmla="*/ 257175 h 257175"/>
                          <a:gd name="connsiteX17" fmla="*/ 8483 w 257175"/>
                          <a:gd name="connsiteY17" fmla="*/ 248691 h 257175"/>
                          <a:gd name="connsiteX18" fmla="*/ 0 w 257175"/>
                          <a:gd name="connsiteY18" fmla="*/ 228600 h 257175"/>
                          <a:gd name="connsiteX19" fmla="*/ 8483 w 257175"/>
                          <a:gd name="connsiteY19" fmla="*/ 208508 h 257175"/>
                          <a:gd name="connsiteX20" fmla="*/ 88403 w 257175"/>
                          <a:gd name="connsiteY20" fmla="*/ 128587 h 257175"/>
                          <a:gd name="connsiteX21" fmla="*/ 8483 w 257175"/>
                          <a:gd name="connsiteY21" fmla="*/ 48666 h 257175"/>
                          <a:gd name="connsiteX22" fmla="*/ 0 w 257175"/>
                          <a:gd name="connsiteY22" fmla="*/ 28575 h 257175"/>
                          <a:gd name="connsiteX23" fmla="*/ 8483 w 257175"/>
                          <a:gd name="connsiteY23" fmla="*/ 8483 h 257175"/>
                          <a:gd name="connsiteX24" fmla="*/ 28575 w 257175"/>
                          <a:gd name="connsiteY24" fmla="*/ 0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57175" h="257175">
                            <a:moveTo>
                              <a:pt x="28575" y="0"/>
                            </a:moveTo>
                            <a:cubicBezTo>
                              <a:pt x="36312" y="0"/>
                              <a:pt x="43009" y="2826"/>
                              <a:pt x="48666" y="8483"/>
                            </a:cubicBezTo>
                            <a:lnTo>
                              <a:pt x="128587" y="87957"/>
                            </a:lnTo>
                            <a:lnTo>
                              <a:pt x="208508" y="8483"/>
                            </a:lnTo>
                            <a:cubicBezTo>
                              <a:pt x="214165" y="2826"/>
                              <a:pt x="220862" y="0"/>
                              <a:pt x="228600" y="0"/>
                            </a:cubicBezTo>
                            <a:cubicBezTo>
                              <a:pt x="236337" y="0"/>
                              <a:pt x="243034" y="2826"/>
                              <a:pt x="248691" y="8483"/>
                            </a:cubicBezTo>
                            <a:cubicBezTo>
                              <a:pt x="254348" y="14140"/>
                              <a:pt x="257175" y="20837"/>
                              <a:pt x="257175" y="28575"/>
                            </a:cubicBezTo>
                            <a:cubicBezTo>
                              <a:pt x="257175" y="36312"/>
                              <a:pt x="254348" y="43009"/>
                              <a:pt x="248691" y="48666"/>
                            </a:cubicBezTo>
                            <a:lnTo>
                              <a:pt x="169217" y="128587"/>
                            </a:lnTo>
                            <a:lnTo>
                              <a:pt x="248691" y="208508"/>
                            </a:lnTo>
                            <a:cubicBezTo>
                              <a:pt x="254348" y="214165"/>
                              <a:pt x="257175" y="220862"/>
                              <a:pt x="257175" y="228600"/>
                            </a:cubicBezTo>
                            <a:cubicBezTo>
                              <a:pt x="257175" y="236337"/>
                              <a:pt x="254348" y="243034"/>
                              <a:pt x="248691" y="248691"/>
                            </a:cubicBezTo>
                            <a:cubicBezTo>
                              <a:pt x="243034" y="254348"/>
                              <a:pt x="236337" y="257175"/>
                              <a:pt x="228600" y="257175"/>
                            </a:cubicBezTo>
                            <a:cubicBezTo>
                              <a:pt x="220862" y="257175"/>
                              <a:pt x="214165" y="254348"/>
                              <a:pt x="208508" y="248691"/>
                            </a:cubicBezTo>
                            <a:lnTo>
                              <a:pt x="128587" y="168771"/>
                            </a:lnTo>
                            <a:lnTo>
                              <a:pt x="48666" y="248691"/>
                            </a:lnTo>
                            <a:cubicBezTo>
                              <a:pt x="43009" y="254348"/>
                              <a:pt x="36312" y="257175"/>
                              <a:pt x="28575" y="257175"/>
                            </a:cubicBezTo>
                            <a:cubicBezTo>
                              <a:pt x="20837" y="257175"/>
                              <a:pt x="14140" y="254348"/>
                              <a:pt x="8483" y="248691"/>
                            </a:cubicBezTo>
                            <a:cubicBezTo>
                              <a:pt x="2826" y="243034"/>
                              <a:pt x="0" y="236337"/>
                              <a:pt x="0" y="228600"/>
                            </a:cubicBezTo>
                            <a:cubicBezTo>
                              <a:pt x="0" y="220862"/>
                              <a:pt x="2826" y="214165"/>
                              <a:pt x="8483" y="208508"/>
                            </a:cubicBezTo>
                            <a:lnTo>
                              <a:pt x="88403" y="128587"/>
                            </a:lnTo>
                            <a:lnTo>
                              <a:pt x="8483" y="48666"/>
                            </a:lnTo>
                            <a:cubicBezTo>
                              <a:pt x="2826" y="43009"/>
                              <a:pt x="0" y="36312"/>
                              <a:pt x="0" y="28575"/>
                            </a:cubicBezTo>
                            <a:cubicBezTo>
                              <a:pt x="0" y="20837"/>
                              <a:pt x="2826" y="14140"/>
                              <a:pt x="8483" y="8483"/>
                            </a:cubicBezTo>
                            <a:cubicBezTo>
                              <a:pt x="14140" y="2826"/>
                              <a:pt x="20837" y="0"/>
                              <a:pt x="2857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pSp>
          </p:grpSp>
          <p:grpSp>
            <p:nvGrpSpPr>
              <p:cNvPr id="67" name="Group 66">
                <a:extLst>
                  <a:ext uri="{FF2B5EF4-FFF2-40B4-BE49-F238E27FC236}">
                    <a16:creationId xmlns:a16="http://schemas.microsoft.com/office/drawing/2014/main" id="{558EBB7F-3F0F-2B94-CD2E-477EEE8A20F3}"/>
                  </a:ext>
                </a:extLst>
              </p:cNvPr>
              <p:cNvGrpSpPr/>
              <p:nvPr/>
            </p:nvGrpSpPr>
            <p:grpSpPr>
              <a:xfrm>
                <a:off x="4889658" y="1685219"/>
                <a:ext cx="2412684" cy="941141"/>
                <a:chOff x="4889658" y="1685219"/>
                <a:chExt cx="2412684" cy="941141"/>
              </a:xfrm>
            </p:grpSpPr>
            <p:sp>
              <p:nvSpPr>
                <p:cNvPr id="68" name="Rectangle: Rounded Corners 67">
                  <a:extLst>
                    <a:ext uri="{FF2B5EF4-FFF2-40B4-BE49-F238E27FC236}">
                      <a16:creationId xmlns:a16="http://schemas.microsoft.com/office/drawing/2014/main" id="{76900D6C-CB89-AB5F-3EAD-899AF6CFD63B}"/>
                    </a:ext>
                  </a:extLst>
                </p:cNvPr>
                <p:cNvSpPr/>
                <p:nvPr/>
              </p:nvSpPr>
              <p:spPr bwMode="auto">
                <a:xfrm>
                  <a:off x="6373903" y="2253666"/>
                  <a:ext cx="842620" cy="332509"/>
                </a:xfrm>
                <a:prstGeom prst="roundRect">
                  <a:avLst/>
                </a:prstGeom>
                <a:noFill/>
                <a:ln w="19050">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cxnSp>
              <p:nvCxnSpPr>
                <p:cNvPr id="69" name="Straight Connector 68">
                  <a:extLst>
                    <a:ext uri="{FF2B5EF4-FFF2-40B4-BE49-F238E27FC236}">
                      <a16:creationId xmlns:a16="http://schemas.microsoft.com/office/drawing/2014/main" id="{CE175C14-92D4-FA89-D381-039D7BE9EF77}"/>
                    </a:ext>
                  </a:extLst>
                </p:cNvPr>
                <p:cNvCxnSpPr>
                  <a:cxnSpLocks/>
                </p:cNvCxnSpPr>
                <p:nvPr/>
              </p:nvCxnSpPr>
              <p:spPr>
                <a:xfrm>
                  <a:off x="6654260" y="2253666"/>
                  <a:ext cx="0" cy="166255"/>
                </a:xfrm>
                <a:prstGeom prst="line">
                  <a:avLst/>
                </a:prstGeom>
                <a:noFill/>
                <a:ln w="19050">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70" name="Straight Connector 69">
                  <a:extLst>
                    <a:ext uri="{FF2B5EF4-FFF2-40B4-BE49-F238E27FC236}">
                      <a16:creationId xmlns:a16="http://schemas.microsoft.com/office/drawing/2014/main" id="{54A80DC8-0935-F702-91E6-F62C429AD060}"/>
                    </a:ext>
                  </a:extLst>
                </p:cNvPr>
                <p:cNvCxnSpPr>
                  <a:cxnSpLocks/>
                </p:cNvCxnSpPr>
                <p:nvPr/>
              </p:nvCxnSpPr>
              <p:spPr>
                <a:xfrm>
                  <a:off x="6932581" y="2253666"/>
                  <a:ext cx="0" cy="166255"/>
                </a:xfrm>
                <a:prstGeom prst="line">
                  <a:avLst/>
                </a:prstGeom>
                <a:noFill/>
                <a:ln w="19050">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71" name="Straight Connector 70">
                  <a:extLst>
                    <a:ext uri="{FF2B5EF4-FFF2-40B4-BE49-F238E27FC236}">
                      <a16:creationId xmlns:a16="http://schemas.microsoft.com/office/drawing/2014/main" id="{E950B841-D786-6A01-3D52-44575635A1FE}"/>
                    </a:ext>
                  </a:extLst>
                </p:cNvPr>
                <p:cNvCxnSpPr>
                  <a:cxnSpLocks/>
                  <a:endCxn id="68" idx="0"/>
                </p:cNvCxnSpPr>
                <p:nvPr/>
              </p:nvCxnSpPr>
              <p:spPr>
                <a:xfrm>
                  <a:off x="6795213" y="2145601"/>
                  <a:ext cx="0" cy="108065"/>
                </a:xfrm>
                <a:prstGeom prst="line">
                  <a:avLst/>
                </a:prstGeom>
                <a:noFill/>
                <a:ln w="19050">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72" name="Straight Connector 71">
                  <a:extLst>
                    <a:ext uri="{FF2B5EF4-FFF2-40B4-BE49-F238E27FC236}">
                      <a16:creationId xmlns:a16="http://schemas.microsoft.com/office/drawing/2014/main" id="{56F2636F-DDC8-6BE5-B669-E4AB100F1403}"/>
                    </a:ext>
                  </a:extLst>
                </p:cNvPr>
                <p:cNvCxnSpPr>
                  <a:cxnSpLocks/>
                </p:cNvCxnSpPr>
                <p:nvPr/>
              </p:nvCxnSpPr>
              <p:spPr>
                <a:xfrm>
                  <a:off x="5259419" y="2253667"/>
                  <a:ext cx="0" cy="166255"/>
                </a:xfrm>
                <a:prstGeom prst="line">
                  <a:avLst/>
                </a:prstGeom>
                <a:noFill/>
                <a:ln w="19050">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73" name="Rectangle: Rounded Corners 72">
                  <a:extLst>
                    <a:ext uri="{FF2B5EF4-FFF2-40B4-BE49-F238E27FC236}">
                      <a16:creationId xmlns:a16="http://schemas.microsoft.com/office/drawing/2014/main" id="{367EEEE1-A10C-EF0E-B282-AEF357E4F8A6}"/>
                    </a:ext>
                  </a:extLst>
                </p:cNvPr>
                <p:cNvSpPr/>
                <p:nvPr/>
              </p:nvSpPr>
              <p:spPr bwMode="auto">
                <a:xfrm>
                  <a:off x="4979275" y="2253667"/>
                  <a:ext cx="1115106" cy="332509"/>
                </a:xfrm>
                <a:prstGeom prst="roundRect">
                  <a:avLst/>
                </a:prstGeom>
                <a:noFill/>
                <a:ln w="19050">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cxnSp>
              <p:nvCxnSpPr>
                <p:cNvPr id="74" name="Straight Connector 73">
                  <a:extLst>
                    <a:ext uri="{FF2B5EF4-FFF2-40B4-BE49-F238E27FC236}">
                      <a16:creationId xmlns:a16="http://schemas.microsoft.com/office/drawing/2014/main" id="{BC4D5237-FB02-555E-E774-ACBF54B55844}"/>
                    </a:ext>
                  </a:extLst>
                </p:cNvPr>
                <p:cNvCxnSpPr>
                  <a:cxnSpLocks/>
                </p:cNvCxnSpPr>
                <p:nvPr/>
              </p:nvCxnSpPr>
              <p:spPr>
                <a:xfrm>
                  <a:off x="5536828" y="2145602"/>
                  <a:ext cx="0" cy="274320"/>
                </a:xfrm>
                <a:prstGeom prst="line">
                  <a:avLst/>
                </a:prstGeom>
                <a:noFill/>
                <a:ln w="19050">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75" name="Straight Connector 74">
                  <a:extLst>
                    <a:ext uri="{FF2B5EF4-FFF2-40B4-BE49-F238E27FC236}">
                      <a16:creationId xmlns:a16="http://schemas.microsoft.com/office/drawing/2014/main" id="{D55EE250-9908-5FDB-68A5-FDC8D0D151B6}"/>
                    </a:ext>
                  </a:extLst>
                </p:cNvPr>
                <p:cNvCxnSpPr>
                  <a:cxnSpLocks/>
                </p:cNvCxnSpPr>
                <p:nvPr/>
              </p:nvCxnSpPr>
              <p:spPr>
                <a:xfrm>
                  <a:off x="5816061" y="2253667"/>
                  <a:ext cx="0" cy="166255"/>
                </a:xfrm>
                <a:prstGeom prst="line">
                  <a:avLst/>
                </a:prstGeom>
                <a:noFill/>
                <a:ln w="19050">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76" name="Rectangle: Rounded Corners 75">
                  <a:extLst>
                    <a:ext uri="{FF2B5EF4-FFF2-40B4-BE49-F238E27FC236}">
                      <a16:creationId xmlns:a16="http://schemas.microsoft.com/office/drawing/2014/main" id="{0F3AC205-E318-7B0B-B712-BA09593714DD}"/>
                    </a:ext>
                  </a:extLst>
                </p:cNvPr>
                <p:cNvSpPr/>
                <p:nvPr/>
              </p:nvSpPr>
              <p:spPr bwMode="auto">
                <a:xfrm>
                  <a:off x="5536828" y="1925925"/>
                  <a:ext cx="1259782" cy="239880"/>
                </a:xfrm>
                <a:prstGeom prst="roundRect">
                  <a:avLst/>
                </a:prstGeom>
                <a:noFill/>
                <a:ln w="19050">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7" name="Rectangle 76">
                  <a:extLst>
                    <a:ext uri="{FF2B5EF4-FFF2-40B4-BE49-F238E27FC236}">
                      <a16:creationId xmlns:a16="http://schemas.microsoft.com/office/drawing/2014/main" id="{C823B2F9-10D7-02F1-3264-C2D0186F39BB}"/>
                    </a:ext>
                  </a:extLst>
                </p:cNvPr>
                <p:cNvSpPr/>
                <p:nvPr/>
              </p:nvSpPr>
              <p:spPr bwMode="auto">
                <a:xfrm>
                  <a:off x="5468862" y="1999551"/>
                  <a:ext cx="1399332" cy="19950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78" name="Graphic 77">
                  <a:extLst>
                    <a:ext uri="{FF2B5EF4-FFF2-40B4-BE49-F238E27FC236}">
                      <a16:creationId xmlns:a16="http://schemas.microsoft.com/office/drawing/2014/main" id="{0872B9FA-0953-FE42-1198-7B22B1D8A15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442715" y="2009173"/>
                  <a:ext cx="182880" cy="182880"/>
                </a:xfrm>
                <a:prstGeom prst="rect">
                  <a:avLst/>
                </a:prstGeom>
              </p:spPr>
            </p:pic>
            <p:pic>
              <p:nvPicPr>
                <p:cNvPr id="79" name="Graphic 78">
                  <a:extLst>
                    <a:ext uri="{FF2B5EF4-FFF2-40B4-BE49-F238E27FC236}">
                      <a16:creationId xmlns:a16="http://schemas.microsoft.com/office/drawing/2014/main" id="{9DA9B969-ADEE-37C4-CDB4-8A790A850CD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703773" y="2009173"/>
                  <a:ext cx="182880" cy="182880"/>
                </a:xfrm>
                <a:prstGeom prst="rect">
                  <a:avLst/>
                </a:prstGeom>
              </p:spPr>
            </p:pic>
            <p:cxnSp>
              <p:nvCxnSpPr>
                <p:cNvPr id="80" name="Straight Connector 79">
                  <a:extLst>
                    <a:ext uri="{FF2B5EF4-FFF2-40B4-BE49-F238E27FC236}">
                      <a16:creationId xmlns:a16="http://schemas.microsoft.com/office/drawing/2014/main" id="{254E40F4-A1F3-B90F-4535-9C8FC8669A4F}"/>
                    </a:ext>
                  </a:extLst>
                </p:cNvPr>
                <p:cNvCxnSpPr>
                  <a:cxnSpLocks/>
                </p:cNvCxnSpPr>
                <p:nvPr/>
              </p:nvCxnSpPr>
              <p:spPr>
                <a:xfrm>
                  <a:off x="6166719" y="1875092"/>
                  <a:ext cx="0" cy="45720"/>
                </a:xfrm>
                <a:prstGeom prst="line">
                  <a:avLst/>
                </a:prstGeom>
                <a:noFill/>
                <a:ln w="19050">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pic>
              <p:nvPicPr>
                <p:cNvPr id="81" name="Graphic 80">
                  <a:extLst>
                    <a:ext uri="{FF2B5EF4-FFF2-40B4-BE49-F238E27FC236}">
                      <a16:creationId xmlns:a16="http://schemas.microsoft.com/office/drawing/2014/main" id="{524E238C-2F5A-E669-4177-D8BC5B8C921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075279" y="1685219"/>
                  <a:ext cx="182880" cy="182880"/>
                </a:xfrm>
                <a:prstGeom prst="rect">
                  <a:avLst/>
                </a:prstGeom>
              </p:spPr>
            </p:pic>
            <p:sp>
              <p:nvSpPr>
                <p:cNvPr id="82" name="Rectangle 81">
                  <a:extLst>
                    <a:ext uri="{FF2B5EF4-FFF2-40B4-BE49-F238E27FC236}">
                      <a16:creationId xmlns:a16="http://schemas.microsoft.com/office/drawing/2014/main" id="{2CEB3852-1991-C42A-14F6-8A5C5B9D54D7}"/>
                    </a:ext>
                  </a:extLst>
                </p:cNvPr>
                <p:cNvSpPr/>
                <p:nvPr/>
              </p:nvSpPr>
              <p:spPr bwMode="auto">
                <a:xfrm>
                  <a:off x="6327565" y="2323466"/>
                  <a:ext cx="935295" cy="30289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83" name="Graphic 82">
                  <a:extLst>
                    <a:ext uri="{FF2B5EF4-FFF2-40B4-BE49-F238E27FC236}">
                      <a16:creationId xmlns:a16="http://schemas.microsoft.com/office/drawing/2014/main" id="{DCF035D4-2B75-3EE6-3655-540A96C3472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284499" y="2350705"/>
                  <a:ext cx="182880" cy="182880"/>
                </a:xfrm>
                <a:prstGeom prst="rect">
                  <a:avLst/>
                </a:prstGeom>
              </p:spPr>
            </p:pic>
            <p:pic>
              <p:nvPicPr>
                <p:cNvPr id="84" name="Graphic 83">
                  <a:extLst>
                    <a:ext uri="{FF2B5EF4-FFF2-40B4-BE49-F238E27FC236}">
                      <a16:creationId xmlns:a16="http://schemas.microsoft.com/office/drawing/2014/main" id="{EC2CAF64-E877-D9CE-F2F4-EB04740DA6C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562820" y="2350705"/>
                  <a:ext cx="182880" cy="182880"/>
                </a:xfrm>
                <a:prstGeom prst="rect">
                  <a:avLst/>
                </a:prstGeom>
              </p:spPr>
            </p:pic>
            <p:pic>
              <p:nvPicPr>
                <p:cNvPr id="85" name="Graphic 84">
                  <a:extLst>
                    <a:ext uri="{FF2B5EF4-FFF2-40B4-BE49-F238E27FC236}">
                      <a16:creationId xmlns:a16="http://schemas.microsoft.com/office/drawing/2014/main" id="{18F3208F-D4E7-6B6C-9FE9-573F94443CF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841141" y="2350705"/>
                  <a:ext cx="182880" cy="182880"/>
                </a:xfrm>
                <a:prstGeom prst="rect">
                  <a:avLst/>
                </a:prstGeom>
              </p:spPr>
            </p:pic>
            <p:pic>
              <p:nvPicPr>
                <p:cNvPr id="86" name="Graphic 85">
                  <a:extLst>
                    <a:ext uri="{FF2B5EF4-FFF2-40B4-BE49-F238E27FC236}">
                      <a16:creationId xmlns:a16="http://schemas.microsoft.com/office/drawing/2014/main" id="{D417AEE6-5010-CB33-4EB5-02DB7CC6D7C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119462" y="2350705"/>
                  <a:ext cx="182880" cy="182880"/>
                </a:xfrm>
                <a:prstGeom prst="rect">
                  <a:avLst/>
                </a:prstGeom>
              </p:spPr>
            </p:pic>
            <p:sp>
              <p:nvSpPr>
                <p:cNvPr id="87" name="Rectangle 86">
                  <a:extLst>
                    <a:ext uri="{FF2B5EF4-FFF2-40B4-BE49-F238E27FC236}">
                      <a16:creationId xmlns:a16="http://schemas.microsoft.com/office/drawing/2014/main" id="{9E351243-E25C-F885-B635-AF2A4C297AA8}"/>
                    </a:ext>
                  </a:extLst>
                </p:cNvPr>
                <p:cNvSpPr/>
                <p:nvPr/>
              </p:nvSpPr>
              <p:spPr bwMode="auto">
                <a:xfrm>
                  <a:off x="4918618" y="2323465"/>
                  <a:ext cx="1236419" cy="30289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88" name="Graphic 87">
                  <a:extLst>
                    <a:ext uri="{FF2B5EF4-FFF2-40B4-BE49-F238E27FC236}">
                      <a16:creationId xmlns:a16="http://schemas.microsoft.com/office/drawing/2014/main" id="{A4E7B7D8-2A4A-8936-EF69-514111D0EBA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002941" y="2350705"/>
                  <a:ext cx="182880" cy="182880"/>
                </a:xfrm>
                <a:prstGeom prst="rect">
                  <a:avLst/>
                </a:prstGeom>
              </p:spPr>
            </p:pic>
            <p:pic>
              <p:nvPicPr>
                <p:cNvPr id="89" name="Graphic 88">
                  <a:extLst>
                    <a:ext uri="{FF2B5EF4-FFF2-40B4-BE49-F238E27FC236}">
                      <a16:creationId xmlns:a16="http://schemas.microsoft.com/office/drawing/2014/main" id="{87421E63-0EF3-5227-2435-6E3205720F7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889658" y="2350705"/>
                  <a:ext cx="182880" cy="182880"/>
                </a:xfrm>
                <a:prstGeom prst="rect">
                  <a:avLst/>
                </a:prstGeom>
              </p:spPr>
            </p:pic>
            <p:pic>
              <p:nvPicPr>
                <p:cNvPr id="90" name="Graphic 89">
                  <a:extLst>
                    <a:ext uri="{FF2B5EF4-FFF2-40B4-BE49-F238E27FC236}">
                      <a16:creationId xmlns:a16="http://schemas.microsoft.com/office/drawing/2014/main" id="{7887FA97-C9E4-9C9D-0EDA-CCB4BBE9F83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167979" y="2350705"/>
                  <a:ext cx="182880" cy="182880"/>
                </a:xfrm>
                <a:prstGeom prst="rect">
                  <a:avLst/>
                </a:prstGeom>
              </p:spPr>
            </p:pic>
            <p:pic>
              <p:nvPicPr>
                <p:cNvPr id="91" name="Graphic 90">
                  <a:extLst>
                    <a:ext uri="{FF2B5EF4-FFF2-40B4-BE49-F238E27FC236}">
                      <a16:creationId xmlns:a16="http://schemas.microsoft.com/office/drawing/2014/main" id="{41F87EF7-E6BD-0973-9D2F-3F922B3A9D2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446300" y="2350705"/>
                  <a:ext cx="182880" cy="182880"/>
                </a:xfrm>
                <a:prstGeom prst="rect">
                  <a:avLst/>
                </a:prstGeom>
              </p:spPr>
            </p:pic>
            <p:pic>
              <p:nvPicPr>
                <p:cNvPr id="92" name="Graphic 91">
                  <a:extLst>
                    <a:ext uri="{FF2B5EF4-FFF2-40B4-BE49-F238E27FC236}">
                      <a16:creationId xmlns:a16="http://schemas.microsoft.com/office/drawing/2014/main" id="{C682E37C-DA5D-242F-D92D-44DD9F2F664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724621" y="2350705"/>
                  <a:ext cx="182880" cy="182880"/>
                </a:xfrm>
                <a:prstGeom prst="rect">
                  <a:avLst/>
                </a:prstGeom>
              </p:spPr>
            </p:pic>
          </p:grpSp>
        </p:grpSp>
      </p:grpSp>
      <p:grpSp>
        <p:nvGrpSpPr>
          <p:cNvPr id="22" name="Group 21">
            <a:extLst>
              <a:ext uri="{FF2B5EF4-FFF2-40B4-BE49-F238E27FC236}">
                <a16:creationId xmlns:a16="http://schemas.microsoft.com/office/drawing/2014/main" id="{3C6D3DE5-1022-D09A-2B45-503A3AA46EA6}"/>
              </a:ext>
            </a:extLst>
          </p:cNvPr>
          <p:cNvGrpSpPr/>
          <p:nvPr/>
        </p:nvGrpSpPr>
        <p:grpSpPr>
          <a:xfrm>
            <a:off x="5431684" y="3681473"/>
            <a:ext cx="726731" cy="734906"/>
            <a:chOff x="2709923" y="2172526"/>
            <a:chExt cx="822960" cy="822960"/>
          </a:xfrm>
        </p:grpSpPr>
        <p:sp>
          <p:nvSpPr>
            <p:cNvPr id="56" name="Oval 55">
              <a:extLst>
                <a:ext uri="{FF2B5EF4-FFF2-40B4-BE49-F238E27FC236}">
                  <a16:creationId xmlns:a16="http://schemas.microsoft.com/office/drawing/2014/main" id="{60A90B5D-1D1F-7207-C4DC-5215E3CCA26B}"/>
                </a:ext>
              </a:extLst>
            </p:cNvPr>
            <p:cNvSpPr/>
            <p:nvPr/>
          </p:nvSpPr>
          <p:spPr bwMode="auto">
            <a:xfrm>
              <a:off x="2709923" y="2172526"/>
              <a:ext cx="822960" cy="822960"/>
            </a:xfrm>
            <a:prstGeom prst="ellipse">
              <a:avLst/>
            </a:prstGeom>
            <a:solidFill>
              <a:schemeClr val="bg1"/>
            </a:solidFill>
            <a:ln w="63500">
              <a:solidFill>
                <a:srgbClr val="4A576D"/>
              </a:solidFill>
            </a:ln>
            <a:effectLst/>
          </p:spPr>
          <p:txBody>
            <a:bodyPr wrap="square" lIns="0" tIns="0" rIns="0" bIns="0" rtlCol="0"/>
            <a:lstStyle/>
            <a:p>
              <a:pPr marL="0" marR="0" lvl="0" indent="0" algn="l" defTabSz="623318"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a:ea typeface="+mn-ea"/>
                <a:cs typeface="+mn-cs"/>
              </a:endParaRPr>
            </a:p>
          </p:txBody>
        </p:sp>
        <p:grpSp>
          <p:nvGrpSpPr>
            <p:cNvPr id="57" name="Group 56">
              <a:extLst>
                <a:ext uri="{FF2B5EF4-FFF2-40B4-BE49-F238E27FC236}">
                  <a16:creationId xmlns:a16="http://schemas.microsoft.com/office/drawing/2014/main" id="{FF56FD19-2DA6-41BC-0E16-ACED788C6203}"/>
                </a:ext>
              </a:extLst>
            </p:cNvPr>
            <p:cNvGrpSpPr/>
            <p:nvPr/>
          </p:nvGrpSpPr>
          <p:grpSpPr>
            <a:xfrm>
              <a:off x="2870334" y="2333450"/>
              <a:ext cx="502138" cy="501112"/>
              <a:chOff x="2446020" y="2380380"/>
              <a:chExt cx="767575" cy="766007"/>
            </a:xfrm>
          </p:grpSpPr>
          <p:grpSp>
            <p:nvGrpSpPr>
              <p:cNvPr id="58" name="Group 57">
                <a:extLst>
                  <a:ext uri="{FF2B5EF4-FFF2-40B4-BE49-F238E27FC236}">
                    <a16:creationId xmlns:a16="http://schemas.microsoft.com/office/drawing/2014/main" id="{DCE03BED-F70A-BFDA-264F-00A3C439C461}"/>
                  </a:ext>
                </a:extLst>
              </p:cNvPr>
              <p:cNvGrpSpPr/>
              <p:nvPr/>
            </p:nvGrpSpPr>
            <p:grpSpPr>
              <a:xfrm>
                <a:off x="2446020" y="2380380"/>
                <a:ext cx="767575" cy="766007"/>
                <a:chOff x="2446020" y="2380380"/>
                <a:chExt cx="767575" cy="766007"/>
              </a:xfrm>
            </p:grpSpPr>
            <p:pic>
              <p:nvPicPr>
                <p:cNvPr id="60" name="Graphic 59">
                  <a:extLst>
                    <a:ext uri="{FF2B5EF4-FFF2-40B4-BE49-F238E27FC236}">
                      <a16:creationId xmlns:a16="http://schemas.microsoft.com/office/drawing/2014/main" id="{CE65D49E-CED5-3022-E22D-F62D4C51753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446020" y="2380380"/>
                  <a:ext cx="280232" cy="280232"/>
                </a:xfrm>
                <a:prstGeom prst="rect">
                  <a:avLst/>
                </a:prstGeom>
              </p:spPr>
            </p:pic>
            <p:pic>
              <p:nvPicPr>
                <p:cNvPr id="61" name="Graphic 60">
                  <a:extLst>
                    <a:ext uri="{FF2B5EF4-FFF2-40B4-BE49-F238E27FC236}">
                      <a16:creationId xmlns:a16="http://schemas.microsoft.com/office/drawing/2014/main" id="{72881420-E9F7-6ECB-7187-01CBBA5D937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933363" y="2380380"/>
                  <a:ext cx="280232" cy="280232"/>
                </a:xfrm>
                <a:prstGeom prst="rect">
                  <a:avLst/>
                </a:prstGeom>
              </p:spPr>
            </p:pic>
            <p:pic>
              <p:nvPicPr>
                <p:cNvPr id="62" name="Graphic 61">
                  <a:extLst>
                    <a:ext uri="{FF2B5EF4-FFF2-40B4-BE49-F238E27FC236}">
                      <a16:creationId xmlns:a16="http://schemas.microsoft.com/office/drawing/2014/main" id="{DFB8C238-3ECD-D03C-9391-D046CEED906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446020" y="2866155"/>
                  <a:ext cx="280232" cy="280232"/>
                </a:xfrm>
                <a:prstGeom prst="rect">
                  <a:avLst/>
                </a:prstGeom>
              </p:spPr>
            </p:pic>
            <p:pic>
              <p:nvPicPr>
                <p:cNvPr id="63" name="Graphic 62">
                  <a:extLst>
                    <a:ext uri="{FF2B5EF4-FFF2-40B4-BE49-F238E27FC236}">
                      <a16:creationId xmlns:a16="http://schemas.microsoft.com/office/drawing/2014/main" id="{C5D0445F-8B9F-AB76-357C-47881EA2487C}"/>
                    </a:ext>
                  </a:extLst>
                </p:cNvPr>
                <p:cNvPicPr>
                  <a:picLocks noChangeAspect="1"/>
                </p:cNvPicPr>
                <p:nvPr/>
              </p:nvPicPr>
              <p:blipFill>
                <a:blip r:embed="rId9">
                  <a:extLst>
                    <a:ext uri="{96DAC541-7B7A-43D3-8B79-37D633B846F1}">
                      <asvg:svgBlip xmlns:asvg="http://schemas.microsoft.com/office/drawing/2016/SVG/main" r:embed="rId13"/>
                    </a:ext>
                  </a:extLst>
                </a:blip>
                <a:stretch>
                  <a:fillRect/>
                </a:stretch>
              </p:blipFill>
              <p:spPr>
                <a:xfrm>
                  <a:off x="2933363" y="2866155"/>
                  <a:ext cx="280232" cy="280232"/>
                </a:xfrm>
                <a:prstGeom prst="rect">
                  <a:avLst/>
                </a:prstGeom>
              </p:spPr>
            </p:pic>
          </p:grpSp>
          <p:pic>
            <p:nvPicPr>
              <p:cNvPr id="59" name="Graphic 58">
                <a:extLst>
                  <a:ext uri="{FF2B5EF4-FFF2-40B4-BE49-F238E27FC236}">
                    <a16:creationId xmlns:a16="http://schemas.microsoft.com/office/drawing/2014/main" id="{5ED9AFD6-160F-0A62-A70B-3A4321BFD11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689691" y="2623267"/>
                <a:ext cx="280232" cy="280232"/>
              </a:xfrm>
              <a:prstGeom prst="rect">
                <a:avLst/>
              </a:prstGeom>
            </p:spPr>
          </p:pic>
        </p:grpSp>
      </p:grpSp>
      <p:pic>
        <p:nvPicPr>
          <p:cNvPr id="23" name="Picture 22">
            <a:extLst>
              <a:ext uri="{FF2B5EF4-FFF2-40B4-BE49-F238E27FC236}">
                <a16:creationId xmlns:a16="http://schemas.microsoft.com/office/drawing/2014/main" id="{D22EED20-7037-38FA-7F24-F11E04A7CB57}"/>
              </a:ext>
            </a:extLst>
          </p:cNvPr>
          <p:cNvPicPr>
            <a:picLocks noChangeAspect="1"/>
          </p:cNvPicPr>
          <p:nvPr/>
        </p:nvPicPr>
        <p:blipFill>
          <a:blip r:embed="rId14"/>
          <a:stretch>
            <a:fillRect/>
          </a:stretch>
        </p:blipFill>
        <p:spPr>
          <a:xfrm>
            <a:off x="7427938" y="3343781"/>
            <a:ext cx="3835416" cy="1386890"/>
          </a:xfrm>
          <a:prstGeom prst="roundRect">
            <a:avLst>
              <a:gd name="adj" fmla="val 3834"/>
            </a:avLst>
          </a:prstGeom>
          <a:ln w="57150">
            <a:solidFill>
              <a:srgbClr val="4A576D"/>
            </a:solidFill>
          </a:ln>
          <a:effectLst/>
        </p:spPr>
      </p:pic>
      <p:sp>
        <p:nvSpPr>
          <p:cNvPr id="25" name="TextBox 24">
            <a:extLst>
              <a:ext uri="{FF2B5EF4-FFF2-40B4-BE49-F238E27FC236}">
                <a16:creationId xmlns:a16="http://schemas.microsoft.com/office/drawing/2014/main" id="{F5B8D38B-1249-CAC9-A93F-E776BDC1F3B2}"/>
              </a:ext>
            </a:extLst>
          </p:cNvPr>
          <p:cNvSpPr txBox="1"/>
          <p:nvPr/>
        </p:nvSpPr>
        <p:spPr>
          <a:xfrm>
            <a:off x="2369165" y="5657295"/>
            <a:ext cx="2123128" cy="43088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878441">
              <a:spcAft>
                <a:spcPct val="0"/>
              </a:spcAft>
              <a:defRPr sz="1400" kern="0">
                <a:solidFill>
                  <a:srgbClr val="353535"/>
                </a:solidFill>
                <a:latin typeface="Segoe UI"/>
                <a:cs typeface="Segoe UI"/>
              </a:defRPr>
            </a:lvl1pPr>
          </a:lstStyle>
          <a:p>
            <a:pPr marL="0" marR="0" lvl="0" indent="0" algn="ctr" defTabSz="878441" rtl="0" eaLnBrk="1" fontAlgn="auto" latinLnBrk="0" hangingPunct="1">
              <a:lnSpc>
                <a:spcPct val="100000"/>
              </a:lnSpc>
              <a:spcBef>
                <a:spcPts val="0"/>
              </a:spcBef>
              <a:spcAft>
                <a:spcPct val="0"/>
              </a:spcAft>
              <a:buClrTx/>
              <a:buSzTx/>
              <a:buFontTx/>
              <a:buNone/>
              <a:tabLst/>
              <a:defRPr/>
            </a:pPr>
            <a:r>
              <a:rPr kumimoji="0" lang="en-US" sz="1400" b="0" i="0" u="none" strike="noStrike" kern="0" cap="none" spc="-3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Inactive user detected based on last sign-in date</a:t>
            </a:r>
          </a:p>
        </p:txBody>
      </p:sp>
      <p:cxnSp>
        <p:nvCxnSpPr>
          <p:cNvPr id="26" name="Straight Connector 25">
            <a:extLst>
              <a:ext uri="{FF2B5EF4-FFF2-40B4-BE49-F238E27FC236}">
                <a16:creationId xmlns:a16="http://schemas.microsoft.com/office/drawing/2014/main" id="{0051EF29-89D0-28A1-02D2-2A19268C2431}"/>
              </a:ext>
            </a:extLst>
          </p:cNvPr>
          <p:cNvCxnSpPr>
            <a:cxnSpLocks/>
          </p:cNvCxnSpPr>
          <p:nvPr/>
        </p:nvCxnSpPr>
        <p:spPr>
          <a:xfrm>
            <a:off x="3469189" y="4051100"/>
            <a:ext cx="0" cy="898218"/>
          </a:xfrm>
          <a:prstGeom prst="line">
            <a:avLst/>
          </a:prstGeom>
          <a:noFill/>
          <a:ln w="301625" cap="rnd">
            <a:solidFill>
              <a:srgbClr val="4A576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29" name="Group 28">
            <a:extLst>
              <a:ext uri="{FF2B5EF4-FFF2-40B4-BE49-F238E27FC236}">
                <a16:creationId xmlns:a16="http://schemas.microsoft.com/office/drawing/2014/main" id="{100357E2-DBD4-0881-279B-9E18B47A48CB}"/>
              </a:ext>
            </a:extLst>
          </p:cNvPr>
          <p:cNvGrpSpPr/>
          <p:nvPr/>
        </p:nvGrpSpPr>
        <p:grpSpPr>
          <a:xfrm>
            <a:off x="2578929" y="4695980"/>
            <a:ext cx="1780521" cy="816562"/>
            <a:chOff x="5345539" y="4387646"/>
            <a:chExt cx="2016286" cy="914400"/>
          </a:xfrm>
        </p:grpSpPr>
        <p:sp>
          <p:nvSpPr>
            <p:cNvPr id="44" name="Rectangle: Rounded Corners 43">
              <a:extLst>
                <a:ext uri="{FF2B5EF4-FFF2-40B4-BE49-F238E27FC236}">
                  <a16:creationId xmlns:a16="http://schemas.microsoft.com/office/drawing/2014/main" id="{0AECF910-97E3-DBEE-BB84-4AEA9894E5B9}"/>
                </a:ext>
              </a:extLst>
            </p:cNvPr>
            <p:cNvSpPr/>
            <p:nvPr/>
          </p:nvSpPr>
          <p:spPr bwMode="auto">
            <a:xfrm>
              <a:off x="5345539" y="4387646"/>
              <a:ext cx="2016286" cy="914400"/>
            </a:xfrm>
            <a:prstGeom prst="roundRect">
              <a:avLst/>
            </a:prstGeom>
            <a:solidFill>
              <a:schemeClr val="bg1"/>
            </a:solidFill>
            <a:ln w="63500">
              <a:solidFill>
                <a:srgbClr val="4A576D"/>
              </a:solidFill>
            </a:ln>
            <a:effectLst/>
          </p:spPr>
          <p:txBody>
            <a:bodyPr wrap="square" lIns="0" tIns="0" rIns="0" bIns="0" rtlCol="0"/>
            <a:lstStyle/>
            <a:p>
              <a:pPr marL="0" marR="0" lvl="0" indent="0" algn="l" defTabSz="623318"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a:ea typeface="+mn-ea"/>
                <a:cs typeface="+mn-cs"/>
              </a:endParaRPr>
            </a:p>
          </p:txBody>
        </p:sp>
        <p:grpSp>
          <p:nvGrpSpPr>
            <p:cNvPr id="45" name="Group 44">
              <a:extLst>
                <a:ext uri="{FF2B5EF4-FFF2-40B4-BE49-F238E27FC236}">
                  <a16:creationId xmlns:a16="http://schemas.microsoft.com/office/drawing/2014/main" id="{1F4855A3-E7C9-58FF-534A-A7509DA6B6F9}"/>
                </a:ext>
              </a:extLst>
            </p:cNvPr>
            <p:cNvGrpSpPr/>
            <p:nvPr/>
          </p:nvGrpSpPr>
          <p:grpSpPr>
            <a:xfrm>
              <a:off x="5578249" y="4535169"/>
              <a:ext cx="1645920" cy="614068"/>
              <a:chOff x="5448709" y="4535169"/>
              <a:chExt cx="1645920" cy="614068"/>
            </a:xfrm>
          </p:grpSpPr>
          <p:grpSp>
            <p:nvGrpSpPr>
              <p:cNvPr id="46" name="Group 45">
                <a:extLst>
                  <a:ext uri="{FF2B5EF4-FFF2-40B4-BE49-F238E27FC236}">
                    <a16:creationId xmlns:a16="http://schemas.microsoft.com/office/drawing/2014/main" id="{C9A14261-C664-C6FF-5165-C98D504070CB}"/>
                  </a:ext>
                </a:extLst>
              </p:cNvPr>
              <p:cNvGrpSpPr/>
              <p:nvPr/>
            </p:nvGrpSpPr>
            <p:grpSpPr>
              <a:xfrm>
                <a:off x="5463780" y="4797683"/>
                <a:ext cx="1585129" cy="351554"/>
                <a:chOff x="5463780" y="4617441"/>
                <a:chExt cx="1585129" cy="351554"/>
              </a:xfrm>
            </p:grpSpPr>
            <p:sp>
              <p:nvSpPr>
                <p:cNvPr id="50" name="TextBox 49">
                  <a:extLst>
                    <a:ext uri="{FF2B5EF4-FFF2-40B4-BE49-F238E27FC236}">
                      <a16:creationId xmlns:a16="http://schemas.microsoft.com/office/drawing/2014/main" id="{EDAAB82A-AB67-EEF9-64DF-A5D7B1851021}"/>
                    </a:ext>
                  </a:extLst>
                </p:cNvPr>
                <p:cNvSpPr txBox="1"/>
                <p:nvPr/>
              </p:nvSpPr>
              <p:spPr>
                <a:xfrm>
                  <a:off x="5463780" y="4617441"/>
                  <a:ext cx="852469" cy="1550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878441">
                    <a:spcAft>
                      <a:spcPct val="0"/>
                    </a:spcAft>
                    <a:defRPr sz="1400" kern="0">
                      <a:solidFill>
                        <a:srgbClr val="353535"/>
                      </a:solidFill>
                      <a:latin typeface="Segoe UI"/>
                      <a:cs typeface="Segoe UI"/>
                    </a:defRPr>
                  </a:lvl1pPr>
                </a:lstStyle>
                <a:p>
                  <a:pPr marL="0" marR="0" lvl="0" indent="0" algn="l" defTabSz="878441" rtl="0" eaLnBrk="1" fontAlgn="auto" latinLnBrk="0" hangingPunct="1">
                    <a:lnSpc>
                      <a:spcPct val="100000"/>
                    </a:lnSpc>
                    <a:spcBef>
                      <a:spcPts val="0"/>
                    </a:spcBef>
                    <a:spcAft>
                      <a:spcPct val="0"/>
                    </a:spcAft>
                    <a:buClrTx/>
                    <a:buSzTx/>
                    <a:buFontTx/>
                    <a:buNone/>
                    <a:tabLst/>
                    <a:defRPr/>
                  </a:pPr>
                  <a:r>
                    <a:rPr kumimoji="0" lang="en-US" sz="900" b="0" i="0" u="none" strike="noStrike" kern="0" cap="none" spc="0" normalizeH="0" baseline="0" noProof="0">
                      <a:ln>
                        <a:noFill/>
                      </a:ln>
                      <a:solidFill>
                        <a:srgbClr val="353535"/>
                      </a:solidFill>
                      <a:effectLst/>
                      <a:uLnTx/>
                      <a:uFillTx/>
                      <a:latin typeface="Segoe UI"/>
                      <a:ea typeface="+mn-ea"/>
                      <a:cs typeface="Segoe UI"/>
                    </a:rPr>
                    <a:t>Sam Centrell</a:t>
                  </a:r>
                </a:p>
              </p:txBody>
            </p:sp>
            <p:sp>
              <p:nvSpPr>
                <p:cNvPr id="51" name="TextBox 50">
                  <a:extLst>
                    <a:ext uri="{FF2B5EF4-FFF2-40B4-BE49-F238E27FC236}">
                      <a16:creationId xmlns:a16="http://schemas.microsoft.com/office/drawing/2014/main" id="{E8B4C2CE-901B-A0F4-F58C-B0F8D7BAD158}"/>
                    </a:ext>
                  </a:extLst>
                </p:cNvPr>
                <p:cNvSpPr txBox="1"/>
                <p:nvPr/>
              </p:nvSpPr>
              <p:spPr>
                <a:xfrm>
                  <a:off x="5463780" y="4813901"/>
                  <a:ext cx="852469" cy="1550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878441">
                    <a:spcAft>
                      <a:spcPct val="0"/>
                    </a:spcAft>
                    <a:defRPr sz="1400" kern="0">
                      <a:solidFill>
                        <a:srgbClr val="353535"/>
                      </a:solidFill>
                      <a:latin typeface="Segoe UI"/>
                      <a:cs typeface="Segoe UI"/>
                    </a:defRPr>
                  </a:lvl1pPr>
                </a:lstStyle>
                <a:p>
                  <a:pPr marL="0" marR="0" lvl="0" indent="0" algn="l" defTabSz="878441" rtl="0" eaLnBrk="1" fontAlgn="auto" latinLnBrk="0" hangingPunct="1">
                    <a:lnSpc>
                      <a:spcPct val="100000"/>
                    </a:lnSpc>
                    <a:spcBef>
                      <a:spcPts val="0"/>
                    </a:spcBef>
                    <a:spcAft>
                      <a:spcPct val="0"/>
                    </a:spcAft>
                    <a:buClrTx/>
                    <a:buSzTx/>
                    <a:buFontTx/>
                    <a:buNone/>
                    <a:tabLst/>
                    <a:defRPr/>
                  </a:pPr>
                  <a:r>
                    <a:rPr kumimoji="0" lang="en-US" sz="900" b="0" i="0" u="none" strike="noStrike" kern="0" cap="none" spc="0" normalizeH="0" baseline="0" noProof="0">
                      <a:ln>
                        <a:noFill/>
                      </a:ln>
                      <a:solidFill>
                        <a:srgbClr val="353535"/>
                      </a:solidFill>
                      <a:effectLst/>
                      <a:uLnTx/>
                      <a:uFillTx/>
                      <a:latin typeface="Segoe UI"/>
                      <a:ea typeface="+mn-ea"/>
                      <a:cs typeface="Segoe UI"/>
                    </a:rPr>
                    <a:t>Jessie Irwin</a:t>
                  </a:r>
                </a:p>
              </p:txBody>
            </p:sp>
            <p:sp>
              <p:nvSpPr>
                <p:cNvPr id="52" name="TextBox 51">
                  <a:extLst>
                    <a:ext uri="{FF2B5EF4-FFF2-40B4-BE49-F238E27FC236}">
                      <a16:creationId xmlns:a16="http://schemas.microsoft.com/office/drawing/2014/main" id="{2B8CA740-53C6-E4DD-A449-7986F314806C}"/>
                    </a:ext>
                  </a:extLst>
                </p:cNvPr>
                <p:cNvSpPr txBox="1"/>
                <p:nvPr/>
              </p:nvSpPr>
              <p:spPr>
                <a:xfrm>
                  <a:off x="6467381" y="4617441"/>
                  <a:ext cx="581528" cy="15509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878441">
                    <a:spcAft>
                      <a:spcPct val="0"/>
                    </a:spcAft>
                    <a:defRPr sz="1400" kern="0">
                      <a:solidFill>
                        <a:srgbClr val="353535"/>
                      </a:solidFill>
                      <a:latin typeface="Segoe UI"/>
                      <a:cs typeface="Segoe UI"/>
                    </a:defRPr>
                  </a:lvl1pPr>
                </a:lstStyle>
                <a:p>
                  <a:pPr marL="0" marR="0" lvl="0" indent="0" algn="l" defTabSz="878441" rtl="0" eaLnBrk="1" fontAlgn="auto" latinLnBrk="0" hangingPunct="1">
                    <a:lnSpc>
                      <a:spcPct val="100000"/>
                    </a:lnSpc>
                    <a:spcBef>
                      <a:spcPts val="0"/>
                    </a:spcBef>
                    <a:spcAft>
                      <a:spcPct val="0"/>
                    </a:spcAft>
                    <a:buClrTx/>
                    <a:buSzTx/>
                    <a:buFontTx/>
                    <a:buNone/>
                    <a:tabLst/>
                    <a:defRPr/>
                  </a:pPr>
                  <a:r>
                    <a:rPr kumimoji="0" lang="en-US" sz="900" b="0" i="0" u="none" strike="noStrike" kern="0" cap="none" spc="0" normalizeH="0" baseline="0" noProof="0">
                      <a:ln>
                        <a:noFill/>
                      </a:ln>
                      <a:solidFill>
                        <a:srgbClr val="353535"/>
                      </a:solidFill>
                      <a:effectLst/>
                      <a:uLnTx/>
                      <a:uFillTx/>
                      <a:latin typeface="Segoe UI"/>
                      <a:ea typeface="+mn-ea"/>
                      <a:cs typeface="Segoe UI"/>
                    </a:rPr>
                    <a:t>18 days</a:t>
                  </a:r>
                </a:p>
              </p:txBody>
            </p:sp>
            <p:sp>
              <p:nvSpPr>
                <p:cNvPr id="53" name="TextBox 52">
                  <a:extLst>
                    <a:ext uri="{FF2B5EF4-FFF2-40B4-BE49-F238E27FC236}">
                      <a16:creationId xmlns:a16="http://schemas.microsoft.com/office/drawing/2014/main" id="{3C6B035D-DF68-5D47-F771-2F7B1ABF78E5}"/>
                    </a:ext>
                  </a:extLst>
                </p:cNvPr>
                <p:cNvSpPr txBox="1"/>
                <p:nvPr/>
              </p:nvSpPr>
              <p:spPr>
                <a:xfrm>
                  <a:off x="6467381" y="4813900"/>
                  <a:ext cx="581528" cy="15509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878441">
                    <a:spcAft>
                      <a:spcPct val="0"/>
                    </a:spcAft>
                    <a:defRPr sz="1400" kern="0">
                      <a:solidFill>
                        <a:srgbClr val="353535"/>
                      </a:solidFill>
                      <a:latin typeface="Segoe UI"/>
                      <a:cs typeface="Segoe UI"/>
                    </a:defRPr>
                  </a:lvl1pPr>
                </a:lstStyle>
                <a:p>
                  <a:pPr marL="0" marR="0" lvl="0" indent="0" algn="l" defTabSz="878441" rtl="0" eaLnBrk="1" fontAlgn="auto" latinLnBrk="0" hangingPunct="1">
                    <a:lnSpc>
                      <a:spcPct val="100000"/>
                    </a:lnSpc>
                    <a:spcBef>
                      <a:spcPts val="0"/>
                    </a:spcBef>
                    <a:spcAft>
                      <a:spcPct val="0"/>
                    </a:spcAft>
                    <a:buClrTx/>
                    <a:buSzTx/>
                    <a:buFontTx/>
                    <a:buNone/>
                    <a:tabLst/>
                    <a:defRPr/>
                  </a:pPr>
                  <a:r>
                    <a:rPr kumimoji="0" lang="en-US" sz="900" b="0" i="0" u="none" strike="noStrike" kern="0" cap="none" spc="0" normalizeH="0" baseline="0" noProof="0">
                      <a:ln>
                        <a:noFill/>
                      </a:ln>
                      <a:solidFill>
                        <a:srgbClr val="353535"/>
                      </a:solidFill>
                      <a:effectLst/>
                      <a:uLnTx/>
                      <a:uFillTx/>
                      <a:latin typeface="Segoe UI"/>
                      <a:ea typeface="+mn-ea"/>
                      <a:cs typeface="Segoe UI"/>
                    </a:rPr>
                    <a:t>125 days</a:t>
                  </a:r>
                </a:p>
              </p:txBody>
            </p:sp>
          </p:grpSp>
          <p:sp>
            <p:nvSpPr>
              <p:cNvPr id="47" name="TextBox 46">
                <a:extLst>
                  <a:ext uri="{FF2B5EF4-FFF2-40B4-BE49-F238E27FC236}">
                    <a16:creationId xmlns:a16="http://schemas.microsoft.com/office/drawing/2014/main" id="{C84E6C87-4B4B-6129-2E0C-5D046BEF46D0}"/>
                  </a:ext>
                </a:extLst>
              </p:cNvPr>
              <p:cNvSpPr txBox="1"/>
              <p:nvPr/>
            </p:nvSpPr>
            <p:spPr>
              <a:xfrm>
                <a:off x="5448709" y="4535169"/>
                <a:ext cx="1645920" cy="15509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878441">
                  <a:spcAft>
                    <a:spcPct val="0"/>
                  </a:spcAft>
                  <a:defRPr sz="1400" kern="0">
                    <a:solidFill>
                      <a:srgbClr val="353535"/>
                    </a:solidFill>
                    <a:latin typeface="Segoe UI"/>
                    <a:cs typeface="Segoe UI"/>
                  </a:defRPr>
                </a:lvl1pPr>
              </a:lstStyle>
              <a:p>
                <a:pPr marL="0" marR="0" lvl="0" indent="0" algn="l" defTabSz="878441" rtl="0" eaLnBrk="1" fontAlgn="auto" latinLnBrk="0" hangingPunct="1">
                  <a:lnSpc>
                    <a:spcPct val="100000"/>
                  </a:lnSpc>
                  <a:spcBef>
                    <a:spcPts val="0"/>
                  </a:spcBef>
                  <a:spcAft>
                    <a:spcPct val="0"/>
                  </a:spcAft>
                  <a:buClrTx/>
                  <a:buSzTx/>
                  <a:buFontTx/>
                  <a:buNone/>
                  <a:tabLst/>
                  <a:defRPr/>
                </a:pPr>
                <a:r>
                  <a:rPr kumimoji="0" lang="en-US" sz="900" b="0" i="0" u="none" strike="noStrike" kern="0" cap="none" spc="-30" normalizeH="0" baseline="0" noProof="0">
                    <a:ln>
                      <a:noFill/>
                    </a:ln>
                    <a:gradFill>
                      <a:gsLst>
                        <a:gs pos="2917">
                          <a:srgbClr val="282828"/>
                        </a:gs>
                        <a:gs pos="100000">
                          <a:srgbClr val="282828"/>
                        </a:gs>
                      </a:gsLst>
                      <a:lin ang="5400000" scaled="0"/>
                    </a:gradFill>
                    <a:effectLst/>
                    <a:uLnTx/>
                    <a:uFillTx/>
                    <a:latin typeface="Segoe UI Semibold"/>
                    <a:ea typeface="+mn-ea"/>
                    <a:cs typeface="Segoe UI"/>
                  </a:rPr>
                  <a:t>Last sign-in activity</a:t>
                </a:r>
              </a:p>
            </p:txBody>
          </p:sp>
          <p:cxnSp>
            <p:nvCxnSpPr>
              <p:cNvPr id="48" name="Straight Connector 47">
                <a:extLst>
                  <a:ext uri="{FF2B5EF4-FFF2-40B4-BE49-F238E27FC236}">
                    <a16:creationId xmlns:a16="http://schemas.microsoft.com/office/drawing/2014/main" id="{749490A8-324E-AD86-7524-FF772123CA6F}"/>
                  </a:ext>
                </a:extLst>
              </p:cNvPr>
              <p:cNvCxnSpPr/>
              <p:nvPr/>
            </p:nvCxnSpPr>
            <p:spPr>
              <a:xfrm>
                <a:off x="5448709" y="4748543"/>
                <a:ext cx="16002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E70D3359-94E5-6E8A-C159-BF0515EC0936}"/>
                  </a:ext>
                </a:extLst>
              </p:cNvPr>
              <p:cNvCxnSpPr/>
              <p:nvPr/>
            </p:nvCxnSpPr>
            <p:spPr>
              <a:xfrm>
                <a:off x="5452519" y="4979048"/>
                <a:ext cx="1600200" cy="0"/>
              </a:xfrm>
              <a:prstGeom prst="line">
                <a:avLst/>
              </a:prstGeom>
              <a:ln w="3175">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30" name="Group 29">
            <a:extLst>
              <a:ext uri="{FF2B5EF4-FFF2-40B4-BE49-F238E27FC236}">
                <a16:creationId xmlns:a16="http://schemas.microsoft.com/office/drawing/2014/main" id="{15C34086-583B-DE2C-530D-30A3EC1B9BB9}"/>
              </a:ext>
            </a:extLst>
          </p:cNvPr>
          <p:cNvGrpSpPr/>
          <p:nvPr/>
        </p:nvGrpSpPr>
        <p:grpSpPr>
          <a:xfrm>
            <a:off x="3105824" y="3683648"/>
            <a:ext cx="726731" cy="734906"/>
            <a:chOff x="4230117" y="3516429"/>
            <a:chExt cx="822960" cy="822960"/>
          </a:xfrm>
        </p:grpSpPr>
        <p:sp>
          <p:nvSpPr>
            <p:cNvPr id="40" name="Oval 39">
              <a:extLst>
                <a:ext uri="{FF2B5EF4-FFF2-40B4-BE49-F238E27FC236}">
                  <a16:creationId xmlns:a16="http://schemas.microsoft.com/office/drawing/2014/main" id="{DE69F131-D0A5-6F79-8657-F3BC0C1AAC88}"/>
                </a:ext>
              </a:extLst>
            </p:cNvPr>
            <p:cNvSpPr/>
            <p:nvPr/>
          </p:nvSpPr>
          <p:spPr bwMode="auto">
            <a:xfrm>
              <a:off x="4230117" y="3516429"/>
              <a:ext cx="822960" cy="822960"/>
            </a:xfrm>
            <a:prstGeom prst="ellipse">
              <a:avLst/>
            </a:prstGeom>
            <a:solidFill>
              <a:schemeClr val="bg1"/>
            </a:solidFill>
            <a:ln w="63500">
              <a:solidFill>
                <a:srgbClr val="4A576D"/>
              </a:solidFill>
            </a:ln>
            <a:effectLst/>
          </p:spPr>
          <p:txBody>
            <a:bodyPr wrap="square" lIns="0" tIns="0" rIns="0" bIns="0" rtlCol="0"/>
            <a:lstStyle/>
            <a:p>
              <a:pPr marL="0" marR="0" lvl="0" indent="0" algn="l" defTabSz="623318"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a:ea typeface="+mn-ea"/>
                <a:cs typeface="+mn-cs"/>
              </a:endParaRPr>
            </a:p>
          </p:txBody>
        </p:sp>
        <p:grpSp>
          <p:nvGrpSpPr>
            <p:cNvPr id="41" name="Group 40">
              <a:extLst>
                <a:ext uri="{FF2B5EF4-FFF2-40B4-BE49-F238E27FC236}">
                  <a16:creationId xmlns:a16="http://schemas.microsoft.com/office/drawing/2014/main" id="{601A6979-A374-26BC-C914-34B1368D8F0C}"/>
                </a:ext>
              </a:extLst>
            </p:cNvPr>
            <p:cNvGrpSpPr/>
            <p:nvPr/>
          </p:nvGrpSpPr>
          <p:grpSpPr>
            <a:xfrm>
              <a:off x="4454286" y="3740598"/>
              <a:ext cx="374622" cy="374622"/>
              <a:chOff x="3559394" y="5104574"/>
              <a:chExt cx="374622" cy="374622"/>
            </a:xfrm>
          </p:grpSpPr>
          <p:sp>
            <p:nvSpPr>
              <p:cNvPr id="42" name="Graphic 1039">
                <a:extLst>
                  <a:ext uri="{FF2B5EF4-FFF2-40B4-BE49-F238E27FC236}">
                    <a16:creationId xmlns:a16="http://schemas.microsoft.com/office/drawing/2014/main" id="{D847DA79-CB3D-984F-4E29-7E8CE41E2547}"/>
                  </a:ext>
                </a:extLst>
              </p:cNvPr>
              <p:cNvSpPr/>
              <p:nvPr/>
            </p:nvSpPr>
            <p:spPr>
              <a:xfrm>
                <a:off x="3559394" y="5104574"/>
                <a:ext cx="374622" cy="374622"/>
              </a:xfrm>
              <a:custGeom>
                <a:avLst/>
                <a:gdLst>
                  <a:gd name="connsiteX0" fmla="*/ 83811 w 464184"/>
                  <a:gd name="connsiteY0" fmla="*/ 0 h 464184"/>
                  <a:gd name="connsiteX1" fmla="*/ 0 w 464184"/>
                  <a:gd name="connsiteY1" fmla="*/ 83811 h 464184"/>
                  <a:gd name="connsiteX2" fmla="*/ 0 w 464184"/>
                  <a:gd name="connsiteY2" fmla="*/ 380373 h 464184"/>
                  <a:gd name="connsiteX3" fmla="*/ 83811 w 464184"/>
                  <a:gd name="connsiteY3" fmla="*/ 464184 h 464184"/>
                  <a:gd name="connsiteX4" fmla="*/ 380373 w 464184"/>
                  <a:gd name="connsiteY4" fmla="*/ 464184 h 464184"/>
                  <a:gd name="connsiteX5" fmla="*/ 464184 w 464184"/>
                  <a:gd name="connsiteY5" fmla="*/ 380373 h 464184"/>
                  <a:gd name="connsiteX6" fmla="*/ 464184 w 464184"/>
                  <a:gd name="connsiteY6" fmla="*/ 83811 h 464184"/>
                  <a:gd name="connsiteX7" fmla="*/ 380373 w 464184"/>
                  <a:gd name="connsiteY7" fmla="*/ 0 h 464184"/>
                  <a:gd name="connsiteX8" fmla="*/ 83811 w 464184"/>
                  <a:gd name="connsiteY8" fmla="*/ 0 h 464184"/>
                  <a:gd name="connsiteX9" fmla="*/ 38682 w 464184"/>
                  <a:gd name="connsiteY9" fmla="*/ 141834 h 464184"/>
                  <a:gd name="connsiteX10" fmla="*/ 425502 w 464184"/>
                  <a:gd name="connsiteY10" fmla="*/ 141834 h 464184"/>
                  <a:gd name="connsiteX11" fmla="*/ 425502 w 464184"/>
                  <a:gd name="connsiteY11" fmla="*/ 380373 h 464184"/>
                  <a:gd name="connsiteX12" fmla="*/ 380373 w 464184"/>
                  <a:gd name="connsiteY12" fmla="*/ 425502 h 464184"/>
                  <a:gd name="connsiteX13" fmla="*/ 83811 w 464184"/>
                  <a:gd name="connsiteY13" fmla="*/ 425502 h 464184"/>
                  <a:gd name="connsiteX14" fmla="*/ 38682 w 464184"/>
                  <a:gd name="connsiteY14" fmla="*/ 380373 h 464184"/>
                  <a:gd name="connsiteX15" fmla="*/ 38682 w 464184"/>
                  <a:gd name="connsiteY15" fmla="*/ 141834 h 464184"/>
                  <a:gd name="connsiteX16" fmla="*/ 341691 w 464184"/>
                  <a:gd name="connsiteY16" fmla="*/ 296562 h 464184"/>
                  <a:gd name="connsiteX17" fmla="*/ 309456 w 464184"/>
                  <a:gd name="connsiteY17" fmla="*/ 328797 h 464184"/>
                  <a:gd name="connsiteX18" fmla="*/ 341691 w 464184"/>
                  <a:gd name="connsiteY18" fmla="*/ 361032 h 464184"/>
                  <a:gd name="connsiteX19" fmla="*/ 373926 w 464184"/>
                  <a:gd name="connsiteY19" fmla="*/ 328797 h 464184"/>
                  <a:gd name="connsiteX20" fmla="*/ 341691 w 464184"/>
                  <a:gd name="connsiteY20" fmla="*/ 296562 h 464184"/>
                  <a:gd name="connsiteX21" fmla="*/ 232092 w 464184"/>
                  <a:gd name="connsiteY21" fmla="*/ 296562 h 464184"/>
                  <a:gd name="connsiteX22" fmla="*/ 199857 w 464184"/>
                  <a:gd name="connsiteY22" fmla="*/ 328797 h 464184"/>
                  <a:gd name="connsiteX23" fmla="*/ 232092 w 464184"/>
                  <a:gd name="connsiteY23" fmla="*/ 361032 h 464184"/>
                  <a:gd name="connsiteX24" fmla="*/ 264327 w 464184"/>
                  <a:gd name="connsiteY24" fmla="*/ 328797 h 464184"/>
                  <a:gd name="connsiteX25" fmla="*/ 232092 w 464184"/>
                  <a:gd name="connsiteY25" fmla="*/ 296562 h 464184"/>
                  <a:gd name="connsiteX26" fmla="*/ 341691 w 464184"/>
                  <a:gd name="connsiteY26" fmla="*/ 193410 h 464184"/>
                  <a:gd name="connsiteX27" fmla="*/ 309456 w 464184"/>
                  <a:gd name="connsiteY27" fmla="*/ 225645 h 464184"/>
                  <a:gd name="connsiteX28" fmla="*/ 341691 w 464184"/>
                  <a:gd name="connsiteY28" fmla="*/ 257880 h 464184"/>
                  <a:gd name="connsiteX29" fmla="*/ 373926 w 464184"/>
                  <a:gd name="connsiteY29" fmla="*/ 225645 h 464184"/>
                  <a:gd name="connsiteX30" fmla="*/ 341691 w 464184"/>
                  <a:gd name="connsiteY30" fmla="*/ 193410 h 464184"/>
                  <a:gd name="connsiteX31" fmla="*/ 232092 w 464184"/>
                  <a:gd name="connsiteY31" fmla="*/ 193410 h 464184"/>
                  <a:gd name="connsiteX32" fmla="*/ 199857 w 464184"/>
                  <a:gd name="connsiteY32" fmla="*/ 225645 h 464184"/>
                  <a:gd name="connsiteX33" fmla="*/ 232092 w 464184"/>
                  <a:gd name="connsiteY33" fmla="*/ 257880 h 464184"/>
                  <a:gd name="connsiteX34" fmla="*/ 264327 w 464184"/>
                  <a:gd name="connsiteY34" fmla="*/ 225645 h 464184"/>
                  <a:gd name="connsiteX35" fmla="*/ 232092 w 464184"/>
                  <a:gd name="connsiteY35" fmla="*/ 193410 h 464184"/>
                  <a:gd name="connsiteX36" fmla="*/ 122493 w 464184"/>
                  <a:gd name="connsiteY36" fmla="*/ 193410 h 464184"/>
                  <a:gd name="connsiteX37" fmla="*/ 90258 w 464184"/>
                  <a:gd name="connsiteY37" fmla="*/ 225645 h 464184"/>
                  <a:gd name="connsiteX38" fmla="*/ 122493 w 464184"/>
                  <a:gd name="connsiteY38" fmla="*/ 257880 h 464184"/>
                  <a:gd name="connsiteX39" fmla="*/ 154728 w 464184"/>
                  <a:gd name="connsiteY39" fmla="*/ 225645 h 464184"/>
                  <a:gd name="connsiteX40" fmla="*/ 122493 w 464184"/>
                  <a:gd name="connsiteY40" fmla="*/ 193410 h 464184"/>
                  <a:gd name="connsiteX41" fmla="*/ 83811 w 464184"/>
                  <a:gd name="connsiteY41" fmla="*/ 38682 h 464184"/>
                  <a:gd name="connsiteX42" fmla="*/ 380373 w 464184"/>
                  <a:gd name="connsiteY42" fmla="*/ 38682 h 464184"/>
                  <a:gd name="connsiteX43" fmla="*/ 425502 w 464184"/>
                  <a:gd name="connsiteY43" fmla="*/ 83811 h 464184"/>
                  <a:gd name="connsiteX44" fmla="*/ 425502 w 464184"/>
                  <a:gd name="connsiteY44" fmla="*/ 103152 h 464184"/>
                  <a:gd name="connsiteX45" fmla="*/ 38682 w 464184"/>
                  <a:gd name="connsiteY45" fmla="*/ 103152 h 464184"/>
                  <a:gd name="connsiteX46" fmla="*/ 38682 w 464184"/>
                  <a:gd name="connsiteY46" fmla="*/ 83811 h 464184"/>
                  <a:gd name="connsiteX47" fmla="*/ 83811 w 464184"/>
                  <a:gd name="connsiteY47" fmla="*/ 38682 h 464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64184" h="464184">
                    <a:moveTo>
                      <a:pt x="83811" y="0"/>
                    </a:moveTo>
                    <a:cubicBezTo>
                      <a:pt x="37523" y="0"/>
                      <a:pt x="0" y="37523"/>
                      <a:pt x="0" y="83811"/>
                    </a:cubicBezTo>
                    <a:lnTo>
                      <a:pt x="0" y="380373"/>
                    </a:lnTo>
                    <a:cubicBezTo>
                      <a:pt x="0" y="426660"/>
                      <a:pt x="37523" y="464184"/>
                      <a:pt x="83811" y="464184"/>
                    </a:cubicBezTo>
                    <a:lnTo>
                      <a:pt x="380373" y="464184"/>
                    </a:lnTo>
                    <a:cubicBezTo>
                      <a:pt x="426660" y="464184"/>
                      <a:pt x="464184" y="426660"/>
                      <a:pt x="464184" y="380373"/>
                    </a:cubicBezTo>
                    <a:lnTo>
                      <a:pt x="464184" y="83811"/>
                    </a:lnTo>
                    <a:cubicBezTo>
                      <a:pt x="464184" y="37523"/>
                      <a:pt x="426660" y="0"/>
                      <a:pt x="380373" y="0"/>
                    </a:cubicBezTo>
                    <a:lnTo>
                      <a:pt x="83811" y="0"/>
                    </a:lnTo>
                    <a:close/>
                    <a:moveTo>
                      <a:pt x="38682" y="141834"/>
                    </a:moveTo>
                    <a:lnTo>
                      <a:pt x="425502" y="141834"/>
                    </a:lnTo>
                    <a:lnTo>
                      <a:pt x="425502" y="380373"/>
                    </a:lnTo>
                    <a:cubicBezTo>
                      <a:pt x="425502" y="405297"/>
                      <a:pt x="405297" y="425502"/>
                      <a:pt x="380373" y="425502"/>
                    </a:cubicBezTo>
                    <a:lnTo>
                      <a:pt x="83811" y="425502"/>
                    </a:lnTo>
                    <a:cubicBezTo>
                      <a:pt x="58887" y="425502"/>
                      <a:pt x="38682" y="405297"/>
                      <a:pt x="38682" y="380373"/>
                    </a:cubicBezTo>
                    <a:lnTo>
                      <a:pt x="38682" y="141834"/>
                    </a:lnTo>
                    <a:close/>
                    <a:moveTo>
                      <a:pt x="341691" y="296562"/>
                    </a:moveTo>
                    <a:cubicBezTo>
                      <a:pt x="323887" y="296562"/>
                      <a:pt x="309456" y="310993"/>
                      <a:pt x="309456" y="328797"/>
                    </a:cubicBezTo>
                    <a:cubicBezTo>
                      <a:pt x="309456" y="346601"/>
                      <a:pt x="323887" y="361032"/>
                      <a:pt x="341691" y="361032"/>
                    </a:cubicBezTo>
                    <a:cubicBezTo>
                      <a:pt x="359495" y="361032"/>
                      <a:pt x="373926" y="346601"/>
                      <a:pt x="373926" y="328797"/>
                    </a:cubicBezTo>
                    <a:cubicBezTo>
                      <a:pt x="373926" y="310993"/>
                      <a:pt x="359495" y="296562"/>
                      <a:pt x="341691" y="296562"/>
                    </a:cubicBezTo>
                    <a:close/>
                    <a:moveTo>
                      <a:pt x="232092" y="296562"/>
                    </a:moveTo>
                    <a:cubicBezTo>
                      <a:pt x="214288" y="296562"/>
                      <a:pt x="199857" y="310993"/>
                      <a:pt x="199857" y="328797"/>
                    </a:cubicBezTo>
                    <a:cubicBezTo>
                      <a:pt x="199857" y="346601"/>
                      <a:pt x="214288" y="361032"/>
                      <a:pt x="232092" y="361032"/>
                    </a:cubicBezTo>
                    <a:cubicBezTo>
                      <a:pt x="249896" y="361032"/>
                      <a:pt x="264327" y="346601"/>
                      <a:pt x="264327" y="328797"/>
                    </a:cubicBezTo>
                    <a:cubicBezTo>
                      <a:pt x="264327" y="310993"/>
                      <a:pt x="249896" y="296562"/>
                      <a:pt x="232092" y="296562"/>
                    </a:cubicBezTo>
                    <a:close/>
                    <a:moveTo>
                      <a:pt x="341691" y="193410"/>
                    </a:moveTo>
                    <a:cubicBezTo>
                      <a:pt x="323887" y="193410"/>
                      <a:pt x="309456" y="207841"/>
                      <a:pt x="309456" y="225645"/>
                    </a:cubicBezTo>
                    <a:cubicBezTo>
                      <a:pt x="309456" y="243449"/>
                      <a:pt x="323887" y="257880"/>
                      <a:pt x="341691" y="257880"/>
                    </a:cubicBezTo>
                    <a:cubicBezTo>
                      <a:pt x="359495" y="257880"/>
                      <a:pt x="373926" y="243449"/>
                      <a:pt x="373926" y="225645"/>
                    </a:cubicBezTo>
                    <a:cubicBezTo>
                      <a:pt x="373926" y="207841"/>
                      <a:pt x="359495" y="193410"/>
                      <a:pt x="341691" y="193410"/>
                    </a:cubicBezTo>
                    <a:close/>
                    <a:moveTo>
                      <a:pt x="232092" y="193410"/>
                    </a:moveTo>
                    <a:cubicBezTo>
                      <a:pt x="214288" y="193410"/>
                      <a:pt x="199857" y="207841"/>
                      <a:pt x="199857" y="225645"/>
                    </a:cubicBezTo>
                    <a:cubicBezTo>
                      <a:pt x="199857" y="243449"/>
                      <a:pt x="214288" y="257880"/>
                      <a:pt x="232092" y="257880"/>
                    </a:cubicBezTo>
                    <a:cubicBezTo>
                      <a:pt x="249896" y="257880"/>
                      <a:pt x="264327" y="243449"/>
                      <a:pt x="264327" y="225645"/>
                    </a:cubicBezTo>
                    <a:cubicBezTo>
                      <a:pt x="264327" y="207841"/>
                      <a:pt x="249896" y="193410"/>
                      <a:pt x="232092" y="193410"/>
                    </a:cubicBezTo>
                    <a:close/>
                    <a:moveTo>
                      <a:pt x="122493" y="193410"/>
                    </a:moveTo>
                    <a:cubicBezTo>
                      <a:pt x="104690" y="193410"/>
                      <a:pt x="90258" y="207841"/>
                      <a:pt x="90258" y="225645"/>
                    </a:cubicBezTo>
                    <a:cubicBezTo>
                      <a:pt x="90258" y="243449"/>
                      <a:pt x="104690" y="257880"/>
                      <a:pt x="122493" y="257880"/>
                    </a:cubicBezTo>
                    <a:cubicBezTo>
                      <a:pt x="140296" y="257880"/>
                      <a:pt x="154728" y="243449"/>
                      <a:pt x="154728" y="225645"/>
                    </a:cubicBezTo>
                    <a:cubicBezTo>
                      <a:pt x="154728" y="207841"/>
                      <a:pt x="140296" y="193410"/>
                      <a:pt x="122493" y="193410"/>
                    </a:cubicBezTo>
                    <a:close/>
                    <a:moveTo>
                      <a:pt x="83811" y="38682"/>
                    </a:moveTo>
                    <a:lnTo>
                      <a:pt x="380373" y="38682"/>
                    </a:lnTo>
                    <a:cubicBezTo>
                      <a:pt x="405297" y="38682"/>
                      <a:pt x="425502" y="58887"/>
                      <a:pt x="425502" y="83811"/>
                    </a:cubicBezTo>
                    <a:lnTo>
                      <a:pt x="425502" y="103152"/>
                    </a:lnTo>
                    <a:lnTo>
                      <a:pt x="38682" y="103152"/>
                    </a:lnTo>
                    <a:lnTo>
                      <a:pt x="38682" y="83811"/>
                    </a:lnTo>
                    <a:cubicBezTo>
                      <a:pt x="38682" y="58887"/>
                      <a:pt x="58887" y="38682"/>
                      <a:pt x="83811" y="38682"/>
                    </a:cubicBezTo>
                    <a:close/>
                  </a:path>
                </a:pathLst>
              </a:custGeom>
              <a:solidFill>
                <a:srgbClr val="212121"/>
              </a:solidFill>
              <a:ln w="254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43" name="Oval 42">
                <a:extLst>
                  <a:ext uri="{FF2B5EF4-FFF2-40B4-BE49-F238E27FC236}">
                    <a16:creationId xmlns:a16="http://schemas.microsoft.com/office/drawing/2014/main" id="{B523DD0C-3B5F-8A63-C079-CE7B5E28906D}"/>
                  </a:ext>
                </a:extLst>
              </p:cNvPr>
              <p:cNvSpPr/>
              <p:nvPr/>
            </p:nvSpPr>
            <p:spPr bwMode="auto">
              <a:xfrm>
                <a:off x="3631743" y="5261176"/>
                <a:ext cx="53517" cy="5351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pSp>
        <p:nvGrpSpPr>
          <p:cNvPr id="32" name="Group 31">
            <a:extLst>
              <a:ext uri="{FF2B5EF4-FFF2-40B4-BE49-F238E27FC236}">
                <a16:creationId xmlns:a16="http://schemas.microsoft.com/office/drawing/2014/main" id="{524010B4-2C90-7D03-566F-5EB0E0D4A878}"/>
              </a:ext>
            </a:extLst>
          </p:cNvPr>
          <p:cNvGrpSpPr/>
          <p:nvPr/>
        </p:nvGrpSpPr>
        <p:grpSpPr>
          <a:xfrm>
            <a:off x="4492293" y="3908202"/>
            <a:ext cx="282618" cy="285797"/>
            <a:chOff x="5951900" y="4858778"/>
            <a:chExt cx="320040" cy="320040"/>
          </a:xfrm>
        </p:grpSpPr>
        <p:sp>
          <p:nvSpPr>
            <p:cNvPr id="36" name="Oval 35">
              <a:extLst>
                <a:ext uri="{FF2B5EF4-FFF2-40B4-BE49-F238E27FC236}">
                  <a16:creationId xmlns:a16="http://schemas.microsoft.com/office/drawing/2014/main" id="{918FEF5B-433D-CDE4-0A3C-E09F71B73F5F}"/>
                </a:ext>
              </a:extLst>
            </p:cNvPr>
            <p:cNvSpPr/>
            <p:nvPr/>
          </p:nvSpPr>
          <p:spPr bwMode="auto">
            <a:xfrm>
              <a:off x="5951900" y="4858778"/>
              <a:ext cx="320040" cy="320040"/>
            </a:xfrm>
            <a:prstGeom prst="ellipse">
              <a:avLst/>
            </a:prstGeom>
            <a:solidFill>
              <a:schemeClr val="bg1"/>
            </a:solidFill>
            <a:ln w="28575">
              <a:solidFill>
                <a:srgbClr val="4A576D"/>
              </a:solidFill>
            </a:ln>
            <a:effectLst/>
          </p:spPr>
          <p:txBody>
            <a:bodyPr wrap="square" lIns="0" tIns="0" rIns="0" bIns="0" rtlCol="0"/>
            <a:lstStyle/>
            <a:p>
              <a:pPr marL="0" marR="0" lvl="0" indent="0" algn="l" defTabSz="623318"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BD195916-CE56-542A-DE08-DB6C6454DC95}"/>
                </a:ext>
              </a:extLst>
            </p:cNvPr>
            <p:cNvSpPr>
              <a:spLocks noChangeAspect="1"/>
            </p:cNvSpPr>
            <p:nvPr/>
          </p:nvSpPr>
          <p:spPr>
            <a:xfrm flipH="1">
              <a:off x="6025720" y="4953344"/>
              <a:ext cx="172400" cy="126872"/>
            </a:xfrm>
            <a:custGeom>
              <a:avLst/>
              <a:gdLst>
                <a:gd name="connsiteX0" fmla="*/ 438125 w 438124"/>
                <a:gd name="connsiteY0" fmla="*/ 161212 h 322424"/>
                <a:gd name="connsiteX1" fmla="*/ 409550 w 438124"/>
                <a:gd name="connsiteY1" fmla="*/ 189787 h 322424"/>
                <a:gd name="connsiteX2" fmla="*/ 97511 w 438124"/>
                <a:gd name="connsiteY2" fmla="*/ 189787 h 322424"/>
                <a:gd name="connsiteX3" fmla="*/ 182093 w 438124"/>
                <a:gd name="connsiteY3" fmla="*/ 274369 h 322424"/>
                <a:gd name="connsiteX4" fmla="*/ 180667 w 438124"/>
                <a:gd name="connsiteY4" fmla="*/ 314755 h 322424"/>
                <a:gd name="connsiteX5" fmla="*/ 141707 w 438124"/>
                <a:gd name="connsiteY5" fmla="*/ 314755 h 322424"/>
                <a:gd name="connsiteX6" fmla="*/ 8357 w 438124"/>
                <a:gd name="connsiteY6" fmla="*/ 181405 h 322424"/>
                <a:gd name="connsiteX7" fmla="*/ 8357 w 438124"/>
                <a:gd name="connsiteY7" fmla="*/ 141019 h 322424"/>
                <a:gd name="connsiteX8" fmla="*/ 141707 w 438124"/>
                <a:gd name="connsiteY8" fmla="*/ 7669 h 322424"/>
                <a:gd name="connsiteX9" fmla="*/ 182093 w 438124"/>
                <a:gd name="connsiteY9" fmla="*/ 9095 h 322424"/>
                <a:gd name="connsiteX10" fmla="*/ 182093 w 438124"/>
                <a:gd name="connsiteY10" fmla="*/ 48055 h 322424"/>
                <a:gd name="connsiteX11" fmla="*/ 97511 w 438124"/>
                <a:gd name="connsiteY11" fmla="*/ 132637 h 322424"/>
                <a:gd name="connsiteX12" fmla="*/ 409550 w 438124"/>
                <a:gd name="connsiteY12" fmla="*/ 132637 h 322424"/>
                <a:gd name="connsiteX13" fmla="*/ 438125 w 438124"/>
                <a:gd name="connsiteY13" fmla="*/ 161212 h 32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8124" h="322424">
                  <a:moveTo>
                    <a:pt x="438125" y="161212"/>
                  </a:moveTo>
                  <a:cubicBezTo>
                    <a:pt x="438125" y="176994"/>
                    <a:pt x="425332" y="189787"/>
                    <a:pt x="409550" y="189787"/>
                  </a:cubicBezTo>
                  <a:lnTo>
                    <a:pt x="97511" y="189787"/>
                  </a:lnTo>
                  <a:lnTo>
                    <a:pt x="182093" y="274369"/>
                  </a:lnTo>
                  <a:cubicBezTo>
                    <a:pt x="192851" y="285915"/>
                    <a:pt x="192213" y="303997"/>
                    <a:pt x="180667" y="314755"/>
                  </a:cubicBezTo>
                  <a:cubicBezTo>
                    <a:pt x="169693" y="324981"/>
                    <a:pt x="152681" y="324981"/>
                    <a:pt x="141707" y="314755"/>
                  </a:cubicBezTo>
                  <a:lnTo>
                    <a:pt x="8357" y="181405"/>
                  </a:lnTo>
                  <a:cubicBezTo>
                    <a:pt x="-2786" y="170249"/>
                    <a:pt x="-2786" y="152176"/>
                    <a:pt x="8357" y="141019"/>
                  </a:cubicBezTo>
                  <a:lnTo>
                    <a:pt x="141707" y="7669"/>
                  </a:lnTo>
                  <a:cubicBezTo>
                    <a:pt x="153253" y="-3089"/>
                    <a:pt x="171334" y="-2451"/>
                    <a:pt x="182093" y="9095"/>
                  </a:cubicBezTo>
                  <a:cubicBezTo>
                    <a:pt x="192319" y="20069"/>
                    <a:pt x="192319" y="37081"/>
                    <a:pt x="182093" y="48055"/>
                  </a:cubicBezTo>
                  <a:lnTo>
                    <a:pt x="97511" y="132637"/>
                  </a:lnTo>
                  <a:lnTo>
                    <a:pt x="409550" y="132637"/>
                  </a:lnTo>
                  <a:cubicBezTo>
                    <a:pt x="425332" y="132637"/>
                    <a:pt x="438125" y="145430"/>
                    <a:pt x="438125" y="161212"/>
                  </a:cubicBezTo>
                  <a:close/>
                </a:path>
              </a:pathLst>
            </a:custGeom>
            <a:solidFill>
              <a:srgbClr val="000000"/>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3" name="Group 32">
            <a:extLst>
              <a:ext uri="{FF2B5EF4-FFF2-40B4-BE49-F238E27FC236}">
                <a16:creationId xmlns:a16="http://schemas.microsoft.com/office/drawing/2014/main" id="{ED8EAFCB-8782-966A-3F10-33F925C62718}"/>
              </a:ext>
            </a:extLst>
          </p:cNvPr>
          <p:cNvGrpSpPr/>
          <p:nvPr/>
        </p:nvGrpSpPr>
        <p:grpSpPr>
          <a:xfrm>
            <a:off x="6548230" y="3908202"/>
            <a:ext cx="282618" cy="285797"/>
            <a:chOff x="5951900" y="4858778"/>
            <a:chExt cx="320040" cy="320040"/>
          </a:xfrm>
        </p:grpSpPr>
        <p:sp>
          <p:nvSpPr>
            <p:cNvPr id="34" name="Oval 33">
              <a:extLst>
                <a:ext uri="{FF2B5EF4-FFF2-40B4-BE49-F238E27FC236}">
                  <a16:creationId xmlns:a16="http://schemas.microsoft.com/office/drawing/2014/main" id="{F5E6158C-3ADF-7228-8BAE-DA24C62ACB57}"/>
                </a:ext>
              </a:extLst>
            </p:cNvPr>
            <p:cNvSpPr/>
            <p:nvPr/>
          </p:nvSpPr>
          <p:spPr bwMode="auto">
            <a:xfrm>
              <a:off x="5951900" y="4858778"/>
              <a:ext cx="320040" cy="320040"/>
            </a:xfrm>
            <a:prstGeom prst="ellipse">
              <a:avLst/>
            </a:prstGeom>
            <a:solidFill>
              <a:schemeClr val="bg1"/>
            </a:solidFill>
            <a:ln w="28575">
              <a:solidFill>
                <a:srgbClr val="1E314F"/>
              </a:solidFill>
            </a:ln>
            <a:effectLst/>
          </p:spPr>
          <p:txBody>
            <a:bodyPr wrap="square" lIns="0" tIns="0" rIns="0" bIns="0" rtlCol="0"/>
            <a:lstStyle/>
            <a:p>
              <a:pPr marL="0" marR="0" lvl="0" indent="0" algn="l" defTabSz="623318"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0CE34218-C382-4A4F-37A6-68ADE7F242DD}"/>
                </a:ext>
              </a:extLst>
            </p:cNvPr>
            <p:cNvSpPr>
              <a:spLocks noChangeAspect="1"/>
            </p:cNvSpPr>
            <p:nvPr/>
          </p:nvSpPr>
          <p:spPr>
            <a:xfrm flipH="1">
              <a:off x="6025720" y="4953344"/>
              <a:ext cx="172400" cy="126872"/>
            </a:xfrm>
            <a:custGeom>
              <a:avLst/>
              <a:gdLst>
                <a:gd name="connsiteX0" fmla="*/ 438125 w 438124"/>
                <a:gd name="connsiteY0" fmla="*/ 161212 h 322424"/>
                <a:gd name="connsiteX1" fmla="*/ 409550 w 438124"/>
                <a:gd name="connsiteY1" fmla="*/ 189787 h 322424"/>
                <a:gd name="connsiteX2" fmla="*/ 97511 w 438124"/>
                <a:gd name="connsiteY2" fmla="*/ 189787 h 322424"/>
                <a:gd name="connsiteX3" fmla="*/ 182093 w 438124"/>
                <a:gd name="connsiteY3" fmla="*/ 274369 h 322424"/>
                <a:gd name="connsiteX4" fmla="*/ 180667 w 438124"/>
                <a:gd name="connsiteY4" fmla="*/ 314755 h 322424"/>
                <a:gd name="connsiteX5" fmla="*/ 141707 w 438124"/>
                <a:gd name="connsiteY5" fmla="*/ 314755 h 322424"/>
                <a:gd name="connsiteX6" fmla="*/ 8357 w 438124"/>
                <a:gd name="connsiteY6" fmla="*/ 181405 h 322424"/>
                <a:gd name="connsiteX7" fmla="*/ 8357 w 438124"/>
                <a:gd name="connsiteY7" fmla="*/ 141019 h 322424"/>
                <a:gd name="connsiteX8" fmla="*/ 141707 w 438124"/>
                <a:gd name="connsiteY8" fmla="*/ 7669 h 322424"/>
                <a:gd name="connsiteX9" fmla="*/ 182093 w 438124"/>
                <a:gd name="connsiteY9" fmla="*/ 9095 h 322424"/>
                <a:gd name="connsiteX10" fmla="*/ 182093 w 438124"/>
                <a:gd name="connsiteY10" fmla="*/ 48055 h 322424"/>
                <a:gd name="connsiteX11" fmla="*/ 97511 w 438124"/>
                <a:gd name="connsiteY11" fmla="*/ 132637 h 322424"/>
                <a:gd name="connsiteX12" fmla="*/ 409550 w 438124"/>
                <a:gd name="connsiteY12" fmla="*/ 132637 h 322424"/>
                <a:gd name="connsiteX13" fmla="*/ 438125 w 438124"/>
                <a:gd name="connsiteY13" fmla="*/ 161212 h 32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8124" h="322424">
                  <a:moveTo>
                    <a:pt x="438125" y="161212"/>
                  </a:moveTo>
                  <a:cubicBezTo>
                    <a:pt x="438125" y="176994"/>
                    <a:pt x="425332" y="189787"/>
                    <a:pt x="409550" y="189787"/>
                  </a:cubicBezTo>
                  <a:lnTo>
                    <a:pt x="97511" y="189787"/>
                  </a:lnTo>
                  <a:lnTo>
                    <a:pt x="182093" y="274369"/>
                  </a:lnTo>
                  <a:cubicBezTo>
                    <a:pt x="192851" y="285915"/>
                    <a:pt x="192213" y="303997"/>
                    <a:pt x="180667" y="314755"/>
                  </a:cubicBezTo>
                  <a:cubicBezTo>
                    <a:pt x="169693" y="324981"/>
                    <a:pt x="152681" y="324981"/>
                    <a:pt x="141707" y="314755"/>
                  </a:cubicBezTo>
                  <a:lnTo>
                    <a:pt x="8357" y="181405"/>
                  </a:lnTo>
                  <a:cubicBezTo>
                    <a:pt x="-2786" y="170249"/>
                    <a:pt x="-2786" y="152176"/>
                    <a:pt x="8357" y="141019"/>
                  </a:cubicBezTo>
                  <a:lnTo>
                    <a:pt x="141707" y="7669"/>
                  </a:lnTo>
                  <a:cubicBezTo>
                    <a:pt x="153253" y="-3089"/>
                    <a:pt x="171334" y="-2451"/>
                    <a:pt x="182093" y="9095"/>
                  </a:cubicBezTo>
                  <a:cubicBezTo>
                    <a:pt x="192319" y="20069"/>
                    <a:pt x="192319" y="37081"/>
                    <a:pt x="182093" y="48055"/>
                  </a:cubicBezTo>
                  <a:lnTo>
                    <a:pt x="97511" y="132637"/>
                  </a:lnTo>
                  <a:lnTo>
                    <a:pt x="409550" y="132637"/>
                  </a:lnTo>
                  <a:cubicBezTo>
                    <a:pt x="425332" y="132637"/>
                    <a:pt x="438125" y="145430"/>
                    <a:pt x="438125" y="161212"/>
                  </a:cubicBezTo>
                  <a:close/>
                </a:path>
              </a:pathLst>
            </a:custGeom>
            <a:solidFill>
              <a:srgbClr val="000000"/>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5" name="TextBox 4">
            <a:extLst>
              <a:ext uri="{FF2B5EF4-FFF2-40B4-BE49-F238E27FC236}">
                <a16:creationId xmlns:a16="http://schemas.microsoft.com/office/drawing/2014/main" id="{4AEBE466-5B60-2BDB-7578-5FBE9C858D41}"/>
              </a:ext>
            </a:extLst>
          </p:cNvPr>
          <p:cNvSpPr txBox="1"/>
          <p:nvPr/>
        </p:nvSpPr>
        <p:spPr>
          <a:xfrm>
            <a:off x="321849" y="3293398"/>
            <a:ext cx="2005756" cy="2154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878441">
              <a:spcAft>
                <a:spcPct val="0"/>
              </a:spcAft>
              <a:defRPr sz="1400" kern="0">
                <a:solidFill>
                  <a:srgbClr val="353535"/>
                </a:solidFill>
                <a:latin typeface="Segoe UI"/>
                <a:cs typeface="Segoe UI"/>
              </a:defRPr>
            </a:lvl1pPr>
          </a:lstStyle>
          <a:p>
            <a:pPr marL="0" marR="0" lvl="0" indent="0" algn="ctr" defTabSz="878441" rtl="0" eaLnBrk="1" fontAlgn="auto" latinLnBrk="0" hangingPunct="1">
              <a:lnSpc>
                <a:spcPct val="100000"/>
              </a:lnSpc>
              <a:spcBef>
                <a:spcPts val="0"/>
              </a:spcBef>
              <a:spcAft>
                <a:spcPct val="0"/>
              </a:spcAft>
              <a:buClrTx/>
              <a:buSzTx/>
              <a:buFontTx/>
              <a:buNone/>
              <a:tabLst/>
              <a:defRPr/>
            </a:pPr>
            <a:r>
              <a:rPr kumimoji="0" lang="en-US" sz="1400" b="0" i="0" u="none" strike="noStrike" kern="0" cap="none" spc="-3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Access Review rules</a:t>
            </a:r>
          </a:p>
        </p:txBody>
      </p:sp>
      <p:grpSp>
        <p:nvGrpSpPr>
          <p:cNvPr id="14" name="Group 13">
            <a:extLst>
              <a:ext uri="{FF2B5EF4-FFF2-40B4-BE49-F238E27FC236}">
                <a16:creationId xmlns:a16="http://schemas.microsoft.com/office/drawing/2014/main" id="{D32E94E4-320A-B82A-F58A-F91778A9E1EA}"/>
              </a:ext>
            </a:extLst>
          </p:cNvPr>
          <p:cNvGrpSpPr/>
          <p:nvPr/>
        </p:nvGrpSpPr>
        <p:grpSpPr>
          <a:xfrm>
            <a:off x="4811321" y="1495636"/>
            <a:ext cx="489938" cy="495450"/>
            <a:chOff x="4811321" y="1495636"/>
            <a:chExt cx="489938" cy="495450"/>
          </a:xfrm>
        </p:grpSpPr>
        <p:sp>
          <p:nvSpPr>
            <p:cNvPr id="10" name="Oval 9">
              <a:extLst>
                <a:ext uri="{FF2B5EF4-FFF2-40B4-BE49-F238E27FC236}">
                  <a16:creationId xmlns:a16="http://schemas.microsoft.com/office/drawing/2014/main" id="{CBB87D86-74CA-F1DD-7587-405569D07959}"/>
                </a:ext>
              </a:extLst>
            </p:cNvPr>
            <p:cNvSpPr/>
            <p:nvPr/>
          </p:nvSpPr>
          <p:spPr bwMode="auto">
            <a:xfrm>
              <a:off x="4811321" y="1495636"/>
              <a:ext cx="489938" cy="495450"/>
            </a:xfrm>
            <a:prstGeom prst="ellipse">
              <a:avLst/>
            </a:prstGeom>
            <a:solidFill>
              <a:schemeClr val="bg1"/>
            </a:solidFill>
            <a:ln w="28575">
              <a:solidFill>
                <a:srgbClr val="4A576D"/>
              </a:solidFill>
            </a:ln>
            <a:effectLst/>
          </p:spPr>
          <p:txBody>
            <a:bodyPr wrap="square" lIns="0" tIns="0" rIns="0" bIns="0" rtlCol="0"/>
            <a:lstStyle/>
            <a:p>
              <a:pPr marL="0" marR="0" lvl="0" indent="0" algn="l" defTabSz="623318"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latin typeface="Calibri"/>
                <a:ea typeface="+mn-ea"/>
                <a:cs typeface="+mn-cs"/>
              </a:endParaRPr>
            </a:p>
          </p:txBody>
        </p:sp>
        <p:pic>
          <p:nvPicPr>
            <p:cNvPr id="13" name="Graphic 12">
              <a:extLst>
                <a:ext uri="{FF2B5EF4-FFF2-40B4-BE49-F238E27FC236}">
                  <a16:creationId xmlns:a16="http://schemas.microsoft.com/office/drawing/2014/main" id="{289332AB-933B-6AF5-8D80-7E653B4814FA}"/>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880327" y="1589874"/>
              <a:ext cx="351926" cy="332374"/>
            </a:xfrm>
            <a:prstGeom prst="rect">
              <a:avLst/>
            </a:prstGeom>
          </p:spPr>
        </p:pic>
      </p:grpSp>
    </p:spTree>
    <p:extLst>
      <p:ext uri="{BB962C8B-B14F-4D97-AF65-F5344CB8AC3E}">
        <p14:creationId xmlns:p14="http://schemas.microsoft.com/office/powerpoint/2010/main" val="3037321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4FD4CA-D299-D675-4037-2D8ED0786C70}"/>
              </a:ext>
            </a:extLst>
          </p:cNvPr>
          <p:cNvSpPr>
            <a:spLocks noGrp="1"/>
          </p:cNvSpPr>
          <p:nvPr>
            <p:ph type="title" idx="4294967295"/>
          </p:nvPr>
        </p:nvSpPr>
        <p:spPr>
          <a:xfrm>
            <a:off x="818066" y="314156"/>
            <a:ext cx="11026775" cy="1071563"/>
          </a:xfrm>
        </p:spPr>
        <p:txBody>
          <a:bodyPr>
            <a:noAutofit/>
          </a:bodyPr>
          <a:lstStyle/>
          <a:p>
            <a:pPr algn="ctr"/>
            <a:r>
              <a:rPr lang="en-US" sz="3200">
                <a:latin typeface="Segoe Sans Display Semibold" pitchFamily="2" charset="0"/>
                <a:cs typeface="Segoe Sans Display Semibold" pitchFamily="2" charset="0"/>
              </a:rPr>
              <a:t>Extend least privilege access to web traffic and SaaS apps </a:t>
            </a:r>
          </a:p>
        </p:txBody>
      </p:sp>
      <p:grpSp>
        <p:nvGrpSpPr>
          <p:cNvPr id="142" name="Group 141">
            <a:extLst>
              <a:ext uri="{FF2B5EF4-FFF2-40B4-BE49-F238E27FC236}">
                <a16:creationId xmlns:a16="http://schemas.microsoft.com/office/drawing/2014/main" id="{F42465C0-B860-6CFA-D0AB-A678739BCE8F}"/>
              </a:ext>
            </a:extLst>
          </p:cNvPr>
          <p:cNvGrpSpPr/>
          <p:nvPr/>
        </p:nvGrpSpPr>
        <p:grpSpPr>
          <a:xfrm>
            <a:off x="1524001" y="3429000"/>
            <a:ext cx="9144000" cy="1913969"/>
            <a:chOff x="1524001" y="3668194"/>
            <a:chExt cx="9144000" cy="1371601"/>
          </a:xfrm>
        </p:grpSpPr>
        <p:sp>
          <p:nvSpPr>
            <p:cNvPr id="34" name="Right Bracket 33">
              <a:extLst>
                <a:ext uri="{FF2B5EF4-FFF2-40B4-BE49-F238E27FC236}">
                  <a16:creationId xmlns:a16="http://schemas.microsoft.com/office/drawing/2014/main" id="{AB141154-0500-5311-549C-DFA86F2D2C8E}"/>
                </a:ext>
              </a:extLst>
            </p:cNvPr>
            <p:cNvSpPr/>
            <p:nvPr/>
          </p:nvSpPr>
          <p:spPr>
            <a:xfrm rot="5400000">
              <a:off x="5410201" y="-218006"/>
              <a:ext cx="1371600" cy="9144000"/>
            </a:xfrm>
            <a:prstGeom prst="rightBracket">
              <a:avLst>
                <a:gd name="adj" fmla="val 0"/>
              </a:avLst>
            </a:prstGeom>
            <a:noFill/>
            <a:ln w="301625" cap="rnd">
              <a:solidFill>
                <a:srgbClr val="4A576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cxnSp>
          <p:nvCxnSpPr>
            <p:cNvPr id="37" name="Straight Connector 36">
              <a:extLst>
                <a:ext uri="{FF2B5EF4-FFF2-40B4-BE49-F238E27FC236}">
                  <a16:creationId xmlns:a16="http://schemas.microsoft.com/office/drawing/2014/main" id="{4888D802-8D58-1CE2-FA1A-A0EAB13EE5B2}"/>
                </a:ext>
              </a:extLst>
            </p:cNvPr>
            <p:cNvCxnSpPr>
              <a:cxnSpLocks/>
            </p:cNvCxnSpPr>
            <p:nvPr/>
          </p:nvCxnSpPr>
          <p:spPr>
            <a:xfrm>
              <a:off x="6096000" y="3668195"/>
              <a:ext cx="0" cy="1371600"/>
            </a:xfrm>
            <a:prstGeom prst="line">
              <a:avLst/>
            </a:prstGeom>
            <a:noFill/>
            <a:ln w="301625" cap="rnd">
              <a:solidFill>
                <a:srgbClr val="4A576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6" name="Straight Connector 35">
              <a:extLst>
                <a:ext uri="{FF2B5EF4-FFF2-40B4-BE49-F238E27FC236}">
                  <a16:creationId xmlns:a16="http://schemas.microsoft.com/office/drawing/2014/main" id="{2E0FE7C7-822F-2A75-C55F-37636739EEC9}"/>
                </a:ext>
              </a:extLst>
            </p:cNvPr>
            <p:cNvCxnSpPr>
              <a:cxnSpLocks/>
            </p:cNvCxnSpPr>
            <p:nvPr/>
          </p:nvCxnSpPr>
          <p:spPr>
            <a:xfrm>
              <a:off x="3807440" y="3668195"/>
              <a:ext cx="0" cy="1371600"/>
            </a:xfrm>
            <a:prstGeom prst="line">
              <a:avLst/>
            </a:prstGeom>
            <a:noFill/>
            <a:ln w="301625" cap="rnd">
              <a:solidFill>
                <a:srgbClr val="4A576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8" name="Straight Connector 37">
              <a:extLst>
                <a:ext uri="{FF2B5EF4-FFF2-40B4-BE49-F238E27FC236}">
                  <a16:creationId xmlns:a16="http://schemas.microsoft.com/office/drawing/2014/main" id="{85B289FA-57A1-8BFB-6B84-5224AF951C65}"/>
                </a:ext>
              </a:extLst>
            </p:cNvPr>
            <p:cNvCxnSpPr>
              <a:cxnSpLocks/>
            </p:cNvCxnSpPr>
            <p:nvPr/>
          </p:nvCxnSpPr>
          <p:spPr>
            <a:xfrm>
              <a:off x="8384560" y="3668195"/>
              <a:ext cx="0" cy="1371600"/>
            </a:xfrm>
            <a:prstGeom prst="line">
              <a:avLst/>
            </a:prstGeom>
            <a:noFill/>
            <a:ln w="301625" cap="rnd">
              <a:solidFill>
                <a:srgbClr val="4A576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88" name="Oval 87">
            <a:extLst>
              <a:ext uri="{FF2B5EF4-FFF2-40B4-BE49-F238E27FC236}">
                <a16:creationId xmlns:a16="http://schemas.microsoft.com/office/drawing/2014/main" id="{5626308B-B807-CDD2-D345-D2CE311F4597}"/>
              </a:ext>
            </a:extLst>
          </p:cNvPr>
          <p:cNvSpPr/>
          <p:nvPr/>
        </p:nvSpPr>
        <p:spPr bwMode="auto">
          <a:xfrm>
            <a:off x="5410200" y="5067924"/>
            <a:ext cx="1371600" cy="1371600"/>
          </a:xfrm>
          <a:prstGeom prst="ellipse">
            <a:avLst/>
          </a:prstGeom>
          <a:solidFill>
            <a:schemeClr val="bg1"/>
          </a:solidFill>
          <a:ln w="63500">
            <a:solidFill>
              <a:srgbClr val="4A576D"/>
            </a:solidFill>
          </a:ln>
          <a:effectLst/>
        </p:spPr>
        <p:txBody>
          <a:bodyPr wrap="square" lIns="91440" tIns="91440" rIns="91440" bIns="91440" rtlCol="0"/>
          <a:lstStyle/>
          <a:p>
            <a:pPr marL="0" marR="0" lvl="0" indent="0" algn="l" defTabSz="6233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Display"/>
              <a:ea typeface="+mn-ea"/>
              <a:cs typeface="+mn-cs"/>
            </a:endParaRPr>
          </a:p>
        </p:txBody>
      </p:sp>
      <p:grpSp>
        <p:nvGrpSpPr>
          <p:cNvPr id="138" name="Group 137">
            <a:extLst>
              <a:ext uri="{FF2B5EF4-FFF2-40B4-BE49-F238E27FC236}">
                <a16:creationId xmlns:a16="http://schemas.microsoft.com/office/drawing/2014/main" id="{A3B46899-0F66-0CFD-DB90-9C3819B3520C}"/>
              </a:ext>
            </a:extLst>
          </p:cNvPr>
          <p:cNvGrpSpPr/>
          <p:nvPr/>
        </p:nvGrpSpPr>
        <p:grpSpPr>
          <a:xfrm>
            <a:off x="609600" y="3829977"/>
            <a:ext cx="1828800" cy="736066"/>
            <a:chOff x="588263" y="3447090"/>
            <a:chExt cx="1828800" cy="736066"/>
          </a:xfrm>
        </p:grpSpPr>
        <p:sp>
          <p:nvSpPr>
            <p:cNvPr id="3" name="Rectangle: Rounded Corners 2">
              <a:extLst>
                <a:ext uri="{FF2B5EF4-FFF2-40B4-BE49-F238E27FC236}">
                  <a16:creationId xmlns:a16="http://schemas.microsoft.com/office/drawing/2014/main" id="{B91C6F6D-C05E-9EF9-DA90-2EE19C93D5DB}"/>
                </a:ext>
              </a:extLst>
            </p:cNvPr>
            <p:cNvSpPr/>
            <p:nvPr/>
          </p:nvSpPr>
          <p:spPr bwMode="auto">
            <a:xfrm>
              <a:off x="588263" y="3447090"/>
              <a:ext cx="1828800" cy="736066"/>
            </a:xfrm>
            <a:prstGeom prst="roundRect">
              <a:avLst/>
            </a:prstGeom>
            <a:solidFill>
              <a:schemeClr val="bg1"/>
            </a:solidFill>
            <a:ln w="63500">
              <a:solidFill>
                <a:srgbClr val="4A576D"/>
              </a:solidFill>
            </a:ln>
            <a:effectLst/>
          </p:spPr>
          <p:txBody>
            <a:bodyPr wrap="square" lIns="320040" tIns="91440" rIns="91440" bIns="91440" rtlCol="0"/>
            <a:lstStyle/>
            <a:p>
              <a:pPr marL="0" marR="0" lvl="0" indent="0" algn="l" defTabSz="623318"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20" normalizeH="0" baseline="0" noProof="0">
                  <a:ln>
                    <a:noFill/>
                  </a:ln>
                  <a:solidFill>
                    <a:prstClr val="black"/>
                  </a:solidFill>
                  <a:effectLst/>
                  <a:uLnTx/>
                  <a:uFillTx/>
                  <a:latin typeface="Segoe Sans Display"/>
                  <a:ea typeface="+mn-ea"/>
                  <a:cs typeface="+mn-cs"/>
                </a:rPr>
                <a:t>All users</a:t>
              </a:r>
            </a:p>
          </p:txBody>
        </p:sp>
        <p:pic>
          <p:nvPicPr>
            <p:cNvPr id="93" name="Graphic 92">
              <a:extLst>
                <a:ext uri="{FF2B5EF4-FFF2-40B4-BE49-F238E27FC236}">
                  <a16:creationId xmlns:a16="http://schemas.microsoft.com/office/drawing/2014/main" id="{B73854F4-676A-E699-95F9-ABF5C82F0004}"/>
                </a:ext>
              </a:extLst>
            </p:cNvPr>
            <p:cNvPicPr>
              <a:picLocks noChangeAspect="1"/>
            </p:cNvPicPr>
            <p:nvPr/>
          </p:nvPicPr>
          <p:blipFill>
            <a:blip r:embed="rId3">
              <a:extLst>
                <a:ext uri="{96DAC541-7B7A-43D3-8B79-37D633B846F1}">
                  <asvg:svgBlip xmlns:asvg="http://schemas.microsoft.com/office/drawing/2016/SVG/main" r:embed="rId4"/>
                </a:ext>
              </a:extLst>
            </a:blip>
            <a:srcRect l="831" r="831"/>
            <a:stretch/>
          </p:blipFill>
          <p:spPr>
            <a:xfrm>
              <a:off x="707436" y="3593038"/>
              <a:ext cx="178586" cy="181604"/>
            </a:xfrm>
            <a:prstGeom prst="rect">
              <a:avLst/>
            </a:prstGeom>
          </p:spPr>
        </p:pic>
      </p:grpSp>
      <p:grpSp>
        <p:nvGrpSpPr>
          <p:cNvPr id="139" name="Group 138">
            <a:extLst>
              <a:ext uri="{FF2B5EF4-FFF2-40B4-BE49-F238E27FC236}">
                <a16:creationId xmlns:a16="http://schemas.microsoft.com/office/drawing/2014/main" id="{4BA4FB21-F48C-20F5-4002-201421141A25}"/>
              </a:ext>
            </a:extLst>
          </p:cNvPr>
          <p:cNvGrpSpPr/>
          <p:nvPr/>
        </p:nvGrpSpPr>
        <p:grpSpPr>
          <a:xfrm>
            <a:off x="2894512" y="3829977"/>
            <a:ext cx="1828800" cy="736066"/>
            <a:chOff x="2897762" y="3447090"/>
            <a:chExt cx="1828800" cy="736066"/>
          </a:xfrm>
        </p:grpSpPr>
        <p:sp>
          <p:nvSpPr>
            <p:cNvPr id="4" name="Rectangle: Rounded Corners 3">
              <a:extLst>
                <a:ext uri="{FF2B5EF4-FFF2-40B4-BE49-F238E27FC236}">
                  <a16:creationId xmlns:a16="http://schemas.microsoft.com/office/drawing/2014/main" id="{92754494-CBC1-AA8F-0B96-54FAC41B2457}"/>
                </a:ext>
              </a:extLst>
            </p:cNvPr>
            <p:cNvSpPr/>
            <p:nvPr/>
          </p:nvSpPr>
          <p:spPr bwMode="auto">
            <a:xfrm>
              <a:off x="2897762" y="3447090"/>
              <a:ext cx="1828800" cy="736066"/>
            </a:xfrm>
            <a:prstGeom prst="roundRect">
              <a:avLst/>
            </a:prstGeom>
            <a:solidFill>
              <a:schemeClr val="bg1"/>
            </a:solidFill>
            <a:ln w="63500">
              <a:solidFill>
                <a:srgbClr val="4A576D"/>
              </a:solidFill>
            </a:ln>
            <a:effectLst/>
          </p:spPr>
          <p:txBody>
            <a:bodyPr wrap="square" lIns="320040" tIns="91440" rIns="91440" bIns="91440" rtlCol="0"/>
            <a:lstStyle/>
            <a:p>
              <a:pPr marL="0" marR="0" lvl="0" indent="0" algn="l" defTabSz="623318"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20" normalizeH="0" baseline="0" noProof="0">
                  <a:ln>
                    <a:noFill/>
                  </a:ln>
                  <a:solidFill>
                    <a:prstClr val="black"/>
                  </a:solidFill>
                  <a:effectLst/>
                  <a:uLnTx/>
                  <a:uFillTx/>
                  <a:latin typeface="Segoe Sans Display"/>
                  <a:ea typeface="+mn-ea"/>
                  <a:cs typeface="+mn-cs"/>
                </a:rPr>
                <a:t>Marketing Team</a:t>
              </a:r>
            </a:p>
            <a:p>
              <a:pPr marL="0" marR="0" lvl="0" indent="0" algn="l" defTabSz="623318"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20" normalizeH="0" baseline="0" noProof="0">
                  <a:ln>
                    <a:noFill/>
                  </a:ln>
                  <a:solidFill>
                    <a:prstClr val="black"/>
                  </a:solidFill>
                  <a:effectLst/>
                  <a:uLnTx/>
                  <a:uFillTx/>
                  <a:latin typeface="Segoe Sans Display"/>
                  <a:ea typeface="+mn-ea"/>
                  <a:cs typeface="+mn-cs"/>
                </a:rPr>
                <a:t>All users</a:t>
              </a:r>
            </a:p>
          </p:txBody>
        </p:sp>
        <p:pic>
          <p:nvPicPr>
            <p:cNvPr id="94" name="Graphic 93">
              <a:extLst>
                <a:ext uri="{FF2B5EF4-FFF2-40B4-BE49-F238E27FC236}">
                  <a16:creationId xmlns:a16="http://schemas.microsoft.com/office/drawing/2014/main" id="{02A11353-AB4A-35E5-4B5A-84982B226DB1}"/>
                </a:ext>
              </a:extLst>
            </p:cNvPr>
            <p:cNvPicPr>
              <a:picLocks noChangeAspect="1"/>
            </p:cNvPicPr>
            <p:nvPr/>
          </p:nvPicPr>
          <p:blipFill>
            <a:blip r:embed="rId5">
              <a:extLst>
                <a:ext uri="{96DAC541-7B7A-43D3-8B79-37D633B846F1}">
                  <asvg:svgBlip xmlns:asvg="http://schemas.microsoft.com/office/drawing/2016/SVG/main" r:embed="rId6"/>
                </a:ext>
              </a:extLst>
            </a:blip>
            <a:srcRect l="831" r="831"/>
            <a:stretch/>
          </p:blipFill>
          <p:spPr>
            <a:xfrm>
              <a:off x="3012486" y="3593038"/>
              <a:ext cx="178586" cy="181604"/>
            </a:xfrm>
            <a:prstGeom prst="rect">
              <a:avLst/>
            </a:prstGeom>
          </p:spPr>
        </p:pic>
        <p:pic>
          <p:nvPicPr>
            <p:cNvPr id="95" name="Graphic 94">
              <a:extLst>
                <a:ext uri="{FF2B5EF4-FFF2-40B4-BE49-F238E27FC236}">
                  <a16:creationId xmlns:a16="http://schemas.microsoft.com/office/drawing/2014/main" id="{73CF39E6-2428-18C0-B5D0-6C7A87F10415}"/>
                </a:ext>
              </a:extLst>
            </p:cNvPr>
            <p:cNvPicPr>
              <a:picLocks noChangeAspect="1"/>
            </p:cNvPicPr>
            <p:nvPr/>
          </p:nvPicPr>
          <p:blipFill>
            <a:blip r:embed="rId3">
              <a:extLst>
                <a:ext uri="{96DAC541-7B7A-43D3-8B79-37D633B846F1}">
                  <asvg:svgBlip xmlns:asvg="http://schemas.microsoft.com/office/drawing/2016/SVG/main" r:embed="rId4"/>
                </a:ext>
              </a:extLst>
            </a:blip>
            <a:srcRect l="831" r="831"/>
            <a:stretch/>
          </p:blipFill>
          <p:spPr>
            <a:xfrm>
              <a:off x="3012486" y="3819257"/>
              <a:ext cx="178586" cy="181604"/>
            </a:xfrm>
            <a:prstGeom prst="rect">
              <a:avLst/>
            </a:prstGeom>
          </p:spPr>
        </p:pic>
      </p:grpSp>
      <p:grpSp>
        <p:nvGrpSpPr>
          <p:cNvPr id="140" name="Group 139">
            <a:extLst>
              <a:ext uri="{FF2B5EF4-FFF2-40B4-BE49-F238E27FC236}">
                <a16:creationId xmlns:a16="http://schemas.microsoft.com/office/drawing/2014/main" id="{3F7F180B-F2CF-C33D-0EED-ED19C75C14B8}"/>
              </a:ext>
            </a:extLst>
          </p:cNvPr>
          <p:cNvGrpSpPr/>
          <p:nvPr/>
        </p:nvGrpSpPr>
        <p:grpSpPr>
          <a:xfrm>
            <a:off x="5181600" y="3829977"/>
            <a:ext cx="1828800" cy="736066"/>
            <a:chOff x="5207262" y="3447090"/>
            <a:chExt cx="1828800" cy="736066"/>
          </a:xfrm>
        </p:grpSpPr>
        <p:sp>
          <p:nvSpPr>
            <p:cNvPr id="6" name="Rectangle: Rounded Corners 5">
              <a:extLst>
                <a:ext uri="{FF2B5EF4-FFF2-40B4-BE49-F238E27FC236}">
                  <a16:creationId xmlns:a16="http://schemas.microsoft.com/office/drawing/2014/main" id="{F9579B85-5A70-5551-3734-EF2232F9BFEA}"/>
                </a:ext>
              </a:extLst>
            </p:cNvPr>
            <p:cNvSpPr/>
            <p:nvPr/>
          </p:nvSpPr>
          <p:spPr bwMode="auto">
            <a:xfrm>
              <a:off x="5207262" y="3447090"/>
              <a:ext cx="1828800" cy="736066"/>
            </a:xfrm>
            <a:prstGeom prst="roundRect">
              <a:avLst/>
            </a:prstGeom>
            <a:solidFill>
              <a:schemeClr val="bg1"/>
            </a:solidFill>
            <a:ln w="63500">
              <a:solidFill>
                <a:srgbClr val="4A576D"/>
              </a:solidFill>
            </a:ln>
            <a:effectLst/>
          </p:spPr>
          <p:txBody>
            <a:bodyPr wrap="square" lIns="320040" tIns="91440" rIns="91440" bIns="91440" rtlCol="0"/>
            <a:lstStyle/>
            <a:p>
              <a:pPr marL="0" marR="0" lvl="0" indent="0" algn="l" defTabSz="623318"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20" normalizeH="0" baseline="0" noProof="0">
                  <a:ln>
                    <a:noFill/>
                  </a:ln>
                  <a:solidFill>
                    <a:prstClr val="black"/>
                  </a:solidFill>
                  <a:effectLst/>
                  <a:uLnTx/>
                  <a:uFillTx/>
                  <a:latin typeface="Segoe Sans Display"/>
                  <a:ea typeface="+mn-ea"/>
                  <a:cs typeface="+mn-cs"/>
                </a:rPr>
                <a:t>Project X Team</a:t>
              </a:r>
            </a:p>
            <a:p>
              <a:pPr marL="0" marR="0" lvl="0" indent="0" algn="l" defTabSz="623318"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20" normalizeH="0" baseline="0" noProof="0">
                  <a:ln>
                    <a:noFill/>
                  </a:ln>
                  <a:solidFill>
                    <a:prstClr val="black"/>
                  </a:solidFill>
                  <a:effectLst/>
                  <a:uLnTx/>
                  <a:uFillTx/>
                  <a:latin typeface="Segoe Sans Display"/>
                  <a:ea typeface="+mn-ea"/>
                  <a:cs typeface="+mn-cs"/>
                </a:rPr>
                <a:t>All users</a:t>
              </a:r>
            </a:p>
          </p:txBody>
        </p:sp>
        <p:pic>
          <p:nvPicPr>
            <p:cNvPr id="96" name="Graphic 95">
              <a:extLst>
                <a:ext uri="{FF2B5EF4-FFF2-40B4-BE49-F238E27FC236}">
                  <a16:creationId xmlns:a16="http://schemas.microsoft.com/office/drawing/2014/main" id="{45A9FF0A-64E2-8FC3-7369-2E4B0F416A27}"/>
                </a:ext>
              </a:extLst>
            </p:cNvPr>
            <p:cNvPicPr>
              <a:picLocks noChangeAspect="1"/>
            </p:cNvPicPr>
            <p:nvPr/>
          </p:nvPicPr>
          <p:blipFill>
            <a:blip r:embed="rId5">
              <a:extLst>
                <a:ext uri="{96DAC541-7B7A-43D3-8B79-37D633B846F1}">
                  <asvg:svgBlip xmlns:asvg="http://schemas.microsoft.com/office/drawing/2016/SVG/main" r:embed="rId6"/>
                </a:ext>
              </a:extLst>
            </a:blip>
            <a:srcRect l="831" r="831"/>
            <a:stretch/>
          </p:blipFill>
          <p:spPr>
            <a:xfrm>
              <a:off x="5320462" y="3593038"/>
              <a:ext cx="178586" cy="181604"/>
            </a:xfrm>
            <a:prstGeom prst="rect">
              <a:avLst/>
            </a:prstGeom>
          </p:spPr>
        </p:pic>
        <p:pic>
          <p:nvPicPr>
            <p:cNvPr id="97" name="Graphic 96">
              <a:extLst>
                <a:ext uri="{FF2B5EF4-FFF2-40B4-BE49-F238E27FC236}">
                  <a16:creationId xmlns:a16="http://schemas.microsoft.com/office/drawing/2014/main" id="{B272796C-2CFE-540B-798A-195F9C5824ED}"/>
                </a:ext>
              </a:extLst>
            </p:cNvPr>
            <p:cNvPicPr>
              <a:picLocks noChangeAspect="1"/>
            </p:cNvPicPr>
            <p:nvPr/>
          </p:nvPicPr>
          <p:blipFill>
            <a:blip r:embed="rId3">
              <a:extLst>
                <a:ext uri="{96DAC541-7B7A-43D3-8B79-37D633B846F1}">
                  <asvg:svgBlip xmlns:asvg="http://schemas.microsoft.com/office/drawing/2016/SVG/main" r:embed="rId4"/>
                </a:ext>
              </a:extLst>
            </a:blip>
            <a:srcRect l="831" r="831"/>
            <a:stretch/>
          </p:blipFill>
          <p:spPr>
            <a:xfrm>
              <a:off x="5320462" y="3819257"/>
              <a:ext cx="178586" cy="181604"/>
            </a:xfrm>
            <a:prstGeom prst="rect">
              <a:avLst/>
            </a:prstGeom>
          </p:spPr>
        </p:pic>
      </p:grpSp>
      <p:sp>
        <p:nvSpPr>
          <p:cNvPr id="102" name="Graphic 100">
            <a:extLst>
              <a:ext uri="{FF2B5EF4-FFF2-40B4-BE49-F238E27FC236}">
                <a16:creationId xmlns:a16="http://schemas.microsoft.com/office/drawing/2014/main" id="{3CE6895F-6E85-0D36-7DB9-1844FE0B9B7A}"/>
              </a:ext>
            </a:extLst>
          </p:cNvPr>
          <p:cNvSpPr/>
          <p:nvPr/>
        </p:nvSpPr>
        <p:spPr>
          <a:xfrm>
            <a:off x="5695951" y="5409859"/>
            <a:ext cx="800098" cy="687730"/>
          </a:xfrm>
          <a:custGeom>
            <a:avLst/>
            <a:gdLst>
              <a:gd name="connsiteX0" fmla="*/ 154933 w 516449"/>
              <a:gd name="connsiteY0" fmla="*/ 208902 h 443917"/>
              <a:gd name="connsiteX1" fmla="*/ 258222 w 516449"/>
              <a:gd name="connsiteY1" fmla="*/ 104451 h 443917"/>
              <a:gd name="connsiteX2" fmla="*/ 154933 w 516449"/>
              <a:gd name="connsiteY2" fmla="*/ 0 h 443917"/>
              <a:gd name="connsiteX3" fmla="*/ 51644 w 516449"/>
              <a:gd name="connsiteY3" fmla="*/ 104451 h 443917"/>
              <a:gd name="connsiteX4" fmla="*/ 154933 w 516449"/>
              <a:gd name="connsiteY4" fmla="*/ 208902 h 443917"/>
              <a:gd name="connsiteX5" fmla="*/ 387333 w 516449"/>
              <a:gd name="connsiteY5" fmla="*/ 208902 h 443917"/>
              <a:gd name="connsiteX6" fmla="*/ 464800 w 516449"/>
              <a:gd name="connsiteY6" fmla="*/ 130564 h 443917"/>
              <a:gd name="connsiteX7" fmla="*/ 387333 w 516449"/>
              <a:gd name="connsiteY7" fmla="*/ 52226 h 443917"/>
              <a:gd name="connsiteX8" fmla="*/ 309867 w 516449"/>
              <a:gd name="connsiteY8" fmla="*/ 130564 h 443917"/>
              <a:gd name="connsiteX9" fmla="*/ 387333 w 516449"/>
              <a:gd name="connsiteY9" fmla="*/ 208902 h 443917"/>
              <a:gd name="connsiteX10" fmla="*/ 58100 w 516449"/>
              <a:gd name="connsiteY10" fmla="*/ 261128 h 443917"/>
              <a:gd name="connsiteX11" fmla="*/ 0 w 516449"/>
              <a:gd name="connsiteY11" fmla="*/ 319882 h 443917"/>
              <a:gd name="connsiteX12" fmla="*/ 0 w 516449"/>
              <a:gd name="connsiteY12" fmla="*/ 326410 h 443917"/>
              <a:gd name="connsiteX13" fmla="*/ 154933 w 516449"/>
              <a:gd name="connsiteY13" fmla="*/ 443917 h 443917"/>
              <a:gd name="connsiteX14" fmla="*/ 309867 w 516449"/>
              <a:gd name="connsiteY14" fmla="*/ 326410 h 443917"/>
              <a:gd name="connsiteX15" fmla="*/ 309867 w 516449"/>
              <a:gd name="connsiteY15" fmla="*/ 319882 h 443917"/>
              <a:gd name="connsiteX16" fmla="*/ 251767 w 516449"/>
              <a:gd name="connsiteY16" fmla="*/ 261128 h 443917"/>
              <a:gd name="connsiteX17" fmla="*/ 58100 w 516449"/>
              <a:gd name="connsiteY17" fmla="*/ 261128 h 443917"/>
              <a:gd name="connsiteX18" fmla="*/ 387338 w 516449"/>
              <a:gd name="connsiteY18" fmla="*/ 404748 h 443917"/>
              <a:gd name="connsiteX19" fmla="*/ 316201 w 516449"/>
              <a:gd name="connsiteY19" fmla="*/ 392778 h 443917"/>
              <a:gd name="connsiteX20" fmla="*/ 332394 w 516449"/>
              <a:gd name="connsiteY20" fmla="*/ 352094 h 443917"/>
              <a:gd name="connsiteX21" fmla="*/ 335206 w 516449"/>
              <a:gd name="connsiteY21" fmla="*/ 335166 h 443917"/>
              <a:gd name="connsiteX22" fmla="*/ 335611 w 516449"/>
              <a:gd name="connsiteY22" fmla="*/ 329640 h 443917"/>
              <a:gd name="connsiteX23" fmla="*/ 335678 w 516449"/>
              <a:gd name="connsiteY23" fmla="*/ 327723 h 443917"/>
              <a:gd name="connsiteX24" fmla="*/ 335691 w 516449"/>
              <a:gd name="connsiteY24" fmla="*/ 326990 h 443917"/>
              <a:gd name="connsiteX25" fmla="*/ 335694 w 516449"/>
              <a:gd name="connsiteY25" fmla="*/ 326679 h 443917"/>
              <a:gd name="connsiteX26" fmla="*/ 335694 w 516449"/>
              <a:gd name="connsiteY26" fmla="*/ 326540 h 443917"/>
              <a:gd name="connsiteX27" fmla="*/ 335694 w 516449"/>
              <a:gd name="connsiteY27" fmla="*/ 326473 h 443917"/>
              <a:gd name="connsiteX28" fmla="*/ 335694 w 516449"/>
              <a:gd name="connsiteY28" fmla="*/ 326410 h 443917"/>
              <a:gd name="connsiteX29" fmla="*/ 335694 w 516449"/>
              <a:gd name="connsiteY29" fmla="*/ 319882 h 443917"/>
              <a:gd name="connsiteX30" fmla="*/ 312389 w 516449"/>
              <a:gd name="connsiteY30" fmla="*/ 261188 h 443917"/>
              <a:gd name="connsiteX31" fmla="*/ 315036 w 516449"/>
              <a:gd name="connsiteY31" fmla="*/ 261128 h 443917"/>
              <a:gd name="connsiteX32" fmla="*/ 459640 w 516449"/>
              <a:gd name="connsiteY32" fmla="*/ 261128 h 443917"/>
              <a:gd name="connsiteX33" fmla="*/ 516449 w 516449"/>
              <a:gd name="connsiteY33" fmla="*/ 318576 h 443917"/>
              <a:gd name="connsiteX34" fmla="*/ 387338 w 516449"/>
              <a:gd name="connsiteY34" fmla="*/ 404748 h 443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16449" h="443917">
                <a:moveTo>
                  <a:pt x="154933" y="208902"/>
                </a:moveTo>
                <a:cubicBezTo>
                  <a:pt x="211977" y="208902"/>
                  <a:pt x="258222" y="162137"/>
                  <a:pt x="258222" y="104451"/>
                </a:cubicBezTo>
                <a:cubicBezTo>
                  <a:pt x="258222" y="46764"/>
                  <a:pt x="211977" y="0"/>
                  <a:pt x="154933" y="0"/>
                </a:cubicBezTo>
                <a:cubicBezTo>
                  <a:pt x="97888" y="0"/>
                  <a:pt x="51644" y="46764"/>
                  <a:pt x="51644" y="104451"/>
                </a:cubicBezTo>
                <a:cubicBezTo>
                  <a:pt x="51644" y="162137"/>
                  <a:pt x="97888" y="208902"/>
                  <a:pt x="154933" y="208902"/>
                </a:cubicBezTo>
                <a:close/>
                <a:moveTo>
                  <a:pt x="387333" y="208902"/>
                </a:moveTo>
                <a:cubicBezTo>
                  <a:pt x="430118" y="208902"/>
                  <a:pt x="464800" y="173830"/>
                  <a:pt x="464800" y="130564"/>
                </a:cubicBezTo>
                <a:cubicBezTo>
                  <a:pt x="464800" y="87299"/>
                  <a:pt x="430118" y="52226"/>
                  <a:pt x="387333" y="52226"/>
                </a:cubicBezTo>
                <a:cubicBezTo>
                  <a:pt x="344548" y="52226"/>
                  <a:pt x="309867" y="87299"/>
                  <a:pt x="309867" y="130564"/>
                </a:cubicBezTo>
                <a:cubicBezTo>
                  <a:pt x="309867" y="173830"/>
                  <a:pt x="344548" y="208902"/>
                  <a:pt x="387333" y="208902"/>
                </a:cubicBezTo>
                <a:close/>
                <a:moveTo>
                  <a:pt x="58100" y="261128"/>
                </a:moveTo>
                <a:cubicBezTo>
                  <a:pt x="26012" y="261128"/>
                  <a:pt x="0" y="287434"/>
                  <a:pt x="0" y="319882"/>
                </a:cubicBezTo>
                <a:lnTo>
                  <a:pt x="0" y="326410"/>
                </a:lnTo>
                <a:cubicBezTo>
                  <a:pt x="0" y="326410"/>
                  <a:pt x="0" y="443917"/>
                  <a:pt x="154933" y="443917"/>
                </a:cubicBezTo>
                <a:cubicBezTo>
                  <a:pt x="309867" y="443917"/>
                  <a:pt x="309867" y="326410"/>
                  <a:pt x="309867" y="326410"/>
                </a:cubicBezTo>
                <a:lnTo>
                  <a:pt x="309867" y="319882"/>
                </a:lnTo>
                <a:cubicBezTo>
                  <a:pt x="309867" y="287434"/>
                  <a:pt x="283853" y="261128"/>
                  <a:pt x="251767" y="261128"/>
                </a:cubicBezTo>
                <a:lnTo>
                  <a:pt x="58100" y="261128"/>
                </a:lnTo>
                <a:close/>
                <a:moveTo>
                  <a:pt x="387338" y="404748"/>
                </a:moveTo>
                <a:cubicBezTo>
                  <a:pt x="357095" y="404748"/>
                  <a:pt x="333935" y="400019"/>
                  <a:pt x="316201" y="392778"/>
                </a:cubicBezTo>
                <a:cubicBezTo>
                  <a:pt x="325032" y="377766"/>
                  <a:pt x="329799" y="363339"/>
                  <a:pt x="332394" y="352094"/>
                </a:cubicBezTo>
                <a:cubicBezTo>
                  <a:pt x="333953" y="345334"/>
                  <a:pt x="334772" y="339537"/>
                  <a:pt x="335206" y="335166"/>
                </a:cubicBezTo>
                <a:cubicBezTo>
                  <a:pt x="335423" y="332969"/>
                  <a:pt x="335544" y="331110"/>
                  <a:pt x="335611" y="329640"/>
                </a:cubicBezTo>
                <a:cubicBezTo>
                  <a:pt x="335645" y="328904"/>
                  <a:pt x="335665" y="328261"/>
                  <a:pt x="335678" y="327723"/>
                </a:cubicBezTo>
                <a:lnTo>
                  <a:pt x="335691" y="326990"/>
                </a:lnTo>
                <a:lnTo>
                  <a:pt x="335694" y="326679"/>
                </a:lnTo>
                <a:lnTo>
                  <a:pt x="335694" y="326540"/>
                </a:lnTo>
                <a:lnTo>
                  <a:pt x="335694" y="326473"/>
                </a:lnTo>
                <a:cubicBezTo>
                  <a:pt x="335694" y="326389"/>
                  <a:pt x="335694" y="326410"/>
                  <a:pt x="335694" y="326410"/>
                </a:cubicBezTo>
                <a:lnTo>
                  <a:pt x="335694" y="319882"/>
                </a:lnTo>
                <a:cubicBezTo>
                  <a:pt x="335694" y="297109"/>
                  <a:pt x="326824" y="276433"/>
                  <a:pt x="312389" y="261188"/>
                </a:cubicBezTo>
                <a:cubicBezTo>
                  <a:pt x="313265" y="261149"/>
                  <a:pt x="314148" y="261128"/>
                  <a:pt x="315036" y="261128"/>
                </a:cubicBezTo>
                <a:lnTo>
                  <a:pt x="459640" y="261128"/>
                </a:lnTo>
                <a:cubicBezTo>
                  <a:pt x="491014" y="261128"/>
                  <a:pt x="516449" y="286849"/>
                  <a:pt x="516449" y="318576"/>
                </a:cubicBezTo>
                <a:cubicBezTo>
                  <a:pt x="516449" y="318576"/>
                  <a:pt x="516449" y="404748"/>
                  <a:pt x="387338" y="404748"/>
                </a:cubicBezTo>
                <a:close/>
              </a:path>
            </a:pathLst>
          </a:custGeom>
          <a:solidFill>
            <a:schemeClr val="bg1"/>
          </a:solidFill>
          <a:ln w="25797"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grpSp>
        <p:nvGrpSpPr>
          <p:cNvPr id="136" name="Group 135">
            <a:extLst>
              <a:ext uri="{FF2B5EF4-FFF2-40B4-BE49-F238E27FC236}">
                <a16:creationId xmlns:a16="http://schemas.microsoft.com/office/drawing/2014/main" id="{541951C0-08E5-95F9-0B66-592A4BE52270}"/>
              </a:ext>
            </a:extLst>
          </p:cNvPr>
          <p:cNvGrpSpPr/>
          <p:nvPr/>
        </p:nvGrpSpPr>
        <p:grpSpPr>
          <a:xfrm>
            <a:off x="7364362" y="3829977"/>
            <a:ext cx="2057400" cy="736066"/>
            <a:chOff x="7516760" y="3447090"/>
            <a:chExt cx="2057400" cy="736066"/>
          </a:xfrm>
        </p:grpSpPr>
        <p:sp>
          <p:nvSpPr>
            <p:cNvPr id="7" name="Rectangle: Rounded Corners 6">
              <a:extLst>
                <a:ext uri="{FF2B5EF4-FFF2-40B4-BE49-F238E27FC236}">
                  <a16:creationId xmlns:a16="http://schemas.microsoft.com/office/drawing/2014/main" id="{ACF595A5-95DD-12D5-C13E-07201E7355DC}"/>
                </a:ext>
              </a:extLst>
            </p:cNvPr>
            <p:cNvSpPr/>
            <p:nvPr/>
          </p:nvSpPr>
          <p:spPr bwMode="auto">
            <a:xfrm>
              <a:off x="7516760" y="3447090"/>
              <a:ext cx="2057400" cy="736066"/>
            </a:xfrm>
            <a:prstGeom prst="roundRect">
              <a:avLst/>
            </a:prstGeom>
            <a:solidFill>
              <a:schemeClr val="bg1"/>
            </a:solidFill>
            <a:ln w="63500">
              <a:solidFill>
                <a:srgbClr val="4A576D"/>
              </a:solidFill>
            </a:ln>
            <a:effectLst/>
          </p:spPr>
          <p:txBody>
            <a:bodyPr wrap="square" lIns="320040" tIns="91440" rIns="91440" bIns="91440" rtlCol="0"/>
            <a:lstStyle/>
            <a:p>
              <a:pPr marL="0" marR="0" lvl="0" indent="0" algn="l" defTabSz="623318"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20" normalizeH="0" baseline="0" noProof="0">
                  <a:ln>
                    <a:noFill/>
                  </a:ln>
                  <a:solidFill>
                    <a:prstClr val="black"/>
                  </a:solidFill>
                  <a:effectLst/>
                  <a:uLnTx/>
                  <a:uFillTx/>
                  <a:latin typeface="Segoe Sans Display"/>
                  <a:ea typeface="+mn-ea"/>
                  <a:cs typeface="+mn-cs"/>
                </a:rPr>
                <a:t>Known Repo</a:t>
              </a:r>
            </a:p>
            <a:p>
              <a:pPr marL="0" marR="0" lvl="0" indent="0" algn="l" defTabSz="623318"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20" normalizeH="0" baseline="0" noProof="0">
                  <a:ln>
                    <a:noFill/>
                  </a:ln>
                  <a:solidFill>
                    <a:prstClr val="black"/>
                  </a:solidFill>
                  <a:effectLst/>
                  <a:uLnTx/>
                  <a:uFillTx/>
                  <a:latin typeface="Segoe Sans Display"/>
                  <a:ea typeface="+mn-ea"/>
                  <a:cs typeface="+mn-cs"/>
                </a:rPr>
                <a:t>Unknown Repo</a:t>
              </a:r>
            </a:p>
          </p:txBody>
        </p:sp>
        <p:pic>
          <p:nvPicPr>
            <p:cNvPr id="113" name="Graphic 112">
              <a:extLst>
                <a:ext uri="{FF2B5EF4-FFF2-40B4-BE49-F238E27FC236}">
                  <a16:creationId xmlns:a16="http://schemas.microsoft.com/office/drawing/2014/main" id="{9000677A-4A92-D8A5-4E30-72797B994572}"/>
                </a:ext>
              </a:extLst>
            </p:cNvPr>
            <p:cNvPicPr>
              <a:picLocks noChangeAspect="1"/>
            </p:cNvPicPr>
            <p:nvPr/>
          </p:nvPicPr>
          <p:blipFill>
            <a:blip r:embed="rId5">
              <a:extLst>
                <a:ext uri="{96DAC541-7B7A-43D3-8B79-37D633B846F1}">
                  <asvg:svgBlip xmlns:asvg="http://schemas.microsoft.com/office/drawing/2016/SVG/main" r:embed="rId6"/>
                </a:ext>
              </a:extLst>
            </a:blip>
            <a:srcRect l="462" r="462"/>
            <a:stretch/>
          </p:blipFill>
          <p:spPr>
            <a:xfrm>
              <a:off x="7651532" y="3593038"/>
              <a:ext cx="179926" cy="181604"/>
            </a:xfrm>
            <a:prstGeom prst="rect">
              <a:avLst/>
            </a:prstGeom>
          </p:spPr>
        </p:pic>
        <p:pic>
          <p:nvPicPr>
            <p:cNvPr id="114" name="Graphic 113">
              <a:extLst>
                <a:ext uri="{FF2B5EF4-FFF2-40B4-BE49-F238E27FC236}">
                  <a16:creationId xmlns:a16="http://schemas.microsoft.com/office/drawing/2014/main" id="{E8529DF0-987A-5335-907D-2ACF5FFA302E}"/>
                </a:ext>
              </a:extLst>
            </p:cNvPr>
            <p:cNvPicPr>
              <a:picLocks noChangeAspect="1"/>
            </p:cNvPicPr>
            <p:nvPr/>
          </p:nvPicPr>
          <p:blipFill>
            <a:blip r:embed="rId3">
              <a:extLst>
                <a:ext uri="{96DAC541-7B7A-43D3-8B79-37D633B846F1}">
                  <asvg:svgBlip xmlns:asvg="http://schemas.microsoft.com/office/drawing/2016/SVG/main" r:embed="rId4"/>
                </a:ext>
              </a:extLst>
            </a:blip>
            <a:srcRect l="462" r="462"/>
            <a:stretch/>
          </p:blipFill>
          <p:spPr>
            <a:xfrm>
              <a:off x="7651532" y="3821638"/>
              <a:ext cx="179926" cy="181604"/>
            </a:xfrm>
            <a:prstGeom prst="rect">
              <a:avLst/>
            </a:prstGeom>
          </p:spPr>
        </p:pic>
      </p:grpSp>
      <p:grpSp>
        <p:nvGrpSpPr>
          <p:cNvPr id="137" name="Group 136">
            <a:extLst>
              <a:ext uri="{FF2B5EF4-FFF2-40B4-BE49-F238E27FC236}">
                <a16:creationId xmlns:a16="http://schemas.microsoft.com/office/drawing/2014/main" id="{B92CBCB7-95AB-ED39-D59B-DFF7F023F764}"/>
              </a:ext>
            </a:extLst>
          </p:cNvPr>
          <p:cNvGrpSpPr/>
          <p:nvPr/>
        </p:nvGrpSpPr>
        <p:grpSpPr>
          <a:xfrm>
            <a:off x="9753600" y="3829977"/>
            <a:ext cx="1828800" cy="736066"/>
            <a:chOff x="9777983" y="3447090"/>
            <a:chExt cx="1828800" cy="736066"/>
          </a:xfrm>
        </p:grpSpPr>
        <p:sp>
          <p:nvSpPr>
            <p:cNvPr id="11" name="Rectangle: Rounded Corners 10">
              <a:extLst>
                <a:ext uri="{FF2B5EF4-FFF2-40B4-BE49-F238E27FC236}">
                  <a16:creationId xmlns:a16="http://schemas.microsoft.com/office/drawing/2014/main" id="{D2DE4591-293F-DCDB-9787-6A812F4F1827}"/>
                </a:ext>
              </a:extLst>
            </p:cNvPr>
            <p:cNvSpPr/>
            <p:nvPr/>
          </p:nvSpPr>
          <p:spPr bwMode="auto">
            <a:xfrm>
              <a:off x="9777983" y="3447090"/>
              <a:ext cx="1828800" cy="736066"/>
            </a:xfrm>
            <a:prstGeom prst="roundRect">
              <a:avLst/>
            </a:prstGeom>
            <a:solidFill>
              <a:schemeClr val="bg1"/>
            </a:solidFill>
            <a:ln w="63500">
              <a:solidFill>
                <a:srgbClr val="4A576D"/>
              </a:solidFill>
            </a:ln>
            <a:effectLst/>
          </p:spPr>
          <p:txBody>
            <a:bodyPr wrap="square" lIns="320040" tIns="91440" rIns="91440" bIns="91440" rtlCol="0"/>
            <a:lstStyle/>
            <a:p>
              <a:pPr marL="0" marR="0" lvl="0" indent="0" algn="l" defTabSz="623318"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20" normalizeH="0" baseline="0" noProof="0">
                  <a:ln>
                    <a:noFill/>
                  </a:ln>
                  <a:solidFill>
                    <a:prstClr val="black"/>
                  </a:solidFill>
                  <a:effectLst/>
                  <a:uLnTx/>
                  <a:uFillTx/>
                  <a:latin typeface="Segoe Sans Display"/>
                  <a:ea typeface="+mn-ea"/>
                  <a:cs typeface="+mn-cs"/>
                </a:rPr>
                <a:t>Known Tenants</a:t>
              </a:r>
            </a:p>
            <a:p>
              <a:pPr marL="0" marR="0" lvl="0" indent="0" algn="l" defTabSz="623318"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20" normalizeH="0" baseline="0" noProof="0">
                  <a:ln>
                    <a:noFill/>
                  </a:ln>
                  <a:solidFill>
                    <a:prstClr val="black"/>
                  </a:solidFill>
                  <a:effectLst/>
                  <a:uLnTx/>
                  <a:uFillTx/>
                  <a:latin typeface="Segoe Sans Display"/>
                  <a:ea typeface="+mn-ea"/>
                  <a:cs typeface="+mn-cs"/>
                </a:rPr>
                <a:t>Anonymous Tenants</a:t>
              </a:r>
            </a:p>
          </p:txBody>
        </p:sp>
        <p:pic>
          <p:nvPicPr>
            <p:cNvPr id="129" name="Graphic 128">
              <a:extLst>
                <a:ext uri="{FF2B5EF4-FFF2-40B4-BE49-F238E27FC236}">
                  <a16:creationId xmlns:a16="http://schemas.microsoft.com/office/drawing/2014/main" id="{45D55E44-7CFC-FB82-B17E-5EBCBA9CA857}"/>
                </a:ext>
              </a:extLst>
            </p:cNvPr>
            <p:cNvPicPr>
              <a:picLocks noChangeAspect="1"/>
            </p:cNvPicPr>
            <p:nvPr/>
          </p:nvPicPr>
          <p:blipFill>
            <a:blip r:embed="rId5">
              <a:extLst>
                <a:ext uri="{96DAC541-7B7A-43D3-8B79-37D633B846F1}">
                  <asvg:svgBlip xmlns:asvg="http://schemas.microsoft.com/office/drawing/2016/SVG/main" r:embed="rId6"/>
                </a:ext>
              </a:extLst>
            </a:blip>
            <a:srcRect l="256" r="256"/>
            <a:stretch/>
          </p:blipFill>
          <p:spPr>
            <a:xfrm>
              <a:off x="9904040" y="3593038"/>
              <a:ext cx="180673" cy="181604"/>
            </a:xfrm>
            <a:prstGeom prst="rect">
              <a:avLst/>
            </a:prstGeom>
          </p:spPr>
        </p:pic>
        <p:pic>
          <p:nvPicPr>
            <p:cNvPr id="132" name="Graphic 131">
              <a:extLst>
                <a:ext uri="{FF2B5EF4-FFF2-40B4-BE49-F238E27FC236}">
                  <a16:creationId xmlns:a16="http://schemas.microsoft.com/office/drawing/2014/main" id="{B6FF2C51-BA7B-6973-10C5-08C76F801209}"/>
                </a:ext>
              </a:extLst>
            </p:cNvPr>
            <p:cNvPicPr>
              <a:picLocks noChangeAspect="1"/>
            </p:cNvPicPr>
            <p:nvPr/>
          </p:nvPicPr>
          <p:blipFill>
            <a:blip r:embed="rId3">
              <a:extLst>
                <a:ext uri="{96DAC541-7B7A-43D3-8B79-37D633B846F1}">
                  <asvg:svgBlip xmlns:asvg="http://schemas.microsoft.com/office/drawing/2016/SVG/main" r:embed="rId4"/>
                </a:ext>
              </a:extLst>
            </a:blip>
            <a:srcRect l="256" r="256"/>
            <a:stretch/>
          </p:blipFill>
          <p:spPr>
            <a:xfrm>
              <a:off x="9904040" y="3821638"/>
              <a:ext cx="180673" cy="181604"/>
            </a:xfrm>
            <a:prstGeom prst="rect">
              <a:avLst/>
            </a:prstGeom>
          </p:spPr>
        </p:pic>
      </p:grpSp>
      <p:sp>
        <p:nvSpPr>
          <p:cNvPr id="143" name="TextBox 142">
            <a:extLst>
              <a:ext uri="{FF2B5EF4-FFF2-40B4-BE49-F238E27FC236}">
                <a16:creationId xmlns:a16="http://schemas.microsoft.com/office/drawing/2014/main" id="{A2799877-D5ED-601F-CD01-153D697789C9}"/>
              </a:ext>
            </a:extLst>
          </p:cNvPr>
          <p:cNvSpPr txBox="1"/>
          <p:nvPr/>
        </p:nvSpPr>
        <p:spPr>
          <a:xfrm>
            <a:off x="588263" y="1590482"/>
            <a:ext cx="1828800" cy="43088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878441">
              <a:spcAft>
                <a:spcPct val="0"/>
              </a:spcAft>
              <a:defRPr sz="1400" kern="0">
                <a:solidFill>
                  <a:srgbClr val="353535"/>
                </a:solidFill>
                <a:latin typeface="Segoe UI"/>
                <a:cs typeface="Segoe UI"/>
              </a:defRPr>
            </a:lvl1pPr>
          </a:lstStyle>
          <a:p>
            <a:pPr marL="0" marR="0" lvl="0" indent="0" algn="ctr" defTabSz="878441" rtl="0" eaLnBrk="1" fontAlgn="auto" latinLnBrk="0" hangingPunct="1">
              <a:lnSpc>
                <a:spcPct val="100000"/>
              </a:lnSpc>
              <a:spcBef>
                <a:spcPts val="0"/>
              </a:spcBef>
              <a:spcAft>
                <a:spcPct val="0"/>
              </a:spcAft>
              <a:buClrTx/>
              <a:buSzTx/>
              <a:buFontTx/>
              <a:buNone/>
              <a:tabLst/>
              <a:defRPr/>
            </a:pPr>
            <a:r>
              <a:rPr kumimoji="0" lang="en-US" sz="1400" b="0" i="0" u="none" strike="noStrike" kern="0" cap="none" spc="-40" normalizeH="0" baseline="0" noProof="0" dirty="0">
                <a:ln>
                  <a:noFill/>
                </a:ln>
                <a:solidFill>
                  <a:schemeClr val="tx1"/>
                </a:solidFill>
                <a:effectLst/>
                <a:uLnTx/>
                <a:uFillTx/>
                <a:latin typeface="Segoe UI Semibold" panose="020B0702040204020203" pitchFamily="34" charset="0"/>
                <a:ea typeface="+mn-ea"/>
                <a:cs typeface="Segoe UI Semibold" panose="020B0702040204020203" pitchFamily="34" charset="0"/>
              </a:rPr>
              <a:t>Malicious and</a:t>
            </a:r>
            <a:br>
              <a:rPr kumimoji="0" lang="en-US" sz="1400" b="0" i="0" u="none" strike="noStrike" kern="0" cap="none" spc="-40" normalizeH="0" baseline="0" noProof="0" dirty="0">
                <a:ln>
                  <a:noFill/>
                </a:ln>
                <a:solidFill>
                  <a:schemeClr val="tx1"/>
                </a:solidFill>
                <a:effectLst/>
                <a:uLnTx/>
                <a:uFillTx/>
                <a:latin typeface="Segoe UI Semibold" panose="020B0702040204020203" pitchFamily="34" charset="0"/>
                <a:ea typeface="+mn-ea"/>
                <a:cs typeface="Segoe UI Semibold" panose="020B0702040204020203" pitchFamily="34" charset="0"/>
              </a:rPr>
            </a:br>
            <a:r>
              <a:rPr kumimoji="0" lang="en-US" sz="1400" b="0" i="0" u="none" strike="noStrike" kern="0" cap="none" spc="-40" normalizeH="0" baseline="0" noProof="0" dirty="0">
                <a:ln>
                  <a:noFill/>
                </a:ln>
                <a:solidFill>
                  <a:schemeClr val="tx1"/>
                </a:solidFill>
                <a:effectLst/>
                <a:uLnTx/>
                <a:uFillTx/>
                <a:latin typeface="Segoe UI Semibold" panose="020B0702040204020203" pitchFamily="34" charset="0"/>
                <a:ea typeface="+mn-ea"/>
                <a:cs typeface="Segoe UI Semibold" panose="020B0702040204020203" pitchFamily="34" charset="0"/>
              </a:rPr>
              <a:t>non-compliant sites</a:t>
            </a:r>
          </a:p>
        </p:txBody>
      </p:sp>
      <p:sp>
        <p:nvSpPr>
          <p:cNvPr id="144" name="TextBox 143">
            <a:extLst>
              <a:ext uri="{FF2B5EF4-FFF2-40B4-BE49-F238E27FC236}">
                <a16:creationId xmlns:a16="http://schemas.microsoft.com/office/drawing/2014/main" id="{71B5A734-3AEE-4A01-D2CD-A929B243F65A}"/>
              </a:ext>
            </a:extLst>
          </p:cNvPr>
          <p:cNvSpPr txBox="1"/>
          <p:nvPr/>
        </p:nvSpPr>
        <p:spPr>
          <a:xfrm>
            <a:off x="2887583" y="1698203"/>
            <a:ext cx="1828800" cy="2154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878441">
              <a:spcAft>
                <a:spcPct val="0"/>
              </a:spcAft>
              <a:defRPr sz="1400" kern="0">
                <a:solidFill>
                  <a:srgbClr val="353535"/>
                </a:solidFill>
                <a:latin typeface="Segoe UI"/>
                <a:cs typeface="Segoe UI"/>
              </a:defRPr>
            </a:lvl1pPr>
          </a:lstStyle>
          <a:p>
            <a:pPr marL="0" marR="0" lvl="0" indent="0" algn="ctr" defTabSz="878441" rtl="0" eaLnBrk="1" fontAlgn="auto" latinLnBrk="0" hangingPunct="1">
              <a:lnSpc>
                <a:spcPct val="100000"/>
              </a:lnSpc>
              <a:spcBef>
                <a:spcPts val="0"/>
              </a:spcBef>
              <a:spcAft>
                <a:spcPct val="0"/>
              </a:spcAft>
              <a:buClrTx/>
              <a:buSzTx/>
              <a:buFontTx/>
              <a:buNone/>
              <a:tabLst/>
              <a:defRPr/>
            </a:pPr>
            <a:r>
              <a:rPr kumimoji="0" lang="en-US" sz="1400" b="0" i="0" u="none" strike="noStrike" kern="0" cap="none" spc="-4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Social media sites</a:t>
            </a:r>
          </a:p>
        </p:txBody>
      </p:sp>
      <p:sp>
        <p:nvSpPr>
          <p:cNvPr id="145" name="TextBox 144">
            <a:extLst>
              <a:ext uri="{FF2B5EF4-FFF2-40B4-BE49-F238E27FC236}">
                <a16:creationId xmlns:a16="http://schemas.microsoft.com/office/drawing/2014/main" id="{2550F97B-E840-B32E-AF1B-88DBBDADD2BE}"/>
              </a:ext>
            </a:extLst>
          </p:cNvPr>
          <p:cNvSpPr txBox="1"/>
          <p:nvPr/>
        </p:nvSpPr>
        <p:spPr>
          <a:xfrm>
            <a:off x="5170932" y="1698203"/>
            <a:ext cx="1828800" cy="2154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878441">
              <a:spcAft>
                <a:spcPct val="0"/>
              </a:spcAft>
              <a:defRPr sz="1400" kern="0">
                <a:solidFill>
                  <a:srgbClr val="353535"/>
                </a:solidFill>
                <a:latin typeface="Segoe UI"/>
                <a:cs typeface="Segoe UI"/>
              </a:defRPr>
            </a:lvl1pPr>
          </a:lstStyle>
          <a:p>
            <a:pPr marL="0" marR="0" lvl="0" indent="0" algn="ctr" defTabSz="878441" rtl="0" eaLnBrk="1" fontAlgn="auto" latinLnBrk="0" hangingPunct="1">
              <a:lnSpc>
                <a:spcPct val="100000"/>
              </a:lnSpc>
              <a:spcBef>
                <a:spcPts val="0"/>
              </a:spcBef>
              <a:spcAft>
                <a:spcPct val="0"/>
              </a:spcAft>
              <a:buClrTx/>
              <a:buSzTx/>
              <a:buFontTx/>
              <a:buNone/>
              <a:tabLst/>
              <a:defRPr/>
            </a:pPr>
            <a:r>
              <a:rPr kumimoji="0" lang="en-US" sz="1400" b="0" i="0" u="none" strike="noStrike" kern="0" cap="none" spc="-4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External storage sites</a:t>
            </a:r>
          </a:p>
        </p:txBody>
      </p:sp>
      <p:sp>
        <p:nvSpPr>
          <p:cNvPr id="146" name="TextBox 145">
            <a:extLst>
              <a:ext uri="{FF2B5EF4-FFF2-40B4-BE49-F238E27FC236}">
                <a16:creationId xmlns:a16="http://schemas.microsoft.com/office/drawing/2014/main" id="{FB9EE811-008B-842C-B7E1-4A6E78D47709}"/>
              </a:ext>
            </a:extLst>
          </p:cNvPr>
          <p:cNvSpPr txBox="1"/>
          <p:nvPr/>
        </p:nvSpPr>
        <p:spPr>
          <a:xfrm>
            <a:off x="7461014" y="1590482"/>
            <a:ext cx="1828800" cy="43088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878441">
              <a:spcAft>
                <a:spcPct val="0"/>
              </a:spcAft>
              <a:defRPr sz="1400" kern="0">
                <a:solidFill>
                  <a:srgbClr val="353535"/>
                </a:solidFill>
                <a:latin typeface="Segoe UI"/>
                <a:cs typeface="Segoe UI"/>
              </a:defRPr>
            </a:lvl1pPr>
          </a:lstStyle>
          <a:p>
            <a:pPr marL="0" marR="0" lvl="0" indent="0" algn="ctr" defTabSz="878441" rtl="0" eaLnBrk="1" fontAlgn="auto" latinLnBrk="0" hangingPunct="1">
              <a:lnSpc>
                <a:spcPct val="100000"/>
              </a:lnSpc>
              <a:spcBef>
                <a:spcPts val="0"/>
              </a:spcBef>
              <a:spcAft>
                <a:spcPct val="0"/>
              </a:spcAft>
              <a:buClrTx/>
              <a:buSzTx/>
              <a:buFontTx/>
              <a:buNone/>
              <a:tabLst/>
              <a:defRPr/>
            </a:pPr>
            <a:r>
              <a:rPr kumimoji="0" lang="en-US" sz="1400" b="0" i="0" u="none" strike="noStrike" kern="0" cap="none" spc="-4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Open GitHub repositories</a:t>
            </a:r>
          </a:p>
        </p:txBody>
      </p:sp>
      <p:sp>
        <p:nvSpPr>
          <p:cNvPr id="147" name="TextBox 146">
            <a:extLst>
              <a:ext uri="{FF2B5EF4-FFF2-40B4-BE49-F238E27FC236}">
                <a16:creationId xmlns:a16="http://schemas.microsoft.com/office/drawing/2014/main" id="{992F6E1D-DF7A-8C3B-47B5-D65C2E1C0CC1}"/>
              </a:ext>
            </a:extLst>
          </p:cNvPr>
          <p:cNvSpPr txBox="1"/>
          <p:nvPr/>
        </p:nvSpPr>
        <p:spPr>
          <a:xfrm>
            <a:off x="9747024" y="1698203"/>
            <a:ext cx="1828800" cy="2154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R="0" lvl="0" indent="0" algn="ctr" defTabSz="878441" fontAlgn="auto">
              <a:lnSpc>
                <a:spcPct val="100000"/>
              </a:lnSpc>
              <a:spcBef>
                <a:spcPts val="0"/>
              </a:spcBef>
              <a:spcAft>
                <a:spcPct val="0"/>
              </a:spcAft>
              <a:buClrTx/>
              <a:buSzTx/>
              <a:buFontTx/>
              <a:buNone/>
              <a:tabLst/>
              <a:defRPr sz="1400" kern="0" spc="-40">
                <a:gradFill>
                  <a:gsLst>
                    <a:gs pos="2917">
                      <a:srgbClr val="282828"/>
                    </a:gs>
                    <a:gs pos="100000">
                      <a:srgbClr val="282828"/>
                    </a:gs>
                  </a:gsLst>
                  <a:lin ang="5400000" scaled="0"/>
                </a:gradFill>
                <a:latin typeface="Segoe UI Semibold" panose="020B0702040204020203" pitchFamily="34" charset="0"/>
                <a:cs typeface="Segoe UI Semibold" panose="020B0702040204020203" pitchFamily="34" charset="0"/>
              </a:defRPr>
            </a:lvl1pPr>
          </a:lstStyle>
          <a:p>
            <a:pPr marL="0" marR="0" lvl="0" indent="0" algn="ctr" defTabSz="878441" rtl="0" eaLnBrk="1" fontAlgn="auto" latinLnBrk="0" hangingPunct="1">
              <a:lnSpc>
                <a:spcPct val="100000"/>
              </a:lnSpc>
              <a:spcBef>
                <a:spcPts val="0"/>
              </a:spcBef>
              <a:spcAft>
                <a:spcPct val="0"/>
              </a:spcAft>
              <a:buClrTx/>
              <a:buSzTx/>
              <a:buFontTx/>
              <a:buNone/>
              <a:tabLst/>
              <a:defRPr/>
            </a:pPr>
            <a:r>
              <a:rPr kumimoji="0" lang="en-US" sz="1400" b="0" i="0" u="none" strike="noStrike" kern="0" cap="none" spc="-4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Anonymous tenants</a:t>
            </a:r>
          </a:p>
        </p:txBody>
      </p:sp>
      <p:pic>
        <p:nvPicPr>
          <p:cNvPr id="169" name="Picture 168" descr="A blue circle with a white letter f in it&#10;&#10;Description automatically generated">
            <a:extLst>
              <a:ext uri="{FF2B5EF4-FFF2-40B4-BE49-F238E27FC236}">
                <a16:creationId xmlns:a16="http://schemas.microsoft.com/office/drawing/2014/main" id="{A1C0B7E5-3315-2288-8DF7-E47E924D0642}"/>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3135615" y="2295798"/>
            <a:ext cx="335402" cy="335402"/>
          </a:xfrm>
          <a:prstGeom prst="ellipse">
            <a:avLst/>
          </a:prstGeom>
        </p:spPr>
      </p:pic>
      <p:pic>
        <p:nvPicPr>
          <p:cNvPr id="171" name="Graphic 170">
            <a:extLst>
              <a:ext uri="{FF2B5EF4-FFF2-40B4-BE49-F238E27FC236}">
                <a16:creationId xmlns:a16="http://schemas.microsoft.com/office/drawing/2014/main" id="{70B0E70C-7EC8-3C71-B5EB-35191CABA58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664860" y="2316205"/>
            <a:ext cx="288104" cy="294588"/>
          </a:xfrm>
          <a:prstGeom prst="rect">
            <a:avLst/>
          </a:prstGeom>
        </p:spPr>
      </p:pic>
      <p:pic>
        <p:nvPicPr>
          <p:cNvPr id="1026" name="Picture 2" descr="Meta’s Oversight Board will wade into the debate over political content on Threads">
            <a:extLst>
              <a:ext uri="{FF2B5EF4-FFF2-40B4-BE49-F238E27FC236}">
                <a16:creationId xmlns:a16="http://schemas.microsoft.com/office/drawing/2014/main" id="{67862023-2709-6343-2C19-B92544314A5A}"/>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6878" r="6878"/>
          <a:stretch/>
        </p:blipFill>
        <p:spPr bwMode="auto">
          <a:xfrm>
            <a:off x="4132701" y="2295798"/>
            <a:ext cx="335402" cy="335402"/>
          </a:xfrm>
          <a:prstGeom prst="roundRect">
            <a:avLst>
              <a:gd name="adj" fmla="val 8994"/>
            </a:avLst>
          </a:prstGeom>
          <a:noFill/>
          <a:extLst>
            <a:ext uri="{909E8E84-426E-40DD-AFC4-6F175D3DCCD1}">
              <a14:hiddenFill xmlns:a14="http://schemas.microsoft.com/office/drawing/2010/main">
                <a:solidFill>
                  <a:srgbClr val="FFFFFF"/>
                </a:solidFill>
              </a14:hiddenFill>
            </a:ext>
          </a:extLst>
        </p:spPr>
      </p:pic>
      <p:pic>
        <p:nvPicPr>
          <p:cNvPr id="173" name="Graphic 172">
            <a:extLst>
              <a:ext uri="{FF2B5EF4-FFF2-40B4-BE49-F238E27FC236}">
                <a16:creationId xmlns:a16="http://schemas.microsoft.com/office/drawing/2014/main" id="{0B63B5CC-BBF5-86E5-7C3D-F265A89E907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840347" y="2663884"/>
            <a:ext cx="421364" cy="423772"/>
          </a:xfrm>
          <a:prstGeom prst="rect">
            <a:avLst/>
          </a:prstGeom>
        </p:spPr>
      </p:pic>
      <p:pic>
        <p:nvPicPr>
          <p:cNvPr id="175" name="Graphic 174">
            <a:extLst>
              <a:ext uri="{FF2B5EF4-FFF2-40B4-BE49-F238E27FC236}">
                <a16:creationId xmlns:a16="http://schemas.microsoft.com/office/drawing/2014/main" id="{56970FBA-3469-DFF2-E0DF-009A76D576F0}"/>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380232" y="2708069"/>
            <a:ext cx="335402" cy="335402"/>
          </a:xfrm>
          <a:prstGeom prst="rect">
            <a:avLst/>
          </a:prstGeom>
        </p:spPr>
      </p:pic>
      <p:pic>
        <p:nvPicPr>
          <p:cNvPr id="179" name="Graphic 178">
            <a:extLst>
              <a:ext uri="{FF2B5EF4-FFF2-40B4-BE49-F238E27FC236}">
                <a16:creationId xmlns:a16="http://schemas.microsoft.com/office/drawing/2014/main" id="{AF1BA7F3-D333-7ABB-44D1-3A412E19083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368926" y="2323173"/>
            <a:ext cx="335402" cy="335402"/>
          </a:xfrm>
          <a:prstGeom prst="rect">
            <a:avLst/>
          </a:prstGeom>
        </p:spPr>
      </p:pic>
      <p:pic>
        <p:nvPicPr>
          <p:cNvPr id="183" name="Graphic 182">
            <a:extLst>
              <a:ext uri="{FF2B5EF4-FFF2-40B4-BE49-F238E27FC236}">
                <a16:creationId xmlns:a16="http://schemas.microsoft.com/office/drawing/2014/main" id="{53CCA10A-9817-B3BE-C4D3-A17AC785164E}"/>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534625" y="2767528"/>
            <a:ext cx="398726" cy="219938"/>
          </a:xfrm>
          <a:prstGeom prst="rect">
            <a:avLst/>
          </a:prstGeom>
        </p:spPr>
      </p:pic>
      <p:pic>
        <p:nvPicPr>
          <p:cNvPr id="185" name="Graphic 184">
            <a:extLst>
              <a:ext uri="{FF2B5EF4-FFF2-40B4-BE49-F238E27FC236}">
                <a16:creationId xmlns:a16="http://schemas.microsoft.com/office/drawing/2014/main" id="{F4BB567F-93C9-0A85-7357-5E6BCCEBE86B}"/>
              </a:ext>
            </a:extLst>
          </p:cNvPr>
          <p:cNvPicPr>
            <a:picLocks noChangeAspect="1"/>
          </p:cNvPicPr>
          <p:nvPr/>
        </p:nvPicPr>
        <p:blipFill>
          <a:blip r:embed="rId19">
            <a:extLst>
              <a:ext uri="{96DAC541-7B7A-43D3-8B79-37D633B846F1}">
                <asvg:svgBlip xmlns:asvg="http://schemas.microsoft.com/office/drawing/2016/SVG/main" r:embed="rId20"/>
              </a:ext>
            </a:extLst>
          </a:blip>
          <a:srcRect l="5448" r="5448"/>
          <a:stretch/>
        </p:blipFill>
        <p:spPr>
          <a:xfrm>
            <a:off x="5941698" y="2336619"/>
            <a:ext cx="308070" cy="308511"/>
          </a:xfrm>
          <a:prstGeom prst="rect">
            <a:avLst/>
          </a:prstGeom>
        </p:spPr>
      </p:pic>
      <p:pic>
        <p:nvPicPr>
          <p:cNvPr id="187" name="Picture 186" descr="A blue and red logo&#10;&#10;Description automatically generated">
            <a:extLst>
              <a:ext uri="{FF2B5EF4-FFF2-40B4-BE49-F238E27FC236}">
                <a16:creationId xmlns:a16="http://schemas.microsoft.com/office/drawing/2014/main" id="{24CCB87A-D318-2AB3-FEBD-6A4E39DE6274}"/>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6162617" y="2740710"/>
            <a:ext cx="685610" cy="261184"/>
          </a:xfrm>
          <a:prstGeom prst="rect">
            <a:avLst/>
          </a:prstGeom>
        </p:spPr>
      </p:pic>
      <p:pic>
        <p:nvPicPr>
          <p:cNvPr id="1029" name="Picture 1028">
            <a:extLst>
              <a:ext uri="{FF2B5EF4-FFF2-40B4-BE49-F238E27FC236}">
                <a16:creationId xmlns:a16="http://schemas.microsoft.com/office/drawing/2014/main" id="{F9EF2FA8-8392-B629-0C25-D2C683A2F598}"/>
              </a:ext>
            </a:extLst>
          </p:cNvPr>
          <p:cNvPicPr>
            <a:picLocks noChangeAspect="1"/>
          </p:cNvPicPr>
          <p:nvPr/>
        </p:nvPicPr>
        <p:blipFill>
          <a:blip r:embed="rId22">
            <a:biLevel thresh="50000"/>
          </a:blip>
          <a:stretch>
            <a:fillRect/>
          </a:stretch>
        </p:blipFill>
        <p:spPr>
          <a:xfrm>
            <a:off x="6441393" y="2351433"/>
            <a:ext cx="347818" cy="222910"/>
          </a:xfrm>
          <a:prstGeom prst="rect">
            <a:avLst/>
          </a:prstGeom>
        </p:spPr>
      </p:pic>
      <p:grpSp>
        <p:nvGrpSpPr>
          <p:cNvPr id="1085" name="Group 1084">
            <a:extLst>
              <a:ext uri="{FF2B5EF4-FFF2-40B4-BE49-F238E27FC236}">
                <a16:creationId xmlns:a16="http://schemas.microsoft.com/office/drawing/2014/main" id="{FCB3CB6B-882E-7E3D-1549-FC2C13FF2537}"/>
              </a:ext>
            </a:extLst>
          </p:cNvPr>
          <p:cNvGrpSpPr/>
          <p:nvPr/>
        </p:nvGrpSpPr>
        <p:grpSpPr>
          <a:xfrm>
            <a:off x="7787989" y="2199104"/>
            <a:ext cx="1174847" cy="875020"/>
            <a:chOff x="7790801" y="1600200"/>
            <a:chExt cx="1174847" cy="875020"/>
          </a:xfrm>
        </p:grpSpPr>
        <p:grpSp>
          <p:nvGrpSpPr>
            <p:cNvPr id="1039" name="Graphic 1034">
              <a:extLst>
                <a:ext uri="{FF2B5EF4-FFF2-40B4-BE49-F238E27FC236}">
                  <a16:creationId xmlns:a16="http://schemas.microsoft.com/office/drawing/2014/main" id="{EF338AAC-F816-14DC-03AE-7AC46D15E785}"/>
                </a:ext>
              </a:extLst>
            </p:cNvPr>
            <p:cNvGrpSpPr>
              <a:grpSpLocks noChangeAspect="1"/>
            </p:cNvGrpSpPr>
            <p:nvPr/>
          </p:nvGrpSpPr>
          <p:grpSpPr>
            <a:xfrm>
              <a:off x="7790801" y="1800990"/>
              <a:ext cx="794988" cy="674230"/>
              <a:chOff x="7882974" y="1975341"/>
              <a:chExt cx="466853" cy="395940"/>
            </a:xfrm>
          </p:grpSpPr>
          <p:sp>
            <p:nvSpPr>
              <p:cNvPr id="1040" name="Freeform: Shape 1039">
                <a:extLst>
                  <a:ext uri="{FF2B5EF4-FFF2-40B4-BE49-F238E27FC236}">
                    <a16:creationId xmlns:a16="http://schemas.microsoft.com/office/drawing/2014/main" id="{07942079-582C-D83B-74C3-61392D0EBB1A}"/>
                  </a:ext>
                </a:extLst>
              </p:cNvPr>
              <p:cNvSpPr/>
              <p:nvPr/>
            </p:nvSpPr>
            <p:spPr>
              <a:xfrm>
                <a:off x="7890027" y="1983691"/>
                <a:ext cx="452748" cy="379236"/>
              </a:xfrm>
              <a:custGeom>
                <a:avLst/>
                <a:gdLst>
                  <a:gd name="connsiteX0" fmla="*/ 437681 w 452748"/>
                  <a:gd name="connsiteY0" fmla="*/ 29 h 379236"/>
                  <a:gd name="connsiteX1" fmla="*/ 15116 w 452748"/>
                  <a:gd name="connsiteY1" fmla="*/ 29 h 379236"/>
                  <a:gd name="connsiteX2" fmla="*/ 25 w 452748"/>
                  <a:gd name="connsiteY2" fmla="*/ 15198 h 379236"/>
                  <a:gd name="connsiteX3" fmla="*/ 25 w 452748"/>
                  <a:gd name="connsiteY3" fmla="*/ 364095 h 379236"/>
                  <a:gd name="connsiteX4" fmla="*/ 15116 w 452748"/>
                  <a:gd name="connsiteY4" fmla="*/ 379265 h 379236"/>
                  <a:gd name="connsiteX5" fmla="*/ 437681 w 452748"/>
                  <a:gd name="connsiteY5" fmla="*/ 379265 h 379236"/>
                  <a:gd name="connsiteX6" fmla="*/ 452773 w 452748"/>
                  <a:gd name="connsiteY6" fmla="*/ 364095 h 379236"/>
                  <a:gd name="connsiteX7" fmla="*/ 452773 w 452748"/>
                  <a:gd name="connsiteY7" fmla="*/ 15198 h 379236"/>
                  <a:gd name="connsiteX8" fmla="*/ 437681 w 452748"/>
                  <a:gd name="connsiteY8" fmla="*/ 29 h 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2748" h="379236">
                    <a:moveTo>
                      <a:pt x="437681" y="29"/>
                    </a:moveTo>
                    <a:lnTo>
                      <a:pt x="15116" y="29"/>
                    </a:lnTo>
                    <a:cubicBezTo>
                      <a:pt x="6793" y="29"/>
                      <a:pt x="25" y="6832"/>
                      <a:pt x="25" y="15198"/>
                    </a:cubicBezTo>
                    <a:lnTo>
                      <a:pt x="25" y="364095"/>
                    </a:lnTo>
                    <a:cubicBezTo>
                      <a:pt x="25" y="372454"/>
                      <a:pt x="6793" y="379265"/>
                      <a:pt x="15116" y="379265"/>
                    </a:cubicBezTo>
                    <a:lnTo>
                      <a:pt x="437681" y="379265"/>
                    </a:lnTo>
                    <a:cubicBezTo>
                      <a:pt x="445997" y="379265"/>
                      <a:pt x="452773" y="372454"/>
                      <a:pt x="452773" y="364095"/>
                    </a:cubicBezTo>
                    <a:lnTo>
                      <a:pt x="452773" y="15198"/>
                    </a:lnTo>
                    <a:cubicBezTo>
                      <a:pt x="452773" y="6832"/>
                      <a:pt x="445997" y="29"/>
                      <a:pt x="437681" y="29"/>
                    </a:cubicBezTo>
                  </a:path>
                </a:pathLst>
              </a:custGeom>
              <a:solidFill>
                <a:srgbClr val="182A3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042" name="Freeform: Shape 1041">
                <a:extLst>
                  <a:ext uri="{FF2B5EF4-FFF2-40B4-BE49-F238E27FC236}">
                    <a16:creationId xmlns:a16="http://schemas.microsoft.com/office/drawing/2014/main" id="{66D87819-1D74-7FD8-E8B7-BDF6BC60E5A6}"/>
                  </a:ext>
                </a:extLst>
              </p:cNvPr>
              <p:cNvSpPr/>
              <p:nvPr/>
            </p:nvSpPr>
            <p:spPr>
              <a:xfrm>
                <a:off x="7957939" y="1983691"/>
                <a:ext cx="15091" cy="379236"/>
              </a:xfrm>
              <a:custGeom>
                <a:avLst/>
                <a:gdLst>
                  <a:gd name="connsiteX0" fmla="*/ 25 w 15091"/>
                  <a:gd name="connsiteY0" fmla="*/ 379265 h 379236"/>
                  <a:gd name="connsiteX1" fmla="*/ 15116 w 15091"/>
                  <a:gd name="connsiteY1" fmla="*/ 379265 h 379236"/>
                  <a:gd name="connsiteX2" fmla="*/ 15116 w 15091"/>
                  <a:gd name="connsiteY2" fmla="*/ 29 h 379236"/>
                  <a:gd name="connsiteX3" fmla="*/ 25 w 15091"/>
                  <a:gd name="connsiteY3" fmla="*/ 29 h 379236"/>
                </a:gdLst>
                <a:ahLst/>
                <a:cxnLst>
                  <a:cxn ang="0">
                    <a:pos x="connsiteX0" y="connsiteY0"/>
                  </a:cxn>
                  <a:cxn ang="0">
                    <a:pos x="connsiteX1" y="connsiteY1"/>
                  </a:cxn>
                  <a:cxn ang="0">
                    <a:pos x="connsiteX2" y="connsiteY2"/>
                  </a:cxn>
                  <a:cxn ang="0">
                    <a:pos x="connsiteX3" y="connsiteY3"/>
                  </a:cxn>
                </a:cxnLst>
                <a:rect l="l" t="t" r="r" b="b"/>
                <a:pathLst>
                  <a:path w="15091" h="379236">
                    <a:moveTo>
                      <a:pt x="25" y="379265"/>
                    </a:moveTo>
                    <a:lnTo>
                      <a:pt x="15116" y="379265"/>
                    </a:lnTo>
                    <a:lnTo>
                      <a:pt x="15116" y="29"/>
                    </a:lnTo>
                    <a:lnTo>
                      <a:pt x="25" y="29"/>
                    </a:lnTo>
                    <a:close/>
                  </a:path>
                </a:pathLst>
              </a:custGeom>
              <a:solidFill>
                <a:srgbClr val="384B58"/>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043" name="Freeform: Shape 1042">
                <a:extLst>
                  <a:ext uri="{FF2B5EF4-FFF2-40B4-BE49-F238E27FC236}">
                    <a16:creationId xmlns:a16="http://schemas.microsoft.com/office/drawing/2014/main" id="{93CA4EEA-2CE7-B8D7-0E04-214D2D83B543}"/>
                  </a:ext>
                </a:extLst>
              </p:cNvPr>
              <p:cNvSpPr/>
              <p:nvPr/>
            </p:nvSpPr>
            <p:spPr>
              <a:xfrm>
                <a:off x="7912664" y="2097462"/>
                <a:ext cx="30183" cy="30338"/>
              </a:xfrm>
              <a:custGeom>
                <a:avLst/>
                <a:gdLst>
                  <a:gd name="connsiteX0" fmla="*/ 30208 w 30183"/>
                  <a:gd name="connsiteY0" fmla="*/ 15198 h 30338"/>
                  <a:gd name="connsiteX1" fmla="*/ 15116 w 30183"/>
                  <a:gd name="connsiteY1" fmla="*/ 30367 h 30338"/>
                  <a:gd name="connsiteX2" fmla="*/ 25 w 30183"/>
                  <a:gd name="connsiteY2" fmla="*/ 15198 h 30338"/>
                  <a:gd name="connsiteX3" fmla="*/ 15116 w 30183"/>
                  <a:gd name="connsiteY3" fmla="*/ 29 h 30338"/>
                  <a:gd name="connsiteX4" fmla="*/ 30208 w 30183"/>
                  <a:gd name="connsiteY4" fmla="*/ 15198 h 30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83" h="30338">
                    <a:moveTo>
                      <a:pt x="30208" y="15198"/>
                    </a:moveTo>
                    <a:cubicBezTo>
                      <a:pt x="30208" y="23571"/>
                      <a:pt x="23447" y="30367"/>
                      <a:pt x="15116" y="30367"/>
                    </a:cubicBezTo>
                    <a:cubicBezTo>
                      <a:pt x="6778" y="30367"/>
                      <a:pt x="25" y="23571"/>
                      <a:pt x="25" y="15198"/>
                    </a:cubicBezTo>
                    <a:cubicBezTo>
                      <a:pt x="25" y="6817"/>
                      <a:pt x="6778" y="29"/>
                      <a:pt x="15116" y="29"/>
                    </a:cubicBezTo>
                    <a:cubicBezTo>
                      <a:pt x="23447" y="29"/>
                      <a:pt x="30208" y="6817"/>
                      <a:pt x="30208" y="15198"/>
                    </a:cubicBezTo>
                  </a:path>
                </a:pathLst>
              </a:custGeom>
              <a:solidFill>
                <a:srgbClr val="E1E4E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044" name="Freeform: Shape 1043">
                <a:extLst>
                  <a:ext uri="{FF2B5EF4-FFF2-40B4-BE49-F238E27FC236}">
                    <a16:creationId xmlns:a16="http://schemas.microsoft.com/office/drawing/2014/main" id="{16D59FA6-8BB2-E446-698D-13ED2291FE96}"/>
                  </a:ext>
                </a:extLst>
              </p:cNvPr>
              <p:cNvSpPr/>
              <p:nvPr/>
            </p:nvSpPr>
            <p:spPr>
              <a:xfrm>
                <a:off x="7912664" y="2150555"/>
                <a:ext cx="30183" cy="30338"/>
              </a:xfrm>
              <a:custGeom>
                <a:avLst/>
                <a:gdLst>
                  <a:gd name="connsiteX0" fmla="*/ 30208 w 30183"/>
                  <a:gd name="connsiteY0" fmla="*/ 15198 h 30338"/>
                  <a:gd name="connsiteX1" fmla="*/ 15116 w 30183"/>
                  <a:gd name="connsiteY1" fmla="*/ 30367 h 30338"/>
                  <a:gd name="connsiteX2" fmla="*/ 25 w 30183"/>
                  <a:gd name="connsiteY2" fmla="*/ 15198 h 30338"/>
                  <a:gd name="connsiteX3" fmla="*/ 15116 w 30183"/>
                  <a:gd name="connsiteY3" fmla="*/ 29 h 30338"/>
                  <a:gd name="connsiteX4" fmla="*/ 30208 w 30183"/>
                  <a:gd name="connsiteY4" fmla="*/ 15198 h 30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83" h="30338">
                    <a:moveTo>
                      <a:pt x="30208" y="15198"/>
                    </a:moveTo>
                    <a:cubicBezTo>
                      <a:pt x="30208" y="23571"/>
                      <a:pt x="23447" y="30367"/>
                      <a:pt x="15116" y="30367"/>
                    </a:cubicBezTo>
                    <a:cubicBezTo>
                      <a:pt x="6778" y="30367"/>
                      <a:pt x="25" y="23571"/>
                      <a:pt x="25" y="15198"/>
                    </a:cubicBezTo>
                    <a:cubicBezTo>
                      <a:pt x="25" y="6817"/>
                      <a:pt x="6778" y="29"/>
                      <a:pt x="15116" y="29"/>
                    </a:cubicBezTo>
                    <a:cubicBezTo>
                      <a:pt x="23447" y="29"/>
                      <a:pt x="30208" y="6817"/>
                      <a:pt x="30208" y="15198"/>
                    </a:cubicBezTo>
                  </a:path>
                </a:pathLst>
              </a:custGeom>
              <a:solidFill>
                <a:srgbClr val="E1E4E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045" name="Freeform: Shape 1044">
                <a:extLst>
                  <a:ext uri="{FF2B5EF4-FFF2-40B4-BE49-F238E27FC236}">
                    <a16:creationId xmlns:a16="http://schemas.microsoft.com/office/drawing/2014/main" id="{A1893739-222C-C18F-832E-84F4E206FC1A}"/>
                  </a:ext>
                </a:extLst>
              </p:cNvPr>
              <p:cNvSpPr/>
              <p:nvPr/>
            </p:nvSpPr>
            <p:spPr>
              <a:xfrm>
                <a:off x="7912664" y="2203648"/>
                <a:ext cx="30183" cy="30338"/>
              </a:xfrm>
              <a:custGeom>
                <a:avLst/>
                <a:gdLst>
                  <a:gd name="connsiteX0" fmla="*/ 30208 w 30183"/>
                  <a:gd name="connsiteY0" fmla="*/ 15198 h 30338"/>
                  <a:gd name="connsiteX1" fmla="*/ 15116 w 30183"/>
                  <a:gd name="connsiteY1" fmla="*/ 30367 h 30338"/>
                  <a:gd name="connsiteX2" fmla="*/ 25 w 30183"/>
                  <a:gd name="connsiteY2" fmla="*/ 15198 h 30338"/>
                  <a:gd name="connsiteX3" fmla="*/ 15116 w 30183"/>
                  <a:gd name="connsiteY3" fmla="*/ 29 h 30338"/>
                  <a:gd name="connsiteX4" fmla="*/ 30208 w 30183"/>
                  <a:gd name="connsiteY4" fmla="*/ 15198 h 30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83" h="30338">
                    <a:moveTo>
                      <a:pt x="30208" y="15198"/>
                    </a:moveTo>
                    <a:cubicBezTo>
                      <a:pt x="30208" y="23571"/>
                      <a:pt x="23447" y="30367"/>
                      <a:pt x="15116" y="30367"/>
                    </a:cubicBezTo>
                    <a:cubicBezTo>
                      <a:pt x="6778" y="30367"/>
                      <a:pt x="25" y="23571"/>
                      <a:pt x="25" y="15198"/>
                    </a:cubicBezTo>
                    <a:cubicBezTo>
                      <a:pt x="25" y="6817"/>
                      <a:pt x="6778" y="29"/>
                      <a:pt x="15116" y="29"/>
                    </a:cubicBezTo>
                    <a:cubicBezTo>
                      <a:pt x="23447" y="29"/>
                      <a:pt x="30208" y="6817"/>
                      <a:pt x="30208" y="15198"/>
                    </a:cubicBezTo>
                  </a:path>
                </a:pathLst>
              </a:custGeom>
              <a:solidFill>
                <a:srgbClr val="E1E4E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046" name="Freeform: Shape 1045">
                <a:extLst>
                  <a:ext uri="{FF2B5EF4-FFF2-40B4-BE49-F238E27FC236}">
                    <a16:creationId xmlns:a16="http://schemas.microsoft.com/office/drawing/2014/main" id="{02A5EF72-AF0A-70FD-47AB-E526561EF37D}"/>
                  </a:ext>
                </a:extLst>
              </p:cNvPr>
              <p:cNvSpPr/>
              <p:nvPr/>
            </p:nvSpPr>
            <p:spPr>
              <a:xfrm>
                <a:off x="7912664" y="2256741"/>
                <a:ext cx="30183" cy="30338"/>
              </a:xfrm>
              <a:custGeom>
                <a:avLst/>
                <a:gdLst>
                  <a:gd name="connsiteX0" fmla="*/ 30208 w 30183"/>
                  <a:gd name="connsiteY0" fmla="*/ 15198 h 30338"/>
                  <a:gd name="connsiteX1" fmla="*/ 15116 w 30183"/>
                  <a:gd name="connsiteY1" fmla="*/ 30367 h 30338"/>
                  <a:gd name="connsiteX2" fmla="*/ 25 w 30183"/>
                  <a:gd name="connsiteY2" fmla="*/ 15198 h 30338"/>
                  <a:gd name="connsiteX3" fmla="*/ 15116 w 30183"/>
                  <a:gd name="connsiteY3" fmla="*/ 29 h 30338"/>
                  <a:gd name="connsiteX4" fmla="*/ 30208 w 30183"/>
                  <a:gd name="connsiteY4" fmla="*/ 15198 h 30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83" h="30338">
                    <a:moveTo>
                      <a:pt x="30208" y="15198"/>
                    </a:moveTo>
                    <a:cubicBezTo>
                      <a:pt x="30208" y="23571"/>
                      <a:pt x="23447" y="30367"/>
                      <a:pt x="15116" y="30367"/>
                    </a:cubicBezTo>
                    <a:cubicBezTo>
                      <a:pt x="6778" y="30367"/>
                      <a:pt x="25" y="23571"/>
                      <a:pt x="25" y="15198"/>
                    </a:cubicBezTo>
                    <a:cubicBezTo>
                      <a:pt x="25" y="6817"/>
                      <a:pt x="6778" y="29"/>
                      <a:pt x="15116" y="29"/>
                    </a:cubicBezTo>
                    <a:cubicBezTo>
                      <a:pt x="23447" y="29"/>
                      <a:pt x="30208" y="6817"/>
                      <a:pt x="30208" y="15198"/>
                    </a:cubicBezTo>
                  </a:path>
                </a:pathLst>
              </a:custGeom>
              <a:solidFill>
                <a:srgbClr val="E1E4E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047" name="Freeform: Shape 1046">
                <a:extLst>
                  <a:ext uri="{FF2B5EF4-FFF2-40B4-BE49-F238E27FC236}">
                    <a16:creationId xmlns:a16="http://schemas.microsoft.com/office/drawing/2014/main" id="{E78B1584-A69F-EF71-0F47-2004869FEFE5}"/>
                  </a:ext>
                </a:extLst>
              </p:cNvPr>
              <p:cNvSpPr/>
              <p:nvPr/>
            </p:nvSpPr>
            <p:spPr>
              <a:xfrm>
                <a:off x="7912664" y="2309834"/>
                <a:ext cx="30183" cy="30338"/>
              </a:xfrm>
              <a:custGeom>
                <a:avLst/>
                <a:gdLst>
                  <a:gd name="connsiteX0" fmla="*/ 30208 w 30183"/>
                  <a:gd name="connsiteY0" fmla="*/ 15198 h 30338"/>
                  <a:gd name="connsiteX1" fmla="*/ 15116 w 30183"/>
                  <a:gd name="connsiteY1" fmla="*/ 30367 h 30338"/>
                  <a:gd name="connsiteX2" fmla="*/ 25 w 30183"/>
                  <a:gd name="connsiteY2" fmla="*/ 15198 h 30338"/>
                  <a:gd name="connsiteX3" fmla="*/ 15116 w 30183"/>
                  <a:gd name="connsiteY3" fmla="*/ 29 h 30338"/>
                  <a:gd name="connsiteX4" fmla="*/ 30208 w 30183"/>
                  <a:gd name="connsiteY4" fmla="*/ 15198 h 30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83" h="30338">
                    <a:moveTo>
                      <a:pt x="30208" y="15198"/>
                    </a:moveTo>
                    <a:cubicBezTo>
                      <a:pt x="30208" y="23572"/>
                      <a:pt x="23447" y="30367"/>
                      <a:pt x="15116" y="30367"/>
                    </a:cubicBezTo>
                    <a:cubicBezTo>
                      <a:pt x="6778" y="30367"/>
                      <a:pt x="25" y="23572"/>
                      <a:pt x="25" y="15198"/>
                    </a:cubicBezTo>
                    <a:cubicBezTo>
                      <a:pt x="25" y="6817"/>
                      <a:pt x="6778" y="29"/>
                      <a:pt x="15116" y="29"/>
                    </a:cubicBezTo>
                    <a:cubicBezTo>
                      <a:pt x="23447" y="29"/>
                      <a:pt x="30208" y="6817"/>
                      <a:pt x="30208" y="15198"/>
                    </a:cubicBezTo>
                  </a:path>
                </a:pathLst>
              </a:custGeom>
              <a:solidFill>
                <a:srgbClr val="E1E4E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048" name="Freeform: Shape 1047">
                <a:extLst>
                  <a:ext uri="{FF2B5EF4-FFF2-40B4-BE49-F238E27FC236}">
                    <a16:creationId xmlns:a16="http://schemas.microsoft.com/office/drawing/2014/main" id="{0DBBFF11-542C-1114-6F7F-EA472DD404DC}"/>
                  </a:ext>
                </a:extLst>
              </p:cNvPr>
              <p:cNvSpPr/>
              <p:nvPr/>
            </p:nvSpPr>
            <p:spPr>
              <a:xfrm>
                <a:off x="7995668" y="2317419"/>
                <a:ext cx="98095" cy="15169"/>
              </a:xfrm>
              <a:custGeom>
                <a:avLst/>
                <a:gdLst>
                  <a:gd name="connsiteX0" fmla="*/ 90574 w 98095"/>
                  <a:gd name="connsiteY0" fmla="*/ 15198 h 15169"/>
                  <a:gd name="connsiteX1" fmla="*/ 7570 w 98095"/>
                  <a:gd name="connsiteY1" fmla="*/ 15198 h 15169"/>
                  <a:gd name="connsiteX2" fmla="*/ 25 w 98095"/>
                  <a:gd name="connsiteY2" fmla="*/ 7613 h 15169"/>
                  <a:gd name="connsiteX3" fmla="*/ 7570 w 98095"/>
                  <a:gd name="connsiteY3" fmla="*/ 29 h 15169"/>
                  <a:gd name="connsiteX4" fmla="*/ 90574 w 98095"/>
                  <a:gd name="connsiteY4" fmla="*/ 29 h 15169"/>
                  <a:gd name="connsiteX5" fmla="*/ 98120 w 98095"/>
                  <a:gd name="connsiteY5" fmla="*/ 7613 h 15169"/>
                  <a:gd name="connsiteX6" fmla="*/ 90574 w 98095"/>
                  <a:gd name="connsiteY6" fmla="*/ 15198 h 1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095" h="15169">
                    <a:moveTo>
                      <a:pt x="90574" y="15198"/>
                    </a:moveTo>
                    <a:lnTo>
                      <a:pt x="7570" y="15198"/>
                    </a:lnTo>
                    <a:cubicBezTo>
                      <a:pt x="3397" y="15198"/>
                      <a:pt x="25" y="11808"/>
                      <a:pt x="25" y="7613"/>
                    </a:cubicBezTo>
                    <a:cubicBezTo>
                      <a:pt x="25" y="3419"/>
                      <a:pt x="3397" y="29"/>
                      <a:pt x="7570" y="29"/>
                    </a:cubicBezTo>
                    <a:lnTo>
                      <a:pt x="90574" y="29"/>
                    </a:lnTo>
                    <a:cubicBezTo>
                      <a:pt x="94747" y="29"/>
                      <a:pt x="98120" y="3419"/>
                      <a:pt x="98120" y="7613"/>
                    </a:cubicBezTo>
                    <a:cubicBezTo>
                      <a:pt x="98120" y="11808"/>
                      <a:pt x="94747" y="15198"/>
                      <a:pt x="90574" y="15198"/>
                    </a:cubicBezTo>
                  </a:path>
                </a:pathLst>
              </a:custGeom>
              <a:solidFill>
                <a:srgbClr val="FFFFF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049" name="Freeform: Shape 1048">
                <a:extLst>
                  <a:ext uri="{FF2B5EF4-FFF2-40B4-BE49-F238E27FC236}">
                    <a16:creationId xmlns:a16="http://schemas.microsoft.com/office/drawing/2014/main" id="{BC0E1610-C097-E003-213B-747B8C901790}"/>
                  </a:ext>
                </a:extLst>
              </p:cNvPr>
              <p:cNvSpPr/>
              <p:nvPr/>
            </p:nvSpPr>
            <p:spPr>
              <a:xfrm>
                <a:off x="8108855" y="2317419"/>
                <a:ext cx="60366" cy="15169"/>
              </a:xfrm>
              <a:custGeom>
                <a:avLst/>
                <a:gdLst>
                  <a:gd name="connsiteX0" fmla="*/ 52845 w 60366"/>
                  <a:gd name="connsiteY0" fmla="*/ 15198 h 15169"/>
                  <a:gd name="connsiteX1" fmla="*/ 7570 w 60366"/>
                  <a:gd name="connsiteY1" fmla="*/ 15198 h 15169"/>
                  <a:gd name="connsiteX2" fmla="*/ 25 w 60366"/>
                  <a:gd name="connsiteY2" fmla="*/ 7613 h 15169"/>
                  <a:gd name="connsiteX3" fmla="*/ 7570 w 60366"/>
                  <a:gd name="connsiteY3" fmla="*/ 29 h 15169"/>
                  <a:gd name="connsiteX4" fmla="*/ 52845 w 60366"/>
                  <a:gd name="connsiteY4" fmla="*/ 29 h 15169"/>
                  <a:gd name="connsiteX5" fmla="*/ 60391 w 60366"/>
                  <a:gd name="connsiteY5" fmla="*/ 7613 h 15169"/>
                  <a:gd name="connsiteX6" fmla="*/ 52845 w 60366"/>
                  <a:gd name="connsiteY6" fmla="*/ 15198 h 1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366" h="15169">
                    <a:moveTo>
                      <a:pt x="52845" y="15198"/>
                    </a:moveTo>
                    <a:lnTo>
                      <a:pt x="7570" y="15198"/>
                    </a:lnTo>
                    <a:cubicBezTo>
                      <a:pt x="3397" y="15198"/>
                      <a:pt x="25" y="11808"/>
                      <a:pt x="25" y="7613"/>
                    </a:cubicBezTo>
                    <a:cubicBezTo>
                      <a:pt x="25" y="3419"/>
                      <a:pt x="3397" y="29"/>
                      <a:pt x="7570" y="29"/>
                    </a:cubicBezTo>
                    <a:lnTo>
                      <a:pt x="52845" y="29"/>
                    </a:lnTo>
                    <a:cubicBezTo>
                      <a:pt x="57018" y="29"/>
                      <a:pt x="60391" y="3419"/>
                      <a:pt x="60391" y="7613"/>
                    </a:cubicBezTo>
                    <a:cubicBezTo>
                      <a:pt x="60391" y="11808"/>
                      <a:pt x="57018" y="15198"/>
                      <a:pt x="52845" y="15198"/>
                    </a:cubicBezTo>
                  </a:path>
                </a:pathLst>
              </a:custGeom>
              <a:solidFill>
                <a:srgbClr val="55B7D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050" name="Freeform: Shape 1049">
                <a:extLst>
                  <a:ext uri="{FF2B5EF4-FFF2-40B4-BE49-F238E27FC236}">
                    <a16:creationId xmlns:a16="http://schemas.microsoft.com/office/drawing/2014/main" id="{C6307C67-DE67-4D44-3172-6138C17B4C66}"/>
                  </a:ext>
                </a:extLst>
              </p:cNvPr>
              <p:cNvSpPr/>
              <p:nvPr/>
            </p:nvSpPr>
            <p:spPr>
              <a:xfrm>
                <a:off x="7995668" y="2264326"/>
                <a:ext cx="45274" cy="15169"/>
              </a:xfrm>
              <a:custGeom>
                <a:avLst/>
                <a:gdLst>
                  <a:gd name="connsiteX0" fmla="*/ 37754 w 45274"/>
                  <a:gd name="connsiteY0" fmla="*/ 15198 h 15169"/>
                  <a:gd name="connsiteX1" fmla="*/ 7570 w 45274"/>
                  <a:gd name="connsiteY1" fmla="*/ 15198 h 15169"/>
                  <a:gd name="connsiteX2" fmla="*/ 25 w 45274"/>
                  <a:gd name="connsiteY2" fmla="*/ 7613 h 15169"/>
                  <a:gd name="connsiteX3" fmla="*/ 7570 w 45274"/>
                  <a:gd name="connsiteY3" fmla="*/ 29 h 15169"/>
                  <a:gd name="connsiteX4" fmla="*/ 37754 w 45274"/>
                  <a:gd name="connsiteY4" fmla="*/ 29 h 15169"/>
                  <a:gd name="connsiteX5" fmla="*/ 45299 w 45274"/>
                  <a:gd name="connsiteY5" fmla="*/ 7613 h 15169"/>
                  <a:gd name="connsiteX6" fmla="*/ 37754 w 45274"/>
                  <a:gd name="connsiteY6" fmla="*/ 15198 h 1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74" h="15169">
                    <a:moveTo>
                      <a:pt x="37754" y="15198"/>
                    </a:moveTo>
                    <a:lnTo>
                      <a:pt x="7570" y="15198"/>
                    </a:lnTo>
                    <a:cubicBezTo>
                      <a:pt x="3397" y="15198"/>
                      <a:pt x="25" y="11808"/>
                      <a:pt x="25" y="7613"/>
                    </a:cubicBezTo>
                    <a:cubicBezTo>
                      <a:pt x="25" y="3419"/>
                      <a:pt x="3397" y="29"/>
                      <a:pt x="7570" y="29"/>
                    </a:cubicBezTo>
                    <a:lnTo>
                      <a:pt x="37754" y="29"/>
                    </a:lnTo>
                    <a:cubicBezTo>
                      <a:pt x="41926" y="29"/>
                      <a:pt x="45299" y="3419"/>
                      <a:pt x="45299" y="7613"/>
                    </a:cubicBezTo>
                    <a:cubicBezTo>
                      <a:pt x="45299" y="11808"/>
                      <a:pt x="41926" y="15198"/>
                      <a:pt x="37754" y="15198"/>
                    </a:cubicBezTo>
                  </a:path>
                </a:pathLst>
              </a:custGeom>
              <a:solidFill>
                <a:srgbClr val="EFB25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051" name="Freeform: Shape 1050">
                <a:extLst>
                  <a:ext uri="{FF2B5EF4-FFF2-40B4-BE49-F238E27FC236}">
                    <a16:creationId xmlns:a16="http://schemas.microsoft.com/office/drawing/2014/main" id="{62154322-4D98-2408-226D-6AC6E22DFDAA}"/>
                  </a:ext>
                </a:extLst>
              </p:cNvPr>
              <p:cNvSpPr/>
              <p:nvPr/>
            </p:nvSpPr>
            <p:spPr>
              <a:xfrm>
                <a:off x="7995668" y="2211233"/>
                <a:ext cx="98095" cy="15169"/>
              </a:xfrm>
              <a:custGeom>
                <a:avLst/>
                <a:gdLst>
                  <a:gd name="connsiteX0" fmla="*/ 90574 w 98095"/>
                  <a:gd name="connsiteY0" fmla="*/ 15198 h 15169"/>
                  <a:gd name="connsiteX1" fmla="*/ 7570 w 98095"/>
                  <a:gd name="connsiteY1" fmla="*/ 15198 h 15169"/>
                  <a:gd name="connsiteX2" fmla="*/ 25 w 98095"/>
                  <a:gd name="connsiteY2" fmla="*/ 7613 h 15169"/>
                  <a:gd name="connsiteX3" fmla="*/ 7570 w 98095"/>
                  <a:gd name="connsiteY3" fmla="*/ 29 h 15169"/>
                  <a:gd name="connsiteX4" fmla="*/ 90574 w 98095"/>
                  <a:gd name="connsiteY4" fmla="*/ 29 h 15169"/>
                  <a:gd name="connsiteX5" fmla="*/ 98120 w 98095"/>
                  <a:gd name="connsiteY5" fmla="*/ 7613 h 15169"/>
                  <a:gd name="connsiteX6" fmla="*/ 90574 w 98095"/>
                  <a:gd name="connsiteY6" fmla="*/ 15198 h 1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095" h="15169">
                    <a:moveTo>
                      <a:pt x="90574" y="15198"/>
                    </a:moveTo>
                    <a:lnTo>
                      <a:pt x="7570" y="15198"/>
                    </a:lnTo>
                    <a:cubicBezTo>
                      <a:pt x="3397" y="15198"/>
                      <a:pt x="25" y="11808"/>
                      <a:pt x="25" y="7613"/>
                    </a:cubicBezTo>
                    <a:cubicBezTo>
                      <a:pt x="25" y="3419"/>
                      <a:pt x="3397" y="29"/>
                      <a:pt x="7570" y="29"/>
                    </a:cubicBezTo>
                    <a:lnTo>
                      <a:pt x="90574" y="29"/>
                    </a:lnTo>
                    <a:cubicBezTo>
                      <a:pt x="94747" y="29"/>
                      <a:pt x="98120" y="3419"/>
                      <a:pt x="98120" y="7613"/>
                    </a:cubicBezTo>
                    <a:cubicBezTo>
                      <a:pt x="98120" y="11808"/>
                      <a:pt x="94747" y="15198"/>
                      <a:pt x="90574" y="15198"/>
                    </a:cubicBezTo>
                  </a:path>
                </a:pathLst>
              </a:custGeom>
              <a:solidFill>
                <a:srgbClr val="FFFFF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052" name="Freeform: Shape 1051">
                <a:extLst>
                  <a:ext uri="{FF2B5EF4-FFF2-40B4-BE49-F238E27FC236}">
                    <a16:creationId xmlns:a16="http://schemas.microsoft.com/office/drawing/2014/main" id="{EE0C8D15-267B-753F-A45E-DAF7BDCFE4A1}"/>
                  </a:ext>
                </a:extLst>
              </p:cNvPr>
              <p:cNvSpPr/>
              <p:nvPr/>
            </p:nvSpPr>
            <p:spPr>
              <a:xfrm>
                <a:off x="8108855" y="2211233"/>
                <a:ext cx="98095" cy="15169"/>
              </a:xfrm>
              <a:custGeom>
                <a:avLst/>
                <a:gdLst>
                  <a:gd name="connsiteX0" fmla="*/ 90574 w 98095"/>
                  <a:gd name="connsiteY0" fmla="*/ 15198 h 15169"/>
                  <a:gd name="connsiteX1" fmla="*/ 7570 w 98095"/>
                  <a:gd name="connsiteY1" fmla="*/ 15198 h 15169"/>
                  <a:gd name="connsiteX2" fmla="*/ 25 w 98095"/>
                  <a:gd name="connsiteY2" fmla="*/ 7613 h 15169"/>
                  <a:gd name="connsiteX3" fmla="*/ 7570 w 98095"/>
                  <a:gd name="connsiteY3" fmla="*/ 29 h 15169"/>
                  <a:gd name="connsiteX4" fmla="*/ 90574 w 98095"/>
                  <a:gd name="connsiteY4" fmla="*/ 29 h 15169"/>
                  <a:gd name="connsiteX5" fmla="*/ 98120 w 98095"/>
                  <a:gd name="connsiteY5" fmla="*/ 7613 h 15169"/>
                  <a:gd name="connsiteX6" fmla="*/ 90574 w 98095"/>
                  <a:gd name="connsiteY6" fmla="*/ 15198 h 1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095" h="15169">
                    <a:moveTo>
                      <a:pt x="90574" y="15198"/>
                    </a:moveTo>
                    <a:lnTo>
                      <a:pt x="7570" y="15198"/>
                    </a:lnTo>
                    <a:cubicBezTo>
                      <a:pt x="3397" y="15198"/>
                      <a:pt x="25" y="11808"/>
                      <a:pt x="25" y="7613"/>
                    </a:cubicBezTo>
                    <a:cubicBezTo>
                      <a:pt x="25" y="3419"/>
                      <a:pt x="3397" y="29"/>
                      <a:pt x="7570" y="29"/>
                    </a:cubicBezTo>
                    <a:lnTo>
                      <a:pt x="90574" y="29"/>
                    </a:lnTo>
                    <a:cubicBezTo>
                      <a:pt x="94747" y="29"/>
                      <a:pt x="98120" y="3419"/>
                      <a:pt x="98120" y="7613"/>
                    </a:cubicBezTo>
                    <a:cubicBezTo>
                      <a:pt x="98120" y="11808"/>
                      <a:pt x="94747" y="15198"/>
                      <a:pt x="90574" y="15198"/>
                    </a:cubicBezTo>
                  </a:path>
                </a:pathLst>
              </a:custGeom>
              <a:solidFill>
                <a:srgbClr val="FFFFF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053" name="Freeform: Shape 1052">
                <a:extLst>
                  <a:ext uri="{FF2B5EF4-FFF2-40B4-BE49-F238E27FC236}">
                    <a16:creationId xmlns:a16="http://schemas.microsoft.com/office/drawing/2014/main" id="{139FE9CF-2C31-B677-ED2D-FBFDE6108E5B}"/>
                  </a:ext>
                </a:extLst>
              </p:cNvPr>
              <p:cNvSpPr/>
              <p:nvPr/>
            </p:nvSpPr>
            <p:spPr>
              <a:xfrm>
                <a:off x="8222042" y="2211233"/>
                <a:ext cx="37729" cy="15169"/>
              </a:xfrm>
              <a:custGeom>
                <a:avLst/>
                <a:gdLst>
                  <a:gd name="connsiteX0" fmla="*/ 30208 w 37729"/>
                  <a:gd name="connsiteY0" fmla="*/ 15198 h 15169"/>
                  <a:gd name="connsiteX1" fmla="*/ 7570 w 37729"/>
                  <a:gd name="connsiteY1" fmla="*/ 15198 h 15169"/>
                  <a:gd name="connsiteX2" fmla="*/ 25 w 37729"/>
                  <a:gd name="connsiteY2" fmla="*/ 7613 h 15169"/>
                  <a:gd name="connsiteX3" fmla="*/ 7570 w 37729"/>
                  <a:gd name="connsiteY3" fmla="*/ 29 h 15169"/>
                  <a:gd name="connsiteX4" fmla="*/ 30208 w 37729"/>
                  <a:gd name="connsiteY4" fmla="*/ 29 h 15169"/>
                  <a:gd name="connsiteX5" fmla="*/ 37754 w 37729"/>
                  <a:gd name="connsiteY5" fmla="*/ 7613 h 15169"/>
                  <a:gd name="connsiteX6" fmla="*/ 30208 w 37729"/>
                  <a:gd name="connsiteY6" fmla="*/ 15198 h 1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729" h="15169">
                    <a:moveTo>
                      <a:pt x="30208" y="15198"/>
                    </a:moveTo>
                    <a:lnTo>
                      <a:pt x="7570" y="15198"/>
                    </a:lnTo>
                    <a:cubicBezTo>
                      <a:pt x="3397" y="15198"/>
                      <a:pt x="25" y="11808"/>
                      <a:pt x="25" y="7613"/>
                    </a:cubicBezTo>
                    <a:cubicBezTo>
                      <a:pt x="25" y="3419"/>
                      <a:pt x="3397" y="29"/>
                      <a:pt x="7570" y="29"/>
                    </a:cubicBezTo>
                    <a:lnTo>
                      <a:pt x="30208" y="29"/>
                    </a:lnTo>
                    <a:cubicBezTo>
                      <a:pt x="34381" y="29"/>
                      <a:pt x="37754" y="3419"/>
                      <a:pt x="37754" y="7613"/>
                    </a:cubicBezTo>
                    <a:cubicBezTo>
                      <a:pt x="37754" y="11808"/>
                      <a:pt x="34381" y="15198"/>
                      <a:pt x="30208" y="15198"/>
                    </a:cubicBezTo>
                  </a:path>
                </a:pathLst>
              </a:custGeom>
              <a:solidFill>
                <a:srgbClr val="DF514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054" name="Freeform: Shape 1053">
                <a:extLst>
                  <a:ext uri="{FF2B5EF4-FFF2-40B4-BE49-F238E27FC236}">
                    <a16:creationId xmlns:a16="http://schemas.microsoft.com/office/drawing/2014/main" id="{C83CEF6F-7176-E0D4-73BE-1E897427C294}"/>
                  </a:ext>
                </a:extLst>
              </p:cNvPr>
              <p:cNvSpPr/>
              <p:nvPr/>
            </p:nvSpPr>
            <p:spPr>
              <a:xfrm>
                <a:off x="8056034" y="2264326"/>
                <a:ext cx="98095" cy="15169"/>
              </a:xfrm>
              <a:custGeom>
                <a:avLst/>
                <a:gdLst>
                  <a:gd name="connsiteX0" fmla="*/ 90574 w 98095"/>
                  <a:gd name="connsiteY0" fmla="*/ 15198 h 15169"/>
                  <a:gd name="connsiteX1" fmla="*/ 7570 w 98095"/>
                  <a:gd name="connsiteY1" fmla="*/ 15198 h 15169"/>
                  <a:gd name="connsiteX2" fmla="*/ 25 w 98095"/>
                  <a:gd name="connsiteY2" fmla="*/ 7613 h 15169"/>
                  <a:gd name="connsiteX3" fmla="*/ 7570 w 98095"/>
                  <a:gd name="connsiteY3" fmla="*/ 29 h 15169"/>
                  <a:gd name="connsiteX4" fmla="*/ 90574 w 98095"/>
                  <a:gd name="connsiteY4" fmla="*/ 29 h 15169"/>
                  <a:gd name="connsiteX5" fmla="*/ 98120 w 98095"/>
                  <a:gd name="connsiteY5" fmla="*/ 7613 h 15169"/>
                  <a:gd name="connsiteX6" fmla="*/ 90574 w 98095"/>
                  <a:gd name="connsiteY6" fmla="*/ 15198 h 1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095" h="15169">
                    <a:moveTo>
                      <a:pt x="90574" y="15198"/>
                    </a:moveTo>
                    <a:lnTo>
                      <a:pt x="7570" y="15198"/>
                    </a:lnTo>
                    <a:cubicBezTo>
                      <a:pt x="3397" y="15198"/>
                      <a:pt x="25" y="11808"/>
                      <a:pt x="25" y="7613"/>
                    </a:cubicBezTo>
                    <a:cubicBezTo>
                      <a:pt x="25" y="3419"/>
                      <a:pt x="3397" y="29"/>
                      <a:pt x="7570" y="29"/>
                    </a:cubicBezTo>
                    <a:lnTo>
                      <a:pt x="90574" y="29"/>
                    </a:lnTo>
                    <a:cubicBezTo>
                      <a:pt x="94747" y="29"/>
                      <a:pt x="98120" y="3419"/>
                      <a:pt x="98120" y="7613"/>
                    </a:cubicBezTo>
                    <a:cubicBezTo>
                      <a:pt x="98120" y="11808"/>
                      <a:pt x="94747" y="15198"/>
                      <a:pt x="90574" y="15198"/>
                    </a:cubicBezTo>
                  </a:path>
                </a:pathLst>
              </a:custGeom>
              <a:solidFill>
                <a:srgbClr val="DF514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055" name="Freeform: Shape 1054">
                <a:extLst>
                  <a:ext uri="{FF2B5EF4-FFF2-40B4-BE49-F238E27FC236}">
                    <a16:creationId xmlns:a16="http://schemas.microsoft.com/office/drawing/2014/main" id="{FBC06E2B-4FB9-F06F-C53C-28F39D97604E}"/>
                  </a:ext>
                </a:extLst>
              </p:cNvPr>
              <p:cNvSpPr/>
              <p:nvPr/>
            </p:nvSpPr>
            <p:spPr>
              <a:xfrm>
                <a:off x="8108855" y="2158140"/>
                <a:ext cx="45274" cy="15169"/>
              </a:xfrm>
              <a:custGeom>
                <a:avLst/>
                <a:gdLst>
                  <a:gd name="connsiteX0" fmla="*/ 37754 w 45274"/>
                  <a:gd name="connsiteY0" fmla="*/ 15198 h 15169"/>
                  <a:gd name="connsiteX1" fmla="*/ 7570 w 45274"/>
                  <a:gd name="connsiteY1" fmla="*/ 15198 h 15169"/>
                  <a:gd name="connsiteX2" fmla="*/ 25 w 45274"/>
                  <a:gd name="connsiteY2" fmla="*/ 7613 h 15169"/>
                  <a:gd name="connsiteX3" fmla="*/ 7570 w 45274"/>
                  <a:gd name="connsiteY3" fmla="*/ 29 h 15169"/>
                  <a:gd name="connsiteX4" fmla="*/ 37754 w 45274"/>
                  <a:gd name="connsiteY4" fmla="*/ 29 h 15169"/>
                  <a:gd name="connsiteX5" fmla="*/ 45299 w 45274"/>
                  <a:gd name="connsiteY5" fmla="*/ 7613 h 15169"/>
                  <a:gd name="connsiteX6" fmla="*/ 37754 w 45274"/>
                  <a:gd name="connsiteY6" fmla="*/ 15198 h 1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74" h="15169">
                    <a:moveTo>
                      <a:pt x="37754" y="15198"/>
                    </a:moveTo>
                    <a:lnTo>
                      <a:pt x="7570" y="15198"/>
                    </a:lnTo>
                    <a:cubicBezTo>
                      <a:pt x="3397" y="15198"/>
                      <a:pt x="25" y="11808"/>
                      <a:pt x="25" y="7613"/>
                    </a:cubicBezTo>
                    <a:cubicBezTo>
                      <a:pt x="25" y="3419"/>
                      <a:pt x="3397" y="29"/>
                      <a:pt x="7570" y="29"/>
                    </a:cubicBezTo>
                    <a:lnTo>
                      <a:pt x="37754" y="29"/>
                    </a:lnTo>
                    <a:cubicBezTo>
                      <a:pt x="41926" y="29"/>
                      <a:pt x="45299" y="3419"/>
                      <a:pt x="45299" y="7613"/>
                    </a:cubicBezTo>
                    <a:cubicBezTo>
                      <a:pt x="45299" y="11808"/>
                      <a:pt x="41926" y="15198"/>
                      <a:pt x="37754" y="15198"/>
                    </a:cubicBezTo>
                  </a:path>
                </a:pathLst>
              </a:custGeom>
              <a:solidFill>
                <a:srgbClr val="EFB25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056" name="Freeform: Shape 1055">
                <a:extLst>
                  <a:ext uri="{FF2B5EF4-FFF2-40B4-BE49-F238E27FC236}">
                    <a16:creationId xmlns:a16="http://schemas.microsoft.com/office/drawing/2014/main" id="{717091E4-97B9-ED9F-1EC1-EBBD94CB64F4}"/>
                  </a:ext>
                </a:extLst>
              </p:cNvPr>
              <p:cNvSpPr/>
              <p:nvPr/>
            </p:nvSpPr>
            <p:spPr>
              <a:xfrm>
                <a:off x="7995668" y="2158140"/>
                <a:ext cx="98095" cy="15169"/>
              </a:xfrm>
              <a:custGeom>
                <a:avLst/>
                <a:gdLst>
                  <a:gd name="connsiteX0" fmla="*/ 90574 w 98095"/>
                  <a:gd name="connsiteY0" fmla="*/ 15198 h 15169"/>
                  <a:gd name="connsiteX1" fmla="*/ 7570 w 98095"/>
                  <a:gd name="connsiteY1" fmla="*/ 15198 h 15169"/>
                  <a:gd name="connsiteX2" fmla="*/ 25 w 98095"/>
                  <a:gd name="connsiteY2" fmla="*/ 7613 h 15169"/>
                  <a:gd name="connsiteX3" fmla="*/ 7570 w 98095"/>
                  <a:gd name="connsiteY3" fmla="*/ 29 h 15169"/>
                  <a:gd name="connsiteX4" fmla="*/ 90574 w 98095"/>
                  <a:gd name="connsiteY4" fmla="*/ 29 h 15169"/>
                  <a:gd name="connsiteX5" fmla="*/ 98120 w 98095"/>
                  <a:gd name="connsiteY5" fmla="*/ 7613 h 15169"/>
                  <a:gd name="connsiteX6" fmla="*/ 90574 w 98095"/>
                  <a:gd name="connsiteY6" fmla="*/ 15198 h 1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095" h="15169">
                    <a:moveTo>
                      <a:pt x="90574" y="15198"/>
                    </a:moveTo>
                    <a:lnTo>
                      <a:pt x="7570" y="15198"/>
                    </a:lnTo>
                    <a:cubicBezTo>
                      <a:pt x="3397" y="15198"/>
                      <a:pt x="25" y="11808"/>
                      <a:pt x="25" y="7613"/>
                    </a:cubicBezTo>
                    <a:cubicBezTo>
                      <a:pt x="25" y="3419"/>
                      <a:pt x="3397" y="29"/>
                      <a:pt x="7570" y="29"/>
                    </a:cubicBezTo>
                    <a:lnTo>
                      <a:pt x="90574" y="29"/>
                    </a:lnTo>
                    <a:cubicBezTo>
                      <a:pt x="94747" y="29"/>
                      <a:pt x="98120" y="3419"/>
                      <a:pt x="98120" y="7613"/>
                    </a:cubicBezTo>
                    <a:cubicBezTo>
                      <a:pt x="98120" y="11808"/>
                      <a:pt x="94747" y="15198"/>
                      <a:pt x="90574" y="15198"/>
                    </a:cubicBezTo>
                  </a:path>
                </a:pathLst>
              </a:custGeom>
              <a:solidFill>
                <a:srgbClr val="55B7D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057" name="Freeform: Shape 1056">
                <a:extLst>
                  <a:ext uri="{FF2B5EF4-FFF2-40B4-BE49-F238E27FC236}">
                    <a16:creationId xmlns:a16="http://schemas.microsoft.com/office/drawing/2014/main" id="{2AA0AF0C-90DE-DBFD-88FD-37DCB6C12330}"/>
                  </a:ext>
                </a:extLst>
              </p:cNvPr>
              <p:cNvSpPr/>
              <p:nvPr/>
            </p:nvSpPr>
            <p:spPr>
              <a:xfrm>
                <a:off x="7995668" y="2105047"/>
                <a:ext cx="98095" cy="15169"/>
              </a:xfrm>
              <a:custGeom>
                <a:avLst/>
                <a:gdLst>
                  <a:gd name="connsiteX0" fmla="*/ 90574 w 98095"/>
                  <a:gd name="connsiteY0" fmla="*/ 15198 h 15169"/>
                  <a:gd name="connsiteX1" fmla="*/ 7570 w 98095"/>
                  <a:gd name="connsiteY1" fmla="*/ 15198 h 15169"/>
                  <a:gd name="connsiteX2" fmla="*/ 25 w 98095"/>
                  <a:gd name="connsiteY2" fmla="*/ 7613 h 15169"/>
                  <a:gd name="connsiteX3" fmla="*/ 7570 w 98095"/>
                  <a:gd name="connsiteY3" fmla="*/ 29 h 15169"/>
                  <a:gd name="connsiteX4" fmla="*/ 90574 w 98095"/>
                  <a:gd name="connsiteY4" fmla="*/ 29 h 15169"/>
                  <a:gd name="connsiteX5" fmla="*/ 98120 w 98095"/>
                  <a:gd name="connsiteY5" fmla="*/ 7613 h 15169"/>
                  <a:gd name="connsiteX6" fmla="*/ 90574 w 98095"/>
                  <a:gd name="connsiteY6" fmla="*/ 15198 h 1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095" h="15169">
                    <a:moveTo>
                      <a:pt x="90574" y="15198"/>
                    </a:moveTo>
                    <a:lnTo>
                      <a:pt x="7570" y="15198"/>
                    </a:lnTo>
                    <a:cubicBezTo>
                      <a:pt x="3397" y="15198"/>
                      <a:pt x="25" y="11808"/>
                      <a:pt x="25" y="7613"/>
                    </a:cubicBezTo>
                    <a:cubicBezTo>
                      <a:pt x="25" y="3419"/>
                      <a:pt x="3397" y="29"/>
                      <a:pt x="7570" y="29"/>
                    </a:cubicBezTo>
                    <a:lnTo>
                      <a:pt x="90574" y="29"/>
                    </a:lnTo>
                    <a:cubicBezTo>
                      <a:pt x="94747" y="29"/>
                      <a:pt x="98120" y="3419"/>
                      <a:pt x="98120" y="7613"/>
                    </a:cubicBezTo>
                    <a:cubicBezTo>
                      <a:pt x="98120" y="11808"/>
                      <a:pt x="94747" y="15198"/>
                      <a:pt x="90574" y="15198"/>
                    </a:cubicBezTo>
                  </a:path>
                </a:pathLst>
              </a:custGeom>
              <a:solidFill>
                <a:srgbClr val="FFFFF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058" name="Freeform: Shape 1057">
                <a:extLst>
                  <a:ext uri="{FF2B5EF4-FFF2-40B4-BE49-F238E27FC236}">
                    <a16:creationId xmlns:a16="http://schemas.microsoft.com/office/drawing/2014/main" id="{F756D0C6-70BB-8FA2-4C99-885C02CC3BD1}"/>
                  </a:ext>
                </a:extLst>
              </p:cNvPr>
              <p:cNvSpPr/>
              <p:nvPr/>
            </p:nvSpPr>
            <p:spPr>
              <a:xfrm>
                <a:off x="7995666" y="2006444"/>
                <a:ext cx="37732" cy="60679"/>
              </a:xfrm>
              <a:custGeom>
                <a:avLst/>
                <a:gdLst>
                  <a:gd name="connsiteX0" fmla="*/ 7572 w 37732"/>
                  <a:gd name="connsiteY0" fmla="*/ 60708 h 60679"/>
                  <a:gd name="connsiteX1" fmla="*/ 2237 w 37732"/>
                  <a:gd name="connsiteY1" fmla="*/ 58486 h 60679"/>
                  <a:gd name="connsiteX2" fmla="*/ 2237 w 37732"/>
                  <a:gd name="connsiteY2" fmla="*/ 47761 h 60679"/>
                  <a:gd name="connsiteX3" fmla="*/ 19540 w 37732"/>
                  <a:gd name="connsiteY3" fmla="*/ 30369 h 60679"/>
                  <a:gd name="connsiteX4" fmla="*/ 2237 w 37732"/>
                  <a:gd name="connsiteY4" fmla="*/ 12978 h 60679"/>
                  <a:gd name="connsiteX5" fmla="*/ 2237 w 37732"/>
                  <a:gd name="connsiteY5" fmla="*/ 2253 h 60679"/>
                  <a:gd name="connsiteX6" fmla="*/ 12907 w 37732"/>
                  <a:gd name="connsiteY6" fmla="*/ 2253 h 60679"/>
                  <a:gd name="connsiteX7" fmla="*/ 35545 w 37732"/>
                  <a:gd name="connsiteY7" fmla="*/ 25007 h 60679"/>
                  <a:gd name="connsiteX8" fmla="*/ 35545 w 37732"/>
                  <a:gd name="connsiteY8" fmla="*/ 35732 h 60679"/>
                  <a:gd name="connsiteX9" fmla="*/ 12907 w 37732"/>
                  <a:gd name="connsiteY9" fmla="*/ 58486 h 60679"/>
                  <a:gd name="connsiteX10" fmla="*/ 7572 w 37732"/>
                  <a:gd name="connsiteY10" fmla="*/ 60708 h 60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732" h="60679">
                    <a:moveTo>
                      <a:pt x="7572" y="60708"/>
                    </a:moveTo>
                    <a:cubicBezTo>
                      <a:pt x="5640" y="60708"/>
                      <a:pt x="3709" y="59965"/>
                      <a:pt x="2237" y="58486"/>
                    </a:cubicBezTo>
                    <a:cubicBezTo>
                      <a:pt x="-713" y="55520"/>
                      <a:pt x="-713" y="50727"/>
                      <a:pt x="2237" y="47761"/>
                    </a:cubicBezTo>
                    <a:lnTo>
                      <a:pt x="19540" y="30369"/>
                    </a:lnTo>
                    <a:lnTo>
                      <a:pt x="2237" y="12978"/>
                    </a:lnTo>
                    <a:cubicBezTo>
                      <a:pt x="-713" y="10012"/>
                      <a:pt x="-713" y="5218"/>
                      <a:pt x="2237" y="2253"/>
                    </a:cubicBezTo>
                    <a:cubicBezTo>
                      <a:pt x="5188" y="-713"/>
                      <a:pt x="9957" y="-713"/>
                      <a:pt x="12907" y="2253"/>
                    </a:cubicBezTo>
                    <a:lnTo>
                      <a:pt x="35545" y="25007"/>
                    </a:lnTo>
                    <a:cubicBezTo>
                      <a:pt x="38495" y="27973"/>
                      <a:pt x="38495" y="32766"/>
                      <a:pt x="35545" y="35732"/>
                    </a:cubicBezTo>
                    <a:lnTo>
                      <a:pt x="12907" y="58486"/>
                    </a:lnTo>
                    <a:cubicBezTo>
                      <a:pt x="11436" y="59965"/>
                      <a:pt x="9504" y="60708"/>
                      <a:pt x="7572" y="60708"/>
                    </a:cubicBezTo>
                  </a:path>
                </a:pathLst>
              </a:custGeom>
              <a:solidFill>
                <a:srgbClr val="697D8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059" name="Freeform: Shape 1058">
                <a:extLst>
                  <a:ext uri="{FF2B5EF4-FFF2-40B4-BE49-F238E27FC236}">
                    <a16:creationId xmlns:a16="http://schemas.microsoft.com/office/drawing/2014/main" id="{C6579448-39DF-51DF-4A95-22F115FF2735}"/>
                  </a:ext>
                </a:extLst>
              </p:cNvPr>
              <p:cNvSpPr/>
              <p:nvPr/>
            </p:nvSpPr>
            <p:spPr>
              <a:xfrm>
                <a:off x="8040943" y="2051954"/>
                <a:ext cx="45274" cy="15169"/>
              </a:xfrm>
              <a:custGeom>
                <a:avLst/>
                <a:gdLst>
                  <a:gd name="connsiteX0" fmla="*/ 37754 w 45274"/>
                  <a:gd name="connsiteY0" fmla="*/ 15198 h 15169"/>
                  <a:gd name="connsiteX1" fmla="*/ 7570 w 45274"/>
                  <a:gd name="connsiteY1" fmla="*/ 15198 h 15169"/>
                  <a:gd name="connsiteX2" fmla="*/ 25 w 45274"/>
                  <a:gd name="connsiteY2" fmla="*/ 7613 h 15169"/>
                  <a:gd name="connsiteX3" fmla="*/ 7570 w 45274"/>
                  <a:gd name="connsiteY3" fmla="*/ 29 h 15169"/>
                  <a:gd name="connsiteX4" fmla="*/ 37754 w 45274"/>
                  <a:gd name="connsiteY4" fmla="*/ 29 h 15169"/>
                  <a:gd name="connsiteX5" fmla="*/ 45299 w 45274"/>
                  <a:gd name="connsiteY5" fmla="*/ 7613 h 15169"/>
                  <a:gd name="connsiteX6" fmla="*/ 37754 w 45274"/>
                  <a:gd name="connsiteY6" fmla="*/ 15198 h 1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74" h="15169">
                    <a:moveTo>
                      <a:pt x="37754" y="15198"/>
                    </a:moveTo>
                    <a:lnTo>
                      <a:pt x="7570" y="15198"/>
                    </a:lnTo>
                    <a:cubicBezTo>
                      <a:pt x="3397" y="15198"/>
                      <a:pt x="25" y="11808"/>
                      <a:pt x="25" y="7613"/>
                    </a:cubicBezTo>
                    <a:cubicBezTo>
                      <a:pt x="25" y="3419"/>
                      <a:pt x="3397" y="29"/>
                      <a:pt x="7570" y="29"/>
                    </a:cubicBezTo>
                    <a:lnTo>
                      <a:pt x="37754" y="29"/>
                    </a:lnTo>
                    <a:cubicBezTo>
                      <a:pt x="41926" y="29"/>
                      <a:pt x="45299" y="3419"/>
                      <a:pt x="45299" y="7613"/>
                    </a:cubicBezTo>
                    <a:cubicBezTo>
                      <a:pt x="45299" y="11808"/>
                      <a:pt x="41926" y="15198"/>
                      <a:pt x="37754" y="15198"/>
                    </a:cubicBezTo>
                  </a:path>
                </a:pathLst>
              </a:custGeom>
              <a:solidFill>
                <a:srgbClr val="697D8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041" name="Freeform: Shape 1040">
                <a:extLst>
                  <a:ext uri="{FF2B5EF4-FFF2-40B4-BE49-F238E27FC236}">
                    <a16:creationId xmlns:a16="http://schemas.microsoft.com/office/drawing/2014/main" id="{BD8DFBE5-08D9-0FA1-FA5B-170F24E82244}"/>
                  </a:ext>
                </a:extLst>
              </p:cNvPr>
              <p:cNvSpPr/>
              <p:nvPr/>
            </p:nvSpPr>
            <p:spPr>
              <a:xfrm>
                <a:off x="7882974" y="1975341"/>
                <a:ext cx="466853" cy="395940"/>
              </a:xfrm>
              <a:custGeom>
                <a:avLst/>
                <a:gdLst>
                  <a:gd name="connsiteX0" fmla="*/ 452773 w 482931"/>
                  <a:gd name="connsiteY0" fmla="*/ 29 h 409575"/>
                  <a:gd name="connsiteX1" fmla="*/ 30208 w 482931"/>
                  <a:gd name="connsiteY1" fmla="*/ 29 h 409575"/>
                  <a:gd name="connsiteX2" fmla="*/ 25 w 482931"/>
                  <a:gd name="connsiteY2" fmla="*/ 30367 h 409575"/>
                  <a:gd name="connsiteX3" fmla="*/ 25 w 482931"/>
                  <a:gd name="connsiteY3" fmla="*/ 379265 h 409575"/>
                  <a:gd name="connsiteX4" fmla="*/ 30208 w 482931"/>
                  <a:gd name="connsiteY4" fmla="*/ 409604 h 409575"/>
                  <a:gd name="connsiteX5" fmla="*/ 452773 w 482931"/>
                  <a:gd name="connsiteY5" fmla="*/ 409604 h 409575"/>
                  <a:gd name="connsiteX6" fmla="*/ 482956 w 482931"/>
                  <a:gd name="connsiteY6" fmla="*/ 379265 h 409575"/>
                  <a:gd name="connsiteX7" fmla="*/ 482956 w 482931"/>
                  <a:gd name="connsiteY7" fmla="*/ 30367 h 409575"/>
                  <a:gd name="connsiteX8" fmla="*/ 452773 w 482931"/>
                  <a:gd name="connsiteY8" fmla="*/ 29 h 409575"/>
                  <a:gd name="connsiteX9" fmla="*/ 452773 w 482931"/>
                  <a:gd name="connsiteY9" fmla="*/ 15198 h 409575"/>
                  <a:gd name="connsiteX10" fmla="*/ 467865 w 482931"/>
                  <a:gd name="connsiteY10" fmla="*/ 30367 h 409575"/>
                  <a:gd name="connsiteX11" fmla="*/ 467865 w 482931"/>
                  <a:gd name="connsiteY11" fmla="*/ 379265 h 409575"/>
                  <a:gd name="connsiteX12" fmla="*/ 452773 w 482931"/>
                  <a:gd name="connsiteY12" fmla="*/ 394434 h 409575"/>
                  <a:gd name="connsiteX13" fmla="*/ 30208 w 482931"/>
                  <a:gd name="connsiteY13" fmla="*/ 394434 h 409575"/>
                  <a:gd name="connsiteX14" fmla="*/ 15116 w 482931"/>
                  <a:gd name="connsiteY14" fmla="*/ 379265 h 409575"/>
                  <a:gd name="connsiteX15" fmla="*/ 15116 w 482931"/>
                  <a:gd name="connsiteY15" fmla="*/ 30367 h 409575"/>
                  <a:gd name="connsiteX16" fmla="*/ 30208 w 482931"/>
                  <a:gd name="connsiteY16" fmla="*/ 15198 h 409575"/>
                  <a:gd name="connsiteX17" fmla="*/ 452773 w 482931"/>
                  <a:gd name="connsiteY17" fmla="*/ 15198 h 409575"/>
                  <a:gd name="connsiteX18" fmla="*/ 452773 w 482931"/>
                  <a:gd name="connsiteY18" fmla="*/ 15198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82931" h="409575">
                    <a:moveTo>
                      <a:pt x="452773" y="29"/>
                    </a:moveTo>
                    <a:lnTo>
                      <a:pt x="30208" y="29"/>
                    </a:lnTo>
                    <a:cubicBezTo>
                      <a:pt x="13607" y="29"/>
                      <a:pt x="25" y="13681"/>
                      <a:pt x="25" y="30367"/>
                    </a:cubicBezTo>
                    <a:lnTo>
                      <a:pt x="25" y="379265"/>
                    </a:lnTo>
                    <a:cubicBezTo>
                      <a:pt x="25" y="395951"/>
                      <a:pt x="13607" y="409604"/>
                      <a:pt x="30208" y="409604"/>
                    </a:cubicBezTo>
                    <a:lnTo>
                      <a:pt x="452773" y="409604"/>
                    </a:lnTo>
                    <a:cubicBezTo>
                      <a:pt x="469374" y="409604"/>
                      <a:pt x="482956" y="395951"/>
                      <a:pt x="482956" y="379265"/>
                    </a:cubicBezTo>
                    <a:lnTo>
                      <a:pt x="482956" y="30367"/>
                    </a:lnTo>
                    <a:cubicBezTo>
                      <a:pt x="482956" y="13681"/>
                      <a:pt x="469374" y="29"/>
                      <a:pt x="452773" y="29"/>
                    </a:cubicBezTo>
                    <a:close/>
                    <a:moveTo>
                      <a:pt x="452773" y="15198"/>
                    </a:moveTo>
                    <a:cubicBezTo>
                      <a:pt x="461088" y="15198"/>
                      <a:pt x="467865" y="22001"/>
                      <a:pt x="467865" y="30367"/>
                    </a:cubicBezTo>
                    <a:lnTo>
                      <a:pt x="467865" y="379265"/>
                    </a:lnTo>
                    <a:cubicBezTo>
                      <a:pt x="467865" y="387623"/>
                      <a:pt x="461088" y="394434"/>
                      <a:pt x="452773" y="394434"/>
                    </a:cubicBezTo>
                    <a:lnTo>
                      <a:pt x="30208" y="394434"/>
                    </a:lnTo>
                    <a:cubicBezTo>
                      <a:pt x="21885" y="394434"/>
                      <a:pt x="15116" y="387623"/>
                      <a:pt x="15116" y="379265"/>
                    </a:cubicBezTo>
                    <a:lnTo>
                      <a:pt x="15116" y="30367"/>
                    </a:lnTo>
                    <a:cubicBezTo>
                      <a:pt x="15116" y="22001"/>
                      <a:pt x="21885" y="15198"/>
                      <a:pt x="30208" y="15198"/>
                    </a:cubicBezTo>
                    <a:lnTo>
                      <a:pt x="452773" y="15198"/>
                    </a:lnTo>
                    <a:lnTo>
                      <a:pt x="452773" y="15198"/>
                    </a:lnTo>
                    <a:close/>
                  </a:path>
                </a:pathLst>
              </a:custGeom>
              <a:solidFill>
                <a:srgbClr val="384B58"/>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grpSp>
        <p:grpSp>
          <p:nvGrpSpPr>
            <p:cNvPr id="1063" name="Graphic 1034">
              <a:extLst>
                <a:ext uri="{FF2B5EF4-FFF2-40B4-BE49-F238E27FC236}">
                  <a16:creationId xmlns:a16="http://schemas.microsoft.com/office/drawing/2014/main" id="{5F093D36-0DC8-8AF6-79BC-39FF9D044669}"/>
                </a:ext>
              </a:extLst>
            </p:cNvPr>
            <p:cNvGrpSpPr>
              <a:grpSpLocks noChangeAspect="1"/>
            </p:cNvGrpSpPr>
            <p:nvPr/>
          </p:nvGrpSpPr>
          <p:grpSpPr>
            <a:xfrm>
              <a:off x="8178601" y="1600200"/>
              <a:ext cx="787047" cy="667495"/>
              <a:chOff x="7882971" y="1975341"/>
              <a:chExt cx="466853" cy="395940"/>
            </a:xfrm>
            <a:effectLst>
              <a:outerShdw blurRad="50800" dist="38100" dir="8100000" algn="tr" rotWithShape="0">
                <a:prstClr val="black">
                  <a:alpha val="40000"/>
                </a:prstClr>
              </a:outerShdw>
            </a:effectLst>
          </p:grpSpPr>
          <p:sp>
            <p:nvSpPr>
              <p:cNvPr id="1064" name="Freeform: Shape 1063">
                <a:extLst>
                  <a:ext uri="{FF2B5EF4-FFF2-40B4-BE49-F238E27FC236}">
                    <a16:creationId xmlns:a16="http://schemas.microsoft.com/office/drawing/2014/main" id="{A25FDD6C-FFBC-562F-9491-30EB08BCBE64}"/>
                  </a:ext>
                </a:extLst>
              </p:cNvPr>
              <p:cNvSpPr/>
              <p:nvPr/>
            </p:nvSpPr>
            <p:spPr>
              <a:xfrm>
                <a:off x="7890027" y="1983691"/>
                <a:ext cx="452748" cy="379236"/>
              </a:xfrm>
              <a:custGeom>
                <a:avLst/>
                <a:gdLst>
                  <a:gd name="connsiteX0" fmla="*/ 437681 w 452748"/>
                  <a:gd name="connsiteY0" fmla="*/ 29 h 379236"/>
                  <a:gd name="connsiteX1" fmla="*/ 15116 w 452748"/>
                  <a:gd name="connsiteY1" fmla="*/ 29 h 379236"/>
                  <a:gd name="connsiteX2" fmla="*/ 25 w 452748"/>
                  <a:gd name="connsiteY2" fmla="*/ 15198 h 379236"/>
                  <a:gd name="connsiteX3" fmla="*/ 25 w 452748"/>
                  <a:gd name="connsiteY3" fmla="*/ 364095 h 379236"/>
                  <a:gd name="connsiteX4" fmla="*/ 15116 w 452748"/>
                  <a:gd name="connsiteY4" fmla="*/ 379265 h 379236"/>
                  <a:gd name="connsiteX5" fmla="*/ 437681 w 452748"/>
                  <a:gd name="connsiteY5" fmla="*/ 379265 h 379236"/>
                  <a:gd name="connsiteX6" fmla="*/ 452773 w 452748"/>
                  <a:gd name="connsiteY6" fmla="*/ 364095 h 379236"/>
                  <a:gd name="connsiteX7" fmla="*/ 452773 w 452748"/>
                  <a:gd name="connsiteY7" fmla="*/ 15198 h 379236"/>
                  <a:gd name="connsiteX8" fmla="*/ 437681 w 452748"/>
                  <a:gd name="connsiteY8" fmla="*/ 29 h 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2748" h="379236">
                    <a:moveTo>
                      <a:pt x="437681" y="29"/>
                    </a:moveTo>
                    <a:lnTo>
                      <a:pt x="15116" y="29"/>
                    </a:lnTo>
                    <a:cubicBezTo>
                      <a:pt x="6793" y="29"/>
                      <a:pt x="25" y="6832"/>
                      <a:pt x="25" y="15198"/>
                    </a:cubicBezTo>
                    <a:lnTo>
                      <a:pt x="25" y="364095"/>
                    </a:lnTo>
                    <a:cubicBezTo>
                      <a:pt x="25" y="372454"/>
                      <a:pt x="6793" y="379265"/>
                      <a:pt x="15116" y="379265"/>
                    </a:cubicBezTo>
                    <a:lnTo>
                      <a:pt x="437681" y="379265"/>
                    </a:lnTo>
                    <a:cubicBezTo>
                      <a:pt x="445997" y="379265"/>
                      <a:pt x="452773" y="372454"/>
                      <a:pt x="452773" y="364095"/>
                    </a:cubicBezTo>
                    <a:lnTo>
                      <a:pt x="452773" y="15198"/>
                    </a:lnTo>
                    <a:cubicBezTo>
                      <a:pt x="452773" y="6832"/>
                      <a:pt x="445997" y="29"/>
                      <a:pt x="437681" y="29"/>
                    </a:cubicBezTo>
                  </a:path>
                </a:pathLst>
              </a:custGeom>
              <a:solidFill>
                <a:srgbClr val="182A3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065" name="Freeform: Shape 1064">
                <a:extLst>
                  <a:ext uri="{FF2B5EF4-FFF2-40B4-BE49-F238E27FC236}">
                    <a16:creationId xmlns:a16="http://schemas.microsoft.com/office/drawing/2014/main" id="{39EBA931-84C3-B8B6-576D-C02BEA0F31A8}"/>
                  </a:ext>
                </a:extLst>
              </p:cNvPr>
              <p:cNvSpPr/>
              <p:nvPr/>
            </p:nvSpPr>
            <p:spPr>
              <a:xfrm>
                <a:off x="7957939" y="1983691"/>
                <a:ext cx="15091" cy="379236"/>
              </a:xfrm>
              <a:custGeom>
                <a:avLst/>
                <a:gdLst>
                  <a:gd name="connsiteX0" fmla="*/ 25 w 15091"/>
                  <a:gd name="connsiteY0" fmla="*/ 379265 h 379236"/>
                  <a:gd name="connsiteX1" fmla="*/ 15116 w 15091"/>
                  <a:gd name="connsiteY1" fmla="*/ 379265 h 379236"/>
                  <a:gd name="connsiteX2" fmla="*/ 15116 w 15091"/>
                  <a:gd name="connsiteY2" fmla="*/ 29 h 379236"/>
                  <a:gd name="connsiteX3" fmla="*/ 25 w 15091"/>
                  <a:gd name="connsiteY3" fmla="*/ 29 h 379236"/>
                </a:gdLst>
                <a:ahLst/>
                <a:cxnLst>
                  <a:cxn ang="0">
                    <a:pos x="connsiteX0" y="connsiteY0"/>
                  </a:cxn>
                  <a:cxn ang="0">
                    <a:pos x="connsiteX1" y="connsiteY1"/>
                  </a:cxn>
                  <a:cxn ang="0">
                    <a:pos x="connsiteX2" y="connsiteY2"/>
                  </a:cxn>
                  <a:cxn ang="0">
                    <a:pos x="connsiteX3" y="connsiteY3"/>
                  </a:cxn>
                </a:cxnLst>
                <a:rect l="l" t="t" r="r" b="b"/>
                <a:pathLst>
                  <a:path w="15091" h="379236">
                    <a:moveTo>
                      <a:pt x="25" y="379265"/>
                    </a:moveTo>
                    <a:lnTo>
                      <a:pt x="15116" y="379265"/>
                    </a:lnTo>
                    <a:lnTo>
                      <a:pt x="15116" y="29"/>
                    </a:lnTo>
                    <a:lnTo>
                      <a:pt x="25" y="29"/>
                    </a:lnTo>
                    <a:close/>
                  </a:path>
                </a:pathLst>
              </a:custGeom>
              <a:solidFill>
                <a:srgbClr val="384B58"/>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066" name="Freeform: Shape 1065">
                <a:extLst>
                  <a:ext uri="{FF2B5EF4-FFF2-40B4-BE49-F238E27FC236}">
                    <a16:creationId xmlns:a16="http://schemas.microsoft.com/office/drawing/2014/main" id="{B35D0B9B-CD4B-5483-5F85-57FEEA9FDDAA}"/>
                  </a:ext>
                </a:extLst>
              </p:cNvPr>
              <p:cNvSpPr/>
              <p:nvPr/>
            </p:nvSpPr>
            <p:spPr>
              <a:xfrm>
                <a:off x="7912664" y="2097462"/>
                <a:ext cx="30183" cy="30338"/>
              </a:xfrm>
              <a:custGeom>
                <a:avLst/>
                <a:gdLst>
                  <a:gd name="connsiteX0" fmla="*/ 30208 w 30183"/>
                  <a:gd name="connsiteY0" fmla="*/ 15198 h 30338"/>
                  <a:gd name="connsiteX1" fmla="*/ 15116 w 30183"/>
                  <a:gd name="connsiteY1" fmla="*/ 30367 h 30338"/>
                  <a:gd name="connsiteX2" fmla="*/ 25 w 30183"/>
                  <a:gd name="connsiteY2" fmla="*/ 15198 h 30338"/>
                  <a:gd name="connsiteX3" fmla="*/ 15116 w 30183"/>
                  <a:gd name="connsiteY3" fmla="*/ 29 h 30338"/>
                  <a:gd name="connsiteX4" fmla="*/ 30208 w 30183"/>
                  <a:gd name="connsiteY4" fmla="*/ 15198 h 30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83" h="30338">
                    <a:moveTo>
                      <a:pt x="30208" y="15198"/>
                    </a:moveTo>
                    <a:cubicBezTo>
                      <a:pt x="30208" y="23571"/>
                      <a:pt x="23447" y="30367"/>
                      <a:pt x="15116" y="30367"/>
                    </a:cubicBezTo>
                    <a:cubicBezTo>
                      <a:pt x="6778" y="30367"/>
                      <a:pt x="25" y="23571"/>
                      <a:pt x="25" y="15198"/>
                    </a:cubicBezTo>
                    <a:cubicBezTo>
                      <a:pt x="25" y="6817"/>
                      <a:pt x="6778" y="29"/>
                      <a:pt x="15116" y="29"/>
                    </a:cubicBezTo>
                    <a:cubicBezTo>
                      <a:pt x="23447" y="29"/>
                      <a:pt x="30208" y="6817"/>
                      <a:pt x="30208" y="15198"/>
                    </a:cubicBezTo>
                  </a:path>
                </a:pathLst>
              </a:custGeom>
              <a:solidFill>
                <a:srgbClr val="E1E4E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067" name="Freeform: Shape 1066">
                <a:extLst>
                  <a:ext uri="{FF2B5EF4-FFF2-40B4-BE49-F238E27FC236}">
                    <a16:creationId xmlns:a16="http://schemas.microsoft.com/office/drawing/2014/main" id="{4A6F9784-831A-598F-E481-10C00BB09506}"/>
                  </a:ext>
                </a:extLst>
              </p:cNvPr>
              <p:cNvSpPr/>
              <p:nvPr/>
            </p:nvSpPr>
            <p:spPr>
              <a:xfrm>
                <a:off x="7912664" y="2150555"/>
                <a:ext cx="30183" cy="30338"/>
              </a:xfrm>
              <a:custGeom>
                <a:avLst/>
                <a:gdLst>
                  <a:gd name="connsiteX0" fmla="*/ 30208 w 30183"/>
                  <a:gd name="connsiteY0" fmla="*/ 15198 h 30338"/>
                  <a:gd name="connsiteX1" fmla="*/ 15116 w 30183"/>
                  <a:gd name="connsiteY1" fmla="*/ 30367 h 30338"/>
                  <a:gd name="connsiteX2" fmla="*/ 25 w 30183"/>
                  <a:gd name="connsiteY2" fmla="*/ 15198 h 30338"/>
                  <a:gd name="connsiteX3" fmla="*/ 15116 w 30183"/>
                  <a:gd name="connsiteY3" fmla="*/ 29 h 30338"/>
                  <a:gd name="connsiteX4" fmla="*/ 30208 w 30183"/>
                  <a:gd name="connsiteY4" fmla="*/ 15198 h 30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83" h="30338">
                    <a:moveTo>
                      <a:pt x="30208" y="15198"/>
                    </a:moveTo>
                    <a:cubicBezTo>
                      <a:pt x="30208" y="23571"/>
                      <a:pt x="23447" y="30367"/>
                      <a:pt x="15116" y="30367"/>
                    </a:cubicBezTo>
                    <a:cubicBezTo>
                      <a:pt x="6778" y="30367"/>
                      <a:pt x="25" y="23571"/>
                      <a:pt x="25" y="15198"/>
                    </a:cubicBezTo>
                    <a:cubicBezTo>
                      <a:pt x="25" y="6817"/>
                      <a:pt x="6778" y="29"/>
                      <a:pt x="15116" y="29"/>
                    </a:cubicBezTo>
                    <a:cubicBezTo>
                      <a:pt x="23447" y="29"/>
                      <a:pt x="30208" y="6817"/>
                      <a:pt x="30208" y="15198"/>
                    </a:cubicBezTo>
                  </a:path>
                </a:pathLst>
              </a:custGeom>
              <a:solidFill>
                <a:srgbClr val="E1E4E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068" name="Freeform: Shape 1067">
                <a:extLst>
                  <a:ext uri="{FF2B5EF4-FFF2-40B4-BE49-F238E27FC236}">
                    <a16:creationId xmlns:a16="http://schemas.microsoft.com/office/drawing/2014/main" id="{0F6D6C81-DBA7-63B9-5B01-F4AE7636DF54}"/>
                  </a:ext>
                </a:extLst>
              </p:cNvPr>
              <p:cNvSpPr/>
              <p:nvPr/>
            </p:nvSpPr>
            <p:spPr>
              <a:xfrm>
                <a:off x="7912664" y="2203648"/>
                <a:ext cx="30183" cy="30338"/>
              </a:xfrm>
              <a:custGeom>
                <a:avLst/>
                <a:gdLst>
                  <a:gd name="connsiteX0" fmla="*/ 30208 w 30183"/>
                  <a:gd name="connsiteY0" fmla="*/ 15198 h 30338"/>
                  <a:gd name="connsiteX1" fmla="*/ 15116 w 30183"/>
                  <a:gd name="connsiteY1" fmla="*/ 30367 h 30338"/>
                  <a:gd name="connsiteX2" fmla="*/ 25 w 30183"/>
                  <a:gd name="connsiteY2" fmla="*/ 15198 h 30338"/>
                  <a:gd name="connsiteX3" fmla="*/ 15116 w 30183"/>
                  <a:gd name="connsiteY3" fmla="*/ 29 h 30338"/>
                  <a:gd name="connsiteX4" fmla="*/ 30208 w 30183"/>
                  <a:gd name="connsiteY4" fmla="*/ 15198 h 30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83" h="30338">
                    <a:moveTo>
                      <a:pt x="30208" y="15198"/>
                    </a:moveTo>
                    <a:cubicBezTo>
                      <a:pt x="30208" y="23571"/>
                      <a:pt x="23447" y="30367"/>
                      <a:pt x="15116" y="30367"/>
                    </a:cubicBezTo>
                    <a:cubicBezTo>
                      <a:pt x="6778" y="30367"/>
                      <a:pt x="25" y="23571"/>
                      <a:pt x="25" y="15198"/>
                    </a:cubicBezTo>
                    <a:cubicBezTo>
                      <a:pt x="25" y="6817"/>
                      <a:pt x="6778" y="29"/>
                      <a:pt x="15116" y="29"/>
                    </a:cubicBezTo>
                    <a:cubicBezTo>
                      <a:pt x="23447" y="29"/>
                      <a:pt x="30208" y="6817"/>
                      <a:pt x="30208" y="15198"/>
                    </a:cubicBezTo>
                  </a:path>
                </a:pathLst>
              </a:custGeom>
              <a:solidFill>
                <a:srgbClr val="E1E4E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069" name="Freeform: Shape 1068">
                <a:extLst>
                  <a:ext uri="{FF2B5EF4-FFF2-40B4-BE49-F238E27FC236}">
                    <a16:creationId xmlns:a16="http://schemas.microsoft.com/office/drawing/2014/main" id="{25E2B943-9A5F-DFF6-6412-ACB0CCA08838}"/>
                  </a:ext>
                </a:extLst>
              </p:cNvPr>
              <p:cNvSpPr/>
              <p:nvPr/>
            </p:nvSpPr>
            <p:spPr>
              <a:xfrm>
                <a:off x="7912664" y="2256741"/>
                <a:ext cx="30183" cy="30338"/>
              </a:xfrm>
              <a:custGeom>
                <a:avLst/>
                <a:gdLst>
                  <a:gd name="connsiteX0" fmla="*/ 30208 w 30183"/>
                  <a:gd name="connsiteY0" fmla="*/ 15198 h 30338"/>
                  <a:gd name="connsiteX1" fmla="*/ 15116 w 30183"/>
                  <a:gd name="connsiteY1" fmla="*/ 30367 h 30338"/>
                  <a:gd name="connsiteX2" fmla="*/ 25 w 30183"/>
                  <a:gd name="connsiteY2" fmla="*/ 15198 h 30338"/>
                  <a:gd name="connsiteX3" fmla="*/ 15116 w 30183"/>
                  <a:gd name="connsiteY3" fmla="*/ 29 h 30338"/>
                  <a:gd name="connsiteX4" fmla="*/ 30208 w 30183"/>
                  <a:gd name="connsiteY4" fmla="*/ 15198 h 30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83" h="30338">
                    <a:moveTo>
                      <a:pt x="30208" y="15198"/>
                    </a:moveTo>
                    <a:cubicBezTo>
                      <a:pt x="30208" y="23571"/>
                      <a:pt x="23447" y="30367"/>
                      <a:pt x="15116" y="30367"/>
                    </a:cubicBezTo>
                    <a:cubicBezTo>
                      <a:pt x="6778" y="30367"/>
                      <a:pt x="25" y="23571"/>
                      <a:pt x="25" y="15198"/>
                    </a:cubicBezTo>
                    <a:cubicBezTo>
                      <a:pt x="25" y="6817"/>
                      <a:pt x="6778" y="29"/>
                      <a:pt x="15116" y="29"/>
                    </a:cubicBezTo>
                    <a:cubicBezTo>
                      <a:pt x="23447" y="29"/>
                      <a:pt x="30208" y="6817"/>
                      <a:pt x="30208" y="15198"/>
                    </a:cubicBezTo>
                  </a:path>
                </a:pathLst>
              </a:custGeom>
              <a:solidFill>
                <a:srgbClr val="E1E4E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070" name="Freeform: Shape 1069">
                <a:extLst>
                  <a:ext uri="{FF2B5EF4-FFF2-40B4-BE49-F238E27FC236}">
                    <a16:creationId xmlns:a16="http://schemas.microsoft.com/office/drawing/2014/main" id="{F340B33F-A952-DE0E-94BA-C5C243597E02}"/>
                  </a:ext>
                </a:extLst>
              </p:cNvPr>
              <p:cNvSpPr/>
              <p:nvPr/>
            </p:nvSpPr>
            <p:spPr>
              <a:xfrm>
                <a:off x="7912664" y="2309834"/>
                <a:ext cx="30183" cy="30338"/>
              </a:xfrm>
              <a:custGeom>
                <a:avLst/>
                <a:gdLst>
                  <a:gd name="connsiteX0" fmla="*/ 30208 w 30183"/>
                  <a:gd name="connsiteY0" fmla="*/ 15198 h 30338"/>
                  <a:gd name="connsiteX1" fmla="*/ 15116 w 30183"/>
                  <a:gd name="connsiteY1" fmla="*/ 30367 h 30338"/>
                  <a:gd name="connsiteX2" fmla="*/ 25 w 30183"/>
                  <a:gd name="connsiteY2" fmla="*/ 15198 h 30338"/>
                  <a:gd name="connsiteX3" fmla="*/ 15116 w 30183"/>
                  <a:gd name="connsiteY3" fmla="*/ 29 h 30338"/>
                  <a:gd name="connsiteX4" fmla="*/ 30208 w 30183"/>
                  <a:gd name="connsiteY4" fmla="*/ 15198 h 30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83" h="30338">
                    <a:moveTo>
                      <a:pt x="30208" y="15198"/>
                    </a:moveTo>
                    <a:cubicBezTo>
                      <a:pt x="30208" y="23572"/>
                      <a:pt x="23447" y="30367"/>
                      <a:pt x="15116" y="30367"/>
                    </a:cubicBezTo>
                    <a:cubicBezTo>
                      <a:pt x="6778" y="30367"/>
                      <a:pt x="25" y="23572"/>
                      <a:pt x="25" y="15198"/>
                    </a:cubicBezTo>
                    <a:cubicBezTo>
                      <a:pt x="25" y="6817"/>
                      <a:pt x="6778" y="29"/>
                      <a:pt x="15116" y="29"/>
                    </a:cubicBezTo>
                    <a:cubicBezTo>
                      <a:pt x="23447" y="29"/>
                      <a:pt x="30208" y="6817"/>
                      <a:pt x="30208" y="15198"/>
                    </a:cubicBezTo>
                  </a:path>
                </a:pathLst>
              </a:custGeom>
              <a:solidFill>
                <a:srgbClr val="E1E4E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071" name="Freeform: Shape 1070">
                <a:extLst>
                  <a:ext uri="{FF2B5EF4-FFF2-40B4-BE49-F238E27FC236}">
                    <a16:creationId xmlns:a16="http://schemas.microsoft.com/office/drawing/2014/main" id="{3999B859-BD05-1A5E-8C8E-02786B63ECB3}"/>
                  </a:ext>
                </a:extLst>
              </p:cNvPr>
              <p:cNvSpPr/>
              <p:nvPr/>
            </p:nvSpPr>
            <p:spPr>
              <a:xfrm>
                <a:off x="7995668" y="2317419"/>
                <a:ext cx="98095" cy="15169"/>
              </a:xfrm>
              <a:custGeom>
                <a:avLst/>
                <a:gdLst>
                  <a:gd name="connsiteX0" fmla="*/ 90574 w 98095"/>
                  <a:gd name="connsiteY0" fmla="*/ 15198 h 15169"/>
                  <a:gd name="connsiteX1" fmla="*/ 7570 w 98095"/>
                  <a:gd name="connsiteY1" fmla="*/ 15198 h 15169"/>
                  <a:gd name="connsiteX2" fmla="*/ 25 w 98095"/>
                  <a:gd name="connsiteY2" fmla="*/ 7613 h 15169"/>
                  <a:gd name="connsiteX3" fmla="*/ 7570 w 98095"/>
                  <a:gd name="connsiteY3" fmla="*/ 29 h 15169"/>
                  <a:gd name="connsiteX4" fmla="*/ 90574 w 98095"/>
                  <a:gd name="connsiteY4" fmla="*/ 29 h 15169"/>
                  <a:gd name="connsiteX5" fmla="*/ 98120 w 98095"/>
                  <a:gd name="connsiteY5" fmla="*/ 7613 h 15169"/>
                  <a:gd name="connsiteX6" fmla="*/ 90574 w 98095"/>
                  <a:gd name="connsiteY6" fmla="*/ 15198 h 1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095" h="15169">
                    <a:moveTo>
                      <a:pt x="90574" y="15198"/>
                    </a:moveTo>
                    <a:lnTo>
                      <a:pt x="7570" y="15198"/>
                    </a:lnTo>
                    <a:cubicBezTo>
                      <a:pt x="3397" y="15198"/>
                      <a:pt x="25" y="11808"/>
                      <a:pt x="25" y="7613"/>
                    </a:cubicBezTo>
                    <a:cubicBezTo>
                      <a:pt x="25" y="3419"/>
                      <a:pt x="3397" y="29"/>
                      <a:pt x="7570" y="29"/>
                    </a:cubicBezTo>
                    <a:lnTo>
                      <a:pt x="90574" y="29"/>
                    </a:lnTo>
                    <a:cubicBezTo>
                      <a:pt x="94747" y="29"/>
                      <a:pt x="98120" y="3419"/>
                      <a:pt x="98120" y="7613"/>
                    </a:cubicBezTo>
                    <a:cubicBezTo>
                      <a:pt x="98120" y="11808"/>
                      <a:pt x="94747" y="15198"/>
                      <a:pt x="90574" y="15198"/>
                    </a:cubicBezTo>
                  </a:path>
                </a:pathLst>
              </a:custGeom>
              <a:solidFill>
                <a:srgbClr val="FFFFF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072" name="Freeform: Shape 1071">
                <a:extLst>
                  <a:ext uri="{FF2B5EF4-FFF2-40B4-BE49-F238E27FC236}">
                    <a16:creationId xmlns:a16="http://schemas.microsoft.com/office/drawing/2014/main" id="{F687CEC3-CCA3-7303-F7BD-5C3FD321A659}"/>
                  </a:ext>
                </a:extLst>
              </p:cNvPr>
              <p:cNvSpPr/>
              <p:nvPr/>
            </p:nvSpPr>
            <p:spPr>
              <a:xfrm>
                <a:off x="8108855" y="2317419"/>
                <a:ext cx="60366" cy="15169"/>
              </a:xfrm>
              <a:custGeom>
                <a:avLst/>
                <a:gdLst>
                  <a:gd name="connsiteX0" fmla="*/ 52845 w 60366"/>
                  <a:gd name="connsiteY0" fmla="*/ 15198 h 15169"/>
                  <a:gd name="connsiteX1" fmla="*/ 7570 w 60366"/>
                  <a:gd name="connsiteY1" fmla="*/ 15198 h 15169"/>
                  <a:gd name="connsiteX2" fmla="*/ 25 w 60366"/>
                  <a:gd name="connsiteY2" fmla="*/ 7613 h 15169"/>
                  <a:gd name="connsiteX3" fmla="*/ 7570 w 60366"/>
                  <a:gd name="connsiteY3" fmla="*/ 29 h 15169"/>
                  <a:gd name="connsiteX4" fmla="*/ 52845 w 60366"/>
                  <a:gd name="connsiteY4" fmla="*/ 29 h 15169"/>
                  <a:gd name="connsiteX5" fmla="*/ 60391 w 60366"/>
                  <a:gd name="connsiteY5" fmla="*/ 7613 h 15169"/>
                  <a:gd name="connsiteX6" fmla="*/ 52845 w 60366"/>
                  <a:gd name="connsiteY6" fmla="*/ 15198 h 1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366" h="15169">
                    <a:moveTo>
                      <a:pt x="52845" y="15198"/>
                    </a:moveTo>
                    <a:lnTo>
                      <a:pt x="7570" y="15198"/>
                    </a:lnTo>
                    <a:cubicBezTo>
                      <a:pt x="3397" y="15198"/>
                      <a:pt x="25" y="11808"/>
                      <a:pt x="25" y="7613"/>
                    </a:cubicBezTo>
                    <a:cubicBezTo>
                      <a:pt x="25" y="3419"/>
                      <a:pt x="3397" y="29"/>
                      <a:pt x="7570" y="29"/>
                    </a:cubicBezTo>
                    <a:lnTo>
                      <a:pt x="52845" y="29"/>
                    </a:lnTo>
                    <a:cubicBezTo>
                      <a:pt x="57018" y="29"/>
                      <a:pt x="60391" y="3419"/>
                      <a:pt x="60391" y="7613"/>
                    </a:cubicBezTo>
                    <a:cubicBezTo>
                      <a:pt x="60391" y="11808"/>
                      <a:pt x="57018" y="15198"/>
                      <a:pt x="52845" y="15198"/>
                    </a:cubicBezTo>
                  </a:path>
                </a:pathLst>
              </a:custGeom>
              <a:solidFill>
                <a:srgbClr val="55B7D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073" name="Freeform: Shape 1072">
                <a:extLst>
                  <a:ext uri="{FF2B5EF4-FFF2-40B4-BE49-F238E27FC236}">
                    <a16:creationId xmlns:a16="http://schemas.microsoft.com/office/drawing/2014/main" id="{EEAABCD6-4E65-29A3-0778-2A0921CA7C40}"/>
                  </a:ext>
                </a:extLst>
              </p:cNvPr>
              <p:cNvSpPr/>
              <p:nvPr/>
            </p:nvSpPr>
            <p:spPr>
              <a:xfrm>
                <a:off x="7995668" y="2264326"/>
                <a:ext cx="45274" cy="15169"/>
              </a:xfrm>
              <a:custGeom>
                <a:avLst/>
                <a:gdLst>
                  <a:gd name="connsiteX0" fmla="*/ 37754 w 45274"/>
                  <a:gd name="connsiteY0" fmla="*/ 15198 h 15169"/>
                  <a:gd name="connsiteX1" fmla="*/ 7570 w 45274"/>
                  <a:gd name="connsiteY1" fmla="*/ 15198 h 15169"/>
                  <a:gd name="connsiteX2" fmla="*/ 25 w 45274"/>
                  <a:gd name="connsiteY2" fmla="*/ 7613 h 15169"/>
                  <a:gd name="connsiteX3" fmla="*/ 7570 w 45274"/>
                  <a:gd name="connsiteY3" fmla="*/ 29 h 15169"/>
                  <a:gd name="connsiteX4" fmla="*/ 37754 w 45274"/>
                  <a:gd name="connsiteY4" fmla="*/ 29 h 15169"/>
                  <a:gd name="connsiteX5" fmla="*/ 45299 w 45274"/>
                  <a:gd name="connsiteY5" fmla="*/ 7613 h 15169"/>
                  <a:gd name="connsiteX6" fmla="*/ 37754 w 45274"/>
                  <a:gd name="connsiteY6" fmla="*/ 15198 h 1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74" h="15169">
                    <a:moveTo>
                      <a:pt x="37754" y="15198"/>
                    </a:moveTo>
                    <a:lnTo>
                      <a:pt x="7570" y="15198"/>
                    </a:lnTo>
                    <a:cubicBezTo>
                      <a:pt x="3397" y="15198"/>
                      <a:pt x="25" y="11808"/>
                      <a:pt x="25" y="7613"/>
                    </a:cubicBezTo>
                    <a:cubicBezTo>
                      <a:pt x="25" y="3419"/>
                      <a:pt x="3397" y="29"/>
                      <a:pt x="7570" y="29"/>
                    </a:cubicBezTo>
                    <a:lnTo>
                      <a:pt x="37754" y="29"/>
                    </a:lnTo>
                    <a:cubicBezTo>
                      <a:pt x="41926" y="29"/>
                      <a:pt x="45299" y="3419"/>
                      <a:pt x="45299" y="7613"/>
                    </a:cubicBezTo>
                    <a:cubicBezTo>
                      <a:pt x="45299" y="11808"/>
                      <a:pt x="41926" y="15198"/>
                      <a:pt x="37754" y="15198"/>
                    </a:cubicBezTo>
                  </a:path>
                </a:pathLst>
              </a:custGeom>
              <a:solidFill>
                <a:srgbClr val="EFB25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074" name="Freeform: Shape 1073">
                <a:extLst>
                  <a:ext uri="{FF2B5EF4-FFF2-40B4-BE49-F238E27FC236}">
                    <a16:creationId xmlns:a16="http://schemas.microsoft.com/office/drawing/2014/main" id="{E72627B5-36C2-FB4A-A1CA-8811D659480C}"/>
                  </a:ext>
                </a:extLst>
              </p:cNvPr>
              <p:cNvSpPr/>
              <p:nvPr/>
            </p:nvSpPr>
            <p:spPr>
              <a:xfrm>
                <a:off x="7995668" y="2211233"/>
                <a:ext cx="98095" cy="15169"/>
              </a:xfrm>
              <a:custGeom>
                <a:avLst/>
                <a:gdLst>
                  <a:gd name="connsiteX0" fmla="*/ 90574 w 98095"/>
                  <a:gd name="connsiteY0" fmla="*/ 15198 h 15169"/>
                  <a:gd name="connsiteX1" fmla="*/ 7570 w 98095"/>
                  <a:gd name="connsiteY1" fmla="*/ 15198 h 15169"/>
                  <a:gd name="connsiteX2" fmla="*/ 25 w 98095"/>
                  <a:gd name="connsiteY2" fmla="*/ 7613 h 15169"/>
                  <a:gd name="connsiteX3" fmla="*/ 7570 w 98095"/>
                  <a:gd name="connsiteY3" fmla="*/ 29 h 15169"/>
                  <a:gd name="connsiteX4" fmla="*/ 90574 w 98095"/>
                  <a:gd name="connsiteY4" fmla="*/ 29 h 15169"/>
                  <a:gd name="connsiteX5" fmla="*/ 98120 w 98095"/>
                  <a:gd name="connsiteY5" fmla="*/ 7613 h 15169"/>
                  <a:gd name="connsiteX6" fmla="*/ 90574 w 98095"/>
                  <a:gd name="connsiteY6" fmla="*/ 15198 h 1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095" h="15169">
                    <a:moveTo>
                      <a:pt x="90574" y="15198"/>
                    </a:moveTo>
                    <a:lnTo>
                      <a:pt x="7570" y="15198"/>
                    </a:lnTo>
                    <a:cubicBezTo>
                      <a:pt x="3397" y="15198"/>
                      <a:pt x="25" y="11808"/>
                      <a:pt x="25" y="7613"/>
                    </a:cubicBezTo>
                    <a:cubicBezTo>
                      <a:pt x="25" y="3419"/>
                      <a:pt x="3397" y="29"/>
                      <a:pt x="7570" y="29"/>
                    </a:cubicBezTo>
                    <a:lnTo>
                      <a:pt x="90574" y="29"/>
                    </a:lnTo>
                    <a:cubicBezTo>
                      <a:pt x="94747" y="29"/>
                      <a:pt x="98120" y="3419"/>
                      <a:pt x="98120" y="7613"/>
                    </a:cubicBezTo>
                    <a:cubicBezTo>
                      <a:pt x="98120" y="11808"/>
                      <a:pt x="94747" y="15198"/>
                      <a:pt x="90574" y="15198"/>
                    </a:cubicBezTo>
                  </a:path>
                </a:pathLst>
              </a:custGeom>
              <a:solidFill>
                <a:srgbClr val="FFFFF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075" name="Freeform: Shape 1074">
                <a:extLst>
                  <a:ext uri="{FF2B5EF4-FFF2-40B4-BE49-F238E27FC236}">
                    <a16:creationId xmlns:a16="http://schemas.microsoft.com/office/drawing/2014/main" id="{9EEB1717-3AFA-EC3F-02BE-7FBCB7F66AB8}"/>
                  </a:ext>
                </a:extLst>
              </p:cNvPr>
              <p:cNvSpPr/>
              <p:nvPr/>
            </p:nvSpPr>
            <p:spPr>
              <a:xfrm>
                <a:off x="8108855" y="2211233"/>
                <a:ext cx="98095" cy="15169"/>
              </a:xfrm>
              <a:custGeom>
                <a:avLst/>
                <a:gdLst>
                  <a:gd name="connsiteX0" fmla="*/ 90574 w 98095"/>
                  <a:gd name="connsiteY0" fmla="*/ 15198 h 15169"/>
                  <a:gd name="connsiteX1" fmla="*/ 7570 w 98095"/>
                  <a:gd name="connsiteY1" fmla="*/ 15198 h 15169"/>
                  <a:gd name="connsiteX2" fmla="*/ 25 w 98095"/>
                  <a:gd name="connsiteY2" fmla="*/ 7613 h 15169"/>
                  <a:gd name="connsiteX3" fmla="*/ 7570 w 98095"/>
                  <a:gd name="connsiteY3" fmla="*/ 29 h 15169"/>
                  <a:gd name="connsiteX4" fmla="*/ 90574 w 98095"/>
                  <a:gd name="connsiteY4" fmla="*/ 29 h 15169"/>
                  <a:gd name="connsiteX5" fmla="*/ 98120 w 98095"/>
                  <a:gd name="connsiteY5" fmla="*/ 7613 h 15169"/>
                  <a:gd name="connsiteX6" fmla="*/ 90574 w 98095"/>
                  <a:gd name="connsiteY6" fmla="*/ 15198 h 1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095" h="15169">
                    <a:moveTo>
                      <a:pt x="90574" y="15198"/>
                    </a:moveTo>
                    <a:lnTo>
                      <a:pt x="7570" y="15198"/>
                    </a:lnTo>
                    <a:cubicBezTo>
                      <a:pt x="3397" y="15198"/>
                      <a:pt x="25" y="11808"/>
                      <a:pt x="25" y="7613"/>
                    </a:cubicBezTo>
                    <a:cubicBezTo>
                      <a:pt x="25" y="3419"/>
                      <a:pt x="3397" y="29"/>
                      <a:pt x="7570" y="29"/>
                    </a:cubicBezTo>
                    <a:lnTo>
                      <a:pt x="90574" y="29"/>
                    </a:lnTo>
                    <a:cubicBezTo>
                      <a:pt x="94747" y="29"/>
                      <a:pt x="98120" y="3419"/>
                      <a:pt x="98120" y="7613"/>
                    </a:cubicBezTo>
                    <a:cubicBezTo>
                      <a:pt x="98120" y="11808"/>
                      <a:pt x="94747" y="15198"/>
                      <a:pt x="90574" y="15198"/>
                    </a:cubicBezTo>
                  </a:path>
                </a:pathLst>
              </a:custGeom>
              <a:solidFill>
                <a:srgbClr val="FFFFF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076" name="Freeform: Shape 1075">
                <a:extLst>
                  <a:ext uri="{FF2B5EF4-FFF2-40B4-BE49-F238E27FC236}">
                    <a16:creationId xmlns:a16="http://schemas.microsoft.com/office/drawing/2014/main" id="{9F5BFAA0-EF53-1CFB-5A1C-ED412FFD6374}"/>
                  </a:ext>
                </a:extLst>
              </p:cNvPr>
              <p:cNvSpPr/>
              <p:nvPr/>
            </p:nvSpPr>
            <p:spPr>
              <a:xfrm>
                <a:off x="8222042" y="2211233"/>
                <a:ext cx="37729" cy="15169"/>
              </a:xfrm>
              <a:custGeom>
                <a:avLst/>
                <a:gdLst>
                  <a:gd name="connsiteX0" fmla="*/ 30208 w 37729"/>
                  <a:gd name="connsiteY0" fmla="*/ 15198 h 15169"/>
                  <a:gd name="connsiteX1" fmla="*/ 7570 w 37729"/>
                  <a:gd name="connsiteY1" fmla="*/ 15198 h 15169"/>
                  <a:gd name="connsiteX2" fmla="*/ 25 w 37729"/>
                  <a:gd name="connsiteY2" fmla="*/ 7613 h 15169"/>
                  <a:gd name="connsiteX3" fmla="*/ 7570 w 37729"/>
                  <a:gd name="connsiteY3" fmla="*/ 29 h 15169"/>
                  <a:gd name="connsiteX4" fmla="*/ 30208 w 37729"/>
                  <a:gd name="connsiteY4" fmla="*/ 29 h 15169"/>
                  <a:gd name="connsiteX5" fmla="*/ 37754 w 37729"/>
                  <a:gd name="connsiteY5" fmla="*/ 7613 h 15169"/>
                  <a:gd name="connsiteX6" fmla="*/ 30208 w 37729"/>
                  <a:gd name="connsiteY6" fmla="*/ 15198 h 1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729" h="15169">
                    <a:moveTo>
                      <a:pt x="30208" y="15198"/>
                    </a:moveTo>
                    <a:lnTo>
                      <a:pt x="7570" y="15198"/>
                    </a:lnTo>
                    <a:cubicBezTo>
                      <a:pt x="3397" y="15198"/>
                      <a:pt x="25" y="11808"/>
                      <a:pt x="25" y="7613"/>
                    </a:cubicBezTo>
                    <a:cubicBezTo>
                      <a:pt x="25" y="3419"/>
                      <a:pt x="3397" y="29"/>
                      <a:pt x="7570" y="29"/>
                    </a:cubicBezTo>
                    <a:lnTo>
                      <a:pt x="30208" y="29"/>
                    </a:lnTo>
                    <a:cubicBezTo>
                      <a:pt x="34381" y="29"/>
                      <a:pt x="37754" y="3419"/>
                      <a:pt x="37754" y="7613"/>
                    </a:cubicBezTo>
                    <a:cubicBezTo>
                      <a:pt x="37754" y="11808"/>
                      <a:pt x="34381" y="15198"/>
                      <a:pt x="30208" y="15198"/>
                    </a:cubicBezTo>
                  </a:path>
                </a:pathLst>
              </a:custGeom>
              <a:solidFill>
                <a:srgbClr val="DF514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077" name="Freeform: Shape 1076">
                <a:extLst>
                  <a:ext uri="{FF2B5EF4-FFF2-40B4-BE49-F238E27FC236}">
                    <a16:creationId xmlns:a16="http://schemas.microsoft.com/office/drawing/2014/main" id="{A7C7C42F-0163-0B39-EB18-C32FD9CF10D1}"/>
                  </a:ext>
                </a:extLst>
              </p:cNvPr>
              <p:cNvSpPr/>
              <p:nvPr/>
            </p:nvSpPr>
            <p:spPr>
              <a:xfrm>
                <a:off x="8056034" y="2264326"/>
                <a:ext cx="98095" cy="15169"/>
              </a:xfrm>
              <a:custGeom>
                <a:avLst/>
                <a:gdLst>
                  <a:gd name="connsiteX0" fmla="*/ 90574 w 98095"/>
                  <a:gd name="connsiteY0" fmla="*/ 15198 h 15169"/>
                  <a:gd name="connsiteX1" fmla="*/ 7570 w 98095"/>
                  <a:gd name="connsiteY1" fmla="*/ 15198 h 15169"/>
                  <a:gd name="connsiteX2" fmla="*/ 25 w 98095"/>
                  <a:gd name="connsiteY2" fmla="*/ 7613 h 15169"/>
                  <a:gd name="connsiteX3" fmla="*/ 7570 w 98095"/>
                  <a:gd name="connsiteY3" fmla="*/ 29 h 15169"/>
                  <a:gd name="connsiteX4" fmla="*/ 90574 w 98095"/>
                  <a:gd name="connsiteY4" fmla="*/ 29 h 15169"/>
                  <a:gd name="connsiteX5" fmla="*/ 98120 w 98095"/>
                  <a:gd name="connsiteY5" fmla="*/ 7613 h 15169"/>
                  <a:gd name="connsiteX6" fmla="*/ 90574 w 98095"/>
                  <a:gd name="connsiteY6" fmla="*/ 15198 h 1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095" h="15169">
                    <a:moveTo>
                      <a:pt x="90574" y="15198"/>
                    </a:moveTo>
                    <a:lnTo>
                      <a:pt x="7570" y="15198"/>
                    </a:lnTo>
                    <a:cubicBezTo>
                      <a:pt x="3397" y="15198"/>
                      <a:pt x="25" y="11808"/>
                      <a:pt x="25" y="7613"/>
                    </a:cubicBezTo>
                    <a:cubicBezTo>
                      <a:pt x="25" y="3419"/>
                      <a:pt x="3397" y="29"/>
                      <a:pt x="7570" y="29"/>
                    </a:cubicBezTo>
                    <a:lnTo>
                      <a:pt x="90574" y="29"/>
                    </a:lnTo>
                    <a:cubicBezTo>
                      <a:pt x="94747" y="29"/>
                      <a:pt x="98120" y="3419"/>
                      <a:pt x="98120" y="7613"/>
                    </a:cubicBezTo>
                    <a:cubicBezTo>
                      <a:pt x="98120" y="11808"/>
                      <a:pt x="94747" y="15198"/>
                      <a:pt x="90574" y="15198"/>
                    </a:cubicBezTo>
                  </a:path>
                </a:pathLst>
              </a:custGeom>
              <a:solidFill>
                <a:srgbClr val="DF514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078" name="Freeform: Shape 1077">
                <a:extLst>
                  <a:ext uri="{FF2B5EF4-FFF2-40B4-BE49-F238E27FC236}">
                    <a16:creationId xmlns:a16="http://schemas.microsoft.com/office/drawing/2014/main" id="{DB0B3E4A-0A3C-9901-A6AC-8D2D434222A5}"/>
                  </a:ext>
                </a:extLst>
              </p:cNvPr>
              <p:cNvSpPr/>
              <p:nvPr/>
            </p:nvSpPr>
            <p:spPr>
              <a:xfrm>
                <a:off x="8108855" y="2158140"/>
                <a:ext cx="45274" cy="15169"/>
              </a:xfrm>
              <a:custGeom>
                <a:avLst/>
                <a:gdLst>
                  <a:gd name="connsiteX0" fmla="*/ 37754 w 45274"/>
                  <a:gd name="connsiteY0" fmla="*/ 15198 h 15169"/>
                  <a:gd name="connsiteX1" fmla="*/ 7570 w 45274"/>
                  <a:gd name="connsiteY1" fmla="*/ 15198 h 15169"/>
                  <a:gd name="connsiteX2" fmla="*/ 25 w 45274"/>
                  <a:gd name="connsiteY2" fmla="*/ 7613 h 15169"/>
                  <a:gd name="connsiteX3" fmla="*/ 7570 w 45274"/>
                  <a:gd name="connsiteY3" fmla="*/ 29 h 15169"/>
                  <a:gd name="connsiteX4" fmla="*/ 37754 w 45274"/>
                  <a:gd name="connsiteY4" fmla="*/ 29 h 15169"/>
                  <a:gd name="connsiteX5" fmla="*/ 45299 w 45274"/>
                  <a:gd name="connsiteY5" fmla="*/ 7613 h 15169"/>
                  <a:gd name="connsiteX6" fmla="*/ 37754 w 45274"/>
                  <a:gd name="connsiteY6" fmla="*/ 15198 h 1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74" h="15169">
                    <a:moveTo>
                      <a:pt x="37754" y="15198"/>
                    </a:moveTo>
                    <a:lnTo>
                      <a:pt x="7570" y="15198"/>
                    </a:lnTo>
                    <a:cubicBezTo>
                      <a:pt x="3397" y="15198"/>
                      <a:pt x="25" y="11808"/>
                      <a:pt x="25" y="7613"/>
                    </a:cubicBezTo>
                    <a:cubicBezTo>
                      <a:pt x="25" y="3419"/>
                      <a:pt x="3397" y="29"/>
                      <a:pt x="7570" y="29"/>
                    </a:cubicBezTo>
                    <a:lnTo>
                      <a:pt x="37754" y="29"/>
                    </a:lnTo>
                    <a:cubicBezTo>
                      <a:pt x="41926" y="29"/>
                      <a:pt x="45299" y="3419"/>
                      <a:pt x="45299" y="7613"/>
                    </a:cubicBezTo>
                    <a:cubicBezTo>
                      <a:pt x="45299" y="11808"/>
                      <a:pt x="41926" y="15198"/>
                      <a:pt x="37754" y="15198"/>
                    </a:cubicBezTo>
                  </a:path>
                </a:pathLst>
              </a:custGeom>
              <a:solidFill>
                <a:srgbClr val="EFB25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079" name="Freeform: Shape 1078">
                <a:extLst>
                  <a:ext uri="{FF2B5EF4-FFF2-40B4-BE49-F238E27FC236}">
                    <a16:creationId xmlns:a16="http://schemas.microsoft.com/office/drawing/2014/main" id="{8828C45D-7598-236D-BDE8-F3613BFBE7BA}"/>
                  </a:ext>
                </a:extLst>
              </p:cNvPr>
              <p:cNvSpPr/>
              <p:nvPr/>
            </p:nvSpPr>
            <p:spPr>
              <a:xfrm>
                <a:off x="7995668" y="2158140"/>
                <a:ext cx="98095" cy="15169"/>
              </a:xfrm>
              <a:custGeom>
                <a:avLst/>
                <a:gdLst>
                  <a:gd name="connsiteX0" fmla="*/ 90574 w 98095"/>
                  <a:gd name="connsiteY0" fmla="*/ 15198 h 15169"/>
                  <a:gd name="connsiteX1" fmla="*/ 7570 w 98095"/>
                  <a:gd name="connsiteY1" fmla="*/ 15198 h 15169"/>
                  <a:gd name="connsiteX2" fmla="*/ 25 w 98095"/>
                  <a:gd name="connsiteY2" fmla="*/ 7613 h 15169"/>
                  <a:gd name="connsiteX3" fmla="*/ 7570 w 98095"/>
                  <a:gd name="connsiteY3" fmla="*/ 29 h 15169"/>
                  <a:gd name="connsiteX4" fmla="*/ 90574 w 98095"/>
                  <a:gd name="connsiteY4" fmla="*/ 29 h 15169"/>
                  <a:gd name="connsiteX5" fmla="*/ 98120 w 98095"/>
                  <a:gd name="connsiteY5" fmla="*/ 7613 h 15169"/>
                  <a:gd name="connsiteX6" fmla="*/ 90574 w 98095"/>
                  <a:gd name="connsiteY6" fmla="*/ 15198 h 1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095" h="15169">
                    <a:moveTo>
                      <a:pt x="90574" y="15198"/>
                    </a:moveTo>
                    <a:lnTo>
                      <a:pt x="7570" y="15198"/>
                    </a:lnTo>
                    <a:cubicBezTo>
                      <a:pt x="3397" y="15198"/>
                      <a:pt x="25" y="11808"/>
                      <a:pt x="25" y="7613"/>
                    </a:cubicBezTo>
                    <a:cubicBezTo>
                      <a:pt x="25" y="3419"/>
                      <a:pt x="3397" y="29"/>
                      <a:pt x="7570" y="29"/>
                    </a:cubicBezTo>
                    <a:lnTo>
                      <a:pt x="90574" y="29"/>
                    </a:lnTo>
                    <a:cubicBezTo>
                      <a:pt x="94747" y="29"/>
                      <a:pt x="98120" y="3419"/>
                      <a:pt x="98120" y="7613"/>
                    </a:cubicBezTo>
                    <a:cubicBezTo>
                      <a:pt x="98120" y="11808"/>
                      <a:pt x="94747" y="15198"/>
                      <a:pt x="90574" y="15198"/>
                    </a:cubicBezTo>
                  </a:path>
                </a:pathLst>
              </a:custGeom>
              <a:solidFill>
                <a:srgbClr val="55B7D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080" name="Freeform: Shape 1079">
                <a:extLst>
                  <a:ext uri="{FF2B5EF4-FFF2-40B4-BE49-F238E27FC236}">
                    <a16:creationId xmlns:a16="http://schemas.microsoft.com/office/drawing/2014/main" id="{6F834071-4D35-F304-1C42-CC4C71FF4522}"/>
                  </a:ext>
                </a:extLst>
              </p:cNvPr>
              <p:cNvSpPr/>
              <p:nvPr/>
            </p:nvSpPr>
            <p:spPr>
              <a:xfrm>
                <a:off x="7995668" y="2105047"/>
                <a:ext cx="98095" cy="15169"/>
              </a:xfrm>
              <a:custGeom>
                <a:avLst/>
                <a:gdLst>
                  <a:gd name="connsiteX0" fmla="*/ 90574 w 98095"/>
                  <a:gd name="connsiteY0" fmla="*/ 15198 h 15169"/>
                  <a:gd name="connsiteX1" fmla="*/ 7570 w 98095"/>
                  <a:gd name="connsiteY1" fmla="*/ 15198 h 15169"/>
                  <a:gd name="connsiteX2" fmla="*/ 25 w 98095"/>
                  <a:gd name="connsiteY2" fmla="*/ 7613 h 15169"/>
                  <a:gd name="connsiteX3" fmla="*/ 7570 w 98095"/>
                  <a:gd name="connsiteY3" fmla="*/ 29 h 15169"/>
                  <a:gd name="connsiteX4" fmla="*/ 90574 w 98095"/>
                  <a:gd name="connsiteY4" fmla="*/ 29 h 15169"/>
                  <a:gd name="connsiteX5" fmla="*/ 98120 w 98095"/>
                  <a:gd name="connsiteY5" fmla="*/ 7613 h 15169"/>
                  <a:gd name="connsiteX6" fmla="*/ 90574 w 98095"/>
                  <a:gd name="connsiteY6" fmla="*/ 15198 h 1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095" h="15169">
                    <a:moveTo>
                      <a:pt x="90574" y="15198"/>
                    </a:moveTo>
                    <a:lnTo>
                      <a:pt x="7570" y="15198"/>
                    </a:lnTo>
                    <a:cubicBezTo>
                      <a:pt x="3397" y="15198"/>
                      <a:pt x="25" y="11808"/>
                      <a:pt x="25" y="7613"/>
                    </a:cubicBezTo>
                    <a:cubicBezTo>
                      <a:pt x="25" y="3419"/>
                      <a:pt x="3397" y="29"/>
                      <a:pt x="7570" y="29"/>
                    </a:cubicBezTo>
                    <a:lnTo>
                      <a:pt x="90574" y="29"/>
                    </a:lnTo>
                    <a:cubicBezTo>
                      <a:pt x="94747" y="29"/>
                      <a:pt x="98120" y="3419"/>
                      <a:pt x="98120" y="7613"/>
                    </a:cubicBezTo>
                    <a:cubicBezTo>
                      <a:pt x="98120" y="11808"/>
                      <a:pt x="94747" y="15198"/>
                      <a:pt x="90574" y="15198"/>
                    </a:cubicBezTo>
                  </a:path>
                </a:pathLst>
              </a:custGeom>
              <a:solidFill>
                <a:srgbClr val="FFFFF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081" name="Freeform: Shape 1080">
                <a:extLst>
                  <a:ext uri="{FF2B5EF4-FFF2-40B4-BE49-F238E27FC236}">
                    <a16:creationId xmlns:a16="http://schemas.microsoft.com/office/drawing/2014/main" id="{4045561F-0683-D812-0656-E3D05DFED869}"/>
                  </a:ext>
                </a:extLst>
              </p:cNvPr>
              <p:cNvSpPr/>
              <p:nvPr/>
            </p:nvSpPr>
            <p:spPr>
              <a:xfrm>
                <a:off x="7995666" y="2006444"/>
                <a:ext cx="37732" cy="60679"/>
              </a:xfrm>
              <a:custGeom>
                <a:avLst/>
                <a:gdLst>
                  <a:gd name="connsiteX0" fmla="*/ 7572 w 37732"/>
                  <a:gd name="connsiteY0" fmla="*/ 60708 h 60679"/>
                  <a:gd name="connsiteX1" fmla="*/ 2237 w 37732"/>
                  <a:gd name="connsiteY1" fmla="*/ 58486 h 60679"/>
                  <a:gd name="connsiteX2" fmla="*/ 2237 w 37732"/>
                  <a:gd name="connsiteY2" fmla="*/ 47761 h 60679"/>
                  <a:gd name="connsiteX3" fmla="*/ 19540 w 37732"/>
                  <a:gd name="connsiteY3" fmla="*/ 30369 h 60679"/>
                  <a:gd name="connsiteX4" fmla="*/ 2237 w 37732"/>
                  <a:gd name="connsiteY4" fmla="*/ 12978 h 60679"/>
                  <a:gd name="connsiteX5" fmla="*/ 2237 w 37732"/>
                  <a:gd name="connsiteY5" fmla="*/ 2253 h 60679"/>
                  <a:gd name="connsiteX6" fmla="*/ 12907 w 37732"/>
                  <a:gd name="connsiteY6" fmla="*/ 2253 h 60679"/>
                  <a:gd name="connsiteX7" fmla="*/ 35545 w 37732"/>
                  <a:gd name="connsiteY7" fmla="*/ 25007 h 60679"/>
                  <a:gd name="connsiteX8" fmla="*/ 35545 w 37732"/>
                  <a:gd name="connsiteY8" fmla="*/ 35732 h 60679"/>
                  <a:gd name="connsiteX9" fmla="*/ 12907 w 37732"/>
                  <a:gd name="connsiteY9" fmla="*/ 58486 h 60679"/>
                  <a:gd name="connsiteX10" fmla="*/ 7572 w 37732"/>
                  <a:gd name="connsiteY10" fmla="*/ 60708 h 60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732" h="60679">
                    <a:moveTo>
                      <a:pt x="7572" y="60708"/>
                    </a:moveTo>
                    <a:cubicBezTo>
                      <a:pt x="5640" y="60708"/>
                      <a:pt x="3709" y="59965"/>
                      <a:pt x="2237" y="58486"/>
                    </a:cubicBezTo>
                    <a:cubicBezTo>
                      <a:pt x="-713" y="55520"/>
                      <a:pt x="-713" y="50727"/>
                      <a:pt x="2237" y="47761"/>
                    </a:cubicBezTo>
                    <a:lnTo>
                      <a:pt x="19540" y="30369"/>
                    </a:lnTo>
                    <a:lnTo>
                      <a:pt x="2237" y="12978"/>
                    </a:lnTo>
                    <a:cubicBezTo>
                      <a:pt x="-713" y="10012"/>
                      <a:pt x="-713" y="5218"/>
                      <a:pt x="2237" y="2253"/>
                    </a:cubicBezTo>
                    <a:cubicBezTo>
                      <a:pt x="5188" y="-713"/>
                      <a:pt x="9957" y="-713"/>
                      <a:pt x="12907" y="2253"/>
                    </a:cubicBezTo>
                    <a:lnTo>
                      <a:pt x="35545" y="25007"/>
                    </a:lnTo>
                    <a:cubicBezTo>
                      <a:pt x="38495" y="27973"/>
                      <a:pt x="38495" y="32766"/>
                      <a:pt x="35545" y="35732"/>
                    </a:cubicBezTo>
                    <a:lnTo>
                      <a:pt x="12907" y="58486"/>
                    </a:lnTo>
                    <a:cubicBezTo>
                      <a:pt x="11436" y="59965"/>
                      <a:pt x="9504" y="60708"/>
                      <a:pt x="7572" y="60708"/>
                    </a:cubicBezTo>
                  </a:path>
                </a:pathLst>
              </a:custGeom>
              <a:solidFill>
                <a:srgbClr val="697D8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082" name="Freeform: Shape 1081">
                <a:extLst>
                  <a:ext uri="{FF2B5EF4-FFF2-40B4-BE49-F238E27FC236}">
                    <a16:creationId xmlns:a16="http://schemas.microsoft.com/office/drawing/2014/main" id="{13F0931F-9260-046B-DA79-864E5CDC7616}"/>
                  </a:ext>
                </a:extLst>
              </p:cNvPr>
              <p:cNvSpPr/>
              <p:nvPr/>
            </p:nvSpPr>
            <p:spPr>
              <a:xfrm>
                <a:off x="8040943" y="2051954"/>
                <a:ext cx="45274" cy="15169"/>
              </a:xfrm>
              <a:custGeom>
                <a:avLst/>
                <a:gdLst>
                  <a:gd name="connsiteX0" fmla="*/ 37754 w 45274"/>
                  <a:gd name="connsiteY0" fmla="*/ 15198 h 15169"/>
                  <a:gd name="connsiteX1" fmla="*/ 7570 w 45274"/>
                  <a:gd name="connsiteY1" fmla="*/ 15198 h 15169"/>
                  <a:gd name="connsiteX2" fmla="*/ 25 w 45274"/>
                  <a:gd name="connsiteY2" fmla="*/ 7613 h 15169"/>
                  <a:gd name="connsiteX3" fmla="*/ 7570 w 45274"/>
                  <a:gd name="connsiteY3" fmla="*/ 29 h 15169"/>
                  <a:gd name="connsiteX4" fmla="*/ 37754 w 45274"/>
                  <a:gd name="connsiteY4" fmla="*/ 29 h 15169"/>
                  <a:gd name="connsiteX5" fmla="*/ 45299 w 45274"/>
                  <a:gd name="connsiteY5" fmla="*/ 7613 h 15169"/>
                  <a:gd name="connsiteX6" fmla="*/ 37754 w 45274"/>
                  <a:gd name="connsiteY6" fmla="*/ 15198 h 1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74" h="15169">
                    <a:moveTo>
                      <a:pt x="37754" y="15198"/>
                    </a:moveTo>
                    <a:lnTo>
                      <a:pt x="7570" y="15198"/>
                    </a:lnTo>
                    <a:cubicBezTo>
                      <a:pt x="3397" y="15198"/>
                      <a:pt x="25" y="11808"/>
                      <a:pt x="25" y="7613"/>
                    </a:cubicBezTo>
                    <a:cubicBezTo>
                      <a:pt x="25" y="3419"/>
                      <a:pt x="3397" y="29"/>
                      <a:pt x="7570" y="29"/>
                    </a:cubicBezTo>
                    <a:lnTo>
                      <a:pt x="37754" y="29"/>
                    </a:lnTo>
                    <a:cubicBezTo>
                      <a:pt x="41926" y="29"/>
                      <a:pt x="45299" y="3419"/>
                      <a:pt x="45299" y="7613"/>
                    </a:cubicBezTo>
                    <a:cubicBezTo>
                      <a:pt x="45299" y="11808"/>
                      <a:pt x="41926" y="15198"/>
                      <a:pt x="37754" y="15198"/>
                    </a:cubicBezTo>
                  </a:path>
                </a:pathLst>
              </a:custGeom>
              <a:solidFill>
                <a:srgbClr val="697D8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083" name="Freeform: Shape 1082">
                <a:extLst>
                  <a:ext uri="{FF2B5EF4-FFF2-40B4-BE49-F238E27FC236}">
                    <a16:creationId xmlns:a16="http://schemas.microsoft.com/office/drawing/2014/main" id="{B7ACE074-32A4-CEC7-77CA-6EE7EF790E02}"/>
                  </a:ext>
                </a:extLst>
              </p:cNvPr>
              <p:cNvSpPr/>
              <p:nvPr/>
            </p:nvSpPr>
            <p:spPr>
              <a:xfrm>
                <a:off x="7882971" y="1975341"/>
                <a:ext cx="466853" cy="395940"/>
              </a:xfrm>
              <a:custGeom>
                <a:avLst/>
                <a:gdLst>
                  <a:gd name="connsiteX0" fmla="*/ 452773 w 482931"/>
                  <a:gd name="connsiteY0" fmla="*/ 29 h 409575"/>
                  <a:gd name="connsiteX1" fmla="*/ 30208 w 482931"/>
                  <a:gd name="connsiteY1" fmla="*/ 29 h 409575"/>
                  <a:gd name="connsiteX2" fmla="*/ 25 w 482931"/>
                  <a:gd name="connsiteY2" fmla="*/ 30367 h 409575"/>
                  <a:gd name="connsiteX3" fmla="*/ 25 w 482931"/>
                  <a:gd name="connsiteY3" fmla="*/ 379265 h 409575"/>
                  <a:gd name="connsiteX4" fmla="*/ 30208 w 482931"/>
                  <a:gd name="connsiteY4" fmla="*/ 409604 h 409575"/>
                  <a:gd name="connsiteX5" fmla="*/ 452773 w 482931"/>
                  <a:gd name="connsiteY5" fmla="*/ 409604 h 409575"/>
                  <a:gd name="connsiteX6" fmla="*/ 482956 w 482931"/>
                  <a:gd name="connsiteY6" fmla="*/ 379265 h 409575"/>
                  <a:gd name="connsiteX7" fmla="*/ 482956 w 482931"/>
                  <a:gd name="connsiteY7" fmla="*/ 30367 h 409575"/>
                  <a:gd name="connsiteX8" fmla="*/ 452773 w 482931"/>
                  <a:gd name="connsiteY8" fmla="*/ 29 h 409575"/>
                  <a:gd name="connsiteX9" fmla="*/ 452773 w 482931"/>
                  <a:gd name="connsiteY9" fmla="*/ 15198 h 409575"/>
                  <a:gd name="connsiteX10" fmla="*/ 467865 w 482931"/>
                  <a:gd name="connsiteY10" fmla="*/ 30367 h 409575"/>
                  <a:gd name="connsiteX11" fmla="*/ 467865 w 482931"/>
                  <a:gd name="connsiteY11" fmla="*/ 379265 h 409575"/>
                  <a:gd name="connsiteX12" fmla="*/ 452773 w 482931"/>
                  <a:gd name="connsiteY12" fmla="*/ 394434 h 409575"/>
                  <a:gd name="connsiteX13" fmla="*/ 30208 w 482931"/>
                  <a:gd name="connsiteY13" fmla="*/ 394434 h 409575"/>
                  <a:gd name="connsiteX14" fmla="*/ 15116 w 482931"/>
                  <a:gd name="connsiteY14" fmla="*/ 379265 h 409575"/>
                  <a:gd name="connsiteX15" fmla="*/ 15116 w 482931"/>
                  <a:gd name="connsiteY15" fmla="*/ 30367 h 409575"/>
                  <a:gd name="connsiteX16" fmla="*/ 30208 w 482931"/>
                  <a:gd name="connsiteY16" fmla="*/ 15198 h 409575"/>
                  <a:gd name="connsiteX17" fmla="*/ 452773 w 482931"/>
                  <a:gd name="connsiteY17" fmla="*/ 15198 h 409575"/>
                  <a:gd name="connsiteX18" fmla="*/ 452773 w 482931"/>
                  <a:gd name="connsiteY18" fmla="*/ 15198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82931" h="409575">
                    <a:moveTo>
                      <a:pt x="452773" y="29"/>
                    </a:moveTo>
                    <a:lnTo>
                      <a:pt x="30208" y="29"/>
                    </a:lnTo>
                    <a:cubicBezTo>
                      <a:pt x="13607" y="29"/>
                      <a:pt x="25" y="13681"/>
                      <a:pt x="25" y="30367"/>
                    </a:cubicBezTo>
                    <a:lnTo>
                      <a:pt x="25" y="379265"/>
                    </a:lnTo>
                    <a:cubicBezTo>
                      <a:pt x="25" y="395951"/>
                      <a:pt x="13607" y="409604"/>
                      <a:pt x="30208" y="409604"/>
                    </a:cubicBezTo>
                    <a:lnTo>
                      <a:pt x="452773" y="409604"/>
                    </a:lnTo>
                    <a:cubicBezTo>
                      <a:pt x="469374" y="409604"/>
                      <a:pt x="482956" y="395951"/>
                      <a:pt x="482956" y="379265"/>
                    </a:cubicBezTo>
                    <a:lnTo>
                      <a:pt x="482956" y="30367"/>
                    </a:lnTo>
                    <a:cubicBezTo>
                      <a:pt x="482956" y="13681"/>
                      <a:pt x="469374" y="29"/>
                      <a:pt x="452773" y="29"/>
                    </a:cubicBezTo>
                    <a:close/>
                    <a:moveTo>
                      <a:pt x="452773" y="15198"/>
                    </a:moveTo>
                    <a:cubicBezTo>
                      <a:pt x="461088" y="15198"/>
                      <a:pt x="467865" y="22001"/>
                      <a:pt x="467865" y="30367"/>
                    </a:cubicBezTo>
                    <a:lnTo>
                      <a:pt x="467865" y="379265"/>
                    </a:lnTo>
                    <a:cubicBezTo>
                      <a:pt x="467865" y="387623"/>
                      <a:pt x="461088" y="394434"/>
                      <a:pt x="452773" y="394434"/>
                    </a:cubicBezTo>
                    <a:lnTo>
                      <a:pt x="30208" y="394434"/>
                    </a:lnTo>
                    <a:cubicBezTo>
                      <a:pt x="21885" y="394434"/>
                      <a:pt x="15116" y="387623"/>
                      <a:pt x="15116" y="379265"/>
                    </a:cubicBezTo>
                    <a:lnTo>
                      <a:pt x="15116" y="30367"/>
                    </a:lnTo>
                    <a:cubicBezTo>
                      <a:pt x="15116" y="22001"/>
                      <a:pt x="21885" y="15198"/>
                      <a:pt x="30208" y="15198"/>
                    </a:cubicBezTo>
                    <a:lnTo>
                      <a:pt x="452773" y="15198"/>
                    </a:lnTo>
                    <a:lnTo>
                      <a:pt x="452773" y="15198"/>
                    </a:lnTo>
                    <a:close/>
                  </a:path>
                </a:pathLst>
              </a:custGeom>
              <a:solidFill>
                <a:srgbClr val="384B58"/>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grpSp>
      </p:grpSp>
      <p:grpSp>
        <p:nvGrpSpPr>
          <p:cNvPr id="1159" name="Group 1158">
            <a:extLst>
              <a:ext uri="{FF2B5EF4-FFF2-40B4-BE49-F238E27FC236}">
                <a16:creationId xmlns:a16="http://schemas.microsoft.com/office/drawing/2014/main" id="{6DA85BB8-DAF5-6C21-3C7B-006B7928B48B}"/>
              </a:ext>
            </a:extLst>
          </p:cNvPr>
          <p:cNvGrpSpPr/>
          <p:nvPr/>
        </p:nvGrpSpPr>
        <p:grpSpPr>
          <a:xfrm>
            <a:off x="10080575" y="2199104"/>
            <a:ext cx="1174888" cy="871653"/>
            <a:chOff x="10080575" y="1621285"/>
            <a:chExt cx="1174888" cy="871653"/>
          </a:xfrm>
        </p:grpSpPr>
        <p:grpSp>
          <p:nvGrpSpPr>
            <p:cNvPr id="1158" name="Group 1157">
              <a:extLst>
                <a:ext uri="{FF2B5EF4-FFF2-40B4-BE49-F238E27FC236}">
                  <a16:creationId xmlns:a16="http://schemas.microsoft.com/office/drawing/2014/main" id="{02A82D98-F464-64D5-1D77-FCD5B64B0C5D}"/>
                </a:ext>
              </a:extLst>
            </p:cNvPr>
            <p:cNvGrpSpPr/>
            <p:nvPr/>
          </p:nvGrpSpPr>
          <p:grpSpPr>
            <a:xfrm>
              <a:off x="10080575" y="1825443"/>
              <a:ext cx="787049" cy="667495"/>
              <a:chOff x="10080575" y="1825443"/>
              <a:chExt cx="787049" cy="667495"/>
            </a:xfrm>
          </p:grpSpPr>
          <p:grpSp>
            <p:nvGrpSpPr>
              <p:cNvPr id="1157" name="Group 1156">
                <a:extLst>
                  <a:ext uri="{FF2B5EF4-FFF2-40B4-BE49-F238E27FC236}">
                    <a16:creationId xmlns:a16="http://schemas.microsoft.com/office/drawing/2014/main" id="{3EE5CCA8-7A59-27A2-E514-7FDC99E8E39D}"/>
                  </a:ext>
                </a:extLst>
              </p:cNvPr>
              <p:cNvGrpSpPr/>
              <p:nvPr/>
            </p:nvGrpSpPr>
            <p:grpSpPr>
              <a:xfrm>
                <a:off x="10080575" y="1825443"/>
                <a:ext cx="787049" cy="667495"/>
                <a:chOff x="9233266" y="1292663"/>
                <a:chExt cx="787049" cy="667495"/>
              </a:xfrm>
            </p:grpSpPr>
            <p:sp>
              <p:nvSpPr>
                <p:cNvPr id="1145" name="Freeform: Shape 1144">
                  <a:extLst>
                    <a:ext uri="{FF2B5EF4-FFF2-40B4-BE49-F238E27FC236}">
                      <a16:creationId xmlns:a16="http://schemas.microsoft.com/office/drawing/2014/main" id="{9779CBA4-F21E-DB4E-0C83-EA791A24FE42}"/>
                    </a:ext>
                  </a:extLst>
                </p:cNvPr>
                <p:cNvSpPr/>
                <p:nvPr/>
              </p:nvSpPr>
              <p:spPr>
                <a:xfrm>
                  <a:off x="9245156" y="1306740"/>
                  <a:ext cx="763270" cy="639335"/>
                </a:xfrm>
                <a:custGeom>
                  <a:avLst/>
                  <a:gdLst>
                    <a:gd name="connsiteX0" fmla="*/ 437681 w 452748"/>
                    <a:gd name="connsiteY0" fmla="*/ 29 h 379236"/>
                    <a:gd name="connsiteX1" fmla="*/ 15116 w 452748"/>
                    <a:gd name="connsiteY1" fmla="*/ 29 h 379236"/>
                    <a:gd name="connsiteX2" fmla="*/ 25 w 452748"/>
                    <a:gd name="connsiteY2" fmla="*/ 15198 h 379236"/>
                    <a:gd name="connsiteX3" fmla="*/ 25 w 452748"/>
                    <a:gd name="connsiteY3" fmla="*/ 364095 h 379236"/>
                    <a:gd name="connsiteX4" fmla="*/ 15116 w 452748"/>
                    <a:gd name="connsiteY4" fmla="*/ 379265 h 379236"/>
                    <a:gd name="connsiteX5" fmla="*/ 437681 w 452748"/>
                    <a:gd name="connsiteY5" fmla="*/ 379265 h 379236"/>
                    <a:gd name="connsiteX6" fmla="*/ 452773 w 452748"/>
                    <a:gd name="connsiteY6" fmla="*/ 364095 h 379236"/>
                    <a:gd name="connsiteX7" fmla="*/ 452773 w 452748"/>
                    <a:gd name="connsiteY7" fmla="*/ 15198 h 379236"/>
                    <a:gd name="connsiteX8" fmla="*/ 437681 w 452748"/>
                    <a:gd name="connsiteY8" fmla="*/ 29 h 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2748" h="379236">
                      <a:moveTo>
                        <a:pt x="437681" y="29"/>
                      </a:moveTo>
                      <a:lnTo>
                        <a:pt x="15116" y="29"/>
                      </a:lnTo>
                      <a:cubicBezTo>
                        <a:pt x="6793" y="29"/>
                        <a:pt x="25" y="6832"/>
                        <a:pt x="25" y="15198"/>
                      </a:cubicBezTo>
                      <a:lnTo>
                        <a:pt x="25" y="364095"/>
                      </a:lnTo>
                      <a:cubicBezTo>
                        <a:pt x="25" y="372454"/>
                        <a:pt x="6793" y="379265"/>
                        <a:pt x="15116" y="379265"/>
                      </a:cubicBezTo>
                      <a:lnTo>
                        <a:pt x="437681" y="379265"/>
                      </a:lnTo>
                      <a:cubicBezTo>
                        <a:pt x="445997" y="379265"/>
                        <a:pt x="452773" y="372454"/>
                        <a:pt x="452773" y="364095"/>
                      </a:cubicBezTo>
                      <a:lnTo>
                        <a:pt x="452773" y="15198"/>
                      </a:lnTo>
                      <a:cubicBezTo>
                        <a:pt x="452773" y="6832"/>
                        <a:pt x="445997" y="29"/>
                        <a:pt x="437681" y="29"/>
                      </a:cubicBezTo>
                    </a:path>
                  </a:pathLst>
                </a:custGeom>
                <a:solidFill>
                  <a:schemeClr val="bg1">
                    <a:lumMod val="85000"/>
                  </a:schemeClr>
                </a:solidFill>
                <a:ln w="9525" cap="flat">
                  <a:noFill/>
                  <a:prstDash val="solid"/>
                  <a:miter/>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146" name="Freeform: Shape 1145">
                  <a:extLst>
                    <a:ext uri="{FF2B5EF4-FFF2-40B4-BE49-F238E27FC236}">
                      <a16:creationId xmlns:a16="http://schemas.microsoft.com/office/drawing/2014/main" id="{F485BCE4-7345-152F-5E9C-2459CE5480F2}"/>
                    </a:ext>
                  </a:extLst>
                </p:cNvPr>
                <p:cNvSpPr/>
                <p:nvPr/>
              </p:nvSpPr>
              <p:spPr>
                <a:xfrm rot="16200000">
                  <a:off x="9614707" y="999825"/>
                  <a:ext cx="25441" cy="777242"/>
                </a:xfrm>
                <a:custGeom>
                  <a:avLst/>
                  <a:gdLst>
                    <a:gd name="connsiteX0" fmla="*/ 25 w 15091"/>
                    <a:gd name="connsiteY0" fmla="*/ 379265 h 379236"/>
                    <a:gd name="connsiteX1" fmla="*/ 15116 w 15091"/>
                    <a:gd name="connsiteY1" fmla="*/ 379265 h 379236"/>
                    <a:gd name="connsiteX2" fmla="*/ 15116 w 15091"/>
                    <a:gd name="connsiteY2" fmla="*/ 29 h 379236"/>
                    <a:gd name="connsiteX3" fmla="*/ 25 w 15091"/>
                    <a:gd name="connsiteY3" fmla="*/ 29 h 379236"/>
                  </a:gdLst>
                  <a:ahLst/>
                  <a:cxnLst>
                    <a:cxn ang="0">
                      <a:pos x="connsiteX0" y="connsiteY0"/>
                    </a:cxn>
                    <a:cxn ang="0">
                      <a:pos x="connsiteX1" y="connsiteY1"/>
                    </a:cxn>
                    <a:cxn ang="0">
                      <a:pos x="connsiteX2" y="connsiteY2"/>
                    </a:cxn>
                    <a:cxn ang="0">
                      <a:pos x="connsiteX3" y="connsiteY3"/>
                    </a:cxn>
                  </a:cxnLst>
                  <a:rect l="l" t="t" r="r" b="b"/>
                  <a:pathLst>
                    <a:path w="15091" h="379236">
                      <a:moveTo>
                        <a:pt x="25" y="379265"/>
                      </a:moveTo>
                      <a:lnTo>
                        <a:pt x="15116" y="379265"/>
                      </a:lnTo>
                      <a:lnTo>
                        <a:pt x="15116" y="29"/>
                      </a:lnTo>
                      <a:lnTo>
                        <a:pt x="25" y="29"/>
                      </a:ln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147" name="Freeform: Shape 1146">
                  <a:extLst>
                    <a:ext uri="{FF2B5EF4-FFF2-40B4-BE49-F238E27FC236}">
                      <a16:creationId xmlns:a16="http://schemas.microsoft.com/office/drawing/2014/main" id="{1C925128-B2B3-BE10-3A3B-6C858198AE18}"/>
                    </a:ext>
                  </a:extLst>
                </p:cNvPr>
                <p:cNvSpPr/>
                <p:nvPr/>
              </p:nvSpPr>
              <p:spPr>
                <a:xfrm>
                  <a:off x="9281466" y="1432363"/>
                  <a:ext cx="165374" cy="25573"/>
                </a:xfrm>
                <a:custGeom>
                  <a:avLst/>
                  <a:gdLst>
                    <a:gd name="connsiteX0" fmla="*/ 90574 w 98095"/>
                    <a:gd name="connsiteY0" fmla="*/ 15198 h 15169"/>
                    <a:gd name="connsiteX1" fmla="*/ 7570 w 98095"/>
                    <a:gd name="connsiteY1" fmla="*/ 15198 h 15169"/>
                    <a:gd name="connsiteX2" fmla="*/ 25 w 98095"/>
                    <a:gd name="connsiteY2" fmla="*/ 7613 h 15169"/>
                    <a:gd name="connsiteX3" fmla="*/ 7570 w 98095"/>
                    <a:gd name="connsiteY3" fmla="*/ 29 h 15169"/>
                    <a:gd name="connsiteX4" fmla="*/ 90574 w 98095"/>
                    <a:gd name="connsiteY4" fmla="*/ 29 h 15169"/>
                    <a:gd name="connsiteX5" fmla="*/ 98120 w 98095"/>
                    <a:gd name="connsiteY5" fmla="*/ 7613 h 15169"/>
                    <a:gd name="connsiteX6" fmla="*/ 90574 w 98095"/>
                    <a:gd name="connsiteY6" fmla="*/ 15198 h 1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095" h="15169">
                      <a:moveTo>
                        <a:pt x="90574" y="15198"/>
                      </a:moveTo>
                      <a:lnTo>
                        <a:pt x="7570" y="15198"/>
                      </a:lnTo>
                      <a:cubicBezTo>
                        <a:pt x="3397" y="15198"/>
                        <a:pt x="25" y="11808"/>
                        <a:pt x="25" y="7613"/>
                      </a:cubicBezTo>
                      <a:cubicBezTo>
                        <a:pt x="25" y="3419"/>
                        <a:pt x="3397" y="29"/>
                        <a:pt x="7570" y="29"/>
                      </a:cubicBezTo>
                      <a:lnTo>
                        <a:pt x="90574" y="29"/>
                      </a:lnTo>
                      <a:cubicBezTo>
                        <a:pt x="94747" y="29"/>
                        <a:pt x="98120" y="3419"/>
                        <a:pt x="98120" y="7613"/>
                      </a:cubicBezTo>
                      <a:cubicBezTo>
                        <a:pt x="98120" y="11808"/>
                        <a:pt x="94747" y="15198"/>
                        <a:pt x="90574" y="15198"/>
                      </a:cubicBezTo>
                    </a:path>
                  </a:pathLst>
                </a:custGeom>
                <a:solidFill>
                  <a:schemeClr val="tx1">
                    <a:lumMod val="50000"/>
                    <a:lumOff val="5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148" name="Freeform: Shape 1147">
                  <a:extLst>
                    <a:ext uri="{FF2B5EF4-FFF2-40B4-BE49-F238E27FC236}">
                      <a16:creationId xmlns:a16="http://schemas.microsoft.com/office/drawing/2014/main" id="{B6A539AD-796B-1FD0-D47D-37732DF520E4}"/>
                    </a:ext>
                  </a:extLst>
                </p:cNvPr>
                <p:cNvSpPr/>
                <p:nvPr/>
              </p:nvSpPr>
              <p:spPr>
                <a:xfrm>
                  <a:off x="9672884" y="1869355"/>
                  <a:ext cx="63606" cy="25573"/>
                </a:xfrm>
                <a:custGeom>
                  <a:avLst/>
                  <a:gdLst>
                    <a:gd name="connsiteX0" fmla="*/ 30208 w 37729"/>
                    <a:gd name="connsiteY0" fmla="*/ 15198 h 15169"/>
                    <a:gd name="connsiteX1" fmla="*/ 7570 w 37729"/>
                    <a:gd name="connsiteY1" fmla="*/ 15198 h 15169"/>
                    <a:gd name="connsiteX2" fmla="*/ 25 w 37729"/>
                    <a:gd name="connsiteY2" fmla="*/ 7613 h 15169"/>
                    <a:gd name="connsiteX3" fmla="*/ 7570 w 37729"/>
                    <a:gd name="connsiteY3" fmla="*/ 29 h 15169"/>
                    <a:gd name="connsiteX4" fmla="*/ 30208 w 37729"/>
                    <a:gd name="connsiteY4" fmla="*/ 29 h 15169"/>
                    <a:gd name="connsiteX5" fmla="*/ 37754 w 37729"/>
                    <a:gd name="connsiteY5" fmla="*/ 7613 h 15169"/>
                    <a:gd name="connsiteX6" fmla="*/ 30208 w 37729"/>
                    <a:gd name="connsiteY6" fmla="*/ 15198 h 1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729" h="15169">
                      <a:moveTo>
                        <a:pt x="30208" y="15198"/>
                      </a:moveTo>
                      <a:lnTo>
                        <a:pt x="7570" y="15198"/>
                      </a:lnTo>
                      <a:cubicBezTo>
                        <a:pt x="3397" y="15198"/>
                        <a:pt x="25" y="11808"/>
                        <a:pt x="25" y="7613"/>
                      </a:cubicBezTo>
                      <a:cubicBezTo>
                        <a:pt x="25" y="3419"/>
                        <a:pt x="3397" y="29"/>
                        <a:pt x="7570" y="29"/>
                      </a:cubicBezTo>
                      <a:lnTo>
                        <a:pt x="30208" y="29"/>
                      </a:lnTo>
                      <a:cubicBezTo>
                        <a:pt x="34381" y="29"/>
                        <a:pt x="37754" y="3419"/>
                        <a:pt x="37754" y="7613"/>
                      </a:cubicBezTo>
                      <a:cubicBezTo>
                        <a:pt x="37754" y="11808"/>
                        <a:pt x="34381" y="15198"/>
                        <a:pt x="30208" y="15198"/>
                      </a:cubicBezTo>
                    </a:path>
                  </a:pathLst>
                </a:custGeom>
                <a:solidFill>
                  <a:schemeClr val="bg1">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149" name="Freeform: Shape 1148">
                  <a:extLst>
                    <a:ext uri="{FF2B5EF4-FFF2-40B4-BE49-F238E27FC236}">
                      <a16:creationId xmlns:a16="http://schemas.microsoft.com/office/drawing/2014/main" id="{FA923F74-64DE-EF9D-C3F3-DD821847C1A3}"/>
                    </a:ext>
                  </a:extLst>
                </p:cNvPr>
                <p:cNvSpPr/>
                <p:nvPr/>
              </p:nvSpPr>
              <p:spPr>
                <a:xfrm>
                  <a:off x="9233266" y="1292663"/>
                  <a:ext cx="787049" cy="667495"/>
                </a:xfrm>
                <a:custGeom>
                  <a:avLst/>
                  <a:gdLst>
                    <a:gd name="connsiteX0" fmla="*/ 452773 w 482931"/>
                    <a:gd name="connsiteY0" fmla="*/ 29 h 409575"/>
                    <a:gd name="connsiteX1" fmla="*/ 30208 w 482931"/>
                    <a:gd name="connsiteY1" fmla="*/ 29 h 409575"/>
                    <a:gd name="connsiteX2" fmla="*/ 25 w 482931"/>
                    <a:gd name="connsiteY2" fmla="*/ 30367 h 409575"/>
                    <a:gd name="connsiteX3" fmla="*/ 25 w 482931"/>
                    <a:gd name="connsiteY3" fmla="*/ 379265 h 409575"/>
                    <a:gd name="connsiteX4" fmla="*/ 30208 w 482931"/>
                    <a:gd name="connsiteY4" fmla="*/ 409604 h 409575"/>
                    <a:gd name="connsiteX5" fmla="*/ 452773 w 482931"/>
                    <a:gd name="connsiteY5" fmla="*/ 409604 h 409575"/>
                    <a:gd name="connsiteX6" fmla="*/ 482956 w 482931"/>
                    <a:gd name="connsiteY6" fmla="*/ 379265 h 409575"/>
                    <a:gd name="connsiteX7" fmla="*/ 482956 w 482931"/>
                    <a:gd name="connsiteY7" fmla="*/ 30367 h 409575"/>
                    <a:gd name="connsiteX8" fmla="*/ 452773 w 482931"/>
                    <a:gd name="connsiteY8" fmla="*/ 29 h 409575"/>
                    <a:gd name="connsiteX9" fmla="*/ 452773 w 482931"/>
                    <a:gd name="connsiteY9" fmla="*/ 15198 h 409575"/>
                    <a:gd name="connsiteX10" fmla="*/ 467865 w 482931"/>
                    <a:gd name="connsiteY10" fmla="*/ 30367 h 409575"/>
                    <a:gd name="connsiteX11" fmla="*/ 467865 w 482931"/>
                    <a:gd name="connsiteY11" fmla="*/ 379265 h 409575"/>
                    <a:gd name="connsiteX12" fmla="*/ 452773 w 482931"/>
                    <a:gd name="connsiteY12" fmla="*/ 394434 h 409575"/>
                    <a:gd name="connsiteX13" fmla="*/ 30208 w 482931"/>
                    <a:gd name="connsiteY13" fmla="*/ 394434 h 409575"/>
                    <a:gd name="connsiteX14" fmla="*/ 15116 w 482931"/>
                    <a:gd name="connsiteY14" fmla="*/ 379265 h 409575"/>
                    <a:gd name="connsiteX15" fmla="*/ 15116 w 482931"/>
                    <a:gd name="connsiteY15" fmla="*/ 30367 h 409575"/>
                    <a:gd name="connsiteX16" fmla="*/ 30208 w 482931"/>
                    <a:gd name="connsiteY16" fmla="*/ 15198 h 409575"/>
                    <a:gd name="connsiteX17" fmla="*/ 452773 w 482931"/>
                    <a:gd name="connsiteY17" fmla="*/ 15198 h 409575"/>
                    <a:gd name="connsiteX18" fmla="*/ 452773 w 482931"/>
                    <a:gd name="connsiteY18" fmla="*/ 15198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82931" h="409575">
                      <a:moveTo>
                        <a:pt x="452773" y="29"/>
                      </a:moveTo>
                      <a:lnTo>
                        <a:pt x="30208" y="29"/>
                      </a:lnTo>
                      <a:cubicBezTo>
                        <a:pt x="13607" y="29"/>
                        <a:pt x="25" y="13681"/>
                        <a:pt x="25" y="30367"/>
                      </a:cubicBezTo>
                      <a:lnTo>
                        <a:pt x="25" y="379265"/>
                      </a:lnTo>
                      <a:cubicBezTo>
                        <a:pt x="25" y="395951"/>
                        <a:pt x="13607" y="409604"/>
                        <a:pt x="30208" y="409604"/>
                      </a:cubicBezTo>
                      <a:lnTo>
                        <a:pt x="452773" y="409604"/>
                      </a:lnTo>
                      <a:cubicBezTo>
                        <a:pt x="469374" y="409604"/>
                        <a:pt x="482956" y="395951"/>
                        <a:pt x="482956" y="379265"/>
                      </a:cubicBezTo>
                      <a:lnTo>
                        <a:pt x="482956" y="30367"/>
                      </a:lnTo>
                      <a:cubicBezTo>
                        <a:pt x="482956" y="13681"/>
                        <a:pt x="469374" y="29"/>
                        <a:pt x="452773" y="29"/>
                      </a:cubicBezTo>
                      <a:close/>
                      <a:moveTo>
                        <a:pt x="452773" y="15198"/>
                      </a:moveTo>
                      <a:cubicBezTo>
                        <a:pt x="461088" y="15198"/>
                        <a:pt x="467865" y="22001"/>
                        <a:pt x="467865" y="30367"/>
                      </a:cubicBezTo>
                      <a:lnTo>
                        <a:pt x="467865" y="379265"/>
                      </a:lnTo>
                      <a:cubicBezTo>
                        <a:pt x="467865" y="387623"/>
                        <a:pt x="461088" y="394434"/>
                        <a:pt x="452773" y="394434"/>
                      </a:cubicBezTo>
                      <a:lnTo>
                        <a:pt x="30208" y="394434"/>
                      </a:lnTo>
                      <a:cubicBezTo>
                        <a:pt x="21885" y="394434"/>
                        <a:pt x="15116" y="387623"/>
                        <a:pt x="15116" y="379265"/>
                      </a:cubicBezTo>
                      <a:lnTo>
                        <a:pt x="15116" y="30367"/>
                      </a:lnTo>
                      <a:cubicBezTo>
                        <a:pt x="15116" y="22001"/>
                        <a:pt x="21885" y="15198"/>
                        <a:pt x="30208" y="15198"/>
                      </a:cubicBezTo>
                      <a:lnTo>
                        <a:pt x="452773" y="15198"/>
                      </a:lnTo>
                      <a:lnTo>
                        <a:pt x="452773" y="15198"/>
                      </a:ln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150" name="Oval 1149">
                  <a:extLst>
                    <a:ext uri="{FF2B5EF4-FFF2-40B4-BE49-F238E27FC236}">
                      <a16:creationId xmlns:a16="http://schemas.microsoft.com/office/drawing/2014/main" id="{F9AB8504-5BC2-47CC-97B5-D0A7C220152E}"/>
                    </a:ext>
                  </a:extLst>
                </p:cNvPr>
                <p:cNvSpPr/>
                <p:nvPr/>
              </p:nvSpPr>
              <p:spPr>
                <a:xfrm>
                  <a:off x="9816960" y="1331938"/>
                  <a:ext cx="27432" cy="27432"/>
                </a:xfrm>
                <a:prstGeom prst="ellipse">
                  <a:avLst/>
                </a:prstGeom>
                <a:solidFill>
                  <a:schemeClr val="tx1">
                    <a:lumMod val="85000"/>
                    <a:lumOff val="1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151" name="Oval 1150">
                  <a:extLst>
                    <a:ext uri="{FF2B5EF4-FFF2-40B4-BE49-F238E27FC236}">
                      <a16:creationId xmlns:a16="http://schemas.microsoft.com/office/drawing/2014/main" id="{BF145684-528E-34BE-00F7-86F1DF3D924E}"/>
                    </a:ext>
                  </a:extLst>
                </p:cNvPr>
                <p:cNvSpPr/>
                <p:nvPr/>
              </p:nvSpPr>
              <p:spPr>
                <a:xfrm>
                  <a:off x="9873478" y="1331938"/>
                  <a:ext cx="27432" cy="27432"/>
                </a:xfrm>
                <a:prstGeom prst="ellipse">
                  <a:avLst/>
                </a:prstGeom>
                <a:solidFill>
                  <a:schemeClr val="tx1">
                    <a:lumMod val="85000"/>
                    <a:lumOff val="1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152" name="Oval 1151">
                  <a:extLst>
                    <a:ext uri="{FF2B5EF4-FFF2-40B4-BE49-F238E27FC236}">
                      <a16:creationId xmlns:a16="http://schemas.microsoft.com/office/drawing/2014/main" id="{FB28E2C7-324E-2F3F-9818-06DD1A848829}"/>
                    </a:ext>
                  </a:extLst>
                </p:cNvPr>
                <p:cNvSpPr/>
                <p:nvPr/>
              </p:nvSpPr>
              <p:spPr>
                <a:xfrm>
                  <a:off x="9929997" y="1331938"/>
                  <a:ext cx="27432" cy="27432"/>
                </a:xfrm>
                <a:prstGeom prst="ellipse">
                  <a:avLst/>
                </a:prstGeom>
                <a:solidFill>
                  <a:schemeClr val="tx1">
                    <a:lumMod val="85000"/>
                    <a:lumOff val="1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153" name="Freeform: Shape 1152">
                  <a:extLst>
                    <a:ext uri="{FF2B5EF4-FFF2-40B4-BE49-F238E27FC236}">
                      <a16:creationId xmlns:a16="http://schemas.microsoft.com/office/drawing/2014/main" id="{51FF9567-23AC-B177-C7E7-EE267E9EC71B}"/>
                    </a:ext>
                  </a:extLst>
                </p:cNvPr>
                <p:cNvSpPr/>
                <p:nvPr/>
              </p:nvSpPr>
              <p:spPr>
                <a:xfrm>
                  <a:off x="9589450" y="1869355"/>
                  <a:ext cx="63606" cy="25573"/>
                </a:xfrm>
                <a:custGeom>
                  <a:avLst/>
                  <a:gdLst>
                    <a:gd name="connsiteX0" fmla="*/ 30208 w 37729"/>
                    <a:gd name="connsiteY0" fmla="*/ 15198 h 15169"/>
                    <a:gd name="connsiteX1" fmla="*/ 7570 w 37729"/>
                    <a:gd name="connsiteY1" fmla="*/ 15198 h 15169"/>
                    <a:gd name="connsiteX2" fmla="*/ 25 w 37729"/>
                    <a:gd name="connsiteY2" fmla="*/ 7613 h 15169"/>
                    <a:gd name="connsiteX3" fmla="*/ 7570 w 37729"/>
                    <a:gd name="connsiteY3" fmla="*/ 29 h 15169"/>
                    <a:gd name="connsiteX4" fmla="*/ 30208 w 37729"/>
                    <a:gd name="connsiteY4" fmla="*/ 29 h 15169"/>
                    <a:gd name="connsiteX5" fmla="*/ 37754 w 37729"/>
                    <a:gd name="connsiteY5" fmla="*/ 7613 h 15169"/>
                    <a:gd name="connsiteX6" fmla="*/ 30208 w 37729"/>
                    <a:gd name="connsiteY6" fmla="*/ 15198 h 1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729" h="15169">
                      <a:moveTo>
                        <a:pt x="30208" y="15198"/>
                      </a:moveTo>
                      <a:lnTo>
                        <a:pt x="7570" y="15198"/>
                      </a:lnTo>
                      <a:cubicBezTo>
                        <a:pt x="3397" y="15198"/>
                        <a:pt x="25" y="11808"/>
                        <a:pt x="25" y="7613"/>
                      </a:cubicBezTo>
                      <a:cubicBezTo>
                        <a:pt x="25" y="3419"/>
                        <a:pt x="3397" y="29"/>
                        <a:pt x="7570" y="29"/>
                      </a:cubicBezTo>
                      <a:lnTo>
                        <a:pt x="30208" y="29"/>
                      </a:lnTo>
                      <a:cubicBezTo>
                        <a:pt x="34381" y="29"/>
                        <a:pt x="37754" y="3419"/>
                        <a:pt x="37754" y="7613"/>
                      </a:cubicBezTo>
                      <a:cubicBezTo>
                        <a:pt x="37754" y="11808"/>
                        <a:pt x="34381" y="15198"/>
                        <a:pt x="30208" y="15198"/>
                      </a:cubicBezTo>
                    </a:path>
                  </a:pathLst>
                </a:custGeom>
                <a:solidFill>
                  <a:schemeClr val="bg1">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154" name="Freeform: Shape 1153">
                  <a:extLst>
                    <a:ext uri="{FF2B5EF4-FFF2-40B4-BE49-F238E27FC236}">
                      <a16:creationId xmlns:a16="http://schemas.microsoft.com/office/drawing/2014/main" id="{C9A49C13-79C3-C852-E3AB-43FB1DBBD82A}"/>
                    </a:ext>
                  </a:extLst>
                </p:cNvPr>
                <p:cNvSpPr/>
                <p:nvPr/>
              </p:nvSpPr>
              <p:spPr>
                <a:xfrm>
                  <a:off x="9501148" y="1869355"/>
                  <a:ext cx="63606" cy="25573"/>
                </a:xfrm>
                <a:custGeom>
                  <a:avLst/>
                  <a:gdLst>
                    <a:gd name="connsiteX0" fmla="*/ 30208 w 37729"/>
                    <a:gd name="connsiteY0" fmla="*/ 15198 h 15169"/>
                    <a:gd name="connsiteX1" fmla="*/ 7570 w 37729"/>
                    <a:gd name="connsiteY1" fmla="*/ 15198 h 15169"/>
                    <a:gd name="connsiteX2" fmla="*/ 25 w 37729"/>
                    <a:gd name="connsiteY2" fmla="*/ 7613 h 15169"/>
                    <a:gd name="connsiteX3" fmla="*/ 7570 w 37729"/>
                    <a:gd name="connsiteY3" fmla="*/ 29 h 15169"/>
                    <a:gd name="connsiteX4" fmla="*/ 30208 w 37729"/>
                    <a:gd name="connsiteY4" fmla="*/ 29 h 15169"/>
                    <a:gd name="connsiteX5" fmla="*/ 37754 w 37729"/>
                    <a:gd name="connsiteY5" fmla="*/ 7613 h 15169"/>
                    <a:gd name="connsiteX6" fmla="*/ 30208 w 37729"/>
                    <a:gd name="connsiteY6" fmla="*/ 15198 h 1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729" h="15169">
                      <a:moveTo>
                        <a:pt x="30208" y="15198"/>
                      </a:moveTo>
                      <a:lnTo>
                        <a:pt x="7570" y="15198"/>
                      </a:lnTo>
                      <a:cubicBezTo>
                        <a:pt x="3397" y="15198"/>
                        <a:pt x="25" y="11808"/>
                        <a:pt x="25" y="7613"/>
                      </a:cubicBezTo>
                      <a:cubicBezTo>
                        <a:pt x="25" y="3419"/>
                        <a:pt x="3397" y="29"/>
                        <a:pt x="7570" y="29"/>
                      </a:cubicBezTo>
                      <a:lnTo>
                        <a:pt x="30208" y="29"/>
                      </a:lnTo>
                      <a:cubicBezTo>
                        <a:pt x="34381" y="29"/>
                        <a:pt x="37754" y="3419"/>
                        <a:pt x="37754" y="7613"/>
                      </a:cubicBezTo>
                      <a:cubicBezTo>
                        <a:pt x="37754" y="11808"/>
                        <a:pt x="34381" y="15198"/>
                        <a:pt x="30208" y="15198"/>
                      </a:cubicBezTo>
                    </a:path>
                  </a:pathLst>
                </a:custGeom>
                <a:solidFill>
                  <a:schemeClr val="bg1">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155" name="Freeform: Shape 1154">
                  <a:extLst>
                    <a:ext uri="{FF2B5EF4-FFF2-40B4-BE49-F238E27FC236}">
                      <a16:creationId xmlns:a16="http://schemas.microsoft.com/office/drawing/2014/main" id="{94D25C40-291F-2CC1-32EB-A98209AFDD43}"/>
                    </a:ext>
                  </a:extLst>
                </p:cNvPr>
                <p:cNvSpPr/>
                <p:nvPr/>
              </p:nvSpPr>
              <p:spPr>
                <a:xfrm>
                  <a:off x="9281466" y="1481717"/>
                  <a:ext cx="165374" cy="25573"/>
                </a:xfrm>
                <a:custGeom>
                  <a:avLst/>
                  <a:gdLst>
                    <a:gd name="connsiteX0" fmla="*/ 90574 w 98095"/>
                    <a:gd name="connsiteY0" fmla="*/ 15198 h 15169"/>
                    <a:gd name="connsiteX1" fmla="*/ 7570 w 98095"/>
                    <a:gd name="connsiteY1" fmla="*/ 15198 h 15169"/>
                    <a:gd name="connsiteX2" fmla="*/ 25 w 98095"/>
                    <a:gd name="connsiteY2" fmla="*/ 7613 h 15169"/>
                    <a:gd name="connsiteX3" fmla="*/ 7570 w 98095"/>
                    <a:gd name="connsiteY3" fmla="*/ 29 h 15169"/>
                    <a:gd name="connsiteX4" fmla="*/ 90574 w 98095"/>
                    <a:gd name="connsiteY4" fmla="*/ 29 h 15169"/>
                    <a:gd name="connsiteX5" fmla="*/ 98120 w 98095"/>
                    <a:gd name="connsiteY5" fmla="*/ 7613 h 15169"/>
                    <a:gd name="connsiteX6" fmla="*/ 90574 w 98095"/>
                    <a:gd name="connsiteY6" fmla="*/ 15198 h 1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095" h="15169">
                      <a:moveTo>
                        <a:pt x="90574" y="15198"/>
                      </a:moveTo>
                      <a:lnTo>
                        <a:pt x="7570" y="15198"/>
                      </a:lnTo>
                      <a:cubicBezTo>
                        <a:pt x="3397" y="15198"/>
                        <a:pt x="25" y="11808"/>
                        <a:pt x="25" y="7613"/>
                      </a:cubicBezTo>
                      <a:cubicBezTo>
                        <a:pt x="25" y="3419"/>
                        <a:pt x="3397" y="29"/>
                        <a:pt x="7570" y="29"/>
                      </a:cubicBezTo>
                      <a:lnTo>
                        <a:pt x="90574" y="29"/>
                      </a:lnTo>
                      <a:cubicBezTo>
                        <a:pt x="94747" y="29"/>
                        <a:pt x="98120" y="3419"/>
                        <a:pt x="98120" y="7613"/>
                      </a:cubicBezTo>
                      <a:cubicBezTo>
                        <a:pt x="98120" y="11808"/>
                        <a:pt x="94747" y="15198"/>
                        <a:pt x="90574" y="15198"/>
                      </a:cubicBezTo>
                    </a:path>
                  </a:pathLst>
                </a:custGeom>
                <a:solidFill>
                  <a:schemeClr val="tx1">
                    <a:lumMod val="50000"/>
                    <a:lumOff val="5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156" name="Freeform: Shape 1155">
                  <a:extLst>
                    <a:ext uri="{FF2B5EF4-FFF2-40B4-BE49-F238E27FC236}">
                      <a16:creationId xmlns:a16="http://schemas.microsoft.com/office/drawing/2014/main" id="{4FD6F51D-5C3D-D989-1B82-0E94BE80C208}"/>
                    </a:ext>
                  </a:extLst>
                </p:cNvPr>
                <p:cNvSpPr/>
                <p:nvPr/>
              </p:nvSpPr>
              <p:spPr>
                <a:xfrm>
                  <a:off x="9281466" y="1526349"/>
                  <a:ext cx="165374" cy="25573"/>
                </a:xfrm>
                <a:custGeom>
                  <a:avLst/>
                  <a:gdLst>
                    <a:gd name="connsiteX0" fmla="*/ 90574 w 98095"/>
                    <a:gd name="connsiteY0" fmla="*/ 15198 h 15169"/>
                    <a:gd name="connsiteX1" fmla="*/ 7570 w 98095"/>
                    <a:gd name="connsiteY1" fmla="*/ 15198 h 15169"/>
                    <a:gd name="connsiteX2" fmla="*/ 25 w 98095"/>
                    <a:gd name="connsiteY2" fmla="*/ 7613 h 15169"/>
                    <a:gd name="connsiteX3" fmla="*/ 7570 w 98095"/>
                    <a:gd name="connsiteY3" fmla="*/ 29 h 15169"/>
                    <a:gd name="connsiteX4" fmla="*/ 90574 w 98095"/>
                    <a:gd name="connsiteY4" fmla="*/ 29 h 15169"/>
                    <a:gd name="connsiteX5" fmla="*/ 98120 w 98095"/>
                    <a:gd name="connsiteY5" fmla="*/ 7613 h 15169"/>
                    <a:gd name="connsiteX6" fmla="*/ 90574 w 98095"/>
                    <a:gd name="connsiteY6" fmla="*/ 15198 h 1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095" h="15169">
                      <a:moveTo>
                        <a:pt x="90574" y="15198"/>
                      </a:moveTo>
                      <a:lnTo>
                        <a:pt x="7570" y="15198"/>
                      </a:lnTo>
                      <a:cubicBezTo>
                        <a:pt x="3397" y="15198"/>
                        <a:pt x="25" y="11808"/>
                        <a:pt x="25" y="7613"/>
                      </a:cubicBezTo>
                      <a:cubicBezTo>
                        <a:pt x="25" y="3419"/>
                        <a:pt x="3397" y="29"/>
                        <a:pt x="7570" y="29"/>
                      </a:cubicBezTo>
                      <a:lnTo>
                        <a:pt x="90574" y="29"/>
                      </a:lnTo>
                      <a:cubicBezTo>
                        <a:pt x="94747" y="29"/>
                        <a:pt x="98120" y="3419"/>
                        <a:pt x="98120" y="7613"/>
                      </a:cubicBezTo>
                      <a:cubicBezTo>
                        <a:pt x="98120" y="11808"/>
                        <a:pt x="94747" y="15198"/>
                        <a:pt x="90574" y="15198"/>
                      </a:cubicBezTo>
                    </a:path>
                  </a:pathLst>
                </a:custGeom>
                <a:solidFill>
                  <a:schemeClr val="tx1">
                    <a:lumMod val="50000"/>
                    <a:lumOff val="5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grpSp>
          <p:pic>
            <p:nvPicPr>
              <p:cNvPr id="1144" name="Graphic 1143" descr="Question Mark with solid fill">
                <a:extLst>
                  <a:ext uri="{FF2B5EF4-FFF2-40B4-BE49-F238E27FC236}">
                    <a16:creationId xmlns:a16="http://schemas.microsoft.com/office/drawing/2014/main" id="{3AADC7BD-2298-B8A2-1092-279613EAF116}"/>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0283990" y="1969081"/>
                <a:ext cx="380219" cy="380219"/>
              </a:xfrm>
              <a:prstGeom prst="rect">
                <a:avLst/>
              </a:prstGeom>
            </p:spPr>
          </p:pic>
        </p:grpSp>
        <p:grpSp>
          <p:nvGrpSpPr>
            <p:cNvPr id="1141" name="Group 1140">
              <a:extLst>
                <a:ext uri="{FF2B5EF4-FFF2-40B4-BE49-F238E27FC236}">
                  <a16:creationId xmlns:a16="http://schemas.microsoft.com/office/drawing/2014/main" id="{563F0515-B3E4-EAD0-5C13-753EC48A08AF}"/>
                </a:ext>
              </a:extLst>
            </p:cNvPr>
            <p:cNvGrpSpPr/>
            <p:nvPr/>
          </p:nvGrpSpPr>
          <p:grpSpPr>
            <a:xfrm>
              <a:off x="10468414" y="1621285"/>
              <a:ext cx="787049" cy="667495"/>
              <a:chOff x="10468414" y="1621285"/>
              <a:chExt cx="787049" cy="667495"/>
            </a:xfrm>
          </p:grpSpPr>
          <p:grpSp>
            <p:nvGrpSpPr>
              <p:cNvPr id="1088" name="Graphic 1034">
                <a:extLst>
                  <a:ext uri="{FF2B5EF4-FFF2-40B4-BE49-F238E27FC236}">
                    <a16:creationId xmlns:a16="http://schemas.microsoft.com/office/drawing/2014/main" id="{804117D4-18B3-6793-BF75-AB1725E248F9}"/>
                  </a:ext>
                </a:extLst>
              </p:cNvPr>
              <p:cNvGrpSpPr>
                <a:grpSpLocks noChangeAspect="1"/>
              </p:cNvGrpSpPr>
              <p:nvPr/>
            </p:nvGrpSpPr>
            <p:grpSpPr>
              <a:xfrm>
                <a:off x="10468414" y="1621285"/>
                <a:ext cx="787049" cy="667495"/>
                <a:chOff x="7882974" y="1975341"/>
                <a:chExt cx="466853" cy="395940"/>
              </a:xfrm>
              <a:effectLst>
                <a:outerShdw blurRad="50800" dist="38100" dir="8100000" algn="tr" rotWithShape="0">
                  <a:prstClr val="black">
                    <a:alpha val="40000"/>
                  </a:prstClr>
                </a:outerShdw>
              </a:effectLst>
            </p:grpSpPr>
            <p:sp>
              <p:nvSpPr>
                <p:cNvPr id="1089" name="Freeform: Shape 1088">
                  <a:extLst>
                    <a:ext uri="{FF2B5EF4-FFF2-40B4-BE49-F238E27FC236}">
                      <a16:creationId xmlns:a16="http://schemas.microsoft.com/office/drawing/2014/main" id="{434A0AC2-03CE-AC74-8E7B-75E9FCEA9817}"/>
                    </a:ext>
                  </a:extLst>
                </p:cNvPr>
                <p:cNvSpPr/>
                <p:nvPr/>
              </p:nvSpPr>
              <p:spPr>
                <a:xfrm>
                  <a:off x="7890027" y="1983691"/>
                  <a:ext cx="452748" cy="379236"/>
                </a:xfrm>
                <a:custGeom>
                  <a:avLst/>
                  <a:gdLst>
                    <a:gd name="connsiteX0" fmla="*/ 437681 w 452748"/>
                    <a:gd name="connsiteY0" fmla="*/ 29 h 379236"/>
                    <a:gd name="connsiteX1" fmla="*/ 15116 w 452748"/>
                    <a:gd name="connsiteY1" fmla="*/ 29 h 379236"/>
                    <a:gd name="connsiteX2" fmla="*/ 25 w 452748"/>
                    <a:gd name="connsiteY2" fmla="*/ 15198 h 379236"/>
                    <a:gd name="connsiteX3" fmla="*/ 25 w 452748"/>
                    <a:gd name="connsiteY3" fmla="*/ 364095 h 379236"/>
                    <a:gd name="connsiteX4" fmla="*/ 15116 w 452748"/>
                    <a:gd name="connsiteY4" fmla="*/ 379265 h 379236"/>
                    <a:gd name="connsiteX5" fmla="*/ 437681 w 452748"/>
                    <a:gd name="connsiteY5" fmla="*/ 379265 h 379236"/>
                    <a:gd name="connsiteX6" fmla="*/ 452773 w 452748"/>
                    <a:gd name="connsiteY6" fmla="*/ 364095 h 379236"/>
                    <a:gd name="connsiteX7" fmla="*/ 452773 w 452748"/>
                    <a:gd name="connsiteY7" fmla="*/ 15198 h 379236"/>
                    <a:gd name="connsiteX8" fmla="*/ 437681 w 452748"/>
                    <a:gd name="connsiteY8" fmla="*/ 29 h 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2748" h="379236">
                      <a:moveTo>
                        <a:pt x="437681" y="29"/>
                      </a:moveTo>
                      <a:lnTo>
                        <a:pt x="15116" y="29"/>
                      </a:lnTo>
                      <a:cubicBezTo>
                        <a:pt x="6793" y="29"/>
                        <a:pt x="25" y="6832"/>
                        <a:pt x="25" y="15198"/>
                      </a:cubicBezTo>
                      <a:lnTo>
                        <a:pt x="25" y="364095"/>
                      </a:lnTo>
                      <a:cubicBezTo>
                        <a:pt x="25" y="372454"/>
                        <a:pt x="6793" y="379265"/>
                        <a:pt x="15116" y="379265"/>
                      </a:cubicBezTo>
                      <a:lnTo>
                        <a:pt x="437681" y="379265"/>
                      </a:lnTo>
                      <a:cubicBezTo>
                        <a:pt x="445997" y="379265"/>
                        <a:pt x="452773" y="372454"/>
                        <a:pt x="452773" y="364095"/>
                      </a:cubicBezTo>
                      <a:lnTo>
                        <a:pt x="452773" y="15198"/>
                      </a:lnTo>
                      <a:cubicBezTo>
                        <a:pt x="452773" y="6832"/>
                        <a:pt x="445997" y="29"/>
                        <a:pt x="437681" y="29"/>
                      </a:cubicBezTo>
                    </a:path>
                  </a:pathLst>
                </a:custGeom>
                <a:solidFill>
                  <a:schemeClr val="bg1">
                    <a:lumMod val="85000"/>
                  </a:schemeClr>
                </a:solid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090" name="Freeform: Shape 1089">
                  <a:extLst>
                    <a:ext uri="{FF2B5EF4-FFF2-40B4-BE49-F238E27FC236}">
                      <a16:creationId xmlns:a16="http://schemas.microsoft.com/office/drawing/2014/main" id="{E8CBB54B-41E0-0555-BCB2-87B13C2D2089}"/>
                    </a:ext>
                  </a:extLst>
                </p:cNvPr>
                <p:cNvSpPr/>
                <p:nvPr/>
              </p:nvSpPr>
              <p:spPr>
                <a:xfrm rot="16200000">
                  <a:off x="8109233" y="1801639"/>
                  <a:ext cx="15091" cy="461036"/>
                </a:xfrm>
                <a:custGeom>
                  <a:avLst/>
                  <a:gdLst>
                    <a:gd name="connsiteX0" fmla="*/ 25 w 15091"/>
                    <a:gd name="connsiteY0" fmla="*/ 379265 h 379236"/>
                    <a:gd name="connsiteX1" fmla="*/ 15116 w 15091"/>
                    <a:gd name="connsiteY1" fmla="*/ 379265 h 379236"/>
                    <a:gd name="connsiteX2" fmla="*/ 15116 w 15091"/>
                    <a:gd name="connsiteY2" fmla="*/ 29 h 379236"/>
                    <a:gd name="connsiteX3" fmla="*/ 25 w 15091"/>
                    <a:gd name="connsiteY3" fmla="*/ 29 h 379236"/>
                  </a:gdLst>
                  <a:ahLst/>
                  <a:cxnLst>
                    <a:cxn ang="0">
                      <a:pos x="connsiteX0" y="connsiteY0"/>
                    </a:cxn>
                    <a:cxn ang="0">
                      <a:pos x="connsiteX1" y="connsiteY1"/>
                    </a:cxn>
                    <a:cxn ang="0">
                      <a:pos x="connsiteX2" y="connsiteY2"/>
                    </a:cxn>
                    <a:cxn ang="0">
                      <a:pos x="connsiteX3" y="connsiteY3"/>
                    </a:cxn>
                  </a:cxnLst>
                  <a:rect l="l" t="t" r="r" b="b"/>
                  <a:pathLst>
                    <a:path w="15091" h="379236">
                      <a:moveTo>
                        <a:pt x="25" y="379265"/>
                      </a:moveTo>
                      <a:lnTo>
                        <a:pt x="15116" y="379265"/>
                      </a:lnTo>
                      <a:lnTo>
                        <a:pt x="15116" y="29"/>
                      </a:lnTo>
                      <a:lnTo>
                        <a:pt x="25" y="29"/>
                      </a:ln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099" name="Freeform: Shape 1098">
                  <a:extLst>
                    <a:ext uri="{FF2B5EF4-FFF2-40B4-BE49-F238E27FC236}">
                      <a16:creationId xmlns:a16="http://schemas.microsoft.com/office/drawing/2014/main" id="{C5FA62ED-3C18-6CD0-7315-D1CCDE390BD3}"/>
                    </a:ext>
                  </a:extLst>
                </p:cNvPr>
                <p:cNvSpPr/>
                <p:nvPr/>
              </p:nvSpPr>
              <p:spPr>
                <a:xfrm>
                  <a:off x="7911565" y="2058207"/>
                  <a:ext cx="98095" cy="15169"/>
                </a:xfrm>
                <a:custGeom>
                  <a:avLst/>
                  <a:gdLst>
                    <a:gd name="connsiteX0" fmla="*/ 90574 w 98095"/>
                    <a:gd name="connsiteY0" fmla="*/ 15198 h 15169"/>
                    <a:gd name="connsiteX1" fmla="*/ 7570 w 98095"/>
                    <a:gd name="connsiteY1" fmla="*/ 15198 h 15169"/>
                    <a:gd name="connsiteX2" fmla="*/ 25 w 98095"/>
                    <a:gd name="connsiteY2" fmla="*/ 7613 h 15169"/>
                    <a:gd name="connsiteX3" fmla="*/ 7570 w 98095"/>
                    <a:gd name="connsiteY3" fmla="*/ 29 h 15169"/>
                    <a:gd name="connsiteX4" fmla="*/ 90574 w 98095"/>
                    <a:gd name="connsiteY4" fmla="*/ 29 h 15169"/>
                    <a:gd name="connsiteX5" fmla="*/ 98120 w 98095"/>
                    <a:gd name="connsiteY5" fmla="*/ 7613 h 15169"/>
                    <a:gd name="connsiteX6" fmla="*/ 90574 w 98095"/>
                    <a:gd name="connsiteY6" fmla="*/ 15198 h 1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095" h="15169">
                      <a:moveTo>
                        <a:pt x="90574" y="15198"/>
                      </a:moveTo>
                      <a:lnTo>
                        <a:pt x="7570" y="15198"/>
                      </a:lnTo>
                      <a:cubicBezTo>
                        <a:pt x="3397" y="15198"/>
                        <a:pt x="25" y="11808"/>
                        <a:pt x="25" y="7613"/>
                      </a:cubicBezTo>
                      <a:cubicBezTo>
                        <a:pt x="25" y="3419"/>
                        <a:pt x="3397" y="29"/>
                        <a:pt x="7570" y="29"/>
                      </a:cubicBezTo>
                      <a:lnTo>
                        <a:pt x="90574" y="29"/>
                      </a:lnTo>
                      <a:cubicBezTo>
                        <a:pt x="94747" y="29"/>
                        <a:pt x="98120" y="3419"/>
                        <a:pt x="98120" y="7613"/>
                      </a:cubicBezTo>
                      <a:cubicBezTo>
                        <a:pt x="98120" y="11808"/>
                        <a:pt x="94747" y="15198"/>
                        <a:pt x="90574" y="15198"/>
                      </a:cubicBezTo>
                    </a:path>
                  </a:pathLst>
                </a:custGeom>
                <a:solidFill>
                  <a:schemeClr val="tx1">
                    <a:lumMod val="50000"/>
                    <a:lumOff val="5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101" name="Freeform: Shape 1100">
                  <a:extLst>
                    <a:ext uri="{FF2B5EF4-FFF2-40B4-BE49-F238E27FC236}">
                      <a16:creationId xmlns:a16="http://schemas.microsoft.com/office/drawing/2014/main" id="{D37608DB-6E84-30F2-D576-8BC44F66BBB3}"/>
                    </a:ext>
                  </a:extLst>
                </p:cNvPr>
                <p:cNvSpPr/>
                <p:nvPr/>
              </p:nvSpPr>
              <p:spPr>
                <a:xfrm>
                  <a:off x="8143742" y="2317419"/>
                  <a:ext cx="37729" cy="15169"/>
                </a:xfrm>
                <a:custGeom>
                  <a:avLst/>
                  <a:gdLst>
                    <a:gd name="connsiteX0" fmla="*/ 30208 w 37729"/>
                    <a:gd name="connsiteY0" fmla="*/ 15198 h 15169"/>
                    <a:gd name="connsiteX1" fmla="*/ 7570 w 37729"/>
                    <a:gd name="connsiteY1" fmla="*/ 15198 h 15169"/>
                    <a:gd name="connsiteX2" fmla="*/ 25 w 37729"/>
                    <a:gd name="connsiteY2" fmla="*/ 7613 h 15169"/>
                    <a:gd name="connsiteX3" fmla="*/ 7570 w 37729"/>
                    <a:gd name="connsiteY3" fmla="*/ 29 h 15169"/>
                    <a:gd name="connsiteX4" fmla="*/ 30208 w 37729"/>
                    <a:gd name="connsiteY4" fmla="*/ 29 h 15169"/>
                    <a:gd name="connsiteX5" fmla="*/ 37754 w 37729"/>
                    <a:gd name="connsiteY5" fmla="*/ 7613 h 15169"/>
                    <a:gd name="connsiteX6" fmla="*/ 30208 w 37729"/>
                    <a:gd name="connsiteY6" fmla="*/ 15198 h 1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729" h="15169">
                      <a:moveTo>
                        <a:pt x="30208" y="15198"/>
                      </a:moveTo>
                      <a:lnTo>
                        <a:pt x="7570" y="15198"/>
                      </a:lnTo>
                      <a:cubicBezTo>
                        <a:pt x="3397" y="15198"/>
                        <a:pt x="25" y="11808"/>
                        <a:pt x="25" y="7613"/>
                      </a:cubicBezTo>
                      <a:cubicBezTo>
                        <a:pt x="25" y="3419"/>
                        <a:pt x="3397" y="29"/>
                        <a:pt x="7570" y="29"/>
                      </a:cubicBezTo>
                      <a:lnTo>
                        <a:pt x="30208" y="29"/>
                      </a:lnTo>
                      <a:cubicBezTo>
                        <a:pt x="34381" y="29"/>
                        <a:pt x="37754" y="3419"/>
                        <a:pt x="37754" y="7613"/>
                      </a:cubicBezTo>
                      <a:cubicBezTo>
                        <a:pt x="37754" y="11808"/>
                        <a:pt x="34381" y="15198"/>
                        <a:pt x="30208" y="15198"/>
                      </a:cubicBezTo>
                    </a:path>
                  </a:pathLst>
                </a:custGeom>
                <a:solidFill>
                  <a:schemeClr val="bg1">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108" name="Freeform: Shape 1107">
                  <a:extLst>
                    <a:ext uri="{FF2B5EF4-FFF2-40B4-BE49-F238E27FC236}">
                      <a16:creationId xmlns:a16="http://schemas.microsoft.com/office/drawing/2014/main" id="{F5131410-E306-2783-DF3D-8BE4F695E6A8}"/>
                    </a:ext>
                  </a:extLst>
                </p:cNvPr>
                <p:cNvSpPr/>
                <p:nvPr/>
              </p:nvSpPr>
              <p:spPr>
                <a:xfrm>
                  <a:off x="7882974" y="1975341"/>
                  <a:ext cx="466853" cy="395940"/>
                </a:xfrm>
                <a:custGeom>
                  <a:avLst/>
                  <a:gdLst>
                    <a:gd name="connsiteX0" fmla="*/ 452773 w 482931"/>
                    <a:gd name="connsiteY0" fmla="*/ 29 h 409575"/>
                    <a:gd name="connsiteX1" fmla="*/ 30208 w 482931"/>
                    <a:gd name="connsiteY1" fmla="*/ 29 h 409575"/>
                    <a:gd name="connsiteX2" fmla="*/ 25 w 482931"/>
                    <a:gd name="connsiteY2" fmla="*/ 30367 h 409575"/>
                    <a:gd name="connsiteX3" fmla="*/ 25 w 482931"/>
                    <a:gd name="connsiteY3" fmla="*/ 379265 h 409575"/>
                    <a:gd name="connsiteX4" fmla="*/ 30208 w 482931"/>
                    <a:gd name="connsiteY4" fmla="*/ 409604 h 409575"/>
                    <a:gd name="connsiteX5" fmla="*/ 452773 w 482931"/>
                    <a:gd name="connsiteY5" fmla="*/ 409604 h 409575"/>
                    <a:gd name="connsiteX6" fmla="*/ 482956 w 482931"/>
                    <a:gd name="connsiteY6" fmla="*/ 379265 h 409575"/>
                    <a:gd name="connsiteX7" fmla="*/ 482956 w 482931"/>
                    <a:gd name="connsiteY7" fmla="*/ 30367 h 409575"/>
                    <a:gd name="connsiteX8" fmla="*/ 452773 w 482931"/>
                    <a:gd name="connsiteY8" fmla="*/ 29 h 409575"/>
                    <a:gd name="connsiteX9" fmla="*/ 452773 w 482931"/>
                    <a:gd name="connsiteY9" fmla="*/ 15198 h 409575"/>
                    <a:gd name="connsiteX10" fmla="*/ 467865 w 482931"/>
                    <a:gd name="connsiteY10" fmla="*/ 30367 h 409575"/>
                    <a:gd name="connsiteX11" fmla="*/ 467865 w 482931"/>
                    <a:gd name="connsiteY11" fmla="*/ 379265 h 409575"/>
                    <a:gd name="connsiteX12" fmla="*/ 452773 w 482931"/>
                    <a:gd name="connsiteY12" fmla="*/ 394434 h 409575"/>
                    <a:gd name="connsiteX13" fmla="*/ 30208 w 482931"/>
                    <a:gd name="connsiteY13" fmla="*/ 394434 h 409575"/>
                    <a:gd name="connsiteX14" fmla="*/ 15116 w 482931"/>
                    <a:gd name="connsiteY14" fmla="*/ 379265 h 409575"/>
                    <a:gd name="connsiteX15" fmla="*/ 15116 w 482931"/>
                    <a:gd name="connsiteY15" fmla="*/ 30367 h 409575"/>
                    <a:gd name="connsiteX16" fmla="*/ 30208 w 482931"/>
                    <a:gd name="connsiteY16" fmla="*/ 15198 h 409575"/>
                    <a:gd name="connsiteX17" fmla="*/ 452773 w 482931"/>
                    <a:gd name="connsiteY17" fmla="*/ 15198 h 409575"/>
                    <a:gd name="connsiteX18" fmla="*/ 452773 w 482931"/>
                    <a:gd name="connsiteY18" fmla="*/ 15198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82931" h="409575">
                      <a:moveTo>
                        <a:pt x="452773" y="29"/>
                      </a:moveTo>
                      <a:lnTo>
                        <a:pt x="30208" y="29"/>
                      </a:lnTo>
                      <a:cubicBezTo>
                        <a:pt x="13607" y="29"/>
                        <a:pt x="25" y="13681"/>
                        <a:pt x="25" y="30367"/>
                      </a:cubicBezTo>
                      <a:lnTo>
                        <a:pt x="25" y="379265"/>
                      </a:lnTo>
                      <a:cubicBezTo>
                        <a:pt x="25" y="395951"/>
                        <a:pt x="13607" y="409604"/>
                        <a:pt x="30208" y="409604"/>
                      </a:cubicBezTo>
                      <a:lnTo>
                        <a:pt x="452773" y="409604"/>
                      </a:lnTo>
                      <a:cubicBezTo>
                        <a:pt x="469374" y="409604"/>
                        <a:pt x="482956" y="395951"/>
                        <a:pt x="482956" y="379265"/>
                      </a:cubicBezTo>
                      <a:lnTo>
                        <a:pt x="482956" y="30367"/>
                      </a:lnTo>
                      <a:cubicBezTo>
                        <a:pt x="482956" y="13681"/>
                        <a:pt x="469374" y="29"/>
                        <a:pt x="452773" y="29"/>
                      </a:cubicBezTo>
                      <a:close/>
                      <a:moveTo>
                        <a:pt x="452773" y="15198"/>
                      </a:moveTo>
                      <a:cubicBezTo>
                        <a:pt x="461088" y="15198"/>
                        <a:pt x="467865" y="22001"/>
                        <a:pt x="467865" y="30367"/>
                      </a:cubicBezTo>
                      <a:lnTo>
                        <a:pt x="467865" y="379265"/>
                      </a:lnTo>
                      <a:cubicBezTo>
                        <a:pt x="467865" y="387623"/>
                        <a:pt x="461088" y="394434"/>
                        <a:pt x="452773" y="394434"/>
                      </a:cubicBezTo>
                      <a:lnTo>
                        <a:pt x="30208" y="394434"/>
                      </a:lnTo>
                      <a:cubicBezTo>
                        <a:pt x="21885" y="394434"/>
                        <a:pt x="15116" y="387623"/>
                        <a:pt x="15116" y="379265"/>
                      </a:cubicBezTo>
                      <a:lnTo>
                        <a:pt x="15116" y="30367"/>
                      </a:lnTo>
                      <a:cubicBezTo>
                        <a:pt x="15116" y="22001"/>
                        <a:pt x="21885" y="15198"/>
                        <a:pt x="30208" y="15198"/>
                      </a:cubicBezTo>
                      <a:lnTo>
                        <a:pt x="452773" y="15198"/>
                      </a:lnTo>
                      <a:lnTo>
                        <a:pt x="452773" y="15198"/>
                      </a:ln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129" name="Oval 1128">
                  <a:extLst>
                    <a:ext uri="{FF2B5EF4-FFF2-40B4-BE49-F238E27FC236}">
                      <a16:creationId xmlns:a16="http://schemas.microsoft.com/office/drawing/2014/main" id="{C31AAEFA-883B-3CD7-B06F-5964036875B5}"/>
                    </a:ext>
                  </a:extLst>
                </p:cNvPr>
                <p:cNvSpPr/>
                <p:nvPr/>
              </p:nvSpPr>
              <p:spPr>
                <a:xfrm>
                  <a:off x="8229203" y="1998638"/>
                  <a:ext cx="16272" cy="16272"/>
                </a:xfrm>
                <a:prstGeom prst="ellipse">
                  <a:avLst/>
                </a:prstGeom>
                <a:solidFill>
                  <a:schemeClr val="tx1">
                    <a:lumMod val="85000"/>
                    <a:lumOff val="1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130" name="Oval 1129">
                  <a:extLst>
                    <a:ext uri="{FF2B5EF4-FFF2-40B4-BE49-F238E27FC236}">
                      <a16:creationId xmlns:a16="http://schemas.microsoft.com/office/drawing/2014/main" id="{4FF7943A-388D-B02E-D97D-1356A3FC85C8}"/>
                    </a:ext>
                  </a:extLst>
                </p:cNvPr>
                <p:cNvSpPr/>
                <p:nvPr/>
              </p:nvSpPr>
              <p:spPr>
                <a:xfrm>
                  <a:off x="8262728" y="1998638"/>
                  <a:ext cx="16272" cy="16272"/>
                </a:xfrm>
                <a:prstGeom prst="ellipse">
                  <a:avLst/>
                </a:prstGeom>
                <a:solidFill>
                  <a:schemeClr val="tx1">
                    <a:lumMod val="85000"/>
                    <a:lumOff val="1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131" name="Oval 1130">
                  <a:extLst>
                    <a:ext uri="{FF2B5EF4-FFF2-40B4-BE49-F238E27FC236}">
                      <a16:creationId xmlns:a16="http://schemas.microsoft.com/office/drawing/2014/main" id="{5DC27B7B-49D8-5AC9-82E9-B966AD477A2E}"/>
                    </a:ext>
                  </a:extLst>
                </p:cNvPr>
                <p:cNvSpPr/>
                <p:nvPr/>
              </p:nvSpPr>
              <p:spPr>
                <a:xfrm>
                  <a:off x="8296253" y="1998638"/>
                  <a:ext cx="16272" cy="16272"/>
                </a:xfrm>
                <a:prstGeom prst="ellipse">
                  <a:avLst/>
                </a:prstGeom>
                <a:solidFill>
                  <a:schemeClr val="tx1">
                    <a:lumMod val="85000"/>
                    <a:lumOff val="1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133" name="Freeform: Shape 1132">
                  <a:extLst>
                    <a:ext uri="{FF2B5EF4-FFF2-40B4-BE49-F238E27FC236}">
                      <a16:creationId xmlns:a16="http://schemas.microsoft.com/office/drawing/2014/main" id="{FE828A36-AFFA-0D6C-9869-780B2C771DC3}"/>
                    </a:ext>
                  </a:extLst>
                </p:cNvPr>
                <p:cNvSpPr/>
                <p:nvPr/>
              </p:nvSpPr>
              <p:spPr>
                <a:xfrm>
                  <a:off x="8094251" y="2317419"/>
                  <a:ext cx="37729" cy="15169"/>
                </a:xfrm>
                <a:custGeom>
                  <a:avLst/>
                  <a:gdLst>
                    <a:gd name="connsiteX0" fmla="*/ 30208 w 37729"/>
                    <a:gd name="connsiteY0" fmla="*/ 15198 h 15169"/>
                    <a:gd name="connsiteX1" fmla="*/ 7570 w 37729"/>
                    <a:gd name="connsiteY1" fmla="*/ 15198 h 15169"/>
                    <a:gd name="connsiteX2" fmla="*/ 25 w 37729"/>
                    <a:gd name="connsiteY2" fmla="*/ 7613 h 15169"/>
                    <a:gd name="connsiteX3" fmla="*/ 7570 w 37729"/>
                    <a:gd name="connsiteY3" fmla="*/ 29 h 15169"/>
                    <a:gd name="connsiteX4" fmla="*/ 30208 w 37729"/>
                    <a:gd name="connsiteY4" fmla="*/ 29 h 15169"/>
                    <a:gd name="connsiteX5" fmla="*/ 37754 w 37729"/>
                    <a:gd name="connsiteY5" fmla="*/ 7613 h 15169"/>
                    <a:gd name="connsiteX6" fmla="*/ 30208 w 37729"/>
                    <a:gd name="connsiteY6" fmla="*/ 15198 h 1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729" h="15169">
                      <a:moveTo>
                        <a:pt x="30208" y="15198"/>
                      </a:moveTo>
                      <a:lnTo>
                        <a:pt x="7570" y="15198"/>
                      </a:lnTo>
                      <a:cubicBezTo>
                        <a:pt x="3397" y="15198"/>
                        <a:pt x="25" y="11808"/>
                        <a:pt x="25" y="7613"/>
                      </a:cubicBezTo>
                      <a:cubicBezTo>
                        <a:pt x="25" y="3419"/>
                        <a:pt x="3397" y="29"/>
                        <a:pt x="7570" y="29"/>
                      </a:cubicBezTo>
                      <a:lnTo>
                        <a:pt x="30208" y="29"/>
                      </a:lnTo>
                      <a:cubicBezTo>
                        <a:pt x="34381" y="29"/>
                        <a:pt x="37754" y="3419"/>
                        <a:pt x="37754" y="7613"/>
                      </a:cubicBezTo>
                      <a:cubicBezTo>
                        <a:pt x="37754" y="11808"/>
                        <a:pt x="34381" y="15198"/>
                        <a:pt x="30208" y="15198"/>
                      </a:cubicBezTo>
                    </a:path>
                  </a:pathLst>
                </a:custGeom>
                <a:solidFill>
                  <a:schemeClr val="bg1">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134" name="Freeform: Shape 1133">
                  <a:extLst>
                    <a:ext uri="{FF2B5EF4-FFF2-40B4-BE49-F238E27FC236}">
                      <a16:creationId xmlns:a16="http://schemas.microsoft.com/office/drawing/2014/main" id="{D22A461E-0213-3807-02B5-CDA3F38E10AA}"/>
                    </a:ext>
                  </a:extLst>
                </p:cNvPr>
                <p:cNvSpPr/>
                <p:nvPr/>
              </p:nvSpPr>
              <p:spPr>
                <a:xfrm>
                  <a:off x="8041873" y="2317419"/>
                  <a:ext cx="37729" cy="15169"/>
                </a:xfrm>
                <a:custGeom>
                  <a:avLst/>
                  <a:gdLst>
                    <a:gd name="connsiteX0" fmla="*/ 30208 w 37729"/>
                    <a:gd name="connsiteY0" fmla="*/ 15198 h 15169"/>
                    <a:gd name="connsiteX1" fmla="*/ 7570 w 37729"/>
                    <a:gd name="connsiteY1" fmla="*/ 15198 h 15169"/>
                    <a:gd name="connsiteX2" fmla="*/ 25 w 37729"/>
                    <a:gd name="connsiteY2" fmla="*/ 7613 h 15169"/>
                    <a:gd name="connsiteX3" fmla="*/ 7570 w 37729"/>
                    <a:gd name="connsiteY3" fmla="*/ 29 h 15169"/>
                    <a:gd name="connsiteX4" fmla="*/ 30208 w 37729"/>
                    <a:gd name="connsiteY4" fmla="*/ 29 h 15169"/>
                    <a:gd name="connsiteX5" fmla="*/ 37754 w 37729"/>
                    <a:gd name="connsiteY5" fmla="*/ 7613 h 15169"/>
                    <a:gd name="connsiteX6" fmla="*/ 30208 w 37729"/>
                    <a:gd name="connsiteY6" fmla="*/ 15198 h 1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729" h="15169">
                      <a:moveTo>
                        <a:pt x="30208" y="15198"/>
                      </a:moveTo>
                      <a:lnTo>
                        <a:pt x="7570" y="15198"/>
                      </a:lnTo>
                      <a:cubicBezTo>
                        <a:pt x="3397" y="15198"/>
                        <a:pt x="25" y="11808"/>
                        <a:pt x="25" y="7613"/>
                      </a:cubicBezTo>
                      <a:cubicBezTo>
                        <a:pt x="25" y="3419"/>
                        <a:pt x="3397" y="29"/>
                        <a:pt x="7570" y="29"/>
                      </a:cubicBezTo>
                      <a:lnTo>
                        <a:pt x="30208" y="29"/>
                      </a:lnTo>
                      <a:cubicBezTo>
                        <a:pt x="34381" y="29"/>
                        <a:pt x="37754" y="3419"/>
                        <a:pt x="37754" y="7613"/>
                      </a:cubicBezTo>
                      <a:cubicBezTo>
                        <a:pt x="37754" y="11808"/>
                        <a:pt x="34381" y="15198"/>
                        <a:pt x="30208" y="15198"/>
                      </a:cubicBezTo>
                    </a:path>
                  </a:pathLst>
                </a:custGeom>
                <a:solidFill>
                  <a:schemeClr val="bg1">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135" name="Freeform: Shape 1134">
                  <a:extLst>
                    <a:ext uri="{FF2B5EF4-FFF2-40B4-BE49-F238E27FC236}">
                      <a16:creationId xmlns:a16="http://schemas.microsoft.com/office/drawing/2014/main" id="{66182AB7-69AB-B55C-1B8F-2CCB7CFF4DA8}"/>
                    </a:ext>
                  </a:extLst>
                </p:cNvPr>
                <p:cNvSpPr/>
                <p:nvPr/>
              </p:nvSpPr>
              <p:spPr>
                <a:xfrm>
                  <a:off x="7911565" y="2087483"/>
                  <a:ext cx="98095" cy="15169"/>
                </a:xfrm>
                <a:custGeom>
                  <a:avLst/>
                  <a:gdLst>
                    <a:gd name="connsiteX0" fmla="*/ 90574 w 98095"/>
                    <a:gd name="connsiteY0" fmla="*/ 15198 h 15169"/>
                    <a:gd name="connsiteX1" fmla="*/ 7570 w 98095"/>
                    <a:gd name="connsiteY1" fmla="*/ 15198 h 15169"/>
                    <a:gd name="connsiteX2" fmla="*/ 25 w 98095"/>
                    <a:gd name="connsiteY2" fmla="*/ 7613 h 15169"/>
                    <a:gd name="connsiteX3" fmla="*/ 7570 w 98095"/>
                    <a:gd name="connsiteY3" fmla="*/ 29 h 15169"/>
                    <a:gd name="connsiteX4" fmla="*/ 90574 w 98095"/>
                    <a:gd name="connsiteY4" fmla="*/ 29 h 15169"/>
                    <a:gd name="connsiteX5" fmla="*/ 98120 w 98095"/>
                    <a:gd name="connsiteY5" fmla="*/ 7613 h 15169"/>
                    <a:gd name="connsiteX6" fmla="*/ 90574 w 98095"/>
                    <a:gd name="connsiteY6" fmla="*/ 15198 h 1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095" h="15169">
                      <a:moveTo>
                        <a:pt x="90574" y="15198"/>
                      </a:moveTo>
                      <a:lnTo>
                        <a:pt x="7570" y="15198"/>
                      </a:lnTo>
                      <a:cubicBezTo>
                        <a:pt x="3397" y="15198"/>
                        <a:pt x="25" y="11808"/>
                        <a:pt x="25" y="7613"/>
                      </a:cubicBezTo>
                      <a:cubicBezTo>
                        <a:pt x="25" y="3419"/>
                        <a:pt x="3397" y="29"/>
                        <a:pt x="7570" y="29"/>
                      </a:cubicBezTo>
                      <a:lnTo>
                        <a:pt x="90574" y="29"/>
                      </a:lnTo>
                      <a:cubicBezTo>
                        <a:pt x="94747" y="29"/>
                        <a:pt x="98120" y="3419"/>
                        <a:pt x="98120" y="7613"/>
                      </a:cubicBezTo>
                      <a:cubicBezTo>
                        <a:pt x="98120" y="11808"/>
                        <a:pt x="94747" y="15198"/>
                        <a:pt x="90574" y="15198"/>
                      </a:cubicBezTo>
                    </a:path>
                  </a:pathLst>
                </a:custGeom>
                <a:solidFill>
                  <a:schemeClr val="tx1">
                    <a:lumMod val="50000"/>
                    <a:lumOff val="5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137" name="Freeform: Shape 1136">
                  <a:extLst>
                    <a:ext uri="{FF2B5EF4-FFF2-40B4-BE49-F238E27FC236}">
                      <a16:creationId xmlns:a16="http://schemas.microsoft.com/office/drawing/2014/main" id="{9FFA3D23-4C72-AD0F-F45A-6523DA88E44E}"/>
                    </a:ext>
                  </a:extLst>
                </p:cNvPr>
                <p:cNvSpPr/>
                <p:nvPr/>
              </p:nvSpPr>
              <p:spPr>
                <a:xfrm>
                  <a:off x="7911565" y="2113957"/>
                  <a:ext cx="98095" cy="15169"/>
                </a:xfrm>
                <a:custGeom>
                  <a:avLst/>
                  <a:gdLst>
                    <a:gd name="connsiteX0" fmla="*/ 90574 w 98095"/>
                    <a:gd name="connsiteY0" fmla="*/ 15198 h 15169"/>
                    <a:gd name="connsiteX1" fmla="*/ 7570 w 98095"/>
                    <a:gd name="connsiteY1" fmla="*/ 15198 h 15169"/>
                    <a:gd name="connsiteX2" fmla="*/ 25 w 98095"/>
                    <a:gd name="connsiteY2" fmla="*/ 7613 h 15169"/>
                    <a:gd name="connsiteX3" fmla="*/ 7570 w 98095"/>
                    <a:gd name="connsiteY3" fmla="*/ 29 h 15169"/>
                    <a:gd name="connsiteX4" fmla="*/ 90574 w 98095"/>
                    <a:gd name="connsiteY4" fmla="*/ 29 h 15169"/>
                    <a:gd name="connsiteX5" fmla="*/ 98120 w 98095"/>
                    <a:gd name="connsiteY5" fmla="*/ 7613 h 15169"/>
                    <a:gd name="connsiteX6" fmla="*/ 90574 w 98095"/>
                    <a:gd name="connsiteY6" fmla="*/ 15198 h 1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095" h="15169">
                      <a:moveTo>
                        <a:pt x="90574" y="15198"/>
                      </a:moveTo>
                      <a:lnTo>
                        <a:pt x="7570" y="15198"/>
                      </a:lnTo>
                      <a:cubicBezTo>
                        <a:pt x="3397" y="15198"/>
                        <a:pt x="25" y="11808"/>
                        <a:pt x="25" y="7613"/>
                      </a:cubicBezTo>
                      <a:cubicBezTo>
                        <a:pt x="25" y="3419"/>
                        <a:pt x="3397" y="29"/>
                        <a:pt x="7570" y="29"/>
                      </a:cubicBezTo>
                      <a:lnTo>
                        <a:pt x="90574" y="29"/>
                      </a:lnTo>
                      <a:cubicBezTo>
                        <a:pt x="94747" y="29"/>
                        <a:pt x="98120" y="3419"/>
                        <a:pt x="98120" y="7613"/>
                      </a:cubicBezTo>
                      <a:cubicBezTo>
                        <a:pt x="98120" y="11808"/>
                        <a:pt x="94747" y="15198"/>
                        <a:pt x="90574" y="15198"/>
                      </a:cubicBezTo>
                    </a:path>
                  </a:pathLst>
                </a:custGeom>
                <a:solidFill>
                  <a:schemeClr val="tx1">
                    <a:lumMod val="50000"/>
                    <a:lumOff val="5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grpSp>
          <p:pic>
            <p:nvPicPr>
              <p:cNvPr id="1140" name="Graphic 1139" descr="Question Mark with solid fill">
                <a:extLst>
                  <a:ext uri="{FF2B5EF4-FFF2-40B4-BE49-F238E27FC236}">
                    <a16:creationId xmlns:a16="http://schemas.microsoft.com/office/drawing/2014/main" id="{0E061424-F20F-5E62-7642-8031812B6320}"/>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0676955" y="1770049"/>
                <a:ext cx="380219" cy="380219"/>
              </a:xfrm>
              <a:prstGeom prst="rect">
                <a:avLst/>
              </a:prstGeom>
            </p:spPr>
          </p:pic>
        </p:grpSp>
      </p:grpSp>
      <p:grpSp>
        <p:nvGrpSpPr>
          <p:cNvPr id="1162" name="Group 1161">
            <a:extLst>
              <a:ext uri="{FF2B5EF4-FFF2-40B4-BE49-F238E27FC236}">
                <a16:creationId xmlns:a16="http://schemas.microsoft.com/office/drawing/2014/main" id="{37BCD1F7-2F18-D390-412D-B45CD969B4E3}"/>
              </a:ext>
            </a:extLst>
          </p:cNvPr>
          <p:cNvGrpSpPr/>
          <p:nvPr/>
        </p:nvGrpSpPr>
        <p:grpSpPr>
          <a:xfrm>
            <a:off x="1441700" y="3424485"/>
            <a:ext cx="164598" cy="179609"/>
            <a:chOff x="7332543" y="2821423"/>
            <a:chExt cx="164598" cy="179609"/>
          </a:xfrm>
          <a:solidFill>
            <a:schemeClr val="bg1"/>
          </a:solidFill>
        </p:grpSpPr>
        <p:sp>
          <p:nvSpPr>
            <p:cNvPr id="1160" name="Freeform: Shape 1159">
              <a:extLst>
                <a:ext uri="{FF2B5EF4-FFF2-40B4-BE49-F238E27FC236}">
                  <a16:creationId xmlns:a16="http://schemas.microsoft.com/office/drawing/2014/main" id="{62CBFF67-5A93-42F6-540C-B08E5E2E797D}"/>
                </a:ext>
              </a:extLst>
            </p:cNvPr>
            <p:cNvSpPr/>
            <p:nvPr/>
          </p:nvSpPr>
          <p:spPr>
            <a:xfrm rot="5400000" flipH="1">
              <a:off x="7366723" y="2870990"/>
              <a:ext cx="95862" cy="164222"/>
            </a:xfrm>
            <a:custGeom>
              <a:avLst/>
              <a:gdLst>
                <a:gd name="connsiteX0" fmla="*/ 113444 w 113443"/>
                <a:gd name="connsiteY0" fmla="*/ 92725 h 186518"/>
                <a:gd name="connsiteX1" fmla="*/ 107677 w 113443"/>
                <a:gd name="connsiteY1" fmla="*/ 106609 h 186518"/>
                <a:gd name="connsiteX2" fmla="*/ 34202 w 113443"/>
                <a:gd name="connsiteY2" fmla="*/ 180725 h 186518"/>
                <a:gd name="connsiteX3" fmla="*/ 6435 w 113443"/>
                <a:gd name="connsiteY3" fmla="*/ 180939 h 186518"/>
                <a:gd name="connsiteX4" fmla="*/ 6221 w 113443"/>
                <a:gd name="connsiteY4" fmla="*/ 153172 h 186518"/>
                <a:gd name="connsiteX5" fmla="*/ 65813 w 113443"/>
                <a:gd name="connsiteY5" fmla="*/ 93153 h 186518"/>
                <a:gd name="connsiteX6" fmla="*/ 5794 w 113443"/>
                <a:gd name="connsiteY6" fmla="*/ 33561 h 186518"/>
                <a:gd name="connsiteX7" fmla="*/ 5580 w 113443"/>
                <a:gd name="connsiteY7" fmla="*/ 5794 h 186518"/>
                <a:gd name="connsiteX8" fmla="*/ 33347 w 113443"/>
                <a:gd name="connsiteY8" fmla="*/ 5580 h 186518"/>
                <a:gd name="connsiteX9" fmla="*/ 107463 w 113443"/>
                <a:gd name="connsiteY9" fmla="*/ 79056 h 186518"/>
                <a:gd name="connsiteX10" fmla="*/ 113444 w 113443"/>
                <a:gd name="connsiteY10" fmla="*/ 92725 h 186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443" h="186518">
                  <a:moveTo>
                    <a:pt x="113444" y="92725"/>
                  </a:moveTo>
                  <a:cubicBezTo>
                    <a:pt x="113444" y="97852"/>
                    <a:pt x="111522" y="102764"/>
                    <a:pt x="107677" y="106609"/>
                  </a:cubicBezTo>
                  <a:lnTo>
                    <a:pt x="34202" y="180725"/>
                  </a:lnTo>
                  <a:cubicBezTo>
                    <a:pt x="26512" y="188414"/>
                    <a:pt x="14124" y="188414"/>
                    <a:pt x="6435" y="180939"/>
                  </a:cubicBezTo>
                  <a:cubicBezTo>
                    <a:pt x="-1254" y="173249"/>
                    <a:pt x="-1254" y="160861"/>
                    <a:pt x="6221" y="153172"/>
                  </a:cubicBezTo>
                  <a:lnTo>
                    <a:pt x="65813" y="93153"/>
                  </a:lnTo>
                  <a:lnTo>
                    <a:pt x="5794" y="33561"/>
                  </a:lnTo>
                  <a:cubicBezTo>
                    <a:pt x="-1895" y="25871"/>
                    <a:pt x="-1895" y="13483"/>
                    <a:pt x="5580" y="5794"/>
                  </a:cubicBezTo>
                  <a:cubicBezTo>
                    <a:pt x="13270" y="-1895"/>
                    <a:pt x="25658" y="-1895"/>
                    <a:pt x="33347" y="5580"/>
                  </a:cubicBezTo>
                  <a:lnTo>
                    <a:pt x="107463" y="79056"/>
                  </a:lnTo>
                  <a:cubicBezTo>
                    <a:pt x="111522" y="82473"/>
                    <a:pt x="113444" y="87599"/>
                    <a:pt x="113444" y="92725"/>
                  </a:cubicBezTo>
                  <a:close/>
                </a:path>
              </a:pathLst>
            </a:custGeom>
            <a:grpFill/>
            <a:ln w="2129" cap="flat">
              <a:noFill/>
              <a:prstDash val="solid"/>
              <a:miter/>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1161" name="Freeform: Shape 1160">
              <a:extLst>
                <a:ext uri="{FF2B5EF4-FFF2-40B4-BE49-F238E27FC236}">
                  <a16:creationId xmlns:a16="http://schemas.microsoft.com/office/drawing/2014/main" id="{58C45404-198B-0233-A7B9-ED3083E173A6}"/>
                </a:ext>
              </a:extLst>
            </p:cNvPr>
            <p:cNvSpPr/>
            <p:nvPr/>
          </p:nvSpPr>
          <p:spPr>
            <a:xfrm rot="5400000" flipH="1">
              <a:off x="7367099" y="2787243"/>
              <a:ext cx="95862" cy="164222"/>
            </a:xfrm>
            <a:custGeom>
              <a:avLst/>
              <a:gdLst>
                <a:gd name="connsiteX0" fmla="*/ 113444 w 113443"/>
                <a:gd name="connsiteY0" fmla="*/ 92725 h 186518"/>
                <a:gd name="connsiteX1" fmla="*/ 107677 w 113443"/>
                <a:gd name="connsiteY1" fmla="*/ 106609 h 186518"/>
                <a:gd name="connsiteX2" fmla="*/ 34202 w 113443"/>
                <a:gd name="connsiteY2" fmla="*/ 180725 h 186518"/>
                <a:gd name="connsiteX3" fmla="*/ 6435 w 113443"/>
                <a:gd name="connsiteY3" fmla="*/ 180938 h 186518"/>
                <a:gd name="connsiteX4" fmla="*/ 6221 w 113443"/>
                <a:gd name="connsiteY4" fmla="*/ 153172 h 186518"/>
                <a:gd name="connsiteX5" fmla="*/ 65813 w 113443"/>
                <a:gd name="connsiteY5" fmla="*/ 93153 h 186518"/>
                <a:gd name="connsiteX6" fmla="*/ 5794 w 113443"/>
                <a:gd name="connsiteY6" fmla="*/ 33561 h 186518"/>
                <a:gd name="connsiteX7" fmla="*/ 5580 w 113443"/>
                <a:gd name="connsiteY7" fmla="*/ 5794 h 186518"/>
                <a:gd name="connsiteX8" fmla="*/ 33347 w 113443"/>
                <a:gd name="connsiteY8" fmla="*/ 5580 h 186518"/>
                <a:gd name="connsiteX9" fmla="*/ 107463 w 113443"/>
                <a:gd name="connsiteY9" fmla="*/ 79056 h 186518"/>
                <a:gd name="connsiteX10" fmla="*/ 113444 w 113443"/>
                <a:gd name="connsiteY10" fmla="*/ 92725 h 186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443" h="186518">
                  <a:moveTo>
                    <a:pt x="113444" y="92725"/>
                  </a:moveTo>
                  <a:cubicBezTo>
                    <a:pt x="113444" y="97852"/>
                    <a:pt x="111521" y="102764"/>
                    <a:pt x="107677" y="106609"/>
                  </a:cubicBezTo>
                  <a:lnTo>
                    <a:pt x="34202" y="180725"/>
                  </a:lnTo>
                  <a:cubicBezTo>
                    <a:pt x="26512" y="188414"/>
                    <a:pt x="14124" y="188414"/>
                    <a:pt x="6435" y="180938"/>
                  </a:cubicBezTo>
                  <a:cubicBezTo>
                    <a:pt x="-1255" y="173249"/>
                    <a:pt x="-1255" y="160861"/>
                    <a:pt x="6221" y="153172"/>
                  </a:cubicBezTo>
                  <a:lnTo>
                    <a:pt x="65813" y="93153"/>
                  </a:lnTo>
                  <a:lnTo>
                    <a:pt x="5794" y="33561"/>
                  </a:lnTo>
                  <a:cubicBezTo>
                    <a:pt x="-1895" y="25871"/>
                    <a:pt x="-1895" y="13483"/>
                    <a:pt x="5580" y="5794"/>
                  </a:cubicBezTo>
                  <a:cubicBezTo>
                    <a:pt x="13270" y="-1895"/>
                    <a:pt x="25658" y="-1895"/>
                    <a:pt x="33347" y="5580"/>
                  </a:cubicBezTo>
                  <a:lnTo>
                    <a:pt x="107463" y="79056"/>
                  </a:lnTo>
                  <a:cubicBezTo>
                    <a:pt x="111521" y="82473"/>
                    <a:pt x="113444" y="87599"/>
                    <a:pt x="113444" y="92725"/>
                  </a:cubicBezTo>
                  <a:close/>
                </a:path>
              </a:pathLst>
            </a:custGeom>
            <a:grpFill/>
            <a:ln w="2129" cap="flat">
              <a:noFill/>
              <a:prstDash val="solid"/>
              <a:miter/>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grpSp>
      <p:grpSp>
        <p:nvGrpSpPr>
          <p:cNvPr id="1163" name="Group 1162">
            <a:extLst>
              <a:ext uri="{FF2B5EF4-FFF2-40B4-BE49-F238E27FC236}">
                <a16:creationId xmlns:a16="http://schemas.microsoft.com/office/drawing/2014/main" id="{FB8C3696-9759-E051-01FF-B84A175F5C57}"/>
              </a:ext>
            </a:extLst>
          </p:cNvPr>
          <p:cNvGrpSpPr/>
          <p:nvPr/>
        </p:nvGrpSpPr>
        <p:grpSpPr>
          <a:xfrm>
            <a:off x="3727700" y="3424485"/>
            <a:ext cx="164598" cy="179609"/>
            <a:chOff x="7332543" y="2821423"/>
            <a:chExt cx="164598" cy="179609"/>
          </a:xfrm>
          <a:solidFill>
            <a:schemeClr val="bg1"/>
          </a:solidFill>
        </p:grpSpPr>
        <p:sp>
          <p:nvSpPr>
            <p:cNvPr id="1164" name="Freeform: Shape 1163">
              <a:extLst>
                <a:ext uri="{FF2B5EF4-FFF2-40B4-BE49-F238E27FC236}">
                  <a16:creationId xmlns:a16="http://schemas.microsoft.com/office/drawing/2014/main" id="{72197B1F-27F2-AB7E-B954-94DB8D974FDA}"/>
                </a:ext>
              </a:extLst>
            </p:cNvPr>
            <p:cNvSpPr/>
            <p:nvPr/>
          </p:nvSpPr>
          <p:spPr>
            <a:xfrm rot="5400000" flipH="1">
              <a:off x="7366723" y="2870990"/>
              <a:ext cx="95862" cy="164222"/>
            </a:xfrm>
            <a:custGeom>
              <a:avLst/>
              <a:gdLst>
                <a:gd name="connsiteX0" fmla="*/ 113444 w 113443"/>
                <a:gd name="connsiteY0" fmla="*/ 92725 h 186518"/>
                <a:gd name="connsiteX1" fmla="*/ 107677 w 113443"/>
                <a:gd name="connsiteY1" fmla="*/ 106609 h 186518"/>
                <a:gd name="connsiteX2" fmla="*/ 34202 w 113443"/>
                <a:gd name="connsiteY2" fmla="*/ 180725 h 186518"/>
                <a:gd name="connsiteX3" fmla="*/ 6435 w 113443"/>
                <a:gd name="connsiteY3" fmla="*/ 180939 h 186518"/>
                <a:gd name="connsiteX4" fmla="*/ 6221 w 113443"/>
                <a:gd name="connsiteY4" fmla="*/ 153172 h 186518"/>
                <a:gd name="connsiteX5" fmla="*/ 65813 w 113443"/>
                <a:gd name="connsiteY5" fmla="*/ 93153 h 186518"/>
                <a:gd name="connsiteX6" fmla="*/ 5794 w 113443"/>
                <a:gd name="connsiteY6" fmla="*/ 33561 h 186518"/>
                <a:gd name="connsiteX7" fmla="*/ 5580 w 113443"/>
                <a:gd name="connsiteY7" fmla="*/ 5794 h 186518"/>
                <a:gd name="connsiteX8" fmla="*/ 33347 w 113443"/>
                <a:gd name="connsiteY8" fmla="*/ 5580 h 186518"/>
                <a:gd name="connsiteX9" fmla="*/ 107463 w 113443"/>
                <a:gd name="connsiteY9" fmla="*/ 79056 h 186518"/>
                <a:gd name="connsiteX10" fmla="*/ 113444 w 113443"/>
                <a:gd name="connsiteY10" fmla="*/ 92725 h 186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443" h="186518">
                  <a:moveTo>
                    <a:pt x="113444" y="92725"/>
                  </a:moveTo>
                  <a:cubicBezTo>
                    <a:pt x="113444" y="97852"/>
                    <a:pt x="111522" y="102764"/>
                    <a:pt x="107677" y="106609"/>
                  </a:cubicBezTo>
                  <a:lnTo>
                    <a:pt x="34202" y="180725"/>
                  </a:lnTo>
                  <a:cubicBezTo>
                    <a:pt x="26512" y="188414"/>
                    <a:pt x="14124" y="188414"/>
                    <a:pt x="6435" y="180939"/>
                  </a:cubicBezTo>
                  <a:cubicBezTo>
                    <a:pt x="-1254" y="173249"/>
                    <a:pt x="-1254" y="160861"/>
                    <a:pt x="6221" y="153172"/>
                  </a:cubicBezTo>
                  <a:lnTo>
                    <a:pt x="65813" y="93153"/>
                  </a:lnTo>
                  <a:lnTo>
                    <a:pt x="5794" y="33561"/>
                  </a:lnTo>
                  <a:cubicBezTo>
                    <a:pt x="-1895" y="25871"/>
                    <a:pt x="-1895" y="13483"/>
                    <a:pt x="5580" y="5794"/>
                  </a:cubicBezTo>
                  <a:cubicBezTo>
                    <a:pt x="13270" y="-1895"/>
                    <a:pt x="25658" y="-1895"/>
                    <a:pt x="33347" y="5580"/>
                  </a:cubicBezTo>
                  <a:lnTo>
                    <a:pt x="107463" y="79056"/>
                  </a:lnTo>
                  <a:cubicBezTo>
                    <a:pt x="111522" y="82473"/>
                    <a:pt x="113444" y="87599"/>
                    <a:pt x="113444" y="92725"/>
                  </a:cubicBezTo>
                  <a:close/>
                </a:path>
              </a:pathLst>
            </a:custGeom>
            <a:grpFill/>
            <a:ln w="2129" cap="flat">
              <a:noFill/>
              <a:prstDash val="solid"/>
              <a:miter/>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1165" name="Freeform: Shape 1164">
              <a:extLst>
                <a:ext uri="{FF2B5EF4-FFF2-40B4-BE49-F238E27FC236}">
                  <a16:creationId xmlns:a16="http://schemas.microsoft.com/office/drawing/2014/main" id="{C8829EC8-CE7E-FD2F-4DB1-E2C8DEDFBAE0}"/>
                </a:ext>
              </a:extLst>
            </p:cNvPr>
            <p:cNvSpPr/>
            <p:nvPr/>
          </p:nvSpPr>
          <p:spPr>
            <a:xfrm rot="5400000" flipH="1">
              <a:off x="7367099" y="2787243"/>
              <a:ext cx="95862" cy="164222"/>
            </a:xfrm>
            <a:custGeom>
              <a:avLst/>
              <a:gdLst>
                <a:gd name="connsiteX0" fmla="*/ 113444 w 113443"/>
                <a:gd name="connsiteY0" fmla="*/ 92725 h 186518"/>
                <a:gd name="connsiteX1" fmla="*/ 107677 w 113443"/>
                <a:gd name="connsiteY1" fmla="*/ 106609 h 186518"/>
                <a:gd name="connsiteX2" fmla="*/ 34202 w 113443"/>
                <a:gd name="connsiteY2" fmla="*/ 180725 h 186518"/>
                <a:gd name="connsiteX3" fmla="*/ 6435 w 113443"/>
                <a:gd name="connsiteY3" fmla="*/ 180938 h 186518"/>
                <a:gd name="connsiteX4" fmla="*/ 6221 w 113443"/>
                <a:gd name="connsiteY4" fmla="*/ 153172 h 186518"/>
                <a:gd name="connsiteX5" fmla="*/ 65813 w 113443"/>
                <a:gd name="connsiteY5" fmla="*/ 93153 h 186518"/>
                <a:gd name="connsiteX6" fmla="*/ 5794 w 113443"/>
                <a:gd name="connsiteY6" fmla="*/ 33561 h 186518"/>
                <a:gd name="connsiteX7" fmla="*/ 5580 w 113443"/>
                <a:gd name="connsiteY7" fmla="*/ 5794 h 186518"/>
                <a:gd name="connsiteX8" fmla="*/ 33347 w 113443"/>
                <a:gd name="connsiteY8" fmla="*/ 5580 h 186518"/>
                <a:gd name="connsiteX9" fmla="*/ 107463 w 113443"/>
                <a:gd name="connsiteY9" fmla="*/ 79056 h 186518"/>
                <a:gd name="connsiteX10" fmla="*/ 113444 w 113443"/>
                <a:gd name="connsiteY10" fmla="*/ 92725 h 186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443" h="186518">
                  <a:moveTo>
                    <a:pt x="113444" y="92725"/>
                  </a:moveTo>
                  <a:cubicBezTo>
                    <a:pt x="113444" y="97852"/>
                    <a:pt x="111521" y="102764"/>
                    <a:pt x="107677" y="106609"/>
                  </a:cubicBezTo>
                  <a:lnTo>
                    <a:pt x="34202" y="180725"/>
                  </a:lnTo>
                  <a:cubicBezTo>
                    <a:pt x="26512" y="188414"/>
                    <a:pt x="14124" y="188414"/>
                    <a:pt x="6435" y="180938"/>
                  </a:cubicBezTo>
                  <a:cubicBezTo>
                    <a:pt x="-1255" y="173249"/>
                    <a:pt x="-1255" y="160861"/>
                    <a:pt x="6221" y="153172"/>
                  </a:cubicBezTo>
                  <a:lnTo>
                    <a:pt x="65813" y="93153"/>
                  </a:lnTo>
                  <a:lnTo>
                    <a:pt x="5794" y="33561"/>
                  </a:lnTo>
                  <a:cubicBezTo>
                    <a:pt x="-1895" y="25871"/>
                    <a:pt x="-1895" y="13483"/>
                    <a:pt x="5580" y="5794"/>
                  </a:cubicBezTo>
                  <a:cubicBezTo>
                    <a:pt x="13270" y="-1895"/>
                    <a:pt x="25658" y="-1895"/>
                    <a:pt x="33347" y="5580"/>
                  </a:cubicBezTo>
                  <a:lnTo>
                    <a:pt x="107463" y="79056"/>
                  </a:lnTo>
                  <a:cubicBezTo>
                    <a:pt x="111521" y="82473"/>
                    <a:pt x="113444" y="87599"/>
                    <a:pt x="113444" y="92725"/>
                  </a:cubicBezTo>
                  <a:close/>
                </a:path>
              </a:pathLst>
            </a:custGeom>
            <a:grpFill/>
            <a:ln w="2129" cap="flat">
              <a:noFill/>
              <a:prstDash val="solid"/>
              <a:miter/>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grpSp>
      <p:grpSp>
        <p:nvGrpSpPr>
          <p:cNvPr id="1166" name="Group 1165">
            <a:extLst>
              <a:ext uri="{FF2B5EF4-FFF2-40B4-BE49-F238E27FC236}">
                <a16:creationId xmlns:a16="http://schemas.microsoft.com/office/drawing/2014/main" id="{FAC8E0B2-8A36-BE1F-5C88-991A519F9CCF}"/>
              </a:ext>
            </a:extLst>
          </p:cNvPr>
          <p:cNvGrpSpPr/>
          <p:nvPr/>
        </p:nvGrpSpPr>
        <p:grpSpPr>
          <a:xfrm>
            <a:off x="6013700" y="3424485"/>
            <a:ext cx="164598" cy="179609"/>
            <a:chOff x="7332543" y="2821423"/>
            <a:chExt cx="164598" cy="179609"/>
          </a:xfrm>
          <a:solidFill>
            <a:schemeClr val="bg1"/>
          </a:solidFill>
        </p:grpSpPr>
        <p:sp>
          <p:nvSpPr>
            <p:cNvPr id="1167" name="Freeform: Shape 1166">
              <a:extLst>
                <a:ext uri="{FF2B5EF4-FFF2-40B4-BE49-F238E27FC236}">
                  <a16:creationId xmlns:a16="http://schemas.microsoft.com/office/drawing/2014/main" id="{99C953F1-4900-D9F1-8ECE-53B9A1A12951}"/>
                </a:ext>
              </a:extLst>
            </p:cNvPr>
            <p:cNvSpPr/>
            <p:nvPr/>
          </p:nvSpPr>
          <p:spPr>
            <a:xfrm rot="5400000" flipH="1">
              <a:off x="7366723" y="2870990"/>
              <a:ext cx="95862" cy="164222"/>
            </a:xfrm>
            <a:custGeom>
              <a:avLst/>
              <a:gdLst>
                <a:gd name="connsiteX0" fmla="*/ 113444 w 113443"/>
                <a:gd name="connsiteY0" fmla="*/ 92725 h 186518"/>
                <a:gd name="connsiteX1" fmla="*/ 107677 w 113443"/>
                <a:gd name="connsiteY1" fmla="*/ 106609 h 186518"/>
                <a:gd name="connsiteX2" fmla="*/ 34202 w 113443"/>
                <a:gd name="connsiteY2" fmla="*/ 180725 h 186518"/>
                <a:gd name="connsiteX3" fmla="*/ 6435 w 113443"/>
                <a:gd name="connsiteY3" fmla="*/ 180939 h 186518"/>
                <a:gd name="connsiteX4" fmla="*/ 6221 w 113443"/>
                <a:gd name="connsiteY4" fmla="*/ 153172 h 186518"/>
                <a:gd name="connsiteX5" fmla="*/ 65813 w 113443"/>
                <a:gd name="connsiteY5" fmla="*/ 93153 h 186518"/>
                <a:gd name="connsiteX6" fmla="*/ 5794 w 113443"/>
                <a:gd name="connsiteY6" fmla="*/ 33561 h 186518"/>
                <a:gd name="connsiteX7" fmla="*/ 5580 w 113443"/>
                <a:gd name="connsiteY7" fmla="*/ 5794 h 186518"/>
                <a:gd name="connsiteX8" fmla="*/ 33347 w 113443"/>
                <a:gd name="connsiteY8" fmla="*/ 5580 h 186518"/>
                <a:gd name="connsiteX9" fmla="*/ 107463 w 113443"/>
                <a:gd name="connsiteY9" fmla="*/ 79056 h 186518"/>
                <a:gd name="connsiteX10" fmla="*/ 113444 w 113443"/>
                <a:gd name="connsiteY10" fmla="*/ 92725 h 186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443" h="186518">
                  <a:moveTo>
                    <a:pt x="113444" y="92725"/>
                  </a:moveTo>
                  <a:cubicBezTo>
                    <a:pt x="113444" y="97852"/>
                    <a:pt x="111522" y="102764"/>
                    <a:pt x="107677" y="106609"/>
                  </a:cubicBezTo>
                  <a:lnTo>
                    <a:pt x="34202" y="180725"/>
                  </a:lnTo>
                  <a:cubicBezTo>
                    <a:pt x="26512" y="188414"/>
                    <a:pt x="14124" y="188414"/>
                    <a:pt x="6435" y="180939"/>
                  </a:cubicBezTo>
                  <a:cubicBezTo>
                    <a:pt x="-1254" y="173249"/>
                    <a:pt x="-1254" y="160861"/>
                    <a:pt x="6221" y="153172"/>
                  </a:cubicBezTo>
                  <a:lnTo>
                    <a:pt x="65813" y="93153"/>
                  </a:lnTo>
                  <a:lnTo>
                    <a:pt x="5794" y="33561"/>
                  </a:lnTo>
                  <a:cubicBezTo>
                    <a:pt x="-1895" y="25871"/>
                    <a:pt x="-1895" y="13483"/>
                    <a:pt x="5580" y="5794"/>
                  </a:cubicBezTo>
                  <a:cubicBezTo>
                    <a:pt x="13270" y="-1895"/>
                    <a:pt x="25658" y="-1895"/>
                    <a:pt x="33347" y="5580"/>
                  </a:cubicBezTo>
                  <a:lnTo>
                    <a:pt x="107463" y="79056"/>
                  </a:lnTo>
                  <a:cubicBezTo>
                    <a:pt x="111522" y="82473"/>
                    <a:pt x="113444" y="87599"/>
                    <a:pt x="113444" y="92725"/>
                  </a:cubicBezTo>
                  <a:close/>
                </a:path>
              </a:pathLst>
            </a:custGeom>
            <a:grpFill/>
            <a:ln w="2129" cap="flat">
              <a:noFill/>
              <a:prstDash val="solid"/>
              <a:miter/>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1168" name="Freeform: Shape 1167">
              <a:extLst>
                <a:ext uri="{FF2B5EF4-FFF2-40B4-BE49-F238E27FC236}">
                  <a16:creationId xmlns:a16="http://schemas.microsoft.com/office/drawing/2014/main" id="{DD1C19A9-DAF9-9A46-37CF-44F3C5952919}"/>
                </a:ext>
              </a:extLst>
            </p:cNvPr>
            <p:cNvSpPr/>
            <p:nvPr/>
          </p:nvSpPr>
          <p:spPr>
            <a:xfrm rot="5400000" flipH="1">
              <a:off x="7367099" y="2787243"/>
              <a:ext cx="95862" cy="164222"/>
            </a:xfrm>
            <a:custGeom>
              <a:avLst/>
              <a:gdLst>
                <a:gd name="connsiteX0" fmla="*/ 113444 w 113443"/>
                <a:gd name="connsiteY0" fmla="*/ 92725 h 186518"/>
                <a:gd name="connsiteX1" fmla="*/ 107677 w 113443"/>
                <a:gd name="connsiteY1" fmla="*/ 106609 h 186518"/>
                <a:gd name="connsiteX2" fmla="*/ 34202 w 113443"/>
                <a:gd name="connsiteY2" fmla="*/ 180725 h 186518"/>
                <a:gd name="connsiteX3" fmla="*/ 6435 w 113443"/>
                <a:gd name="connsiteY3" fmla="*/ 180938 h 186518"/>
                <a:gd name="connsiteX4" fmla="*/ 6221 w 113443"/>
                <a:gd name="connsiteY4" fmla="*/ 153172 h 186518"/>
                <a:gd name="connsiteX5" fmla="*/ 65813 w 113443"/>
                <a:gd name="connsiteY5" fmla="*/ 93153 h 186518"/>
                <a:gd name="connsiteX6" fmla="*/ 5794 w 113443"/>
                <a:gd name="connsiteY6" fmla="*/ 33561 h 186518"/>
                <a:gd name="connsiteX7" fmla="*/ 5580 w 113443"/>
                <a:gd name="connsiteY7" fmla="*/ 5794 h 186518"/>
                <a:gd name="connsiteX8" fmla="*/ 33347 w 113443"/>
                <a:gd name="connsiteY8" fmla="*/ 5580 h 186518"/>
                <a:gd name="connsiteX9" fmla="*/ 107463 w 113443"/>
                <a:gd name="connsiteY9" fmla="*/ 79056 h 186518"/>
                <a:gd name="connsiteX10" fmla="*/ 113444 w 113443"/>
                <a:gd name="connsiteY10" fmla="*/ 92725 h 186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443" h="186518">
                  <a:moveTo>
                    <a:pt x="113444" y="92725"/>
                  </a:moveTo>
                  <a:cubicBezTo>
                    <a:pt x="113444" y="97852"/>
                    <a:pt x="111521" y="102764"/>
                    <a:pt x="107677" y="106609"/>
                  </a:cubicBezTo>
                  <a:lnTo>
                    <a:pt x="34202" y="180725"/>
                  </a:lnTo>
                  <a:cubicBezTo>
                    <a:pt x="26512" y="188414"/>
                    <a:pt x="14124" y="188414"/>
                    <a:pt x="6435" y="180938"/>
                  </a:cubicBezTo>
                  <a:cubicBezTo>
                    <a:pt x="-1255" y="173249"/>
                    <a:pt x="-1255" y="160861"/>
                    <a:pt x="6221" y="153172"/>
                  </a:cubicBezTo>
                  <a:lnTo>
                    <a:pt x="65813" y="93153"/>
                  </a:lnTo>
                  <a:lnTo>
                    <a:pt x="5794" y="33561"/>
                  </a:lnTo>
                  <a:cubicBezTo>
                    <a:pt x="-1895" y="25871"/>
                    <a:pt x="-1895" y="13483"/>
                    <a:pt x="5580" y="5794"/>
                  </a:cubicBezTo>
                  <a:cubicBezTo>
                    <a:pt x="13270" y="-1895"/>
                    <a:pt x="25658" y="-1895"/>
                    <a:pt x="33347" y="5580"/>
                  </a:cubicBezTo>
                  <a:lnTo>
                    <a:pt x="107463" y="79056"/>
                  </a:lnTo>
                  <a:cubicBezTo>
                    <a:pt x="111521" y="82473"/>
                    <a:pt x="113444" y="87599"/>
                    <a:pt x="113444" y="92725"/>
                  </a:cubicBezTo>
                  <a:close/>
                </a:path>
              </a:pathLst>
            </a:custGeom>
            <a:grpFill/>
            <a:ln w="2129" cap="flat">
              <a:noFill/>
              <a:prstDash val="solid"/>
              <a:miter/>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grpSp>
      <p:grpSp>
        <p:nvGrpSpPr>
          <p:cNvPr id="1169" name="Group 1168">
            <a:extLst>
              <a:ext uri="{FF2B5EF4-FFF2-40B4-BE49-F238E27FC236}">
                <a16:creationId xmlns:a16="http://schemas.microsoft.com/office/drawing/2014/main" id="{6D7F2C0E-F10F-A7C4-8D90-EA4CBEC8021D}"/>
              </a:ext>
            </a:extLst>
          </p:cNvPr>
          <p:cNvGrpSpPr/>
          <p:nvPr/>
        </p:nvGrpSpPr>
        <p:grpSpPr>
          <a:xfrm>
            <a:off x="8299700" y="3424485"/>
            <a:ext cx="164598" cy="179609"/>
            <a:chOff x="7332543" y="2821423"/>
            <a:chExt cx="164598" cy="179609"/>
          </a:xfrm>
          <a:solidFill>
            <a:schemeClr val="bg1"/>
          </a:solidFill>
        </p:grpSpPr>
        <p:sp>
          <p:nvSpPr>
            <p:cNvPr id="1170" name="Freeform: Shape 1169">
              <a:extLst>
                <a:ext uri="{FF2B5EF4-FFF2-40B4-BE49-F238E27FC236}">
                  <a16:creationId xmlns:a16="http://schemas.microsoft.com/office/drawing/2014/main" id="{1DB0420F-38F6-2FB5-52A5-4F7E9E2B0409}"/>
                </a:ext>
              </a:extLst>
            </p:cNvPr>
            <p:cNvSpPr/>
            <p:nvPr/>
          </p:nvSpPr>
          <p:spPr>
            <a:xfrm rot="5400000" flipH="1">
              <a:off x="7366723" y="2870990"/>
              <a:ext cx="95862" cy="164222"/>
            </a:xfrm>
            <a:custGeom>
              <a:avLst/>
              <a:gdLst>
                <a:gd name="connsiteX0" fmla="*/ 113444 w 113443"/>
                <a:gd name="connsiteY0" fmla="*/ 92725 h 186518"/>
                <a:gd name="connsiteX1" fmla="*/ 107677 w 113443"/>
                <a:gd name="connsiteY1" fmla="*/ 106609 h 186518"/>
                <a:gd name="connsiteX2" fmla="*/ 34202 w 113443"/>
                <a:gd name="connsiteY2" fmla="*/ 180725 h 186518"/>
                <a:gd name="connsiteX3" fmla="*/ 6435 w 113443"/>
                <a:gd name="connsiteY3" fmla="*/ 180939 h 186518"/>
                <a:gd name="connsiteX4" fmla="*/ 6221 w 113443"/>
                <a:gd name="connsiteY4" fmla="*/ 153172 h 186518"/>
                <a:gd name="connsiteX5" fmla="*/ 65813 w 113443"/>
                <a:gd name="connsiteY5" fmla="*/ 93153 h 186518"/>
                <a:gd name="connsiteX6" fmla="*/ 5794 w 113443"/>
                <a:gd name="connsiteY6" fmla="*/ 33561 h 186518"/>
                <a:gd name="connsiteX7" fmla="*/ 5580 w 113443"/>
                <a:gd name="connsiteY7" fmla="*/ 5794 h 186518"/>
                <a:gd name="connsiteX8" fmla="*/ 33347 w 113443"/>
                <a:gd name="connsiteY8" fmla="*/ 5580 h 186518"/>
                <a:gd name="connsiteX9" fmla="*/ 107463 w 113443"/>
                <a:gd name="connsiteY9" fmla="*/ 79056 h 186518"/>
                <a:gd name="connsiteX10" fmla="*/ 113444 w 113443"/>
                <a:gd name="connsiteY10" fmla="*/ 92725 h 186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443" h="186518">
                  <a:moveTo>
                    <a:pt x="113444" y="92725"/>
                  </a:moveTo>
                  <a:cubicBezTo>
                    <a:pt x="113444" y="97852"/>
                    <a:pt x="111522" y="102764"/>
                    <a:pt x="107677" y="106609"/>
                  </a:cubicBezTo>
                  <a:lnTo>
                    <a:pt x="34202" y="180725"/>
                  </a:lnTo>
                  <a:cubicBezTo>
                    <a:pt x="26512" y="188414"/>
                    <a:pt x="14124" y="188414"/>
                    <a:pt x="6435" y="180939"/>
                  </a:cubicBezTo>
                  <a:cubicBezTo>
                    <a:pt x="-1254" y="173249"/>
                    <a:pt x="-1254" y="160861"/>
                    <a:pt x="6221" y="153172"/>
                  </a:cubicBezTo>
                  <a:lnTo>
                    <a:pt x="65813" y="93153"/>
                  </a:lnTo>
                  <a:lnTo>
                    <a:pt x="5794" y="33561"/>
                  </a:lnTo>
                  <a:cubicBezTo>
                    <a:pt x="-1895" y="25871"/>
                    <a:pt x="-1895" y="13483"/>
                    <a:pt x="5580" y="5794"/>
                  </a:cubicBezTo>
                  <a:cubicBezTo>
                    <a:pt x="13270" y="-1895"/>
                    <a:pt x="25658" y="-1895"/>
                    <a:pt x="33347" y="5580"/>
                  </a:cubicBezTo>
                  <a:lnTo>
                    <a:pt x="107463" y="79056"/>
                  </a:lnTo>
                  <a:cubicBezTo>
                    <a:pt x="111522" y="82473"/>
                    <a:pt x="113444" y="87599"/>
                    <a:pt x="113444" y="92725"/>
                  </a:cubicBezTo>
                  <a:close/>
                </a:path>
              </a:pathLst>
            </a:custGeom>
            <a:grpFill/>
            <a:ln w="2129" cap="flat">
              <a:noFill/>
              <a:prstDash val="solid"/>
              <a:miter/>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1171" name="Freeform: Shape 1170">
              <a:extLst>
                <a:ext uri="{FF2B5EF4-FFF2-40B4-BE49-F238E27FC236}">
                  <a16:creationId xmlns:a16="http://schemas.microsoft.com/office/drawing/2014/main" id="{F228D2A0-98BE-F6B8-2644-7E6062DEA4CB}"/>
                </a:ext>
              </a:extLst>
            </p:cNvPr>
            <p:cNvSpPr/>
            <p:nvPr/>
          </p:nvSpPr>
          <p:spPr>
            <a:xfrm rot="5400000" flipH="1">
              <a:off x="7367099" y="2787243"/>
              <a:ext cx="95862" cy="164222"/>
            </a:xfrm>
            <a:custGeom>
              <a:avLst/>
              <a:gdLst>
                <a:gd name="connsiteX0" fmla="*/ 113444 w 113443"/>
                <a:gd name="connsiteY0" fmla="*/ 92725 h 186518"/>
                <a:gd name="connsiteX1" fmla="*/ 107677 w 113443"/>
                <a:gd name="connsiteY1" fmla="*/ 106609 h 186518"/>
                <a:gd name="connsiteX2" fmla="*/ 34202 w 113443"/>
                <a:gd name="connsiteY2" fmla="*/ 180725 h 186518"/>
                <a:gd name="connsiteX3" fmla="*/ 6435 w 113443"/>
                <a:gd name="connsiteY3" fmla="*/ 180938 h 186518"/>
                <a:gd name="connsiteX4" fmla="*/ 6221 w 113443"/>
                <a:gd name="connsiteY4" fmla="*/ 153172 h 186518"/>
                <a:gd name="connsiteX5" fmla="*/ 65813 w 113443"/>
                <a:gd name="connsiteY5" fmla="*/ 93153 h 186518"/>
                <a:gd name="connsiteX6" fmla="*/ 5794 w 113443"/>
                <a:gd name="connsiteY6" fmla="*/ 33561 h 186518"/>
                <a:gd name="connsiteX7" fmla="*/ 5580 w 113443"/>
                <a:gd name="connsiteY7" fmla="*/ 5794 h 186518"/>
                <a:gd name="connsiteX8" fmla="*/ 33347 w 113443"/>
                <a:gd name="connsiteY8" fmla="*/ 5580 h 186518"/>
                <a:gd name="connsiteX9" fmla="*/ 107463 w 113443"/>
                <a:gd name="connsiteY9" fmla="*/ 79056 h 186518"/>
                <a:gd name="connsiteX10" fmla="*/ 113444 w 113443"/>
                <a:gd name="connsiteY10" fmla="*/ 92725 h 186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443" h="186518">
                  <a:moveTo>
                    <a:pt x="113444" y="92725"/>
                  </a:moveTo>
                  <a:cubicBezTo>
                    <a:pt x="113444" y="97852"/>
                    <a:pt x="111521" y="102764"/>
                    <a:pt x="107677" y="106609"/>
                  </a:cubicBezTo>
                  <a:lnTo>
                    <a:pt x="34202" y="180725"/>
                  </a:lnTo>
                  <a:cubicBezTo>
                    <a:pt x="26512" y="188414"/>
                    <a:pt x="14124" y="188414"/>
                    <a:pt x="6435" y="180938"/>
                  </a:cubicBezTo>
                  <a:cubicBezTo>
                    <a:pt x="-1255" y="173249"/>
                    <a:pt x="-1255" y="160861"/>
                    <a:pt x="6221" y="153172"/>
                  </a:cubicBezTo>
                  <a:lnTo>
                    <a:pt x="65813" y="93153"/>
                  </a:lnTo>
                  <a:lnTo>
                    <a:pt x="5794" y="33561"/>
                  </a:lnTo>
                  <a:cubicBezTo>
                    <a:pt x="-1895" y="25871"/>
                    <a:pt x="-1895" y="13483"/>
                    <a:pt x="5580" y="5794"/>
                  </a:cubicBezTo>
                  <a:cubicBezTo>
                    <a:pt x="13270" y="-1895"/>
                    <a:pt x="25658" y="-1895"/>
                    <a:pt x="33347" y="5580"/>
                  </a:cubicBezTo>
                  <a:lnTo>
                    <a:pt x="107463" y="79056"/>
                  </a:lnTo>
                  <a:cubicBezTo>
                    <a:pt x="111521" y="82473"/>
                    <a:pt x="113444" y="87599"/>
                    <a:pt x="113444" y="92725"/>
                  </a:cubicBezTo>
                  <a:close/>
                </a:path>
              </a:pathLst>
            </a:custGeom>
            <a:grpFill/>
            <a:ln w="2129" cap="flat">
              <a:noFill/>
              <a:prstDash val="solid"/>
              <a:miter/>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grpSp>
      <p:grpSp>
        <p:nvGrpSpPr>
          <p:cNvPr id="1172" name="Group 1171">
            <a:extLst>
              <a:ext uri="{FF2B5EF4-FFF2-40B4-BE49-F238E27FC236}">
                <a16:creationId xmlns:a16="http://schemas.microsoft.com/office/drawing/2014/main" id="{0C4237AF-C237-357D-76D7-877543A18CB3}"/>
              </a:ext>
            </a:extLst>
          </p:cNvPr>
          <p:cNvGrpSpPr/>
          <p:nvPr/>
        </p:nvGrpSpPr>
        <p:grpSpPr>
          <a:xfrm>
            <a:off x="10585701" y="3424485"/>
            <a:ext cx="164598" cy="179609"/>
            <a:chOff x="7332543" y="2821423"/>
            <a:chExt cx="164598" cy="179609"/>
          </a:xfrm>
          <a:solidFill>
            <a:schemeClr val="bg1"/>
          </a:solidFill>
        </p:grpSpPr>
        <p:sp>
          <p:nvSpPr>
            <p:cNvPr id="1173" name="Freeform: Shape 1172">
              <a:extLst>
                <a:ext uri="{FF2B5EF4-FFF2-40B4-BE49-F238E27FC236}">
                  <a16:creationId xmlns:a16="http://schemas.microsoft.com/office/drawing/2014/main" id="{5CCAB284-2618-38F3-7231-9FAAEEBCB46C}"/>
                </a:ext>
              </a:extLst>
            </p:cNvPr>
            <p:cNvSpPr/>
            <p:nvPr/>
          </p:nvSpPr>
          <p:spPr>
            <a:xfrm rot="5400000" flipH="1">
              <a:off x="7366723" y="2870990"/>
              <a:ext cx="95862" cy="164222"/>
            </a:xfrm>
            <a:custGeom>
              <a:avLst/>
              <a:gdLst>
                <a:gd name="connsiteX0" fmla="*/ 113444 w 113443"/>
                <a:gd name="connsiteY0" fmla="*/ 92725 h 186518"/>
                <a:gd name="connsiteX1" fmla="*/ 107677 w 113443"/>
                <a:gd name="connsiteY1" fmla="*/ 106609 h 186518"/>
                <a:gd name="connsiteX2" fmla="*/ 34202 w 113443"/>
                <a:gd name="connsiteY2" fmla="*/ 180725 h 186518"/>
                <a:gd name="connsiteX3" fmla="*/ 6435 w 113443"/>
                <a:gd name="connsiteY3" fmla="*/ 180939 h 186518"/>
                <a:gd name="connsiteX4" fmla="*/ 6221 w 113443"/>
                <a:gd name="connsiteY4" fmla="*/ 153172 h 186518"/>
                <a:gd name="connsiteX5" fmla="*/ 65813 w 113443"/>
                <a:gd name="connsiteY5" fmla="*/ 93153 h 186518"/>
                <a:gd name="connsiteX6" fmla="*/ 5794 w 113443"/>
                <a:gd name="connsiteY6" fmla="*/ 33561 h 186518"/>
                <a:gd name="connsiteX7" fmla="*/ 5580 w 113443"/>
                <a:gd name="connsiteY7" fmla="*/ 5794 h 186518"/>
                <a:gd name="connsiteX8" fmla="*/ 33347 w 113443"/>
                <a:gd name="connsiteY8" fmla="*/ 5580 h 186518"/>
                <a:gd name="connsiteX9" fmla="*/ 107463 w 113443"/>
                <a:gd name="connsiteY9" fmla="*/ 79056 h 186518"/>
                <a:gd name="connsiteX10" fmla="*/ 113444 w 113443"/>
                <a:gd name="connsiteY10" fmla="*/ 92725 h 186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443" h="186518">
                  <a:moveTo>
                    <a:pt x="113444" y="92725"/>
                  </a:moveTo>
                  <a:cubicBezTo>
                    <a:pt x="113444" y="97852"/>
                    <a:pt x="111522" y="102764"/>
                    <a:pt x="107677" y="106609"/>
                  </a:cubicBezTo>
                  <a:lnTo>
                    <a:pt x="34202" y="180725"/>
                  </a:lnTo>
                  <a:cubicBezTo>
                    <a:pt x="26512" y="188414"/>
                    <a:pt x="14124" y="188414"/>
                    <a:pt x="6435" y="180939"/>
                  </a:cubicBezTo>
                  <a:cubicBezTo>
                    <a:pt x="-1254" y="173249"/>
                    <a:pt x="-1254" y="160861"/>
                    <a:pt x="6221" y="153172"/>
                  </a:cubicBezTo>
                  <a:lnTo>
                    <a:pt x="65813" y="93153"/>
                  </a:lnTo>
                  <a:lnTo>
                    <a:pt x="5794" y="33561"/>
                  </a:lnTo>
                  <a:cubicBezTo>
                    <a:pt x="-1895" y="25871"/>
                    <a:pt x="-1895" y="13483"/>
                    <a:pt x="5580" y="5794"/>
                  </a:cubicBezTo>
                  <a:cubicBezTo>
                    <a:pt x="13270" y="-1895"/>
                    <a:pt x="25658" y="-1895"/>
                    <a:pt x="33347" y="5580"/>
                  </a:cubicBezTo>
                  <a:lnTo>
                    <a:pt x="107463" y="79056"/>
                  </a:lnTo>
                  <a:cubicBezTo>
                    <a:pt x="111522" y="82473"/>
                    <a:pt x="113444" y="87599"/>
                    <a:pt x="113444" y="92725"/>
                  </a:cubicBezTo>
                  <a:close/>
                </a:path>
              </a:pathLst>
            </a:custGeom>
            <a:grpFill/>
            <a:ln w="2129" cap="flat">
              <a:noFill/>
              <a:prstDash val="solid"/>
              <a:miter/>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1174" name="Freeform: Shape 1173">
              <a:extLst>
                <a:ext uri="{FF2B5EF4-FFF2-40B4-BE49-F238E27FC236}">
                  <a16:creationId xmlns:a16="http://schemas.microsoft.com/office/drawing/2014/main" id="{26CC8538-6CB6-192B-2E24-93FD5DBB3469}"/>
                </a:ext>
              </a:extLst>
            </p:cNvPr>
            <p:cNvSpPr/>
            <p:nvPr/>
          </p:nvSpPr>
          <p:spPr>
            <a:xfrm rot="5400000" flipH="1">
              <a:off x="7367099" y="2787243"/>
              <a:ext cx="95862" cy="164222"/>
            </a:xfrm>
            <a:custGeom>
              <a:avLst/>
              <a:gdLst>
                <a:gd name="connsiteX0" fmla="*/ 113444 w 113443"/>
                <a:gd name="connsiteY0" fmla="*/ 92725 h 186518"/>
                <a:gd name="connsiteX1" fmla="*/ 107677 w 113443"/>
                <a:gd name="connsiteY1" fmla="*/ 106609 h 186518"/>
                <a:gd name="connsiteX2" fmla="*/ 34202 w 113443"/>
                <a:gd name="connsiteY2" fmla="*/ 180725 h 186518"/>
                <a:gd name="connsiteX3" fmla="*/ 6435 w 113443"/>
                <a:gd name="connsiteY3" fmla="*/ 180938 h 186518"/>
                <a:gd name="connsiteX4" fmla="*/ 6221 w 113443"/>
                <a:gd name="connsiteY4" fmla="*/ 153172 h 186518"/>
                <a:gd name="connsiteX5" fmla="*/ 65813 w 113443"/>
                <a:gd name="connsiteY5" fmla="*/ 93153 h 186518"/>
                <a:gd name="connsiteX6" fmla="*/ 5794 w 113443"/>
                <a:gd name="connsiteY6" fmla="*/ 33561 h 186518"/>
                <a:gd name="connsiteX7" fmla="*/ 5580 w 113443"/>
                <a:gd name="connsiteY7" fmla="*/ 5794 h 186518"/>
                <a:gd name="connsiteX8" fmla="*/ 33347 w 113443"/>
                <a:gd name="connsiteY8" fmla="*/ 5580 h 186518"/>
                <a:gd name="connsiteX9" fmla="*/ 107463 w 113443"/>
                <a:gd name="connsiteY9" fmla="*/ 79056 h 186518"/>
                <a:gd name="connsiteX10" fmla="*/ 113444 w 113443"/>
                <a:gd name="connsiteY10" fmla="*/ 92725 h 186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443" h="186518">
                  <a:moveTo>
                    <a:pt x="113444" y="92725"/>
                  </a:moveTo>
                  <a:cubicBezTo>
                    <a:pt x="113444" y="97852"/>
                    <a:pt x="111521" y="102764"/>
                    <a:pt x="107677" y="106609"/>
                  </a:cubicBezTo>
                  <a:lnTo>
                    <a:pt x="34202" y="180725"/>
                  </a:lnTo>
                  <a:cubicBezTo>
                    <a:pt x="26512" y="188414"/>
                    <a:pt x="14124" y="188414"/>
                    <a:pt x="6435" y="180938"/>
                  </a:cubicBezTo>
                  <a:cubicBezTo>
                    <a:pt x="-1255" y="173249"/>
                    <a:pt x="-1255" y="160861"/>
                    <a:pt x="6221" y="153172"/>
                  </a:cubicBezTo>
                  <a:lnTo>
                    <a:pt x="65813" y="93153"/>
                  </a:lnTo>
                  <a:lnTo>
                    <a:pt x="5794" y="33561"/>
                  </a:lnTo>
                  <a:cubicBezTo>
                    <a:pt x="-1895" y="25871"/>
                    <a:pt x="-1895" y="13483"/>
                    <a:pt x="5580" y="5794"/>
                  </a:cubicBezTo>
                  <a:cubicBezTo>
                    <a:pt x="13270" y="-1895"/>
                    <a:pt x="25658" y="-1895"/>
                    <a:pt x="33347" y="5580"/>
                  </a:cubicBezTo>
                  <a:lnTo>
                    <a:pt x="107463" y="79056"/>
                  </a:lnTo>
                  <a:cubicBezTo>
                    <a:pt x="111521" y="82473"/>
                    <a:pt x="113444" y="87599"/>
                    <a:pt x="113444" y="92725"/>
                  </a:cubicBezTo>
                  <a:close/>
                </a:path>
              </a:pathLst>
            </a:custGeom>
            <a:grpFill/>
            <a:ln w="2129" cap="flat">
              <a:noFill/>
              <a:prstDash val="solid"/>
              <a:miter/>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grpSp>
      <p:grpSp>
        <p:nvGrpSpPr>
          <p:cNvPr id="13" name="Group 12">
            <a:extLst>
              <a:ext uri="{FF2B5EF4-FFF2-40B4-BE49-F238E27FC236}">
                <a16:creationId xmlns:a16="http://schemas.microsoft.com/office/drawing/2014/main" id="{D7FAF6D6-C461-0FE8-3864-138A70D0AC35}"/>
              </a:ext>
            </a:extLst>
          </p:cNvPr>
          <p:cNvGrpSpPr/>
          <p:nvPr/>
        </p:nvGrpSpPr>
        <p:grpSpPr>
          <a:xfrm>
            <a:off x="711200" y="2179414"/>
            <a:ext cx="1625488" cy="914400"/>
            <a:chOff x="711200" y="2179414"/>
            <a:chExt cx="1625488" cy="914400"/>
          </a:xfrm>
        </p:grpSpPr>
        <p:pic>
          <p:nvPicPr>
            <p:cNvPr id="151" name="Picture 150">
              <a:extLst>
                <a:ext uri="{FF2B5EF4-FFF2-40B4-BE49-F238E27FC236}">
                  <a16:creationId xmlns:a16="http://schemas.microsoft.com/office/drawing/2014/main" id="{201036E7-6ED1-9265-8C70-57275E84C4D1}"/>
                </a:ext>
              </a:extLst>
            </p:cNvPr>
            <p:cNvPicPr>
              <a:picLocks noChangeAspect="1"/>
            </p:cNvPicPr>
            <p:nvPr/>
          </p:nvPicPr>
          <p:blipFill>
            <a:blip r:embed="rId25">
              <a:extLst>
                <a:ext uri="{28A0092B-C50C-407E-A947-70E740481C1C}">
                  <a14:useLocalDpi xmlns:a14="http://schemas.microsoft.com/office/drawing/2010/main" val="0"/>
                </a:ext>
              </a:extLst>
            </a:blip>
            <a:srcRect t="11" b="11"/>
            <a:stretch/>
          </p:blipFill>
          <p:spPr>
            <a:xfrm>
              <a:off x="711200" y="2179414"/>
              <a:ext cx="1625488" cy="914400"/>
            </a:xfrm>
            <a:prstGeom prst="roundRect">
              <a:avLst>
                <a:gd name="adj" fmla="val 2084"/>
              </a:avLst>
            </a:prstGeom>
            <a:effectLst>
              <a:outerShdw blurRad="50800" dist="38100" dir="2700000" algn="tl" rotWithShape="0">
                <a:prstClr val="black">
                  <a:alpha val="40000"/>
                </a:prstClr>
              </a:outerShdw>
            </a:effectLst>
          </p:spPr>
        </p:pic>
        <p:pic>
          <p:nvPicPr>
            <p:cNvPr id="12" name="Graphic 11" descr="Warning with solid fill">
              <a:extLst>
                <a:ext uri="{FF2B5EF4-FFF2-40B4-BE49-F238E27FC236}">
                  <a16:creationId xmlns:a16="http://schemas.microsoft.com/office/drawing/2014/main" id="{F96895C7-4CFA-F480-8653-FE35AD9555D7}"/>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238998" y="2380243"/>
              <a:ext cx="569892" cy="569892"/>
            </a:xfrm>
            <a:prstGeom prst="rect">
              <a:avLst/>
            </a:prstGeom>
          </p:spPr>
        </p:pic>
      </p:grpSp>
    </p:spTree>
    <p:extLst>
      <p:ext uri="{BB962C8B-B14F-4D97-AF65-F5344CB8AC3E}">
        <p14:creationId xmlns:p14="http://schemas.microsoft.com/office/powerpoint/2010/main" val="14591257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1EBDB2-560F-5DC0-A2A7-A53EBEFE5909}"/>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DF88DC32-6BB6-ABB4-3EE0-E54561317FD3}"/>
              </a:ext>
            </a:extLst>
          </p:cNvPr>
          <p:cNvPicPr>
            <a:picLocks noChangeAspect="1"/>
          </p:cNvPicPr>
          <p:nvPr/>
        </p:nvPicPr>
        <p:blipFill>
          <a:blip r:embed="rId3"/>
          <a:stretch>
            <a:fillRect/>
          </a:stretch>
        </p:blipFill>
        <p:spPr>
          <a:xfrm>
            <a:off x="-19750" y="-14095"/>
            <a:ext cx="12211749" cy="6872095"/>
          </a:xfrm>
          <a:prstGeom prst="rect">
            <a:avLst/>
          </a:prstGeom>
        </p:spPr>
      </p:pic>
      <p:sp>
        <p:nvSpPr>
          <p:cNvPr id="3" name="Rectangle: Rounded Corners 2">
            <a:extLst>
              <a:ext uri="{FF2B5EF4-FFF2-40B4-BE49-F238E27FC236}">
                <a16:creationId xmlns:a16="http://schemas.microsoft.com/office/drawing/2014/main" id="{E6C884AD-726B-99D6-C99E-5D270F7564F4}"/>
              </a:ext>
              <a:ext uri="{C183D7F6-B498-43B3-948B-1728B52AA6E4}">
                <adec:decorative xmlns:adec="http://schemas.microsoft.com/office/drawing/2017/decorative" val="1"/>
              </a:ext>
            </a:extLst>
          </p:cNvPr>
          <p:cNvSpPr/>
          <p:nvPr/>
        </p:nvSpPr>
        <p:spPr bwMode="auto">
          <a:xfrm>
            <a:off x="374018" y="813187"/>
            <a:ext cx="11443964" cy="4860356"/>
          </a:xfrm>
          <a:prstGeom prst="roundRect">
            <a:avLst>
              <a:gd name="adj" fmla="val 1798"/>
            </a:avLst>
          </a:prstGeom>
          <a:gradFill flip="none" rotWithShape="1">
            <a:gsLst>
              <a:gs pos="100000">
                <a:schemeClr val="tx1">
                  <a:alpha val="95000"/>
                </a:schemeClr>
              </a:gs>
              <a:gs pos="42000">
                <a:schemeClr val="tx1">
                  <a:alpha val="90000"/>
                </a:schemeClr>
              </a:gs>
            </a:gsLst>
            <a:path path="circle">
              <a:fillToRect l="50000" t="50000" r="50000" b="50000"/>
            </a:path>
            <a:tileRect/>
          </a:gradFill>
          <a:ln w="9525" cap="flat" cmpd="sng" algn="ctr">
            <a:noFill/>
            <a:prstDash val="solid"/>
            <a:headEnd type="none" w="med" len="med"/>
            <a:tailEnd type="none" w="med" len="med"/>
          </a:ln>
          <a:effectLst>
            <a:outerShdw blurRad="254000" dist="190500" dir="3300000" algn="ctr" rotWithShape="0">
              <a:srgbClr val="000000">
                <a:alpha val="40000"/>
              </a:srgbClr>
            </a:outerShdw>
          </a:effectLst>
        </p:spPr>
        <p:txBody>
          <a:bodyPr rot="0" spcFirstLastPara="0" vertOverflow="overflow" horzOverflow="overflow" vert="horz" wrap="square" lIns="137160" tIns="91440" rIns="137160" bIns="137160" numCol="1" spcCol="0" rtlCol="0" fromWordArt="0" anchor="t" anchorCtr="0" forceAA="0" compatLnSpc="1">
            <a:prstTxWarp prst="textNoShape">
              <a:avLst/>
            </a:prstTxWarp>
            <a:noAutofit/>
          </a:bodyPr>
          <a:lstStyle/>
          <a:p>
            <a:pPr defTabSz="932754">
              <a:spcAft>
                <a:spcPts val="600"/>
              </a:spcAft>
              <a:buSzPct val="90000"/>
            </a:pPr>
            <a:endParaRPr lang="en-US" sz="1900" kern="0">
              <a:gradFill>
                <a:gsLst>
                  <a:gs pos="0">
                    <a:srgbClr val="091F2C"/>
                  </a:gs>
                  <a:gs pos="100000">
                    <a:srgbClr val="091F2C"/>
                  </a:gs>
                </a:gsLst>
                <a:lin ang="0" scaled="0"/>
              </a:gradFill>
              <a:cs typeface="Segoe Sans Display Semilight" pitchFamily="2" charset="0"/>
            </a:endParaRPr>
          </a:p>
        </p:txBody>
      </p:sp>
      <p:sp>
        <p:nvSpPr>
          <p:cNvPr id="5" name="Title 13">
            <a:extLst>
              <a:ext uri="{FF2B5EF4-FFF2-40B4-BE49-F238E27FC236}">
                <a16:creationId xmlns:a16="http://schemas.microsoft.com/office/drawing/2014/main" id="{28009068-11B9-369F-F6AA-9D10E35F567F}"/>
              </a:ext>
            </a:extLst>
          </p:cNvPr>
          <p:cNvSpPr txBox="1">
            <a:spLocks noGrp="1"/>
          </p:cNvSpPr>
          <p:nvPr>
            <p:ph type="title" idx="4294967295"/>
          </p:nvPr>
        </p:nvSpPr>
        <p:spPr>
          <a:xfrm>
            <a:off x="1200150" y="1184275"/>
            <a:ext cx="9693275" cy="49212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tab pos="4625975" algn="l"/>
              </a:tabLst>
              <a:defRPr/>
            </a:pPr>
            <a:r>
              <a:rPr kumimoji="0" lang="en-US" sz="3200" b="0" i="0" u="none" strike="noStrike" kern="1200" cap="none" spc="-50" normalizeH="0" baseline="0" noProof="0" dirty="0">
                <a:ln w="3175">
                  <a:noFill/>
                </a:ln>
                <a:solidFill>
                  <a:schemeClr val="bg1"/>
                </a:solidFill>
                <a:effectLst/>
                <a:uLnTx/>
                <a:uFillTx/>
                <a:latin typeface="Segoe Sans Display Semibold"/>
                <a:ea typeface="+mn-ea"/>
                <a:cs typeface="Segoe Sans Display" pitchFamily="2" charset="0"/>
              </a:rPr>
              <a:t>Secure access for your workforce </a:t>
            </a:r>
          </a:p>
        </p:txBody>
      </p:sp>
      <p:sp>
        <p:nvSpPr>
          <p:cNvPr id="9" name="TextBox 8">
            <a:extLst>
              <a:ext uri="{FF2B5EF4-FFF2-40B4-BE49-F238E27FC236}">
                <a16:creationId xmlns:a16="http://schemas.microsoft.com/office/drawing/2014/main" id="{77D21EF2-F39D-3392-89C2-F9401CD54901}"/>
              </a:ext>
            </a:extLst>
          </p:cNvPr>
          <p:cNvSpPr txBox="1">
            <a:spLocks/>
          </p:cNvSpPr>
          <p:nvPr/>
        </p:nvSpPr>
        <p:spPr>
          <a:xfrm>
            <a:off x="4770120" y="1861148"/>
            <a:ext cx="2651760" cy="307777"/>
          </a:xfrm>
          <a:prstGeom prst="rect">
            <a:avLst/>
          </a:prstGeom>
          <a:solidFill>
            <a:srgbClr val="F5F6F2"/>
          </a:solidFill>
          <a:ln>
            <a:noFill/>
          </a:ln>
        </p:spPr>
        <p:txBody>
          <a:bodyPr wrap="square" lIns="0" tIns="0" rIns="0" bIns="0">
            <a:spAutoFit/>
          </a:bodyPr>
          <a:lstStyle/>
          <a:p>
            <a:pPr algn="ctr">
              <a:defRPr/>
            </a:pPr>
            <a:r>
              <a:rPr lang="en-US" sz="2000">
                <a:solidFill>
                  <a:schemeClr val="bg1"/>
                </a:solidFill>
                <a:latin typeface="Segoe Sans Display Semibold"/>
              </a:rPr>
              <a:t>Microsoft Entra Suite </a:t>
            </a:r>
          </a:p>
        </p:txBody>
      </p:sp>
      <p:grpSp>
        <p:nvGrpSpPr>
          <p:cNvPr id="10" name="Group 9">
            <a:extLst>
              <a:ext uri="{FF2B5EF4-FFF2-40B4-BE49-F238E27FC236}">
                <a16:creationId xmlns:a16="http://schemas.microsoft.com/office/drawing/2014/main" id="{CA0CCDAE-BE3B-2C50-8755-87652F8434CB}"/>
              </a:ext>
            </a:extLst>
          </p:cNvPr>
          <p:cNvGrpSpPr/>
          <p:nvPr/>
        </p:nvGrpSpPr>
        <p:grpSpPr>
          <a:xfrm>
            <a:off x="828374" y="2630075"/>
            <a:ext cx="10517613" cy="2296910"/>
            <a:chOff x="2001064" y="2668310"/>
            <a:chExt cx="9269307" cy="2024295"/>
          </a:xfrm>
        </p:grpSpPr>
        <p:pic>
          <p:nvPicPr>
            <p:cNvPr id="11" name="Picture 10">
              <a:extLst>
                <a:ext uri="{FF2B5EF4-FFF2-40B4-BE49-F238E27FC236}">
                  <a16:creationId xmlns:a16="http://schemas.microsoft.com/office/drawing/2014/main" id="{CA2D7926-8BAB-65B4-7B4C-D57FB45493D6}"/>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rcRect l="2935" r="2935"/>
            <a:stretch/>
          </p:blipFill>
          <p:spPr>
            <a:xfrm flipH="1">
              <a:off x="2008299" y="2668310"/>
              <a:ext cx="2815307" cy="1994176"/>
            </a:xfrm>
            <a:custGeom>
              <a:avLst/>
              <a:gdLst>
                <a:gd name="connsiteX0" fmla="*/ 2194560 w 2194560"/>
                <a:gd name="connsiteY0" fmla="*/ 0 h 1554480"/>
                <a:gd name="connsiteX1" fmla="*/ 0 w 2194560"/>
                <a:gd name="connsiteY1" fmla="*/ 0 h 1554480"/>
                <a:gd name="connsiteX2" fmla="*/ 0 w 2194560"/>
                <a:gd name="connsiteY2" fmla="*/ 1554480 h 1554480"/>
                <a:gd name="connsiteX3" fmla="*/ 2194560 w 2194560"/>
                <a:gd name="connsiteY3" fmla="*/ 1554480 h 1554480"/>
              </a:gdLst>
              <a:ahLst/>
              <a:cxnLst>
                <a:cxn ang="0">
                  <a:pos x="connsiteX0" y="connsiteY0"/>
                </a:cxn>
                <a:cxn ang="0">
                  <a:pos x="connsiteX1" y="connsiteY1"/>
                </a:cxn>
                <a:cxn ang="0">
                  <a:pos x="connsiteX2" y="connsiteY2"/>
                </a:cxn>
                <a:cxn ang="0">
                  <a:pos x="connsiteX3" y="connsiteY3"/>
                </a:cxn>
              </a:cxnLst>
              <a:rect l="l" t="t" r="r" b="b"/>
              <a:pathLst>
                <a:path w="2194560" h="1554480">
                  <a:moveTo>
                    <a:pt x="2194560" y="0"/>
                  </a:moveTo>
                  <a:lnTo>
                    <a:pt x="0" y="0"/>
                  </a:lnTo>
                  <a:lnTo>
                    <a:pt x="0" y="1554480"/>
                  </a:lnTo>
                  <a:lnTo>
                    <a:pt x="2194560" y="1554480"/>
                  </a:lnTo>
                  <a:close/>
                </a:path>
              </a:pathLst>
            </a:custGeom>
          </p:spPr>
        </p:pic>
        <p:sp>
          <p:nvSpPr>
            <p:cNvPr id="12" name="Title 4">
              <a:extLst>
                <a:ext uri="{FF2B5EF4-FFF2-40B4-BE49-F238E27FC236}">
                  <a16:creationId xmlns:a16="http://schemas.microsoft.com/office/drawing/2014/main" id="{BAD49433-DD64-94D8-460A-C204BDCD5C5C}"/>
                </a:ext>
              </a:extLst>
            </p:cNvPr>
            <p:cNvSpPr txBox="1">
              <a:spLocks/>
            </p:cNvSpPr>
            <p:nvPr/>
          </p:nvSpPr>
          <p:spPr bwMode="auto">
            <a:xfrm>
              <a:off x="2001064" y="4177236"/>
              <a:ext cx="2822284" cy="515369"/>
            </a:xfrm>
            <a:prstGeom prst="roundRect">
              <a:avLst>
                <a:gd name="adj" fmla="val 0"/>
              </a:avLst>
            </a:prstGeom>
            <a:gradFill flip="none" rotWithShape="1">
              <a:gsLst>
                <a:gs pos="0">
                  <a:srgbClr val="A5B8EE"/>
                </a:gs>
                <a:gs pos="100000">
                  <a:srgbClr val="E67ACB"/>
                </a:gs>
              </a:gsLst>
              <a:lin ang="3000000" scaled="0"/>
              <a:tileRect/>
            </a:gradFill>
            <a:ln w="9525"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defRPr lang="en-US"/>
              </a:defPPr>
              <a:lvl1pPr marR="0" lvl="0" indent="0" algn="ctr" defTabSz="299783" fontAlgn="auto">
                <a:lnSpc>
                  <a:spcPct val="100000"/>
                </a:lnSpc>
                <a:spcBef>
                  <a:spcPts val="508"/>
                </a:spcBef>
                <a:spcAft>
                  <a:spcPts val="508"/>
                </a:spcAft>
                <a:buClrTx/>
                <a:buSzTx/>
                <a:buFontTx/>
                <a:buNone/>
                <a:tabLst/>
                <a:defRPr kumimoji="0" sz="1400" b="0" i="0" u="none" strike="noStrike" cap="none" spc="0" normalizeH="0" baseline="0">
                  <a:ln w="3175">
                    <a:noFill/>
                  </a:ln>
                  <a:solidFill>
                    <a:srgbClr val="000000"/>
                  </a:solidFill>
                  <a:effectLst/>
                  <a:uLnTx/>
                  <a:uFillTx/>
                  <a:latin typeface="Segoe Sans Display Semibold"/>
                  <a:cs typeface="Segoe Sans Display"/>
                </a:defRPr>
              </a:lvl1pPr>
            </a:lstStyle>
            <a:p>
              <a:r>
                <a:rPr lang="en-US" sz="1600"/>
                <a:t>Streamline onboarding &amp; identity lifecycle</a:t>
              </a:r>
            </a:p>
          </p:txBody>
        </p:sp>
        <p:pic>
          <p:nvPicPr>
            <p:cNvPr id="20" name="Picture 19">
              <a:extLst>
                <a:ext uri="{FF2B5EF4-FFF2-40B4-BE49-F238E27FC236}">
                  <a16:creationId xmlns:a16="http://schemas.microsoft.com/office/drawing/2014/main" id="{14DDE673-9BB6-46C1-D226-C1838E9E5DE4}"/>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rcRect l="2322" r="23199" b="20876"/>
            <a:stretch/>
          </p:blipFill>
          <p:spPr>
            <a:xfrm>
              <a:off x="5248152" y="2668311"/>
              <a:ext cx="2806741" cy="1988107"/>
            </a:xfrm>
            <a:custGeom>
              <a:avLst/>
              <a:gdLst>
                <a:gd name="connsiteX0" fmla="*/ 0 w 2194560"/>
                <a:gd name="connsiteY0" fmla="*/ 0 h 1554480"/>
                <a:gd name="connsiteX1" fmla="*/ 2194560 w 2194560"/>
                <a:gd name="connsiteY1" fmla="*/ 0 h 1554480"/>
                <a:gd name="connsiteX2" fmla="*/ 2194560 w 2194560"/>
                <a:gd name="connsiteY2" fmla="*/ 1554480 h 1554480"/>
                <a:gd name="connsiteX3" fmla="*/ 0 w 2194560"/>
                <a:gd name="connsiteY3" fmla="*/ 1554480 h 1554480"/>
              </a:gdLst>
              <a:ahLst/>
              <a:cxnLst>
                <a:cxn ang="0">
                  <a:pos x="connsiteX0" y="connsiteY0"/>
                </a:cxn>
                <a:cxn ang="0">
                  <a:pos x="connsiteX1" y="connsiteY1"/>
                </a:cxn>
                <a:cxn ang="0">
                  <a:pos x="connsiteX2" y="connsiteY2"/>
                </a:cxn>
                <a:cxn ang="0">
                  <a:pos x="connsiteX3" y="connsiteY3"/>
                </a:cxn>
              </a:cxnLst>
              <a:rect l="l" t="t" r="r" b="b"/>
              <a:pathLst>
                <a:path w="2194560" h="1554480">
                  <a:moveTo>
                    <a:pt x="0" y="0"/>
                  </a:moveTo>
                  <a:lnTo>
                    <a:pt x="2194560" y="0"/>
                  </a:lnTo>
                  <a:lnTo>
                    <a:pt x="2194560" y="1554480"/>
                  </a:lnTo>
                  <a:lnTo>
                    <a:pt x="0" y="1554480"/>
                  </a:lnTo>
                  <a:close/>
                </a:path>
              </a:pathLst>
            </a:custGeom>
          </p:spPr>
        </p:pic>
        <p:sp>
          <p:nvSpPr>
            <p:cNvPr id="22" name="Title 4">
              <a:extLst>
                <a:ext uri="{FF2B5EF4-FFF2-40B4-BE49-F238E27FC236}">
                  <a16:creationId xmlns:a16="http://schemas.microsoft.com/office/drawing/2014/main" id="{0DEC68E8-8CAF-6A89-4621-71BE11F28D29}"/>
                </a:ext>
              </a:extLst>
            </p:cNvPr>
            <p:cNvSpPr txBox="1">
              <a:spLocks/>
            </p:cNvSpPr>
            <p:nvPr/>
          </p:nvSpPr>
          <p:spPr bwMode="auto">
            <a:xfrm>
              <a:off x="5240656" y="4177235"/>
              <a:ext cx="2806741" cy="515369"/>
            </a:xfrm>
            <a:prstGeom prst="roundRect">
              <a:avLst>
                <a:gd name="adj" fmla="val 0"/>
              </a:avLst>
            </a:prstGeom>
            <a:gradFill flip="none" rotWithShape="1">
              <a:gsLst>
                <a:gs pos="0">
                  <a:srgbClr val="A5B8EE"/>
                </a:gs>
                <a:gs pos="100000">
                  <a:srgbClr val="E67ACB"/>
                </a:gs>
              </a:gsLst>
              <a:lin ang="3000000" scaled="0"/>
              <a:tileRect/>
            </a:gradFill>
            <a:ln w="9525"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defRPr lang="en-US"/>
              </a:defPPr>
              <a:lvl1pPr marR="0" lvl="0" indent="0" algn="ctr" defTabSz="299783" fontAlgn="auto">
                <a:lnSpc>
                  <a:spcPct val="100000"/>
                </a:lnSpc>
                <a:spcBef>
                  <a:spcPts val="508"/>
                </a:spcBef>
                <a:spcAft>
                  <a:spcPts val="508"/>
                </a:spcAft>
                <a:buClrTx/>
                <a:buSzTx/>
                <a:buFontTx/>
                <a:buNone/>
                <a:tabLst/>
                <a:defRPr kumimoji="0" sz="1050" b="0" i="0" u="none" strike="noStrike" cap="none" spc="0" normalizeH="0" baseline="0">
                  <a:ln w="3175">
                    <a:noFill/>
                  </a:ln>
                  <a:solidFill>
                    <a:srgbClr val="000000"/>
                  </a:solidFill>
                  <a:effectLst/>
                  <a:uLnTx/>
                  <a:uFillTx/>
                  <a:latin typeface="Segoe Sans Display Semibold"/>
                  <a:cs typeface="Segoe Sans Display"/>
                </a:defRPr>
              </a:lvl1pPr>
            </a:lstStyle>
            <a:p>
              <a:r>
                <a:rPr sz="1600"/>
                <a:t>Protect access to all </a:t>
              </a:r>
              <a:br>
                <a:rPr sz="1600"/>
              </a:br>
              <a:r>
                <a:rPr sz="1600"/>
                <a:t>application</a:t>
              </a:r>
              <a:r>
                <a:rPr lang="en-US" sz="1600"/>
                <a:t>s</a:t>
              </a:r>
              <a:r>
                <a:rPr sz="1600"/>
                <a:t> &amp; AI</a:t>
              </a:r>
            </a:p>
          </p:txBody>
        </p:sp>
        <p:pic>
          <p:nvPicPr>
            <p:cNvPr id="35" name="Picture 34">
              <a:extLst>
                <a:ext uri="{FF2B5EF4-FFF2-40B4-BE49-F238E27FC236}">
                  <a16:creationId xmlns:a16="http://schemas.microsoft.com/office/drawing/2014/main" id="{9D1309C7-9F20-0837-4EF4-DBAE256D7421}"/>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rcRect l="2935" r="2935"/>
            <a:stretch/>
          </p:blipFill>
          <p:spPr>
            <a:xfrm>
              <a:off x="8463630" y="2668312"/>
              <a:ext cx="2806741" cy="1988107"/>
            </a:xfrm>
            <a:custGeom>
              <a:avLst/>
              <a:gdLst>
                <a:gd name="connsiteX0" fmla="*/ 0 w 2194560"/>
                <a:gd name="connsiteY0" fmla="*/ 0 h 1554480"/>
                <a:gd name="connsiteX1" fmla="*/ 2194560 w 2194560"/>
                <a:gd name="connsiteY1" fmla="*/ 0 h 1554480"/>
                <a:gd name="connsiteX2" fmla="*/ 2194560 w 2194560"/>
                <a:gd name="connsiteY2" fmla="*/ 1554480 h 1554480"/>
                <a:gd name="connsiteX3" fmla="*/ 0 w 2194560"/>
                <a:gd name="connsiteY3" fmla="*/ 1554480 h 1554480"/>
              </a:gdLst>
              <a:ahLst/>
              <a:cxnLst>
                <a:cxn ang="0">
                  <a:pos x="connsiteX0" y="connsiteY0"/>
                </a:cxn>
                <a:cxn ang="0">
                  <a:pos x="connsiteX1" y="connsiteY1"/>
                </a:cxn>
                <a:cxn ang="0">
                  <a:pos x="connsiteX2" y="connsiteY2"/>
                </a:cxn>
                <a:cxn ang="0">
                  <a:pos x="connsiteX3" y="connsiteY3"/>
                </a:cxn>
              </a:cxnLst>
              <a:rect l="l" t="t" r="r" b="b"/>
              <a:pathLst>
                <a:path w="2194560" h="1554480">
                  <a:moveTo>
                    <a:pt x="0" y="0"/>
                  </a:moveTo>
                  <a:lnTo>
                    <a:pt x="2194560" y="0"/>
                  </a:lnTo>
                  <a:lnTo>
                    <a:pt x="2194560" y="1554480"/>
                  </a:lnTo>
                  <a:lnTo>
                    <a:pt x="0" y="1554480"/>
                  </a:lnTo>
                  <a:close/>
                </a:path>
              </a:pathLst>
            </a:custGeom>
          </p:spPr>
        </p:pic>
        <p:sp>
          <p:nvSpPr>
            <p:cNvPr id="36" name="Title 4">
              <a:extLst>
                <a:ext uri="{FF2B5EF4-FFF2-40B4-BE49-F238E27FC236}">
                  <a16:creationId xmlns:a16="http://schemas.microsoft.com/office/drawing/2014/main" id="{59A2718C-3C2C-FBC1-A430-610028D25D03}"/>
                </a:ext>
              </a:extLst>
            </p:cNvPr>
            <p:cNvSpPr txBox="1">
              <a:spLocks/>
            </p:cNvSpPr>
            <p:nvPr/>
          </p:nvSpPr>
          <p:spPr bwMode="auto">
            <a:xfrm>
              <a:off x="8463633" y="4177234"/>
              <a:ext cx="2806738" cy="515369"/>
            </a:xfrm>
            <a:prstGeom prst="roundRect">
              <a:avLst>
                <a:gd name="adj" fmla="val 0"/>
              </a:avLst>
            </a:prstGeom>
            <a:gradFill flip="none" rotWithShape="1">
              <a:gsLst>
                <a:gs pos="0">
                  <a:srgbClr val="A5B8EE"/>
                </a:gs>
                <a:gs pos="100000">
                  <a:srgbClr val="E67ACB"/>
                </a:gs>
              </a:gsLst>
              <a:lin ang="3000000" scaled="0"/>
              <a:tileRect/>
            </a:gradFill>
            <a:ln w="9525"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defRPr lang="en-US"/>
              </a:defPPr>
              <a:lvl1pPr marR="0" lvl="0" indent="0" algn="ctr" defTabSz="299783" fontAlgn="auto">
                <a:lnSpc>
                  <a:spcPct val="100000"/>
                </a:lnSpc>
                <a:spcBef>
                  <a:spcPts val="508"/>
                </a:spcBef>
                <a:spcAft>
                  <a:spcPts val="508"/>
                </a:spcAft>
                <a:buClrTx/>
                <a:buSzTx/>
                <a:buFontTx/>
                <a:buNone/>
                <a:tabLst/>
                <a:defRPr kumimoji="0" sz="1050" b="0" i="0" u="none" strike="noStrike" cap="none" spc="0" normalizeH="0" baseline="0">
                  <a:ln w="3175">
                    <a:noFill/>
                  </a:ln>
                  <a:solidFill>
                    <a:srgbClr val="000000"/>
                  </a:solidFill>
                  <a:effectLst/>
                  <a:uLnTx/>
                  <a:uFillTx/>
                  <a:latin typeface="Segoe Sans Display Semibold"/>
                  <a:cs typeface="Segoe Sans Display"/>
                </a:defRPr>
              </a:lvl1pPr>
            </a:lstStyle>
            <a:p>
              <a:r>
                <a:rPr lang="en-US" sz="1600"/>
                <a:t>Secure &amp; govern access to internet resources</a:t>
              </a:r>
            </a:p>
          </p:txBody>
        </p:sp>
      </p:grpSp>
    </p:spTree>
    <p:extLst>
      <p:ext uri="{BB962C8B-B14F-4D97-AF65-F5344CB8AC3E}">
        <p14:creationId xmlns:p14="http://schemas.microsoft.com/office/powerpoint/2010/main" val="3854127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0"/>
                                  </p:stCondLst>
                                  <p:childTnLst>
                                    <p:animMotion origin="layout" path="M 0 0 L 0 -0.03287 " pathEditMode="relative" rAng="0" ptsTypes="AA">
                                      <p:cBhvr>
                                        <p:cTn id="9" dur="700" spd="-100000" fill="hold"/>
                                        <p:tgtEl>
                                          <p:spTgt spid="3"/>
                                        </p:tgtEl>
                                        <p:attrNameLst>
                                          <p:attrName>ppt_x</p:attrName>
                                          <p:attrName>ppt_y</p:attrName>
                                        </p:attrNameLst>
                                      </p:cBhvr>
                                      <p:rCtr x="0" y="-1644"/>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0"/>
                                  </p:stCondLst>
                                  <p:childTnLst>
                                    <p:animMotion origin="layout" path="M 0 -1.11111E-6 L 0 -0.03287 " pathEditMode="relative" rAng="0" ptsTypes="AA">
                                      <p:cBhvr>
                                        <p:cTn id="14" dur="700" spd="-100000" fill="hold"/>
                                        <p:tgtEl>
                                          <p:spTgt spid="5"/>
                                        </p:tgtEl>
                                        <p:attrNameLst>
                                          <p:attrName>ppt_x</p:attrName>
                                          <p:attrName>ppt_y</p:attrName>
                                        </p:attrNameLst>
                                      </p:cBhvr>
                                      <p:rCtr x="0" y="-1644"/>
                                    </p:animMotion>
                                  </p:childTnLst>
                                </p:cTn>
                              </p:par>
                              <p:par>
                                <p:cTn id="15" presetID="10" presetClass="entr" presetSubtype="0" fill="hold" grpId="0" nodeType="withEffect">
                                  <p:stCondLst>
                                    <p:cond delay="2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5" grpId="0"/>
      <p:bldP spid="5" grpId="1"/>
      <p:bldP spid="9"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C06C92-474B-85F3-DA21-60EEE7114FCC}"/>
            </a:ext>
          </a:extLst>
        </p:cNvPr>
        <p:cNvGrpSpPr/>
        <p:nvPr/>
      </p:nvGrpSpPr>
      <p:grpSpPr>
        <a:xfrm>
          <a:off x="0" y="0"/>
          <a:ext cx="0" cy="0"/>
          <a:chOff x="0" y="0"/>
          <a:chExt cx="0" cy="0"/>
        </a:xfrm>
      </p:grpSpPr>
      <p:sp>
        <p:nvSpPr>
          <p:cNvPr id="63" name="Title 13">
            <a:extLst>
              <a:ext uri="{FF2B5EF4-FFF2-40B4-BE49-F238E27FC236}">
                <a16:creationId xmlns:a16="http://schemas.microsoft.com/office/drawing/2014/main" id="{1255C1A6-3190-99C9-541E-A70265F9AA6A}"/>
              </a:ext>
            </a:extLst>
          </p:cNvPr>
          <p:cNvSpPr txBox="1">
            <a:spLocks noGrp="1"/>
          </p:cNvSpPr>
          <p:nvPr>
            <p:ph type="title" idx="4294967295"/>
          </p:nvPr>
        </p:nvSpPr>
        <p:spPr>
          <a:xfrm>
            <a:off x="4893306" y="433520"/>
            <a:ext cx="6711950" cy="984250"/>
          </a:xfr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lvl="0"/>
            <a:r>
              <a:rPr lang="en-US" sz="3200" b="1" dirty="0">
                <a:gradFill>
                  <a:gsLst>
                    <a:gs pos="0">
                      <a:srgbClr val="0360DB"/>
                    </a:gs>
                    <a:gs pos="100000">
                      <a:srgbClr val="207EFC"/>
                    </a:gs>
                  </a:gsLst>
                  <a:path path="circle">
                    <a:fillToRect t="100000" r="100000"/>
                  </a:path>
                </a:gradFill>
                <a:latin typeface="Segoe Sans Display Semibold" pitchFamily="2" charset="0"/>
                <a:cs typeface="Segoe Sans Display Semibold" pitchFamily="2" charset="0"/>
              </a:rPr>
              <a:t>Streamline onboarding and </a:t>
            </a:r>
            <a:br>
              <a:rPr lang="en-US" sz="3200" b="1" dirty="0">
                <a:gradFill>
                  <a:gsLst>
                    <a:gs pos="0">
                      <a:srgbClr val="0360DB"/>
                    </a:gs>
                    <a:gs pos="100000">
                      <a:srgbClr val="207EFC"/>
                    </a:gs>
                  </a:gsLst>
                  <a:path path="circle">
                    <a:fillToRect t="100000" r="100000"/>
                  </a:path>
                </a:gradFill>
                <a:latin typeface="Segoe Sans Display Semibold" pitchFamily="2" charset="0"/>
                <a:cs typeface="Segoe Sans Display Semibold" pitchFamily="2" charset="0"/>
              </a:rPr>
            </a:br>
            <a:r>
              <a:rPr lang="en-US" sz="3200" b="1" noProof="0" dirty="0">
                <a:latin typeface="Segoe Sans Display Semibold" pitchFamily="2" charset="0"/>
                <a:cs typeface="Segoe Sans Display Semibold" pitchFamily="2" charset="0"/>
              </a:rPr>
              <a:t>identity lifecycle</a:t>
            </a:r>
            <a:endParaRPr lang="en-US" b="1" noProof="0" dirty="0">
              <a:latin typeface="Segoe Sans Display Semibold" pitchFamily="2" charset="0"/>
              <a:cs typeface="Segoe Sans Display Semibold" pitchFamily="2" charset="0"/>
            </a:endParaRPr>
          </a:p>
        </p:txBody>
      </p:sp>
      <p:grpSp>
        <p:nvGrpSpPr>
          <p:cNvPr id="11" name="Group 10">
            <a:extLst>
              <a:ext uri="{FF2B5EF4-FFF2-40B4-BE49-F238E27FC236}">
                <a16:creationId xmlns:a16="http://schemas.microsoft.com/office/drawing/2014/main" id="{808B3768-1BC2-6336-4915-3E84795400E7}"/>
              </a:ext>
              <a:ext uri="{C183D7F6-B498-43B3-948B-1728B52AA6E4}">
                <adec:decorative xmlns:adec="http://schemas.microsoft.com/office/drawing/2017/decorative" val="1"/>
              </a:ext>
            </a:extLst>
          </p:cNvPr>
          <p:cNvGrpSpPr/>
          <p:nvPr/>
        </p:nvGrpSpPr>
        <p:grpSpPr>
          <a:xfrm>
            <a:off x="-1" y="0"/>
            <a:ext cx="4238869" cy="6858000"/>
            <a:chOff x="-1" y="0"/>
            <a:chExt cx="4238869" cy="6852458"/>
          </a:xfrm>
        </p:grpSpPr>
        <p:pic>
          <p:nvPicPr>
            <p:cNvPr id="9" name="Picture 8">
              <a:extLst>
                <a:ext uri="{FF2B5EF4-FFF2-40B4-BE49-F238E27FC236}">
                  <a16:creationId xmlns:a16="http://schemas.microsoft.com/office/drawing/2014/main" id="{9D902DA8-9596-FED8-DCDF-C3E8A9CAE04C}"/>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rcRect l="29414" r="29414"/>
            <a:stretch/>
          </p:blipFill>
          <p:spPr>
            <a:xfrm flipH="1">
              <a:off x="-1" y="0"/>
              <a:ext cx="4238869" cy="6852458"/>
            </a:xfrm>
            <a:custGeom>
              <a:avLst/>
              <a:gdLst>
                <a:gd name="connsiteX0" fmla="*/ 4238869 w 4238869"/>
                <a:gd name="connsiteY0" fmla="*/ 0 h 6852458"/>
                <a:gd name="connsiteX1" fmla="*/ 0 w 4238869"/>
                <a:gd name="connsiteY1" fmla="*/ 0 h 6852458"/>
                <a:gd name="connsiteX2" fmla="*/ 0 w 4238869"/>
                <a:gd name="connsiteY2" fmla="*/ 6852458 h 6852458"/>
                <a:gd name="connsiteX3" fmla="*/ 4238869 w 4238869"/>
                <a:gd name="connsiteY3" fmla="*/ 6852458 h 6852458"/>
              </a:gdLst>
              <a:ahLst/>
              <a:cxnLst>
                <a:cxn ang="0">
                  <a:pos x="connsiteX0" y="connsiteY0"/>
                </a:cxn>
                <a:cxn ang="0">
                  <a:pos x="connsiteX1" y="connsiteY1"/>
                </a:cxn>
                <a:cxn ang="0">
                  <a:pos x="connsiteX2" y="connsiteY2"/>
                </a:cxn>
                <a:cxn ang="0">
                  <a:pos x="connsiteX3" y="connsiteY3"/>
                </a:cxn>
              </a:cxnLst>
              <a:rect l="l" t="t" r="r" b="b"/>
              <a:pathLst>
                <a:path w="4238869" h="6852458">
                  <a:moveTo>
                    <a:pt x="4238869" y="0"/>
                  </a:moveTo>
                  <a:lnTo>
                    <a:pt x="0" y="0"/>
                  </a:lnTo>
                  <a:lnTo>
                    <a:pt x="0" y="6852458"/>
                  </a:lnTo>
                  <a:lnTo>
                    <a:pt x="4238869" y="6852458"/>
                  </a:lnTo>
                  <a:close/>
                </a:path>
              </a:pathLst>
            </a:custGeom>
          </p:spPr>
        </p:pic>
        <p:pic>
          <p:nvPicPr>
            <p:cNvPr id="10" name="Picture 9">
              <a:extLst>
                <a:ext uri="{FF2B5EF4-FFF2-40B4-BE49-F238E27FC236}">
                  <a16:creationId xmlns:a16="http://schemas.microsoft.com/office/drawing/2014/main" id="{15F2DB1C-8842-1A32-DA90-358D03A83FA4}"/>
                </a:ext>
              </a:extLst>
            </p:cNvPr>
            <p:cNvPicPr>
              <a:picLocks noChangeAspect="1"/>
            </p:cNvPicPr>
            <p:nvPr/>
          </p:nvPicPr>
          <p:blipFill>
            <a:blip r:embed="rId5">
              <a:alphaModFix amt="70000"/>
            </a:blip>
            <a:srcRect l="46568" r="46568"/>
            <a:stretch/>
          </p:blipFill>
          <p:spPr>
            <a:xfrm>
              <a:off x="-1" y="0"/>
              <a:ext cx="836771" cy="6852458"/>
            </a:xfrm>
            <a:custGeom>
              <a:avLst/>
              <a:gdLst>
                <a:gd name="connsiteX0" fmla="*/ 0 w 1133669"/>
                <a:gd name="connsiteY0" fmla="*/ 0 h 1132290"/>
                <a:gd name="connsiteX1" fmla="*/ 1133669 w 1133669"/>
                <a:gd name="connsiteY1" fmla="*/ 0 h 1132290"/>
                <a:gd name="connsiteX2" fmla="*/ 1133669 w 1133669"/>
                <a:gd name="connsiteY2" fmla="*/ 1132290 h 1132290"/>
                <a:gd name="connsiteX3" fmla="*/ 0 w 1133669"/>
                <a:gd name="connsiteY3" fmla="*/ 1132290 h 1132290"/>
              </a:gdLst>
              <a:ahLst/>
              <a:cxnLst>
                <a:cxn ang="0">
                  <a:pos x="connsiteX0" y="connsiteY0"/>
                </a:cxn>
                <a:cxn ang="0">
                  <a:pos x="connsiteX1" y="connsiteY1"/>
                </a:cxn>
                <a:cxn ang="0">
                  <a:pos x="connsiteX2" y="connsiteY2"/>
                </a:cxn>
                <a:cxn ang="0">
                  <a:pos x="connsiteX3" y="connsiteY3"/>
                </a:cxn>
              </a:cxnLst>
              <a:rect l="l" t="t" r="r" b="b"/>
              <a:pathLst>
                <a:path w="1133669" h="1132290">
                  <a:moveTo>
                    <a:pt x="0" y="0"/>
                  </a:moveTo>
                  <a:lnTo>
                    <a:pt x="1133669" y="0"/>
                  </a:lnTo>
                  <a:lnTo>
                    <a:pt x="1133669" y="1132290"/>
                  </a:lnTo>
                  <a:lnTo>
                    <a:pt x="0" y="1132290"/>
                  </a:lnTo>
                  <a:close/>
                </a:path>
              </a:pathLst>
            </a:custGeom>
          </p:spPr>
        </p:pic>
      </p:grpSp>
      <p:grpSp>
        <p:nvGrpSpPr>
          <p:cNvPr id="17" name="Group 16">
            <a:extLst>
              <a:ext uri="{FF2B5EF4-FFF2-40B4-BE49-F238E27FC236}">
                <a16:creationId xmlns:a16="http://schemas.microsoft.com/office/drawing/2014/main" id="{C1C8CC08-DFE7-284E-44ED-CAE616AB75C2}"/>
              </a:ext>
              <a:ext uri="{C183D7F6-B498-43B3-948B-1728B52AA6E4}">
                <adec:decorative xmlns:adec="http://schemas.microsoft.com/office/drawing/2017/decorative" val="1"/>
              </a:ext>
            </a:extLst>
          </p:cNvPr>
          <p:cNvGrpSpPr/>
          <p:nvPr/>
        </p:nvGrpSpPr>
        <p:grpSpPr>
          <a:xfrm>
            <a:off x="10784825" y="457200"/>
            <a:ext cx="821388" cy="821388"/>
            <a:chOff x="9934883" y="734429"/>
            <a:chExt cx="821388" cy="821388"/>
          </a:xfrm>
        </p:grpSpPr>
        <p:grpSp>
          <p:nvGrpSpPr>
            <p:cNvPr id="18" name="Group 17">
              <a:extLst>
                <a:ext uri="{FF2B5EF4-FFF2-40B4-BE49-F238E27FC236}">
                  <a16:creationId xmlns:a16="http://schemas.microsoft.com/office/drawing/2014/main" id="{F5B297DC-9C43-B027-B548-B7A13892466F}"/>
                </a:ext>
                <a:ext uri="{C183D7F6-B498-43B3-948B-1728B52AA6E4}">
                  <adec:decorative xmlns:adec="http://schemas.microsoft.com/office/drawing/2017/decorative" val="1"/>
                </a:ext>
              </a:extLst>
            </p:cNvPr>
            <p:cNvGrpSpPr/>
            <p:nvPr/>
          </p:nvGrpSpPr>
          <p:grpSpPr>
            <a:xfrm>
              <a:off x="9934883" y="734429"/>
              <a:ext cx="821388" cy="821388"/>
              <a:chOff x="1511104" y="983803"/>
              <a:chExt cx="874443" cy="874443"/>
            </a:xfrm>
          </p:grpSpPr>
          <p:sp>
            <p:nvSpPr>
              <p:cNvPr id="20" name="Oval 19">
                <a:extLst>
                  <a:ext uri="{FF2B5EF4-FFF2-40B4-BE49-F238E27FC236}">
                    <a16:creationId xmlns:a16="http://schemas.microsoft.com/office/drawing/2014/main" id="{18E23750-0466-C234-AF81-C1A7045205B1}"/>
                  </a:ext>
                </a:extLst>
              </p:cNvPr>
              <p:cNvSpPr/>
              <p:nvPr/>
            </p:nvSpPr>
            <p:spPr bwMode="auto">
              <a:xfrm>
                <a:off x="1511104" y="983803"/>
                <a:ext cx="874443" cy="874443"/>
              </a:xfrm>
              <a:prstGeom prst="ellipse">
                <a:avLst/>
              </a:prstGeom>
              <a:gradFill flip="none" rotWithShape="1">
                <a:gsLst>
                  <a:gs pos="0">
                    <a:srgbClr val="FADC14">
                      <a:alpha val="50000"/>
                    </a:srgbClr>
                  </a:gs>
                  <a:gs pos="100000">
                    <a:srgbClr val="599FFD">
                      <a:alpha val="50000"/>
                    </a:srgbClr>
                  </a:gs>
                </a:gsLst>
                <a:path path="circle">
                  <a:fillToRect t="100000" r="100000"/>
                </a:path>
                <a:tileRect l="-100000" b="-10000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91F2C"/>
                  </a:solidFill>
                  <a:effectLst/>
                  <a:uLnTx/>
                  <a:uFillTx/>
                  <a:latin typeface="Segoe UI Variable Display"/>
                  <a:ea typeface="+mn-ea"/>
                  <a:cs typeface="Segoe UI" pitchFamily="34" charset="0"/>
                </a:endParaRPr>
              </a:p>
            </p:txBody>
          </p:sp>
          <p:sp>
            <p:nvSpPr>
              <p:cNvPr id="21" name="Oval 20">
                <a:extLst>
                  <a:ext uri="{FF2B5EF4-FFF2-40B4-BE49-F238E27FC236}">
                    <a16:creationId xmlns:a16="http://schemas.microsoft.com/office/drawing/2014/main" id="{A2F97F06-A59C-E333-5C61-E15681F3F4B8}"/>
                  </a:ext>
                </a:extLst>
              </p:cNvPr>
              <p:cNvSpPr/>
              <p:nvPr/>
            </p:nvSpPr>
            <p:spPr bwMode="auto">
              <a:xfrm>
                <a:off x="1620236" y="1092935"/>
                <a:ext cx="656179" cy="656179"/>
              </a:xfrm>
              <a:prstGeom prst="ellipse">
                <a:avLst/>
              </a:prstGeom>
              <a:solidFill>
                <a:srgbClr val="FFFFFF"/>
              </a:solidFill>
              <a:ln w="19050" cap="flat" cmpd="sng" algn="ctr">
                <a:gradFill>
                  <a:gsLst>
                    <a:gs pos="0">
                      <a:srgbClr val="599FFD"/>
                    </a:gs>
                    <a:gs pos="100000">
                      <a:srgbClr val="FADC14"/>
                    </a:gs>
                  </a:gsLst>
                  <a:lin ang="5400000" scaled="1"/>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91F2C"/>
                  </a:solidFill>
                  <a:effectLst/>
                  <a:uLnTx/>
                  <a:uFillTx/>
                  <a:latin typeface="Segoe UI Variable Display"/>
                  <a:ea typeface="+mn-ea"/>
                  <a:cs typeface="Segoe UI" pitchFamily="34" charset="0"/>
                </a:endParaRPr>
              </a:p>
            </p:txBody>
          </p:sp>
        </p:grpSp>
        <p:sp>
          <p:nvSpPr>
            <p:cNvPr id="19" name="Graphic 127">
              <a:extLst>
                <a:ext uri="{FF2B5EF4-FFF2-40B4-BE49-F238E27FC236}">
                  <a16:creationId xmlns:a16="http://schemas.microsoft.com/office/drawing/2014/main" id="{288BA26F-3B68-16A9-5DC0-39E984812049}"/>
                </a:ext>
              </a:extLst>
            </p:cNvPr>
            <p:cNvSpPr/>
            <p:nvPr/>
          </p:nvSpPr>
          <p:spPr>
            <a:xfrm>
              <a:off x="10195756" y="945600"/>
              <a:ext cx="299642" cy="399046"/>
            </a:xfrm>
            <a:custGeom>
              <a:avLst/>
              <a:gdLst>
                <a:gd name="connsiteX0" fmla="*/ 102945 w 211740"/>
                <a:gd name="connsiteY0" fmla="*/ 53340 h 281983"/>
                <a:gd name="connsiteX1" fmla="*/ 137174 w 211740"/>
                <a:gd name="connsiteY1" fmla="*/ 88834 h 281983"/>
                <a:gd name="connsiteX2" fmla="*/ 137235 w 211740"/>
                <a:gd name="connsiteY2" fmla="*/ 91577 h 281983"/>
                <a:gd name="connsiteX3" fmla="*/ 137235 w 211740"/>
                <a:gd name="connsiteY3" fmla="*/ 123810 h 281983"/>
                <a:gd name="connsiteX4" fmla="*/ 171068 w 211740"/>
                <a:gd name="connsiteY4" fmla="*/ 129951 h 281983"/>
                <a:gd name="connsiteX5" fmla="*/ 210926 w 211740"/>
                <a:gd name="connsiteY5" fmla="*/ 187603 h 281983"/>
                <a:gd name="connsiteX6" fmla="*/ 210707 w 211740"/>
                <a:gd name="connsiteY6" fmla="*/ 188732 h 281983"/>
                <a:gd name="connsiteX7" fmla="*/ 210052 w 211740"/>
                <a:gd name="connsiteY7" fmla="*/ 191475 h 281983"/>
                <a:gd name="connsiteX8" fmla="*/ 194080 w 211740"/>
                <a:gd name="connsiteY8" fmla="*/ 251247 h 281983"/>
                <a:gd name="connsiteX9" fmla="*/ 168340 w 211740"/>
                <a:gd name="connsiteY9" fmla="*/ 275890 h 281983"/>
                <a:gd name="connsiteX10" fmla="*/ 165825 w 211740"/>
                <a:gd name="connsiteY10" fmla="*/ 276347 h 281983"/>
                <a:gd name="connsiteX11" fmla="*/ 128975 w 211740"/>
                <a:gd name="connsiteY11" fmla="*/ 281635 h 281983"/>
                <a:gd name="connsiteX12" fmla="*/ 94228 w 211740"/>
                <a:gd name="connsiteY12" fmla="*/ 264505 h 281983"/>
                <a:gd name="connsiteX13" fmla="*/ 93008 w 211740"/>
                <a:gd name="connsiteY13" fmla="*/ 262158 h 281983"/>
                <a:gd name="connsiteX14" fmla="*/ 92566 w 211740"/>
                <a:gd name="connsiteY14" fmla="*/ 261198 h 281983"/>
                <a:gd name="connsiteX15" fmla="*/ 76930 w 211740"/>
                <a:gd name="connsiteY15" fmla="*/ 241645 h 281983"/>
                <a:gd name="connsiteX16" fmla="*/ 73974 w 211740"/>
                <a:gd name="connsiteY16" fmla="*/ 239527 h 281983"/>
                <a:gd name="connsiteX17" fmla="*/ 45277 w 211740"/>
                <a:gd name="connsiteY17" fmla="*/ 220401 h 281983"/>
                <a:gd name="connsiteX18" fmla="*/ 43844 w 211740"/>
                <a:gd name="connsiteY18" fmla="*/ 219502 h 281983"/>
                <a:gd name="connsiteX19" fmla="*/ 42351 w 211740"/>
                <a:gd name="connsiteY19" fmla="*/ 218709 h 281983"/>
                <a:gd name="connsiteX20" fmla="*/ 6354 w 211740"/>
                <a:gd name="connsiteY20" fmla="*/ 200787 h 281983"/>
                <a:gd name="connsiteX21" fmla="*/ 14 w 211740"/>
                <a:gd name="connsiteY21" fmla="*/ 190805 h 281983"/>
                <a:gd name="connsiteX22" fmla="*/ 21639 w 211740"/>
                <a:gd name="connsiteY22" fmla="*/ 153619 h 281983"/>
                <a:gd name="connsiteX23" fmla="*/ 64708 w 211740"/>
                <a:gd name="connsiteY23" fmla="*/ 153878 h 281983"/>
                <a:gd name="connsiteX24" fmla="*/ 68670 w 211740"/>
                <a:gd name="connsiteY24" fmla="*/ 155082 h 281983"/>
                <a:gd name="connsiteX25" fmla="*/ 68670 w 211740"/>
                <a:gd name="connsiteY25" fmla="*/ 91562 h 281983"/>
                <a:gd name="connsiteX26" fmla="*/ 102945 w 211740"/>
                <a:gd name="connsiteY26" fmla="*/ 53340 h 281983"/>
                <a:gd name="connsiteX27" fmla="*/ 102945 w 211740"/>
                <a:gd name="connsiteY27" fmla="*/ 76200 h 281983"/>
                <a:gd name="connsiteX28" fmla="*/ 91576 w 211740"/>
                <a:gd name="connsiteY28" fmla="*/ 89398 h 281983"/>
                <a:gd name="connsiteX29" fmla="*/ 91515 w 211740"/>
                <a:gd name="connsiteY29" fmla="*/ 91562 h 281983"/>
                <a:gd name="connsiteX30" fmla="*/ 91515 w 211740"/>
                <a:gd name="connsiteY30" fmla="*/ 171480 h 281983"/>
                <a:gd name="connsiteX31" fmla="*/ 80096 w 211740"/>
                <a:gd name="connsiteY31" fmla="*/ 182921 h 281983"/>
                <a:gd name="connsiteX32" fmla="*/ 75726 w 211740"/>
                <a:gd name="connsiteY32" fmla="*/ 182057 h 281983"/>
                <a:gd name="connsiteX33" fmla="*/ 31865 w 211740"/>
                <a:gd name="connsiteY33" fmla="*/ 174071 h 281983"/>
                <a:gd name="connsiteX34" fmla="*/ 24093 w 211740"/>
                <a:gd name="connsiteY34" fmla="*/ 181966 h 281983"/>
                <a:gd name="connsiteX35" fmla="*/ 23499 w 211740"/>
                <a:gd name="connsiteY35" fmla="*/ 183794 h 281983"/>
                <a:gd name="connsiteX36" fmla="*/ 52546 w 211740"/>
                <a:gd name="connsiteY36" fmla="*/ 198242 h 281983"/>
                <a:gd name="connsiteX37" fmla="*/ 55289 w 211740"/>
                <a:gd name="connsiteY37" fmla="*/ 199720 h 281983"/>
                <a:gd name="connsiteX38" fmla="*/ 57956 w 211740"/>
                <a:gd name="connsiteY38" fmla="*/ 201366 h 281983"/>
                <a:gd name="connsiteX39" fmla="*/ 86653 w 211740"/>
                <a:gd name="connsiteY39" fmla="*/ 220508 h 281983"/>
                <a:gd name="connsiteX40" fmla="*/ 111434 w 211740"/>
                <a:gd name="connsiteY40" fmla="*/ 247833 h 281983"/>
                <a:gd name="connsiteX41" fmla="*/ 113293 w 211740"/>
                <a:gd name="connsiteY41" fmla="*/ 251551 h 281983"/>
                <a:gd name="connsiteX42" fmla="*/ 113750 w 211740"/>
                <a:gd name="connsiteY42" fmla="*/ 252512 h 281983"/>
                <a:gd name="connsiteX43" fmla="*/ 124067 w 211740"/>
                <a:gd name="connsiteY43" fmla="*/ 259126 h 281983"/>
                <a:gd name="connsiteX44" fmla="*/ 125729 w 211740"/>
                <a:gd name="connsiteY44" fmla="*/ 259004 h 281983"/>
                <a:gd name="connsiteX45" fmla="*/ 162579 w 211740"/>
                <a:gd name="connsiteY45" fmla="*/ 253716 h 281983"/>
                <a:gd name="connsiteX46" fmla="*/ 171449 w 211740"/>
                <a:gd name="connsiteY46" fmla="*/ 246949 h 281983"/>
                <a:gd name="connsiteX47" fmla="*/ 171997 w 211740"/>
                <a:gd name="connsiteY47" fmla="*/ 245349 h 281983"/>
                <a:gd name="connsiteX48" fmla="*/ 187969 w 211740"/>
                <a:gd name="connsiteY48" fmla="*/ 185562 h 281983"/>
                <a:gd name="connsiteX49" fmla="*/ 169086 w 211740"/>
                <a:gd name="connsiteY49" fmla="*/ 152918 h 281983"/>
                <a:gd name="connsiteX50" fmla="*/ 168035 w 211740"/>
                <a:gd name="connsiteY50" fmla="*/ 152659 h 281983"/>
                <a:gd name="connsiteX51" fmla="*/ 123763 w 211740"/>
                <a:gd name="connsiteY51" fmla="*/ 144582 h 281983"/>
                <a:gd name="connsiteX52" fmla="*/ 114497 w 211740"/>
                <a:gd name="connsiteY52" fmla="*/ 134981 h 281983"/>
                <a:gd name="connsiteX53" fmla="*/ 114375 w 211740"/>
                <a:gd name="connsiteY53" fmla="*/ 133350 h 281983"/>
                <a:gd name="connsiteX54" fmla="*/ 114375 w 211740"/>
                <a:gd name="connsiteY54" fmla="*/ 91562 h 281983"/>
                <a:gd name="connsiteX55" fmla="*/ 102945 w 211740"/>
                <a:gd name="connsiteY55" fmla="*/ 76200 h 281983"/>
                <a:gd name="connsiteX56" fmla="*/ 102930 w 211740"/>
                <a:gd name="connsiteY56" fmla="*/ 0 h 281983"/>
                <a:gd name="connsiteX57" fmla="*/ 190586 w 211740"/>
                <a:gd name="connsiteY57" fmla="*/ 87605 h 281983"/>
                <a:gd name="connsiteX58" fmla="*/ 185119 w 211740"/>
                <a:gd name="connsiteY58" fmla="*/ 118095 h 281983"/>
                <a:gd name="connsiteX59" fmla="*/ 182924 w 211740"/>
                <a:gd name="connsiteY59" fmla="*/ 117287 h 281983"/>
                <a:gd name="connsiteX60" fmla="*/ 173674 w 211740"/>
                <a:gd name="connsiteY60" fmla="*/ 114620 h 281983"/>
                <a:gd name="connsiteX61" fmla="*/ 162594 w 211740"/>
                <a:gd name="connsiteY61" fmla="*/ 112913 h 281983"/>
                <a:gd name="connsiteX62" fmla="*/ 128205 w 211740"/>
                <a:gd name="connsiteY62" fmla="*/ 28015 h 281983"/>
                <a:gd name="connsiteX63" fmla="*/ 43307 w 211740"/>
                <a:gd name="connsiteY63" fmla="*/ 62403 h 281983"/>
                <a:gd name="connsiteX64" fmla="*/ 53415 w 211740"/>
                <a:gd name="connsiteY64" fmla="*/ 129388 h 281983"/>
                <a:gd name="connsiteX65" fmla="*/ 40857 w 211740"/>
                <a:gd name="connsiteY65" fmla="*/ 131262 h 281983"/>
                <a:gd name="connsiteX66" fmla="*/ 29381 w 211740"/>
                <a:gd name="connsiteY66" fmla="*/ 135270 h 281983"/>
                <a:gd name="connsiteX67" fmla="*/ 55290 w 211740"/>
                <a:gd name="connsiteY67" fmla="*/ 14081 h 281983"/>
                <a:gd name="connsiteX68" fmla="*/ 102945 w 211740"/>
                <a:gd name="connsiteY68" fmla="*/ 0 h 281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11740" h="281983">
                  <a:moveTo>
                    <a:pt x="102945" y="53340"/>
                  </a:moveTo>
                  <a:cubicBezTo>
                    <a:pt x="123504" y="53340"/>
                    <a:pt x="136153" y="68108"/>
                    <a:pt x="137174" y="88834"/>
                  </a:cubicBezTo>
                  <a:lnTo>
                    <a:pt x="137235" y="91577"/>
                  </a:lnTo>
                  <a:lnTo>
                    <a:pt x="137235" y="123810"/>
                  </a:lnTo>
                  <a:lnTo>
                    <a:pt x="171068" y="129951"/>
                  </a:lnTo>
                  <a:cubicBezTo>
                    <a:pt x="197995" y="134865"/>
                    <a:pt x="215840" y="160677"/>
                    <a:pt x="210926" y="187603"/>
                  </a:cubicBezTo>
                  <a:cubicBezTo>
                    <a:pt x="210858" y="187981"/>
                    <a:pt x="210785" y="188357"/>
                    <a:pt x="210707" y="188732"/>
                  </a:cubicBezTo>
                  <a:lnTo>
                    <a:pt x="210052" y="191475"/>
                  </a:lnTo>
                  <a:lnTo>
                    <a:pt x="194080" y="251247"/>
                  </a:lnTo>
                  <a:cubicBezTo>
                    <a:pt x="190778" y="263625"/>
                    <a:pt x="180850" y="273128"/>
                    <a:pt x="168340" y="275890"/>
                  </a:cubicBezTo>
                  <a:lnTo>
                    <a:pt x="165825" y="276347"/>
                  </a:lnTo>
                  <a:lnTo>
                    <a:pt x="128975" y="281635"/>
                  </a:lnTo>
                  <a:cubicBezTo>
                    <a:pt x="114968" y="283642"/>
                    <a:pt x="101166" y="276838"/>
                    <a:pt x="94228" y="264505"/>
                  </a:cubicBezTo>
                  <a:lnTo>
                    <a:pt x="93008" y="262158"/>
                  </a:lnTo>
                  <a:lnTo>
                    <a:pt x="92566" y="261198"/>
                  </a:lnTo>
                  <a:cubicBezTo>
                    <a:pt x="88997" y="253522"/>
                    <a:pt x="83634" y="246815"/>
                    <a:pt x="76930" y="241645"/>
                  </a:cubicBezTo>
                  <a:lnTo>
                    <a:pt x="73974" y="239527"/>
                  </a:lnTo>
                  <a:lnTo>
                    <a:pt x="45277" y="220401"/>
                  </a:lnTo>
                  <a:lnTo>
                    <a:pt x="43844" y="219502"/>
                  </a:lnTo>
                  <a:lnTo>
                    <a:pt x="42351" y="218709"/>
                  </a:lnTo>
                  <a:lnTo>
                    <a:pt x="6354" y="200787"/>
                  </a:lnTo>
                  <a:cubicBezTo>
                    <a:pt x="2550" y="198896"/>
                    <a:pt x="108" y="195052"/>
                    <a:pt x="14" y="190805"/>
                  </a:cubicBezTo>
                  <a:cubicBezTo>
                    <a:pt x="-367" y="173919"/>
                    <a:pt x="7100" y="160889"/>
                    <a:pt x="21639" y="153619"/>
                  </a:cubicBezTo>
                  <a:cubicBezTo>
                    <a:pt x="32338" y="148270"/>
                    <a:pt x="46557" y="148575"/>
                    <a:pt x="64708" y="153878"/>
                  </a:cubicBezTo>
                  <a:lnTo>
                    <a:pt x="68670" y="155082"/>
                  </a:lnTo>
                  <a:lnTo>
                    <a:pt x="68670" y="91562"/>
                  </a:lnTo>
                  <a:cubicBezTo>
                    <a:pt x="68655" y="69418"/>
                    <a:pt x="81487" y="53340"/>
                    <a:pt x="102945" y="53340"/>
                  </a:cubicBezTo>
                  <a:close/>
                  <a:moveTo>
                    <a:pt x="102945" y="76200"/>
                  </a:moveTo>
                  <a:cubicBezTo>
                    <a:pt x="95934" y="76200"/>
                    <a:pt x="92094" y="80391"/>
                    <a:pt x="91576" y="89398"/>
                  </a:cubicBezTo>
                  <a:lnTo>
                    <a:pt x="91515" y="91562"/>
                  </a:lnTo>
                  <a:lnTo>
                    <a:pt x="91515" y="171480"/>
                  </a:lnTo>
                  <a:cubicBezTo>
                    <a:pt x="91521" y="177793"/>
                    <a:pt x="86408" y="182915"/>
                    <a:pt x="80096" y="182921"/>
                  </a:cubicBezTo>
                  <a:cubicBezTo>
                    <a:pt x="78596" y="182923"/>
                    <a:pt x="77112" y="182629"/>
                    <a:pt x="75726" y="182057"/>
                  </a:cubicBezTo>
                  <a:cubicBezTo>
                    <a:pt x="53476" y="172867"/>
                    <a:pt x="38525" y="170734"/>
                    <a:pt x="31865" y="174071"/>
                  </a:cubicBezTo>
                  <a:cubicBezTo>
                    <a:pt x="27995" y="176007"/>
                    <a:pt x="25465" y="178491"/>
                    <a:pt x="24093" y="181966"/>
                  </a:cubicBezTo>
                  <a:lnTo>
                    <a:pt x="23499" y="183794"/>
                  </a:lnTo>
                  <a:lnTo>
                    <a:pt x="52546" y="198242"/>
                  </a:lnTo>
                  <a:lnTo>
                    <a:pt x="55289" y="199720"/>
                  </a:lnTo>
                  <a:lnTo>
                    <a:pt x="57956" y="201366"/>
                  </a:lnTo>
                  <a:lnTo>
                    <a:pt x="86653" y="220508"/>
                  </a:lnTo>
                  <a:cubicBezTo>
                    <a:pt x="97041" y="227433"/>
                    <a:pt x="105554" y="236820"/>
                    <a:pt x="111434" y="247833"/>
                  </a:cubicBezTo>
                  <a:lnTo>
                    <a:pt x="113293" y="251551"/>
                  </a:lnTo>
                  <a:lnTo>
                    <a:pt x="113750" y="252512"/>
                  </a:lnTo>
                  <a:cubicBezTo>
                    <a:pt x="115617" y="256529"/>
                    <a:pt x="119637" y="259107"/>
                    <a:pt x="124067" y="259126"/>
                  </a:cubicBezTo>
                  <a:lnTo>
                    <a:pt x="125729" y="259004"/>
                  </a:lnTo>
                  <a:lnTo>
                    <a:pt x="162579" y="253716"/>
                  </a:lnTo>
                  <a:cubicBezTo>
                    <a:pt x="166511" y="253155"/>
                    <a:pt x="169868" y="250593"/>
                    <a:pt x="171449" y="246949"/>
                  </a:cubicBezTo>
                  <a:lnTo>
                    <a:pt x="171997" y="245349"/>
                  </a:lnTo>
                  <a:lnTo>
                    <a:pt x="187969" y="185562"/>
                  </a:lnTo>
                  <a:cubicBezTo>
                    <a:pt x="191767" y="171334"/>
                    <a:pt x="183313" y="156721"/>
                    <a:pt x="169086" y="152918"/>
                  </a:cubicBezTo>
                  <a:lnTo>
                    <a:pt x="168035" y="152659"/>
                  </a:lnTo>
                  <a:lnTo>
                    <a:pt x="123763" y="144582"/>
                  </a:lnTo>
                  <a:cubicBezTo>
                    <a:pt x="118933" y="143704"/>
                    <a:pt x="115202" y="139839"/>
                    <a:pt x="114497" y="134981"/>
                  </a:cubicBezTo>
                  <a:lnTo>
                    <a:pt x="114375" y="133350"/>
                  </a:lnTo>
                  <a:lnTo>
                    <a:pt x="114375" y="91562"/>
                  </a:lnTo>
                  <a:cubicBezTo>
                    <a:pt x="114375" y="81046"/>
                    <a:pt x="110489" y="76200"/>
                    <a:pt x="102945" y="76200"/>
                  </a:cubicBezTo>
                  <a:close/>
                  <a:moveTo>
                    <a:pt x="102930" y="0"/>
                  </a:moveTo>
                  <a:cubicBezTo>
                    <a:pt x="151326" y="-14"/>
                    <a:pt x="190570" y="39208"/>
                    <a:pt x="190586" y="87605"/>
                  </a:cubicBezTo>
                  <a:cubicBezTo>
                    <a:pt x="190589" y="98012"/>
                    <a:pt x="188737" y="108337"/>
                    <a:pt x="185119" y="118095"/>
                  </a:cubicBezTo>
                  <a:lnTo>
                    <a:pt x="182924" y="117287"/>
                  </a:lnTo>
                  <a:cubicBezTo>
                    <a:pt x="179893" y="116225"/>
                    <a:pt x="176806" y="115335"/>
                    <a:pt x="173674" y="114620"/>
                  </a:cubicBezTo>
                  <a:cubicBezTo>
                    <a:pt x="170028" y="113779"/>
                    <a:pt x="166325" y="113209"/>
                    <a:pt x="162594" y="112913"/>
                  </a:cubicBezTo>
                  <a:cubicBezTo>
                    <a:pt x="176542" y="79973"/>
                    <a:pt x="161146" y="41963"/>
                    <a:pt x="128205" y="28015"/>
                  </a:cubicBezTo>
                  <a:cubicBezTo>
                    <a:pt x="95265" y="14067"/>
                    <a:pt x="57255" y="29463"/>
                    <a:pt x="43307" y="62403"/>
                  </a:cubicBezTo>
                  <a:cubicBezTo>
                    <a:pt x="33801" y="84854"/>
                    <a:pt x="37707" y="110741"/>
                    <a:pt x="53415" y="129388"/>
                  </a:cubicBezTo>
                  <a:cubicBezTo>
                    <a:pt x="49188" y="129703"/>
                    <a:pt x="44991" y="130329"/>
                    <a:pt x="40857" y="131262"/>
                  </a:cubicBezTo>
                  <a:cubicBezTo>
                    <a:pt x="35508" y="132558"/>
                    <a:pt x="31896" y="133853"/>
                    <a:pt x="29381" y="135270"/>
                  </a:cubicBezTo>
                  <a:cubicBezTo>
                    <a:pt x="3070" y="94650"/>
                    <a:pt x="14670" y="40392"/>
                    <a:pt x="55290" y="14081"/>
                  </a:cubicBezTo>
                  <a:cubicBezTo>
                    <a:pt x="69483" y="4888"/>
                    <a:pt x="86035" y="-3"/>
                    <a:pt x="102945" y="0"/>
                  </a:cubicBezTo>
                  <a:close/>
                </a:path>
              </a:pathLst>
            </a:custGeom>
            <a:solidFill>
              <a:srgbClr val="000000"/>
            </a:solid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Display"/>
                <a:ea typeface="+mn-ea"/>
                <a:cs typeface="+mn-cs"/>
              </a:endParaRPr>
            </a:p>
          </p:txBody>
        </p:sp>
      </p:grpSp>
      <p:sp>
        <p:nvSpPr>
          <p:cNvPr id="22" name="TextBox 21">
            <a:extLst>
              <a:ext uri="{FF2B5EF4-FFF2-40B4-BE49-F238E27FC236}">
                <a16:creationId xmlns:a16="http://schemas.microsoft.com/office/drawing/2014/main" id="{8502E80D-B750-63F2-0BB5-100F5A6F0C12}"/>
              </a:ext>
            </a:extLst>
          </p:cNvPr>
          <p:cNvSpPr txBox="1">
            <a:spLocks/>
          </p:cNvSpPr>
          <p:nvPr/>
        </p:nvSpPr>
        <p:spPr>
          <a:xfrm>
            <a:off x="4894656" y="1622353"/>
            <a:ext cx="2651760" cy="307777"/>
          </a:xfrm>
          <a:prstGeom prst="rect">
            <a:avLst/>
          </a:prstGeom>
          <a:noFill/>
          <a:ln>
            <a:noFill/>
          </a:ln>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Sans Display Semibold"/>
                <a:ea typeface="+mn-ea"/>
                <a:cs typeface="+mn-cs"/>
              </a:rPr>
              <a:t>Microsoft Entra Suite </a:t>
            </a:r>
          </a:p>
        </p:txBody>
      </p:sp>
      <p:sp>
        <p:nvSpPr>
          <p:cNvPr id="23" name="Rectangle 22">
            <a:extLst>
              <a:ext uri="{FF2B5EF4-FFF2-40B4-BE49-F238E27FC236}">
                <a16:creationId xmlns:a16="http://schemas.microsoft.com/office/drawing/2014/main" id="{602D386E-D986-AA23-E456-E3749550308A}"/>
              </a:ext>
            </a:extLst>
          </p:cNvPr>
          <p:cNvSpPr>
            <a:spLocks/>
          </p:cNvSpPr>
          <p:nvPr/>
        </p:nvSpPr>
        <p:spPr>
          <a:xfrm>
            <a:off x="4894656" y="2166668"/>
            <a:ext cx="6710600" cy="1107996"/>
          </a:xfrm>
          <a:prstGeom prst="rect">
            <a:avLst/>
          </a:prstGeom>
          <a:noFill/>
          <a:ln w="10795" cap="flat" cmpd="sng" algn="ctr">
            <a:noFill/>
            <a:prstDash val="solid"/>
          </a:ln>
          <a:effectLst/>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w="3175">
                  <a:noFill/>
                </a:ln>
                <a:solidFill>
                  <a:srgbClr val="000000"/>
                </a:solidFill>
                <a:effectLst/>
                <a:uLnTx/>
                <a:uFillTx/>
                <a:latin typeface="Segoe Sans Display"/>
                <a:ea typeface="+mn-ea"/>
                <a:cs typeface="Segoe UI" panose="020B0502040204020203" pitchFamily="34" charset="0"/>
              </a:rPr>
              <a:t>Violet</a:t>
            </a:r>
            <a:r>
              <a:rPr kumimoji="0" lang="en-US" sz="1800" b="0" i="0" u="none" strike="noStrike" kern="0" cap="none" spc="0" normalizeH="0" baseline="0" noProof="0" dirty="0">
                <a:ln>
                  <a:noFill/>
                </a:ln>
                <a:solidFill>
                  <a:srgbClr val="000000"/>
                </a:solidFill>
                <a:effectLst/>
                <a:uLnTx/>
                <a:uFillTx/>
                <a:latin typeface="Segoe Sans Display"/>
                <a:ea typeface="+mn-ea"/>
                <a:cs typeface="+mn-cs"/>
              </a:rPr>
              <a:t> changes role within Contoso Bank from the marketing team to the finance team. </a:t>
            </a:r>
            <a:r>
              <a:rPr kumimoji="0" lang="en-US" sz="1800" b="1" i="0" u="none" strike="noStrike" kern="0" cap="none" spc="0" normalizeH="0" baseline="0" noProof="0" dirty="0">
                <a:ln>
                  <a:noFill/>
                </a:ln>
                <a:solidFill>
                  <a:srgbClr val="0360DB"/>
                </a:solidFill>
                <a:effectLst/>
                <a:uLnTx/>
                <a:uFillTx/>
                <a:latin typeface="Segoe Sans Display"/>
                <a:ea typeface="+mn-ea"/>
                <a:cs typeface="+mn-cs"/>
              </a:rPr>
              <a:t>On her first day, she needs access to her new team’s </a:t>
            </a:r>
            <a:r>
              <a:rPr kumimoji="0" lang="en-US" sz="1800" b="0" i="0" u="none" strike="noStrike" kern="0" cap="none" spc="0" normalizeH="0" baseline="0" noProof="0" dirty="0">
                <a:ln>
                  <a:noFill/>
                </a:ln>
                <a:solidFill>
                  <a:srgbClr val="000000"/>
                </a:solidFill>
                <a:effectLst/>
                <a:uLnTx/>
                <a:uFillTx/>
                <a:latin typeface="Segoe Sans Display"/>
                <a:ea typeface="+mn-ea"/>
                <a:cs typeface="+mn-cs"/>
              </a:rPr>
              <a:t>SharePoint, email distribution lists, and Teams channels.</a:t>
            </a:r>
          </a:p>
        </p:txBody>
      </p:sp>
      <p:grpSp>
        <p:nvGrpSpPr>
          <p:cNvPr id="24" name="Group 23">
            <a:extLst>
              <a:ext uri="{FF2B5EF4-FFF2-40B4-BE49-F238E27FC236}">
                <a16:creationId xmlns:a16="http://schemas.microsoft.com/office/drawing/2014/main" id="{AB5598E3-96F1-5272-B0A0-939A2D66855F}"/>
              </a:ext>
              <a:ext uri="{C183D7F6-B498-43B3-948B-1728B52AA6E4}">
                <adec:decorative xmlns:adec="http://schemas.microsoft.com/office/drawing/2017/decorative" val="1"/>
              </a:ext>
            </a:extLst>
          </p:cNvPr>
          <p:cNvGrpSpPr/>
          <p:nvPr/>
        </p:nvGrpSpPr>
        <p:grpSpPr>
          <a:xfrm>
            <a:off x="4894657" y="3566324"/>
            <a:ext cx="6710602" cy="2623305"/>
            <a:chOff x="900265" y="1721852"/>
            <a:chExt cx="3212067" cy="4229523"/>
          </a:xfrm>
        </p:grpSpPr>
        <p:grpSp>
          <p:nvGrpSpPr>
            <p:cNvPr id="25" name="Group 24">
              <a:extLst>
                <a:ext uri="{FF2B5EF4-FFF2-40B4-BE49-F238E27FC236}">
                  <a16:creationId xmlns:a16="http://schemas.microsoft.com/office/drawing/2014/main" id="{B2FFBC23-2654-1568-7352-AB4B6E2760F9}"/>
                </a:ext>
              </a:extLst>
            </p:cNvPr>
            <p:cNvGrpSpPr/>
            <p:nvPr/>
          </p:nvGrpSpPr>
          <p:grpSpPr>
            <a:xfrm>
              <a:off x="900265" y="1721852"/>
              <a:ext cx="3212067" cy="4229523"/>
              <a:chOff x="900265" y="1324048"/>
              <a:chExt cx="3212067" cy="4627327"/>
            </a:xfrm>
          </p:grpSpPr>
          <p:sp>
            <p:nvSpPr>
              <p:cNvPr id="27" name="Rectangle 26">
                <a:extLst>
                  <a:ext uri="{FF2B5EF4-FFF2-40B4-BE49-F238E27FC236}">
                    <a16:creationId xmlns:a16="http://schemas.microsoft.com/office/drawing/2014/main" id="{3A5A7E7D-CBFD-B771-9CE8-8EA2C8BE7819}"/>
                  </a:ext>
                </a:extLst>
              </p:cNvPr>
              <p:cNvSpPr/>
              <p:nvPr/>
            </p:nvSpPr>
            <p:spPr bwMode="auto">
              <a:xfrm>
                <a:off x="900265" y="1324048"/>
                <a:ext cx="3212067" cy="4627327"/>
              </a:xfrm>
              <a:prstGeom prst="rect">
                <a:avLst/>
              </a:prstGeom>
              <a:gradFill flip="none" rotWithShape="1">
                <a:gsLst>
                  <a:gs pos="100000">
                    <a:sysClr val="window" lastClr="FFFFFF">
                      <a:alpha val="95000"/>
                    </a:sysClr>
                  </a:gs>
                  <a:gs pos="42000">
                    <a:sysClr val="window" lastClr="FFFFFF">
                      <a:alpha val="90000"/>
                    </a:sys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37160" tIns="91440" rIns="137160" bIns="137160" numCol="1" spcCol="0" rtlCol="0" fromWordArt="0" anchor="t" anchorCtr="0" forceAA="0" compatLnSpc="1">
                <a:prstTxWarp prst="textNoShape">
                  <a:avLst/>
                </a:prstTxWarp>
                <a:noAutofit/>
              </a:bodyPr>
              <a:lstStyle/>
              <a:p>
                <a:pPr marL="0" marR="0" lvl="0" indent="0" algn="l" defTabSz="932754" rtl="0" eaLnBrk="1" fontAlgn="auto" latinLnBrk="0" hangingPunct="1">
                  <a:lnSpc>
                    <a:spcPct val="100000"/>
                  </a:lnSpc>
                  <a:spcBef>
                    <a:spcPts val="0"/>
                  </a:spcBef>
                  <a:spcAft>
                    <a:spcPts val="600"/>
                  </a:spcAft>
                  <a:buClrTx/>
                  <a:buSzPct val="90000"/>
                  <a:buFontTx/>
                  <a:buNone/>
                  <a:tabLst/>
                  <a:defRPr/>
                </a:pPr>
                <a:r>
                  <a:rPr kumimoji="0" lang="en-US" sz="1900" b="0" i="0" u="none" strike="noStrike" kern="0" cap="none" spc="0" normalizeH="0" baseline="0" noProof="0">
                    <a:ln>
                      <a:noFill/>
                    </a:ln>
                    <a:gradFill>
                      <a:gsLst>
                        <a:gs pos="0">
                          <a:srgbClr val="091F2C"/>
                        </a:gs>
                        <a:gs pos="100000">
                          <a:srgbClr val="091F2C"/>
                        </a:gs>
                      </a:gsLst>
                      <a:lin ang="0" scaled="0"/>
                    </a:gradFill>
                    <a:effectLst/>
                    <a:uLnTx/>
                    <a:uFillTx/>
                    <a:latin typeface="Segoe Sans Display"/>
                    <a:ea typeface="+mn-ea"/>
                    <a:cs typeface="Segoe Sans Display Semilight" pitchFamily="2" charset="0"/>
                  </a:rPr>
                  <a:t>Contextual </a:t>
                </a:r>
                <a:br>
                  <a:rPr kumimoji="0" lang="en-US" sz="1900" b="0" i="0" u="none" strike="noStrike" kern="0" cap="none" spc="0" normalizeH="0" baseline="0" noProof="0">
                    <a:ln>
                      <a:noFill/>
                    </a:ln>
                    <a:gradFill>
                      <a:gsLst>
                        <a:gs pos="0">
                          <a:srgbClr val="091F2C"/>
                        </a:gs>
                        <a:gs pos="100000">
                          <a:srgbClr val="091F2C"/>
                        </a:gs>
                      </a:gsLst>
                      <a:lin ang="0" scaled="0"/>
                    </a:gradFill>
                    <a:effectLst/>
                    <a:uLnTx/>
                    <a:uFillTx/>
                    <a:latin typeface="Segoe Sans Display"/>
                    <a:ea typeface="+mn-ea"/>
                    <a:cs typeface="Segoe Sans Display Semilight" pitchFamily="2" charset="0"/>
                  </a:rPr>
                </a:br>
                <a:r>
                  <a:rPr kumimoji="0" lang="en-US" sz="1900" b="0" i="0" u="none" strike="noStrike" kern="0" cap="none" spc="0" normalizeH="0" baseline="0" noProof="0">
                    <a:ln>
                      <a:noFill/>
                    </a:ln>
                    <a:gradFill>
                      <a:gsLst>
                        <a:gs pos="0">
                          <a:srgbClr val="091F2C"/>
                        </a:gs>
                        <a:gs pos="100000">
                          <a:srgbClr val="091F2C"/>
                        </a:gs>
                      </a:gsLst>
                      <a:lin ang="0" scaled="0"/>
                    </a:gradFill>
                    <a:effectLst/>
                    <a:uLnTx/>
                    <a:uFillTx/>
                    <a:latin typeface="Segoe Sans Display"/>
                    <a:ea typeface="+mn-ea"/>
                    <a:cs typeface="Segoe Sans Display Semilight" pitchFamily="2" charset="0"/>
                  </a:rPr>
                  <a:t>insights across </a:t>
                </a:r>
                <a:br>
                  <a:rPr kumimoji="0" lang="en-US" sz="1900" b="0" i="0" u="none" strike="noStrike" kern="0" cap="none" spc="0" normalizeH="0" baseline="0" noProof="0">
                    <a:ln>
                      <a:noFill/>
                    </a:ln>
                    <a:gradFill>
                      <a:gsLst>
                        <a:gs pos="0">
                          <a:srgbClr val="091F2C"/>
                        </a:gs>
                        <a:gs pos="100000">
                          <a:srgbClr val="091F2C"/>
                        </a:gs>
                      </a:gsLst>
                      <a:lin ang="0" scaled="0"/>
                    </a:gradFill>
                    <a:effectLst/>
                    <a:uLnTx/>
                    <a:uFillTx/>
                    <a:latin typeface="Segoe Sans Display"/>
                    <a:ea typeface="+mn-ea"/>
                    <a:cs typeface="Segoe Sans Display Semilight" pitchFamily="2" charset="0"/>
                  </a:rPr>
                </a:br>
                <a:r>
                  <a:rPr kumimoji="0" lang="en-US" sz="1900" b="0" i="0" u="none" strike="noStrike" kern="0" cap="none" spc="0" normalizeH="0" baseline="0" noProof="0">
                    <a:ln>
                      <a:noFill/>
                    </a:ln>
                    <a:gradFill>
                      <a:gsLst>
                        <a:gs pos="0">
                          <a:srgbClr val="091F2C"/>
                        </a:gs>
                        <a:gs pos="100000">
                          <a:srgbClr val="091F2C"/>
                        </a:gs>
                      </a:gsLst>
                      <a:lin ang="0" scaled="0"/>
                    </a:gradFill>
                    <a:effectLst/>
                    <a:uLnTx/>
                    <a:uFillTx/>
                    <a:latin typeface="Segoe Sans Display"/>
                    <a:ea typeface="+mn-ea"/>
                    <a:cs typeface="Segoe Sans Display Semilight" pitchFamily="2" charset="0"/>
                  </a:rPr>
                  <a:t>50+ categories</a:t>
                </a:r>
              </a:p>
            </p:txBody>
          </p:sp>
          <p:sp>
            <p:nvSpPr>
              <p:cNvPr id="28" name="Rectangle 27">
                <a:extLst>
                  <a:ext uri="{FF2B5EF4-FFF2-40B4-BE49-F238E27FC236}">
                    <a16:creationId xmlns:a16="http://schemas.microsoft.com/office/drawing/2014/main" id="{CC4EABD4-ECAD-42DC-5F96-12146CF04732}"/>
                  </a:ext>
                </a:extLst>
              </p:cNvPr>
              <p:cNvSpPr/>
              <p:nvPr/>
            </p:nvSpPr>
            <p:spPr bwMode="auto">
              <a:xfrm>
                <a:off x="900265" y="1324048"/>
                <a:ext cx="3212067" cy="4627327"/>
              </a:xfrm>
              <a:prstGeom prst="rect">
                <a:avLst/>
              </a:prstGeom>
              <a:solidFill>
                <a:srgbClr val="F6F4E7"/>
              </a:solidFill>
              <a:ln w="6350" cap="flat" cmpd="sng" algn="ctr">
                <a:noFill/>
                <a:prstDash val="solid"/>
                <a:headEnd type="none" w="med" len="med"/>
                <a:tailEnd type="none" w="med" len="med"/>
              </a:ln>
              <a:effectLst>
                <a:innerShdw blurRad="889000" dist="508000" dir="8400000">
                  <a:srgbClr val="599FFD">
                    <a:alpha val="25000"/>
                  </a:srgbClr>
                </a:innerShdw>
              </a:effectLst>
            </p:spPr>
            <p:txBody>
              <a:bodyPr rot="0" spcFirstLastPara="0" vertOverflow="overflow" horzOverflow="overflow" vert="horz" wrap="square" lIns="2834640" tIns="365760" rIns="365760" bIns="36576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2000" b="0" i="0" u="none" strike="noStrike" kern="0" cap="none" spc="0" normalizeH="0" baseline="0" noProof="0">
                    <a:ln>
                      <a:noFill/>
                    </a:ln>
                    <a:solidFill>
                      <a:prstClr val="black"/>
                    </a:solidFill>
                    <a:effectLst/>
                    <a:uLnTx/>
                    <a:uFillTx/>
                    <a:latin typeface="Segoe Sans Display"/>
                    <a:ea typeface="+mn-ea"/>
                    <a:cs typeface="Segoe UI" pitchFamily="34" charset="0"/>
                  </a:rPr>
                  <a:t>of organizations find managing employee lifecycle challenging</a:t>
                </a:r>
              </a:p>
            </p:txBody>
          </p:sp>
        </p:grpSp>
        <p:cxnSp>
          <p:nvCxnSpPr>
            <p:cNvPr id="26" name="Straight Connector 25">
              <a:extLst>
                <a:ext uri="{FF2B5EF4-FFF2-40B4-BE49-F238E27FC236}">
                  <a16:creationId xmlns:a16="http://schemas.microsoft.com/office/drawing/2014/main" id="{B7F84EE8-6A68-1C04-6231-23EC1FE5477B}"/>
                </a:ext>
              </a:extLst>
            </p:cNvPr>
            <p:cNvCxnSpPr>
              <a:cxnSpLocks/>
            </p:cNvCxnSpPr>
            <p:nvPr/>
          </p:nvCxnSpPr>
          <p:spPr>
            <a:xfrm>
              <a:off x="900265" y="5951375"/>
              <a:ext cx="3212067" cy="0"/>
            </a:xfrm>
            <a:prstGeom prst="line">
              <a:avLst/>
            </a:prstGeom>
            <a:noFill/>
            <a:ln w="22225" cap="flat" cmpd="sng" algn="ctr">
              <a:solidFill>
                <a:srgbClr val="207EFC"/>
              </a:solidFill>
              <a:prstDash val="solid"/>
              <a:headEnd type="none" w="lg" len="med"/>
              <a:tailEnd type="none" w="lg" len="med"/>
            </a:ln>
            <a:effectLst/>
          </p:spPr>
        </p:cxnSp>
      </p:grpSp>
      <p:grpSp>
        <p:nvGrpSpPr>
          <p:cNvPr id="29" name="Group 28">
            <a:extLst>
              <a:ext uri="{FF2B5EF4-FFF2-40B4-BE49-F238E27FC236}">
                <a16:creationId xmlns:a16="http://schemas.microsoft.com/office/drawing/2014/main" id="{85ECFD69-76DB-8EC4-B029-46A29D368666}"/>
              </a:ext>
              <a:ext uri="{C183D7F6-B498-43B3-948B-1728B52AA6E4}">
                <adec:decorative xmlns:adec="http://schemas.microsoft.com/office/drawing/2017/decorative" val="1"/>
              </a:ext>
            </a:extLst>
          </p:cNvPr>
          <p:cNvGrpSpPr/>
          <p:nvPr/>
        </p:nvGrpSpPr>
        <p:grpSpPr>
          <a:xfrm>
            <a:off x="5318051" y="3975490"/>
            <a:ext cx="1804972" cy="1804972"/>
            <a:chOff x="4167293" y="1859050"/>
            <a:chExt cx="2107933" cy="2107933"/>
          </a:xfrm>
        </p:grpSpPr>
        <p:sp>
          <p:nvSpPr>
            <p:cNvPr id="30" name="Oval 29">
              <a:extLst>
                <a:ext uri="{FF2B5EF4-FFF2-40B4-BE49-F238E27FC236}">
                  <a16:creationId xmlns:a16="http://schemas.microsoft.com/office/drawing/2014/main" id="{DC711973-E7BC-8B06-F612-4CAB22821169}"/>
                </a:ext>
              </a:extLst>
            </p:cNvPr>
            <p:cNvSpPr/>
            <p:nvPr/>
          </p:nvSpPr>
          <p:spPr bwMode="auto">
            <a:xfrm>
              <a:off x="4167293" y="1859050"/>
              <a:ext cx="2107933" cy="2107933"/>
            </a:xfrm>
            <a:prstGeom prst="ellipse">
              <a:avLst/>
            </a:prstGeom>
            <a:noFill/>
            <a:ln w="9525" cap="flat" cmpd="sng" algn="ctr">
              <a:noFill/>
              <a:prstDash val="solid"/>
              <a:headEnd type="none" w="med" len="med"/>
              <a:tailEnd type="none" w="med" len="med"/>
            </a:ln>
            <a:effectLst>
              <a:innerShdw blurRad="114300" dist="63500" dir="13500000">
                <a:srgbClr val="000000">
                  <a:alpha val="60000"/>
                </a:srgbClr>
              </a:inn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31" name="Block Arc 30">
              <a:extLst>
                <a:ext uri="{FF2B5EF4-FFF2-40B4-BE49-F238E27FC236}">
                  <a16:creationId xmlns:a16="http://schemas.microsoft.com/office/drawing/2014/main" id="{AB961CF4-B340-9092-5D49-4602B9550651}"/>
                </a:ext>
              </a:extLst>
            </p:cNvPr>
            <p:cNvSpPr/>
            <p:nvPr/>
          </p:nvSpPr>
          <p:spPr bwMode="auto">
            <a:xfrm rot="16200000" flipV="1">
              <a:off x="4167293" y="1859050"/>
              <a:ext cx="2107933" cy="2107933"/>
            </a:xfrm>
            <a:prstGeom prst="blockArc">
              <a:avLst>
                <a:gd name="adj1" fmla="val 10780938"/>
                <a:gd name="adj2" fmla="val 35903"/>
                <a:gd name="adj3" fmla="val 6276"/>
              </a:avLst>
            </a:prstGeom>
            <a:gradFill>
              <a:gsLst>
                <a:gs pos="0">
                  <a:srgbClr val="F6F4E7"/>
                </a:gs>
                <a:gs pos="94000">
                  <a:srgbClr val="599FFD"/>
                </a:gs>
              </a:gsLst>
              <a:path path="circle">
                <a:fillToRect l="100000" t="100000"/>
              </a:path>
            </a:gradFill>
            <a:ln w="9525" cap="flat" cmpd="sng" algn="ctr">
              <a:noFill/>
              <a:prstDash val="solid"/>
              <a:headEnd type="none" w="med" len="med"/>
              <a:tailEnd type="none" w="med" len="med"/>
            </a:ln>
            <a:effectLst>
              <a:innerShdw blurRad="114300" dist="63500" dir="13500000">
                <a:srgbClr val="091F2C">
                  <a:alpha val="45000"/>
                </a:srgbClr>
              </a:inn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32" name="Title 3">
              <a:extLst>
                <a:ext uri="{FF2B5EF4-FFF2-40B4-BE49-F238E27FC236}">
                  <a16:creationId xmlns:a16="http://schemas.microsoft.com/office/drawing/2014/main" id="{7A3FABD8-1D72-56E4-354D-0FEA53083D73}"/>
                </a:ext>
              </a:extLst>
            </p:cNvPr>
            <p:cNvSpPr txBox="1">
              <a:spLocks/>
            </p:cNvSpPr>
            <p:nvPr/>
          </p:nvSpPr>
          <p:spPr>
            <a:xfrm>
              <a:off x="4726893" y="2574463"/>
              <a:ext cx="988732" cy="677108"/>
            </a:xfrm>
            <a:prstGeom prst="rect">
              <a:avLst/>
            </a:prstGeom>
          </p:spPr>
          <p:txBody>
            <a:bodyPr vert="horz" wrap="none" lIns="0" tIns="0" rIns="0" bIns="0" rtlCol="0" anchor="ctr" anchorCtr="0">
              <a:noAutofit/>
            </a:bodyPr>
            <a:lstStyle>
              <a:lvl1pPr algn="l" defTabSz="932742" rtl="0" eaLnBrk="1" latinLnBrk="0" hangingPunct="1">
                <a:lnSpc>
                  <a:spcPct val="100000"/>
                </a:lnSpc>
                <a:spcBef>
                  <a:spcPct val="0"/>
                </a:spcBef>
                <a:buNone/>
                <a:defRPr lang="en-US" sz="4400" b="0" kern="1200" cap="none" spc="-130" baseline="0" dirty="0" smtClean="0">
                  <a:ln w="3175">
                    <a:noFill/>
                  </a:ln>
                  <a:solidFill>
                    <a:schemeClr val="tx1"/>
                  </a:solidFill>
                  <a:effectLst/>
                  <a:latin typeface="+mj-lt"/>
                  <a:ea typeface="+mn-ea"/>
                  <a:cs typeface="Segoe Sans Display" pitchFamily="2"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4800" b="0" i="0" u="none" strike="noStrike" kern="1200" cap="none" spc="-130" normalizeH="0" baseline="0" noProof="0">
                  <a:ln w="3175">
                    <a:noFill/>
                  </a:ln>
                  <a:solidFill>
                    <a:prstClr val="black"/>
                  </a:solidFill>
                  <a:effectLst/>
                  <a:uLnTx/>
                  <a:uFillTx/>
                  <a:latin typeface="Segoe Sans Display Semilight"/>
                  <a:ea typeface="+mn-ea"/>
                  <a:cs typeface="Segoe Sans Display" pitchFamily="2" charset="0"/>
                </a:rPr>
                <a:t>50</a:t>
              </a:r>
              <a:r>
                <a:rPr kumimoji="0" lang="en-US" sz="4400" b="0" i="0" u="none" strike="noStrike" kern="1200" cap="none" spc="-130" normalizeH="0" baseline="25000" noProof="0">
                  <a:ln w="3175">
                    <a:noFill/>
                  </a:ln>
                  <a:solidFill>
                    <a:prstClr val="black"/>
                  </a:solidFill>
                  <a:effectLst/>
                  <a:uLnTx/>
                  <a:uFillTx/>
                  <a:latin typeface="Segoe Sans Display Semilight"/>
                  <a:ea typeface="+mn-ea"/>
                  <a:cs typeface="Segoe Sans Display" pitchFamily="2" charset="0"/>
                </a:rPr>
                <a:t>%</a:t>
              </a:r>
              <a:endParaRPr kumimoji="0" lang="en-US" sz="4800" b="0" i="0" u="none" strike="noStrike" kern="1200" cap="none" spc="-130" normalizeH="0" baseline="25000" noProof="0">
                <a:ln w="3175">
                  <a:noFill/>
                </a:ln>
                <a:solidFill>
                  <a:prstClr val="black"/>
                </a:solidFill>
                <a:effectLst/>
                <a:uLnTx/>
                <a:uFillTx/>
                <a:latin typeface="Segoe Sans Display Semilight"/>
                <a:ea typeface="+mn-ea"/>
                <a:cs typeface="Segoe Sans Display" pitchFamily="2" charset="0"/>
              </a:endParaRPr>
            </a:p>
          </p:txBody>
        </p:sp>
        <p:sp>
          <p:nvSpPr>
            <p:cNvPr id="33" name="Oval 32">
              <a:extLst>
                <a:ext uri="{FF2B5EF4-FFF2-40B4-BE49-F238E27FC236}">
                  <a16:creationId xmlns:a16="http://schemas.microsoft.com/office/drawing/2014/main" id="{5F137616-B8B5-900A-1DD1-6456DA9C4DEC}"/>
                </a:ext>
              </a:extLst>
            </p:cNvPr>
            <p:cNvSpPr/>
            <p:nvPr/>
          </p:nvSpPr>
          <p:spPr bwMode="auto">
            <a:xfrm>
              <a:off x="4167293" y="1859050"/>
              <a:ext cx="2107933" cy="2107933"/>
            </a:xfrm>
            <a:prstGeom prst="ellipse">
              <a:avLst/>
            </a:prstGeom>
            <a:noFill/>
            <a:ln w="15875" cap="flat" cmpd="sng" algn="ctr">
              <a:solidFill>
                <a:srgbClr val="599FFD"/>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grpSp>
    </p:spTree>
    <p:extLst>
      <p:ext uri="{BB962C8B-B14F-4D97-AF65-F5344CB8AC3E}">
        <p14:creationId xmlns:p14="http://schemas.microsoft.com/office/powerpoint/2010/main" val="38433387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23"/>
                                        </p:tgtEl>
                                        <p:attrNameLst>
                                          <p:attrName>style.visibility</p:attrName>
                                        </p:attrNameLst>
                                      </p:cBhvr>
                                      <p:to>
                                        <p:strVal val="visible"/>
                                      </p:to>
                                    </p:set>
                                    <p:animEffect transition="in" filter="fade">
                                      <p:cBhvr>
                                        <p:cTn id="14" dur="500"/>
                                        <p:tgtEl>
                                          <p:spTgt spid="23"/>
                                        </p:tgtEl>
                                      </p:cBhvr>
                                    </p:animEffect>
                                  </p:childTnLst>
                                </p:cTn>
                              </p:par>
                              <p:par>
                                <p:cTn id="15" presetID="10" presetClass="entr" presetSubtype="0" fill="hold" nodeType="withEffect">
                                  <p:stCondLst>
                                    <p:cond delay="250"/>
                                  </p:stCondLst>
                                  <p:childTnLst>
                                    <p:set>
                                      <p:cBhvr>
                                        <p:cTn id="16" dur="1" fill="hold">
                                          <p:stCondLst>
                                            <p:cond delay="0"/>
                                          </p:stCondLst>
                                        </p:cTn>
                                        <p:tgtEl>
                                          <p:spTgt spid="24"/>
                                        </p:tgtEl>
                                        <p:attrNameLst>
                                          <p:attrName>style.visibility</p:attrName>
                                        </p:attrNameLst>
                                      </p:cBhvr>
                                      <p:to>
                                        <p:strVal val="visible"/>
                                      </p:to>
                                    </p:set>
                                    <p:animEffect transition="in" filter="fade">
                                      <p:cBhvr>
                                        <p:cTn id="17" dur="500"/>
                                        <p:tgtEl>
                                          <p:spTgt spid="24"/>
                                        </p:tgtEl>
                                      </p:cBhvr>
                                    </p:animEffect>
                                  </p:childTnLst>
                                </p:cTn>
                              </p:par>
                              <p:par>
                                <p:cTn id="18" presetID="42" presetClass="path" presetSubtype="0" decel="100000" fill="hold" nodeType="withEffect">
                                  <p:stCondLst>
                                    <p:cond delay="250"/>
                                  </p:stCondLst>
                                  <p:childTnLst>
                                    <p:animMotion origin="layout" path="M -2.5E-6 -2.59259E-6 L -2.5E-6 0.03542 " pathEditMode="relative" rAng="0" ptsTypes="AA">
                                      <p:cBhvr>
                                        <p:cTn id="19" dur="700" spd="-100000" fill="hold"/>
                                        <p:tgtEl>
                                          <p:spTgt spid="24"/>
                                        </p:tgtEl>
                                        <p:attrNameLst>
                                          <p:attrName>ppt_x</p:attrName>
                                          <p:attrName>ppt_y</p:attrName>
                                        </p:attrNameLst>
                                      </p:cBhvr>
                                      <p:rCtr x="0" y="1759"/>
                                    </p:animMotion>
                                  </p:childTnLst>
                                </p:cTn>
                              </p:par>
                              <p:par>
                                <p:cTn id="20" presetID="53" presetClass="entr" presetSubtype="16" accel="50000" decel="50000" fill="hold" nodeType="withEffect">
                                  <p:stCondLst>
                                    <p:cond delay="250"/>
                                  </p:stCondLst>
                                  <p:childTnLst>
                                    <p:set>
                                      <p:cBhvr>
                                        <p:cTn id="21" dur="1" fill="hold">
                                          <p:stCondLst>
                                            <p:cond delay="0"/>
                                          </p:stCondLst>
                                        </p:cTn>
                                        <p:tgtEl>
                                          <p:spTgt spid="29"/>
                                        </p:tgtEl>
                                        <p:attrNameLst>
                                          <p:attrName>style.visibility</p:attrName>
                                        </p:attrNameLst>
                                      </p:cBhvr>
                                      <p:to>
                                        <p:strVal val="visible"/>
                                      </p:to>
                                    </p:set>
                                    <p:anim calcmode="lin" valueType="num">
                                      <p:cBhvr>
                                        <p:cTn id="22" dur="500" fill="hold"/>
                                        <p:tgtEl>
                                          <p:spTgt spid="29"/>
                                        </p:tgtEl>
                                        <p:attrNameLst>
                                          <p:attrName>ppt_w</p:attrName>
                                        </p:attrNameLst>
                                      </p:cBhvr>
                                      <p:tavLst>
                                        <p:tav tm="0">
                                          <p:val>
                                            <p:fltVal val="0"/>
                                          </p:val>
                                        </p:tav>
                                        <p:tav tm="100000">
                                          <p:val>
                                            <p:strVal val="#ppt_w"/>
                                          </p:val>
                                        </p:tav>
                                      </p:tavLst>
                                    </p:anim>
                                    <p:anim calcmode="lin" valueType="num">
                                      <p:cBhvr>
                                        <p:cTn id="23" dur="500" fill="hold"/>
                                        <p:tgtEl>
                                          <p:spTgt spid="29"/>
                                        </p:tgtEl>
                                        <p:attrNameLst>
                                          <p:attrName>ppt_h</p:attrName>
                                        </p:attrNameLst>
                                      </p:cBhvr>
                                      <p:tavLst>
                                        <p:tav tm="0">
                                          <p:val>
                                            <p:fltVal val="0"/>
                                          </p:val>
                                        </p:tav>
                                        <p:tav tm="100000">
                                          <p:val>
                                            <p:strVal val="#ppt_h"/>
                                          </p:val>
                                        </p:tav>
                                      </p:tavLst>
                                    </p:anim>
                                    <p:animEffect transition="in" filter="fade">
                                      <p:cBhvr>
                                        <p:cTn id="24" dur="500"/>
                                        <p:tgtEl>
                                          <p:spTgt spid="29"/>
                                        </p:tgtEl>
                                      </p:cBhvr>
                                    </p:animEffect>
                                  </p:childTnLst>
                                </p:cTn>
                              </p:par>
                              <p:par>
                                <p:cTn id="25" presetID="6" presetClass="emph" presetSubtype="0" accel="50000" decel="50000" autoRev="1" fill="hold" nodeType="withEffect">
                                  <p:stCondLst>
                                    <p:cond delay="250"/>
                                  </p:stCondLst>
                                  <p:childTnLst>
                                    <p:animScale>
                                      <p:cBhvr>
                                        <p:cTn id="26" dur="300" fill="hold"/>
                                        <p:tgtEl>
                                          <p:spTgt spid="29"/>
                                        </p:tgtEl>
                                      </p:cBhvr>
                                      <p:by x="120000" y="12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Lst>
  </p:timing>
  <p:extLst>
    <p:ext uri="{6950BFC3-D8DA-4A85-94F7-54DA5524770B}">
      <p188:commentRel xmlns:p188="http://schemas.microsoft.com/office/powerpoint/2018/8/main" r:id="rId3"/>
    </p:ext>
  </p:extLst>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39BF5-1C25-389B-9190-4F33395BF976}"/>
              </a:ext>
            </a:extLst>
          </p:cNvPr>
          <p:cNvSpPr>
            <a:spLocks noGrp="1"/>
          </p:cNvSpPr>
          <p:nvPr>
            <p:ph type="title"/>
          </p:nvPr>
        </p:nvSpPr>
        <p:spPr>
          <a:xfrm>
            <a:off x="588263" y="-553998"/>
            <a:ext cx="11018520" cy="553998"/>
          </a:xfrm>
        </p:spPr>
        <p:txBody>
          <a:bodyPr vert="horz" wrap="square" lIns="0" tIns="0" rIns="0" bIns="0" rtlCol="0" anchor="b">
            <a:spAutoFit/>
          </a:bodyPr>
          <a:lstStyle/>
          <a:p>
            <a:r>
              <a:rPr lang="en-US"/>
              <a:t>Microsoft 365 Community Conference</a:t>
            </a:r>
          </a:p>
        </p:txBody>
      </p:sp>
    </p:spTree>
    <p:extLst>
      <p:ext uri="{BB962C8B-B14F-4D97-AF65-F5344CB8AC3E}">
        <p14:creationId xmlns:p14="http://schemas.microsoft.com/office/powerpoint/2010/main" val="34235671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261F1A8-0881-A03D-FB15-F6D55A66E755}"/>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0" y="0"/>
            <a:ext cx="12192000" cy="6858000"/>
          </a:xfrm>
          <a:prstGeom prst="rect">
            <a:avLst/>
          </a:prstGeom>
        </p:spPr>
      </p:pic>
      <p:sp>
        <p:nvSpPr>
          <p:cNvPr id="3" name="Title 2">
            <a:extLst>
              <a:ext uri="{FF2B5EF4-FFF2-40B4-BE49-F238E27FC236}">
                <a16:creationId xmlns:a16="http://schemas.microsoft.com/office/drawing/2014/main" id="{AA5F3588-0A82-480A-3FA8-51CC6A4E2F0A}"/>
              </a:ext>
            </a:extLst>
          </p:cNvPr>
          <p:cNvSpPr>
            <a:spLocks noGrp="1"/>
          </p:cNvSpPr>
          <p:nvPr>
            <p:ph type="title" idx="4294967295"/>
          </p:nvPr>
        </p:nvSpPr>
        <p:spPr>
          <a:xfrm>
            <a:off x="588263" y="-614158"/>
            <a:ext cx="11018520" cy="553998"/>
          </a:xfrm>
        </p:spPr>
        <p:txBody>
          <a:bodyPr vert="horz" wrap="square" lIns="0" tIns="0" rIns="0" bIns="0" rtlCol="0" anchor="b">
            <a:spAutoFit/>
          </a:bodyPr>
          <a:lstStyle/>
          <a:p>
            <a:r>
              <a:rPr lang="en-US"/>
              <a:t>Video 1</a:t>
            </a:r>
          </a:p>
        </p:txBody>
      </p:sp>
    </p:spTree>
    <p:extLst>
      <p:ext uri="{BB962C8B-B14F-4D97-AF65-F5344CB8AC3E}">
        <p14:creationId xmlns:p14="http://schemas.microsoft.com/office/powerpoint/2010/main" val="168161195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2FB088-B0F5-CFE2-6A2C-AC67C81BD4B8}"/>
            </a:ext>
          </a:extLst>
        </p:cNvPr>
        <p:cNvGrpSpPr/>
        <p:nvPr/>
      </p:nvGrpSpPr>
      <p:grpSpPr>
        <a:xfrm>
          <a:off x="0" y="0"/>
          <a:ext cx="0" cy="0"/>
          <a:chOff x="0" y="0"/>
          <a:chExt cx="0" cy="0"/>
        </a:xfrm>
      </p:grpSpPr>
      <p:sp>
        <p:nvSpPr>
          <p:cNvPr id="63" name="Title 13">
            <a:extLst>
              <a:ext uri="{FF2B5EF4-FFF2-40B4-BE49-F238E27FC236}">
                <a16:creationId xmlns:a16="http://schemas.microsoft.com/office/drawing/2014/main" id="{A9AA08F6-92C7-D6CD-DF84-D24E8D7E1286}"/>
              </a:ext>
            </a:extLst>
          </p:cNvPr>
          <p:cNvSpPr txBox="1">
            <a:spLocks noGrp="1"/>
          </p:cNvSpPr>
          <p:nvPr>
            <p:ph type="title" idx="4294967295"/>
          </p:nvPr>
        </p:nvSpPr>
        <p:spPr>
          <a:xfrm>
            <a:off x="4895612" y="457200"/>
            <a:ext cx="6710362" cy="984250"/>
          </a:xfr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lvl="0"/>
            <a:r>
              <a:rPr lang="en-US" sz="3200" b="1" dirty="0">
                <a:gradFill>
                  <a:gsLst>
                    <a:gs pos="0">
                      <a:srgbClr val="0360DB"/>
                    </a:gs>
                    <a:gs pos="100000">
                      <a:srgbClr val="207EFC"/>
                    </a:gs>
                  </a:gsLst>
                  <a:path path="circle">
                    <a:fillToRect t="100000" r="100000"/>
                  </a:path>
                </a:gradFill>
                <a:latin typeface="Segoe Sans Display Semibold" pitchFamily="2" charset="0"/>
                <a:cs typeface="Segoe Sans Display Semibold" pitchFamily="2" charset="0"/>
              </a:rPr>
              <a:t>Streamline onboarding and</a:t>
            </a:r>
            <a:br>
              <a:rPr lang="en-US" sz="3200" b="1" dirty="0">
                <a:gradFill>
                  <a:gsLst>
                    <a:gs pos="100000">
                      <a:srgbClr val="FADAFD"/>
                    </a:gs>
                    <a:gs pos="0">
                      <a:srgbClr val="FADAFD"/>
                    </a:gs>
                  </a:gsLst>
                  <a:path path="circle">
                    <a:fillToRect l="50000" t="50000" r="50000" b="50000"/>
                  </a:path>
                </a:gradFill>
                <a:latin typeface="Segoe Sans Display Semibold" pitchFamily="2" charset="0"/>
                <a:cs typeface="Segoe Sans Display Semibold" pitchFamily="2" charset="0"/>
              </a:rPr>
            </a:br>
            <a:r>
              <a:rPr lang="en-US" sz="3200" b="1" noProof="0" dirty="0">
                <a:latin typeface="Segoe Sans Display Semibold" pitchFamily="2" charset="0"/>
                <a:cs typeface="Segoe Sans Display Semibold" pitchFamily="2" charset="0"/>
              </a:rPr>
              <a:t>identity lifecycle</a:t>
            </a:r>
            <a:endParaRPr lang="en-US" b="1" noProof="0" dirty="0">
              <a:solidFill>
                <a:schemeClr val="bg1"/>
              </a:solidFill>
              <a:latin typeface="Segoe Sans Display Semibold" pitchFamily="2" charset="0"/>
              <a:cs typeface="Segoe Sans Display Semibold" pitchFamily="2" charset="0"/>
            </a:endParaRPr>
          </a:p>
        </p:txBody>
      </p:sp>
      <p:grpSp>
        <p:nvGrpSpPr>
          <p:cNvPr id="130" name="Group 129">
            <a:extLst>
              <a:ext uri="{FF2B5EF4-FFF2-40B4-BE49-F238E27FC236}">
                <a16:creationId xmlns:a16="http://schemas.microsoft.com/office/drawing/2014/main" id="{3A56AECA-F05C-C168-8DF6-EFC2ACBA58E5}"/>
              </a:ext>
              <a:ext uri="{C183D7F6-B498-43B3-948B-1728B52AA6E4}">
                <adec:decorative xmlns:adec="http://schemas.microsoft.com/office/drawing/2017/decorative" val="1"/>
              </a:ext>
            </a:extLst>
          </p:cNvPr>
          <p:cNvGrpSpPr/>
          <p:nvPr/>
        </p:nvGrpSpPr>
        <p:grpSpPr>
          <a:xfrm>
            <a:off x="10784825" y="457200"/>
            <a:ext cx="821388" cy="821388"/>
            <a:chOff x="9934883" y="734429"/>
            <a:chExt cx="821388" cy="821388"/>
          </a:xfrm>
        </p:grpSpPr>
        <p:grpSp>
          <p:nvGrpSpPr>
            <p:cNvPr id="86" name="Group 85">
              <a:extLst>
                <a:ext uri="{FF2B5EF4-FFF2-40B4-BE49-F238E27FC236}">
                  <a16:creationId xmlns:a16="http://schemas.microsoft.com/office/drawing/2014/main" id="{E744CC46-6858-1907-2291-80414E33784C}"/>
                </a:ext>
                <a:ext uri="{C183D7F6-B498-43B3-948B-1728B52AA6E4}">
                  <adec:decorative xmlns:adec="http://schemas.microsoft.com/office/drawing/2017/decorative" val="1"/>
                </a:ext>
              </a:extLst>
            </p:cNvPr>
            <p:cNvGrpSpPr/>
            <p:nvPr/>
          </p:nvGrpSpPr>
          <p:grpSpPr>
            <a:xfrm>
              <a:off x="9934883" y="734429"/>
              <a:ext cx="821388" cy="821388"/>
              <a:chOff x="1511104" y="983803"/>
              <a:chExt cx="874443" cy="874443"/>
            </a:xfrm>
          </p:grpSpPr>
          <p:sp>
            <p:nvSpPr>
              <p:cNvPr id="93" name="Oval 92">
                <a:extLst>
                  <a:ext uri="{FF2B5EF4-FFF2-40B4-BE49-F238E27FC236}">
                    <a16:creationId xmlns:a16="http://schemas.microsoft.com/office/drawing/2014/main" id="{87013BB3-01EC-7716-4013-A0D6E591026C}"/>
                  </a:ext>
                </a:extLst>
              </p:cNvPr>
              <p:cNvSpPr/>
              <p:nvPr/>
            </p:nvSpPr>
            <p:spPr bwMode="auto">
              <a:xfrm>
                <a:off x="1511104" y="983803"/>
                <a:ext cx="874443" cy="874443"/>
              </a:xfrm>
              <a:prstGeom prst="ellipse">
                <a:avLst/>
              </a:prstGeom>
              <a:gradFill flip="none" rotWithShape="1">
                <a:gsLst>
                  <a:gs pos="0">
                    <a:srgbClr val="FADC14">
                      <a:alpha val="50000"/>
                    </a:srgbClr>
                  </a:gs>
                  <a:gs pos="100000">
                    <a:srgbClr val="599FFD">
                      <a:alpha val="50000"/>
                    </a:srgbClr>
                  </a:gs>
                </a:gsLst>
                <a:path path="circle">
                  <a:fillToRect t="100000" r="100000"/>
                </a:path>
                <a:tileRect l="-100000" b="-10000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91F2C"/>
                  </a:solidFill>
                  <a:effectLst/>
                  <a:uLnTx/>
                  <a:uFillTx/>
                  <a:latin typeface="Segoe UI Variable Display"/>
                  <a:ea typeface="+mn-ea"/>
                  <a:cs typeface="Segoe UI" pitchFamily="34" charset="0"/>
                </a:endParaRPr>
              </a:p>
            </p:txBody>
          </p:sp>
          <p:sp>
            <p:nvSpPr>
              <p:cNvPr id="94" name="Oval 93">
                <a:extLst>
                  <a:ext uri="{FF2B5EF4-FFF2-40B4-BE49-F238E27FC236}">
                    <a16:creationId xmlns:a16="http://schemas.microsoft.com/office/drawing/2014/main" id="{69CDD1CB-B53E-4E37-96AA-F32A470E0D47}"/>
                  </a:ext>
                </a:extLst>
              </p:cNvPr>
              <p:cNvSpPr/>
              <p:nvPr/>
            </p:nvSpPr>
            <p:spPr bwMode="auto">
              <a:xfrm>
                <a:off x="1620236" y="1092935"/>
                <a:ext cx="656179" cy="656179"/>
              </a:xfrm>
              <a:prstGeom prst="ellipse">
                <a:avLst/>
              </a:prstGeom>
              <a:solidFill>
                <a:schemeClr val="bg1"/>
              </a:solidFill>
              <a:ln w="19050" cap="flat" cmpd="sng" algn="ctr">
                <a:gradFill>
                  <a:gsLst>
                    <a:gs pos="0">
                      <a:srgbClr val="599FFD"/>
                    </a:gs>
                    <a:gs pos="100000">
                      <a:srgbClr val="FADC14"/>
                    </a:gs>
                  </a:gsLst>
                  <a:lin ang="5400000" scaled="1"/>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91F2C"/>
                  </a:solidFill>
                  <a:effectLst/>
                  <a:uLnTx/>
                  <a:uFillTx/>
                  <a:latin typeface="Segoe UI Variable Display"/>
                  <a:ea typeface="+mn-ea"/>
                  <a:cs typeface="Segoe UI" pitchFamily="34" charset="0"/>
                </a:endParaRPr>
              </a:p>
            </p:txBody>
          </p:sp>
        </p:grpSp>
        <p:sp>
          <p:nvSpPr>
            <p:cNvPr id="129" name="Graphic 127">
              <a:extLst>
                <a:ext uri="{FF2B5EF4-FFF2-40B4-BE49-F238E27FC236}">
                  <a16:creationId xmlns:a16="http://schemas.microsoft.com/office/drawing/2014/main" id="{9A8462B4-749D-7032-F93F-D748CB93DB1F}"/>
                </a:ext>
              </a:extLst>
            </p:cNvPr>
            <p:cNvSpPr/>
            <p:nvPr/>
          </p:nvSpPr>
          <p:spPr>
            <a:xfrm>
              <a:off x="10195756" y="945600"/>
              <a:ext cx="299642" cy="399046"/>
            </a:xfrm>
            <a:custGeom>
              <a:avLst/>
              <a:gdLst>
                <a:gd name="connsiteX0" fmla="*/ 102945 w 211740"/>
                <a:gd name="connsiteY0" fmla="*/ 53340 h 281983"/>
                <a:gd name="connsiteX1" fmla="*/ 137174 w 211740"/>
                <a:gd name="connsiteY1" fmla="*/ 88834 h 281983"/>
                <a:gd name="connsiteX2" fmla="*/ 137235 w 211740"/>
                <a:gd name="connsiteY2" fmla="*/ 91577 h 281983"/>
                <a:gd name="connsiteX3" fmla="*/ 137235 w 211740"/>
                <a:gd name="connsiteY3" fmla="*/ 123810 h 281983"/>
                <a:gd name="connsiteX4" fmla="*/ 171068 w 211740"/>
                <a:gd name="connsiteY4" fmla="*/ 129951 h 281983"/>
                <a:gd name="connsiteX5" fmla="*/ 210926 w 211740"/>
                <a:gd name="connsiteY5" fmla="*/ 187603 h 281983"/>
                <a:gd name="connsiteX6" fmla="*/ 210707 w 211740"/>
                <a:gd name="connsiteY6" fmla="*/ 188732 h 281983"/>
                <a:gd name="connsiteX7" fmla="*/ 210052 w 211740"/>
                <a:gd name="connsiteY7" fmla="*/ 191475 h 281983"/>
                <a:gd name="connsiteX8" fmla="*/ 194080 w 211740"/>
                <a:gd name="connsiteY8" fmla="*/ 251247 h 281983"/>
                <a:gd name="connsiteX9" fmla="*/ 168340 w 211740"/>
                <a:gd name="connsiteY9" fmla="*/ 275890 h 281983"/>
                <a:gd name="connsiteX10" fmla="*/ 165825 w 211740"/>
                <a:gd name="connsiteY10" fmla="*/ 276347 h 281983"/>
                <a:gd name="connsiteX11" fmla="*/ 128975 w 211740"/>
                <a:gd name="connsiteY11" fmla="*/ 281635 h 281983"/>
                <a:gd name="connsiteX12" fmla="*/ 94228 w 211740"/>
                <a:gd name="connsiteY12" fmla="*/ 264505 h 281983"/>
                <a:gd name="connsiteX13" fmla="*/ 93008 w 211740"/>
                <a:gd name="connsiteY13" fmla="*/ 262158 h 281983"/>
                <a:gd name="connsiteX14" fmla="*/ 92566 w 211740"/>
                <a:gd name="connsiteY14" fmla="*/ 261198 h 281983"/>
                <a:gd name="connsiteX15" fmla="*/ 76930 w 211740"/>
                <a:gd name="connsiteY15" fmla="*/ 241645 h 281983"/>
                <a:gd name="connsiteX16" fmla="*/ 73974 w 211740"/>
                <a:gd name="connsiteY16" fmla="*/ 239527 h 281983"/>
                <a:gd name="connsiteX17" fmla="*/ 45277 w 211740"/>
                <a:gd name="connsiteY17" fmla="*/ 220401 h 281983"/>
                <a:gd name="connsiteX18" fmla="*/ 43844 w 211740"/>
                <a:gd name="connsiteY18" fmla="*/ 219502 h 281983"/>
                <a:gd name="connsiteX19" fmla="*/ 42351 w 211740"/>
                <a:gd name="connsiteY19" fmla="*/ 218709 h 281983"/>
                <a:gd name="connsiteX20" fmla="*/ 6354 w 211740"/>
                <a:gd name="connsiteY20" fmla="*/ 200787 h 281983"/>
                <a:gd name="connsiteX21" fmla="*/ 14 w 211740"/>
                <a:gd name="connsiteY21" fmla="*/ 190805 h 281983"/>
                <a:gd name="connsiteX22" fmla="*/ 21639 w 211740"/>
                <a:gd name="connsiteY22" fmla="*/ 153619 h 281983"/>
                <a:gd name="connsiteX23" fmla="*/ 64708 w 211740"/>
                <a:gd name="connsiteY23" fmla="*/ 153878 h 281983"/>
                <a:gd name="connsiteX24" fmla="*/ 68670 w 211740"/>
                <a:gd name="connsiteY24" fmla="*/ 155082 h 281983"/>
                <a:gd name="connsiteX25" fmla="*/ 68670 w 211740"/>
                <a:gd name="connsiteY25" fmla="*/ 91562 h 281983"/>
                <a:gd name="connsiteX26" fmla="*/ 102945 w 211740"/>
                <a:gd name="connsiteY26" fmla="*/ 53340 h 281983"/>
                <a:gd name="connsiteX27" fmla="*/ 102945 w 211740"/>
                <a:gd name="connsiteY27" fmla="*/ 76200 h 281983"/>
                <a:gd name="connsiteX28" fmla="*/ 91576 w 211740"/>
                <a:gd name="connsiteY28" fmla="*/ 89398 h 281983"/>
                <a:gd name="connsiteX29" fmla="*/ 91515 w 211740"/>
                <a:gd name="connsiteY29" fmla="*/ 91562 h 281983"/>
                <a:gd name="connsiteX30" fmla="*/ 91515 w 211740"/>
                <a:gd name="connsiteY30" fmla="*/ 171480 h 281983"/>
                <a:gd name="connsiteX31" fmla="*/ 80096 w 211740"/>
                <a:gd name="connsiteY31" fmla="*/ 182921 h 281983"/>
                <a:gd name="connsiteX32" fmla="*/ 75726 w 211740"/>
                <a:gd name="connsiteY32" fmla="*/ 182057 h 281983"/>
                <a:gd name="connsiteX33" fmla="*/ 31865 w 211740"/>
                <a:gd name="connsiteY33" fmla="*/ 174071 h 281983"/>
                <a:gd name="connsiteX34" fmla="*/ 24093 w 211740"/>
                <a:gd name="connsiteY34" fmla="*/ 181966 h 281983"/>
                <a:gd name="connsiteX35" fmla="*/ 23499 w 211740"/>
                <a:gd name="connsiteY35" fmla="*/ 183794 h 281983"/>
                <a:gd name="connsiteX36" fmla="*/ 52546 w 211740"/>
                <a:gd name="connsiteY36" fmla="*/ 198242 h 281983"/>
                <a:gd name="connsiteX37" fmla="*/ 55289 w 211740"/>
                <a:gd name="connsiteY37" fmla="*/ 199720 h 281983"/>
                <a:gd name="connsiteX38" fmla="*/ 57956 w 211740"/>
                <a:gd name="connsiteY38" fmla="*/ 201366 h 281983"/>
                <a:gd name="connsiteX39" fmla="*/ 86653 w 211740"/>
                <a:gd name="connsiteY39" fmla="*/ 220508 h 281983"/>
                <a:gd name="connsiteX40" fmla="*/ 111434 w 211740"/>
                <a:gd name="connsiteY40" fmla="*/ 247833 h 281983"/>
                <a:gd name="connsiteX41" fmla="*/ 113293 w 211740"/>
                <a:gd name="connsiteY41" fmla="*/ 251551 h 281983"/>
                <a:gd name="connsiteX42" fmla="*/ 113750 w 211740"/>
                <a:gd name="connsiteY42" fmla="*/ 252512 h 281983"/>
                <a:gd name="connsiteX43" fmla="*/ 124067 w 211740"/>
                <a:gd name="connsiteY43" fmla="*/ 259126 h 281983"/>
                <a:gd name="connsiteX44" fmla="*/ 125729 w 211740"/>
                <a:gd name="connsiteY44" fmla="*/ 259004 h 281983"/>
                <a:gd name="connsiteX45" fmla="*/ 162579 w 211740"/>
                <a:gd name="connsiteY45" fmla="*/ 253716 h 281983"/>
                <a:gd name="connsiteX46" fmla="*/ 171449 w 211740"/>
                <a:gd name="connsiteY46" fmla="*/ 246949 h 281983"/>
                <a:gd name="connsiteX47" fmla="*/ 171997 w 211740"/>
                <a:gd name="connsiteY47" fmla="*/ 245349 h 281983"/>
                <a:gd name="connsiteX48" fmla="*/ 187969 w 211740"/>
                <a:gd name="connsiteY48" fmla="*/ 185562 h 281983"/>
                <a:gd name="connsiteX49" fmla="*/ 169086 w 211740"/>
                <a:gd name="connsiteY49" fmla="*/ 152918 h 281983"/>
                <a:gd name="connsiteX50" fmla="*/ 168035 w 211740"/>
                <a:gd name="connsiteY50" fmla="*/ 152659 h 281983"/>
                <a:gd name="connsiteX51" fmla="*/ 123763 w 211740"/>
                <a:gd name="connsiteY51" fmla="*/ 144582 h 281983"/>
                <a:gd name="connsiteX52" fmla="*/ 114497 w 211740"/>
                <a:gd name="connsiteY52" fmla="*/ 134981 h 281983"/>
                <a:gd name="connsiteX53" fmla="*/ 114375 w 211740"/>
                <a:gd name="connsiteY53" fmla="*/ 133350 h 281983"/>
                <a:gd name="connsiteX54" fmla="*/ 114375 w 211740"/>
                <a:gd name="connsiteY54" fmla="*/ 91562 h 281983"/>
                <a:gd name="connsiteX55" fmla="*/ 102945 w 211740"/>
                <a:gd name="connsiteY55" fmla="*/ 76200 h 281983"/>
                <a:gd name="connsiteX56" fmla="*/ 102930 w 211740"/>
                <a:gd name="connsiteY56" fmla="*/ 0 h 281983"/>
                <a:gd name="connsiteX57" fmla="*/ 190586 w 211740"/>
                <a:gd name="connsiteY57" fmla="*/ 87605 h 281983"/>
                <a:gd name="connsiteX58" fmla="*/ 185119 w 211740"/>
                <a:gd name="connsiteY58" fmla="*/ 118095 h 281983"/>
                <a:gd name="connsiteX59" fmla="*/ 182924 w 211740"/>
                <a:gd name="connsiteY59" fmla="*/ 117287 h 281983"/>
                <a:gd name="connsiteX60" fmla="*/ 173674 w 211740"/>
                <a:gd name="connsiteY60" fmla="*/ 114620 h 281983"/>
                <a:gd name="connsiteX61" fmla="*/ 162594 w 211740"/>
                <a:gd name="connsiteY61" fmla="*/ 112913 h 281983"/>
                <a:gd name="connsiteX62" fmla="*/ 128205 w 211740"/>
                <a:gd name="connsiteY62" fmla="*/ 28015 h 281983"/>
                <a:gd name="connsiteX63" fmla="*/ 43307 w 211740"/>
                <a:gd name="connsiteY63" fmla="*/ 62403 h 281983"/>
                <a:gd name="connsiteX64" fmla="*/ 53415 w 211740"/>
                <a:gd name="connsiteY64" fmla="*/ 129388 h 281983"/>
                <a:gd name="connsiteX65" fmla="*/ 40857 w 211740"/>
                <a:gd name="connsiteY65" fmla="*/ 131262 h 281983"/>
                <a:gd name="connsiteX66" fmla="*/ 29381 w 211740"/>
                <a:gd name="connsiteY66" fmla="*/ 135270 h 281983"/>
                <a:gd name="connsiteX67" fmla="*/ 55290 w 211740"/>
                <a:gd name="connsiteY67" fmla="*/ 14081 h 281983"/>
                <a:gd name="connsiteX68" fmla="*/ 102945 w 211740"/>
                <a:gd name="connsiteY68" fmla="*/ 0 h 281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11740" h="281983">
                  <a:moveTo>
                    <a:pt x="102945" y="53340"/>
                  </a:moveTo>
                  <a:cubicBezTo>
                    <a:pt x="123504" y="53340"/>
                    <a:pt x="136153" y="68108"/>
                    <a:pt x="137174" y="88834"/>
                  </a:cubicBezTo>
                  <a:lnTo>
                    <a:pt x="137235" y="91577"/>
                  </a:lnTo>
                  <a:lnTo>
                    <a:pt x="137235" y="123810"/>
                  </a:lnTo>
                  <a:lnTo>
                    <a:pt x="171068" y="129951"/>
                  </a:lnTo>
                  <a:cubicBezTo>
                    <a:pt x="197995" y="134865"/>
                    <a:pt x="215840" y="160677"/>
                    <a:pt x="210926" y="187603"/>
                  </a:cubicBezTo>
                  <a:cubicBezTo>
                    <a:pt x="210858" y="187981"/>
                    <a:pt x="210785" y="188357"/>
                    <a:pt x="210707" y="188732"/>
                  </a:cubicBezTo>
                  <a:lnTo>
                    <a:pt x="210052" y="191475"/>
                  </a:lnTo>
                  <a:lnTo>
                    <a:pt x="194080" y="251247"/>
                  </a:lnTo>
                  <a:cubicBezTo>
                    <a:pt x="190778" y="263625"/>
                    <a:pt x="180850" y="273128"/>
                    <a:pt x="168340" y="275890"/>
                  </a:cubicBezTo>
                  <a:lnTo>
                    <a:pt x="165825" y="276347"/>
                  </a:lnTo>
                  <a:lnTo>
                    <a:pt x="128975" y="281635"/>
                  </a:lnTo>
                  <a:cubicBezTo>
                    <a:pt x="114968" y="283642"/>
                    <a:pt x="101166" y="276838"/>
                    <a:pt x="94228" y="264505"/>
                  </a:cubicBezTo>
                  <a:lnTo>
                    <a:pt x="93008" y="262158"/>
                  </a:lnTo>
                  <a:lnTo>
                    <a:pt x="92566" y="261198"/>
                  </a:lnTo>
                  <a:cubicBezTo>
                    <a:pt x="88997" y="253522"/>
                    <a:pt x="83634" y="246815"/>
                    <a:pt x="76930" y="241645"/>
                  </a:cubicBezTo>
                  <a:lnTo>
                    <a:pt x="73974" y="239527"/>
                  </a:lnTo>
                  <a:lnTo>
                    <a:pt x="45277" y="220401"/>
                  </a:lnTo>
                  <a:lnTo>
                    <a:pt x="43844" y="219502"/>
                  </a:lnTo>
                  <a:lnTo>
                    <a:pt x="42351" y="218709"/>
                  </a:lnTo>
                  <a:lnTo>
                    <a:pt x="6354" y="200787"/>
                  </a:lnTo>
                  <a:cubicBezTo>
                    <a:pt x="2550" y="198896"/>
                    <a:pt x="108" y="195052"/>
                    <a:pt x="14" y="190805"/>
                  </a:cubicBezTo>
                  <a:cubicBezTo>
                    <a:pt x="-367" y="173919"/>
                    <a:pt x="7100" y="160889"/>
                    <a:pt x="21639" y="153619"/>
                  </a:cubicBezTo>
                  <a:cubicBezTo>
                    <a:pt x="32338" y="148270"/>
                    <a:pt x="46557" y="148575"/>
                    <a:pt x="64708" y="153878"/>
                  </a:cubicBezTo>
                  <a:lnTo>
                    <a:pt x="68670" y="155082"/>
                  </a:lnTo>
                  <a:lnTo>
                    <a:pt x="68670" y="91562"/>
                  </a:lnTo>
                  <a:cubicBezTo>
                    <a:pt x="68655" y="69418"/>
                    <a:pt x="81487" y="53340"/>
                    <a:pt x="102945" y="53340"/>
                  </a:cubicBezTo>
                  <a:close/>
                  <a:moveTo>
                    <a:pt x="102945" y="76200"/>
                  </a:moveTo>
                  <a:cubicBezTo>
                    <a:pt x="95934" y="76200"/>
                    <a:pt x="92094" y="80391"/>
                    <a:pt x="91576" y="89398"/>
                  </a:cubicBezTo>
                  <a:lnTo>
                    <a:pt x="91515" y="91562"/>
                  </a:lnTo>
                  <a:lnTo>
                    <a:pt x="91515" y="171480"/>
                  </a:lnTo>
                  <a:cubicBezTo>
                    <a:pt x="91521" y="177793"/>
                    <a:pt x="86408" y="182915"/>
                    <a:pt x="80096" y="182921"/>
                  </a:cubicBezTo>
                  <a:cubicBezTo>
                    <a:pt x="78596" y="182923"/>
                    <a:pt x="77112" y="182629"/>
                    <a:pt x="75726" y="182057"/>
                  </a:cubicBezTo>
                  <a:cubicBezTo>
                    <a:pt x="53476" y="172867"/>
                    <a:pt x="38525" y="170734"/>
                    <a:pt x="31865" y="174071"/>
                  </a:cubicBezTo>
                  <a:cubicBezTo>
                    <a:pt x="27995" y="176007"/>
                    <a:pt x="25465" y="178491"/>
                    <a:pt x="24093" y="181966"/>
                  </a:cubicBezTo>
                  <a:lnTo>
                    <a:pt x="23499" y="183794"/>
                  </a:lnTo>
                  <a:lnTo>
                    <a:pt x="52546" y="198242"/>
                  </a:lnTo>
                  <a:lnTo>
                    <a:pt x="55289" y="199720"/>
                  </a:lnTo>
                  <a:lnTo>
                    <a:pt x="57956" y="201366"/>
                  </a:lnTo>
                  <a:lnTo>
                    <a:pt x="86653" y="220508"/>
                  </a:lnTo>
                  <a:cubicBezTo>
                    <a:pt x="97041" y="227433"/>
                    <a:pt x="105554" y="236820"/>
                    <a:pt x="111434" y="247833"/>
                  </a:cubicBezTo>
                  <a:lnTo>
                    <a:pt x="113293" y="251551"/>
                  </a:lnTo>
                  <a:lnTo>
                    <a:pt x="113750" y="252512"/>
                  </a:lnTo>
                  <a:cubicBezTo>
                    <a:pt x="115617" y="256529"/>
                    <a:pt x="119637" y="259107"/>
                    <a:pt x="124067" y="259126"/>
                  </a:cubicBezTo>
                  <a:lnTo>
                    <a:pt x="125729" y="259004"/>
                  </a:lnTo>
                  <a:lnTo>
                    <a:pt x="162579" y="253716"/>
                  </a:lnTo>
                  <a:cubicBezTo>
                    <a:pt x="166511" y="253155"/>
                    <a:pt x="169868" y="250593"/>
                    <a:pt x="171449" y="246949"/>
                  </a:cubicBezTo>
                  <a:lnTo>
                    <a:pt x="171997" y="245349"/>
                  </a:lnTo>
                  <a:lnTo>
                    <a:pt x="187969" y="185562"/>
                  </a:lnTo>
                  <a:cubicBezTo>
                    <a:pt x="191767" y="171334"/>
                    <a:pt x="183313" y="156721"/>
                    <a:pt x="169086" y="152918"/>
                  </a:cubicBezTo>
                  <a:lnTo>
                    <a:pt x="168035" y="152659"/>
                  </a:lnTo>
                  <a:lnTo>
                    <a:pt x="123763" y="144582"/>
                  </a:lnTo>
                  <a:cubicBezTo>
                    <a:pt x="118933" y="143704"/>
                    <a:pt x="115202" y="139839"/>
                    <a:pt x="114497" y="134981"/>
                  </a:cubicBezTo>
                  <a:lnTo>
                    <a:pt x="114375" y="133350"/>
                  </a:lnTo>
                  <a:lnTo>
                    <a:pt x="114375" y="91562"/>
                  </a:lnTo>
                  <a:cubicBezTo>
                    <a:pt x="114375" y="81046"/>
                    <a:pt x="110489" y="76200"/>
                    <a:pt x="102945" y="76200"/>
                  </a:cubicBezTo>
                  <a:close/>
                  <a:moveTo>
                    <a:pt x="102930" y="0"/>
                  </a:moveTo>
                  <a:cubicBezTo>
                    <a:pt x="151326" y="-14"/>
                    <a:pt x="190570" y="39208"/>
                    <a:pt x="190586" y="87605"/>
                  </a:cubicBezTo>
                  <a:cubicBezTo>
                    <a:pt x="190589" y="98012"/>
                    <a:pt x="188737" y="108337"/>
                    <a:pt x="185119" y="118095"/>
                  </a:cubicBezTo>
                  <a:lnTo>
                    <a:pt x="182924" y="117287"/>
                  </a:lnTo>
                  <a:cubicBezTo>
                    <a:pt x="179893" y="116225"/>
                    <a:pt x="176806" y="115335"/>
                    <a:pt x="173674" y="114620"/>
                  </a:cubicBezTo>
                  <a:cubicBezTo>
                    <a:pt x="170028" y="113779"/>
                    <a:pt x="166325" y="113209"/>
                    <a:pt x="162594" y="112913"/>
                  </a:cubicBezTo>
                  <a:cubicBezTo>
                    <a:pt x="176542" y="79973"/>
                    <a:pt x="161146" y="41963"/>
                    <a:pt x="128205" y="28015"/>
                  </a:cubicBezTo>
                  <a:cubicBezTo>
                    <a:pt x="95265" y="14067"/>
                    <a:pt x="57255" y="29463"/>
                    <a:pt x="43307" y="62403"/>
                  </a:cubicBezTo>
                  <a:cubicBezTo>
                    <a:pt x="33801" y="84854"/>
                    <a:pt x="37707" y="110741"/>
                    <a:pt x="53415" y="129388"/>
                  </a:cubicBezTo>
                  <a:cubicBezTo>
                    <a:pt x="49188" y="129703"/>
                    <a:pt x="44991" y="130329"/>
                    <a:pt x="40857" y="131262"/>
                  </a:cubicBezTo>
                  <a:cubicBezTo>
                    <a:pt x="35508" y="132558"/>
                    <a:pt x="31896" y="133853"/>
                    <a:pt x="29381" y="135270"/>
                  </a:cubicBezTo>
                  <a:cubicBezTo>
                    <a:pt x="3070" y="94650"/>
                    <a:pt x="14670" y="40392"/>
                    <a:pt x="55290" y="14081"/>
                  </a:cubicBezTo>
                  <a:cubicBezTo>
                    <a:pt x="69483" y="4888"/>
                    <a:pt x="86035" y="-3"/>
                    <a:pt x="102945" y="0"/>
                  </a:cubicBezTo>
                  <a:close/>
                </a:path>
              </a:pathLst>
            </a:custGeom>
            <a:solidFill>
              <a:schemeClr val="tx1"/>
            </a:solid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grpSp>
      <p:grpSp>
        <p:nvGrpSpPr>
          <p:cNvPr id="10" name="Group 9">
            <a:extLst>
              <a:ext uri="{FF2B5EF4-FFF2-40B4-BE49-F238E27FC236}">
                <a16:creationId xmlns:a16="http://schemas.microsoft.com/office/drawing/2014/main" id="{F9B92F65-4583-9116-306C-0C7A863DC1A4}"/>
              </a:ext>
              <a:ext uri="{C183D7F6-B498-43B3-948B-1728B52AA6E4}">
                <adec:decorative xmlns:adec="http://schemas.microsoft.com/office/drawing/2017/decorative" val="1"/>
              </a:ext>
            </a:extLst>
          </p:cNvPr>
          <p:cNvGrpSpPr/>
          <p:nvPr/>
        </p:nvGrpSpPr>
        <p:grpSpPr>
          <a:xfrm>
            <a:off x="-1" y="0"/>
            <a:ext cx="4238869" cy="6858000"/>
            <a:chOff x="-1" y="0"/>
            <a:chExt cx="4238869" cy="6852458"/>
          </a:xfrm>
        </p:grpSpPr>
        <p:pic>
          <p:nvPicPr>
            <p:cNvPr id="11" name="Picture 10">
              <a:extLst>
                <a:ext uri="{FF2B5EF4-FFF2-40B4-BE49-F238E27FC236}">
                  <a16:creationId xmlns:a16="http://schemas.microsoft.com/office/drawing/2014/main" id="{305C5BB5-2222-C9DF-C91A-EB8E101D8A4E}"/>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rcRect l="29414" r="29414"/>
            <a:stretch/>
          </p:blipFill>
          <p:spPr>
            <a:xfrm flipH="1">
              <a:off x="-1" y="0"/>
              <a:ext cx="4238869" cy="6852458"/>
            </a:xfrm>
            <a:custGeom>
              <a:avLst/>
              <a:gdLst>
                <a:gd name="connsiteX0" fmla="*/ 4238869 w 4238869"/>
                <a:gd name="connsiteY0" fmla="*/ 0 h 6852458"/>
                <a:gd name="connsiteX1" fmla="*/ 0 w 4238869"/>
                <a:gd name="connsiteY1" fmla="*/ 0 h 6852458"/>
                <a:gd name="connsiteX2" fmla="*/ 0 w 4238869"/>
                <a:gd name="connsiteY2" fmla="*/ 6852458 h 6852458"/>
                <a:gd name="connsiteX3" fmla="*/ 4238869 w 4238869"/>
                <a:gd name="connsiteY3" fmla="*/ 6852458 h 6852458"/>
              </a:gdLst>
              <a:ahLst/>
              <a:cxnLst>
                <a:cxn ang="0">
                  <a:pos x="connsiteX0" y="connsiteY0"/>
                </a:cxn>
                <a:cxn ang="0">
                  <a:pos x="connsiteX1" y="connsiteY1"/>
                </a:cxn>
                <a:cxn ang="0">
                  <a:pos x="connsiteX2" y="connsiteY2"/>
                </a:cxn>
                <a:cxn ang="0">
                  <a:pos x="connsiteX3" y="connsiteY3"/>
                </a:cxn>
              </a:cxnLst>
              <a:rect l="l" t="t" r="r" b="b"/>
              <a:pathLst>
                <a:path w="4238869" h="6852458">
                  <a:moveTo>
                    <a:pt x="4238869" y="0"/>
                  </a:moveTo>
                  <a:lnTo>
                    <a:pt x="0" y="0"/>
                  </a:lnTo>
                  <a:lnTo>
                    <a:pt x="0" y="6852458"/>
                  </a:lnTo>
                  <a:lnTo>
                    <a:pt x="4238869" y="6852458"/>
                  </a:lnTo>
                  <a:close/>
                </a:path>
              </a:pathLst>
            </a:custGeom>
          </p:spPr>
        </p:pic>
        <p:pic>
          <p:nvPicPr>
            <p:cNvPr id="12" name="Picture 11">
              <a:extLst>
                <a:ext uri="{FF2B5EF4-FFF2-40B4-BE49-F238E27FC236}">
                  <a16:creationId xmlns:a16="http://schemas.microsoft.com/office/drawing/2014/main" id="{870274A2-2F9F-17B1-3CFC-82F0D59AEEB5}"/>
                </a:ext>
              </a:extLst>
            </p:cNvPr>
            <p:cNvPicPr>
              <a:picLocks noChangeAspect="1"/>
            </p:cNvPicPr>
            <p:nvPr/>
          </p:nvPicPr>
          <p:blipFill>
            <a:blip r:embed="rId4">
              <a:alphaModFix amt="70000"/>
            </a:blip>
            <a:srcRect t="32195" b="32195"/>
            <a:stretch/>
          </p:blipFill>
          <p:spPr>
            <a:xfrm>
              <a:off x="0" y="6004058"/>
              <a:ext cx="4238868" cy="848400"/>
            </a:xfrm>
            <a:custGeom>
              <a:avLst/>
              <a:gdLst>
                <a:gd name="connsiteX0" fmla="*/ 0 w 1133669"/>
                <a:gd name="connsiteY0" fmla="*/ 0 h 1132290"/>
                <a:gd name="connsiteX1" fmla="*/ 1133669 w 1133669"/>
                <a:gd name="connsiteY1" fmla="*/ 0 h 1132290"/>
                <a:gd name="connsiteX2" fmla="*/ 1133669 w 1133669"/>
                <a:gd name="connsiteY2" fmla="*/ 1132290 h 1132290"/>
                <a:gd name="connsiteX3" fmla="*/ 0 w 1133669"/>
                <a:gd name="connsiteY3" fmla="*/ 1132290 h 1132290"/>
              </a:gdLst>
              <a:ahLst/>
              <a:cxnLst>
                <a:cxn ang="0">
                  <a:pos x="connsiteX0" y="connsiteY0"/>
                </a:cxn>
                <a:cxn ang="0">
                  <a:pos x="connsiteX1" y="connsiteY1"/>
                </a:cxn>
                <a:cxn ang="0">
                  <a:pos x="connsiteX2" y="connsiteY2"/>
                </a:cxn>
                <a:cxn ang="0">
                  <a:pos x="connsiteX3" y="connsiteY3"/>
                </a:cxn>
              </a:cxnLst>
              <a:rect l="l" t="t" r="r" b="b"/>
              <a:pathLst>
                <a:path w="1133669" h="1132290">
                  <a:moveTo>
                    <a:pt x="0" y="0"/>
                  </a:moveTo>
                  <a:lnTo>
                    <a:pt x="1133669" y="0"/>
                  </a:lnTo>
                  <a:lnTo>
                    <a:pt x="1133669" y="1132290"/>
                  </a:lnTo>
                  <a:lnTo>
                    <a:pt x="0" y="1132290"/>
                  </a:lnTo>
                  <a:close/>
                </a:path>
              </a:pathLst>
            </a:custGeom>
          </p:spPr>
        </p:pic>
      </p:grpSp>
      <p:sp>
        <p:nvSpPr>
          <p:cNvPr id="3" name="Rectangle: Rounded Corners 2">
            <a:extLst>
              <a:ext uri="{FF2B5EF4-FFF2-40B4-BE49-F238E27FC236}">
                <a16:creationId xmlns:a16="http://schemas.microsoft.com/office/drawing/2014/main" id="{B7BD1CD8-1DAD-AA4B-3502-3232E7A04EC9}"/>
              </a:ext>
              <a:ext uri="{C183D7F6-B498-43B3-948B-1728B52AA6E4}">
                <adec:decorative xmlns:adec="http://schemas.microsoft.com/office/drawing/2017/decorative" val="1"/>
              </a:ext>
            </a:extLst>
          </p:cNvPr>
          <p:cNvSpPr>
            <a:spLocks/>
          </p:cNvSpPr>
          <p:nvPr/>
        </p:nvSpPr>
        <p:spPr bwMode="auto">
          <a:xfrm rot="16200000">
            <a:off x="4987052" y="2100600"/>
            <a:ext cx="3017520" cy="3200400"/>
          </a:xfrm>
          <a:prstGeom prst="roundRect">
            <a:avLst>
              <a:gd name="adj" fmla="val 0"/>
            </a:avLst>
          </a:prstGeom>
          <a:solidFill>
            <a:schemeClr val="bg1"/>
          </a:solidFill>
          <a:ln w="6350" cap="flat" cmpd="sng" algn="ctr">
            <a:solidFill>
              <a:srgbClr val="A5B8EE"/>
            </a:solidFill>
            <a:prstDash val="solid"/>
            <a:headEnd type="none" w="med" len="med"/>
            <a:tailEnd type="none" w="med" len="med"/>
          </a:ln>
          <a:effectLst>
            <a:innerShdw blurRad="889000" dist="508000" dir="8400000">
              <a:srgbClr val="599FFD">
                <a:alpha val="25000"/>
              </a:srgbClr>
            </a:innerShdw>
          </a:effectLst>
        </p:spPr>
        <p:txBody>
          <a:bodyPr rot="0" spcFirstLastPara="0" vertOverflow="overflow" horzOverflow="overflow" vert="horz" wrap="square" lIns="91440" tIns="128016" rIns="91440" bIns="36576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800" b="0" i="0" u="none" strike="noStrike" kern="0" cap="none" spc="0" normalizeH="0" baseline="0" noProof="0">
              <a:ln>
                <a:noFill/>
              </a:ln>
              <a:solidFill>
                <a:srgbClr val="FFFFFF"/>
              </a:solidFill>
              <a:effectLst/>
              <a:uLnTx/>
              <a:uFillTx/>
              <a:latin typeface="Segoe Sans Display"/>
              <a:ea typeface="+mn-ea"/>
              <a:cs typeface="Segoe UI" pitchFamily="34" charset="0"/>
            </a:endParaRPr>
          </a:p>
        </p:txBody>
      </p:sp>
      <p:sp>
        <p:nvSpPr>
          <p:cNvPr id="5" name="Rectangle: Rounded Corners 4">
            <a:extLst>
              <a:ext uri="{FF2B5EF4-FFF2-40B4-BE49-F238E27FC236}">
                <a16:creationId xmlns:a16="http://schemas.microsoft.com/office/drawing/2014/main" id="{ED06C317-4762-FFD1-9245-DB46D3BFEB78}"/>
              </a:ext>
              <a:ext uri="{C183D7F6-B498-43B3-948B-1728B52AA6E4}">
                <adec:decorative xmlns:adec="http://schemas.microsoft.com/office/drawing/2017/decorative" val="1"/>
              </a:ext>
            </a:extLst>
          </p:cNvPr>
          <p:cNvSpPr>
            <a:spLocks/>
          </p:cNvSpPr>
          <p:nvPr/>
        </p:nvSpPr>
        <p:spPr bwMode="auto">
          <a:xfrm rot="16200000">
            <a:off x="8497822" y="2100599"/>
            <a:ext cx="3017520" cy="3200400"/>
          </a:xfrm>
          <a:prstGeom prst="roundRect">
            <a:avLst>
              <a:gd name="adj" fmla="val 0"/>
            </a:avLst>
          </a:prstGeom>
          <a:solidFill>
            <a:schemeClr val="bg1"/>
          </a:solidFill>
          <a:ln w="6350" cap="flat" cmpd="sng" algn="ctr">
            <a:solidFill>
              <a:srgbClr val="A5B8EE"/>
            </a:solidFill>
            <a:prstDash val="solid"/>
            <a:headEnd type="none" w="med" len="med"/>
            <a:tailEnd type="none" w="med" len="med"/>
          </a:ln>
          <a:effectLst>
            <a:innerShdw blurRad="889000" dist="508000" dir="8400000">
              <a:srgbClr val="599FFD">
                <a:alpha val="25000"/>
              </a:srgbClr>
            </a:innerShdw>
          </a:effectLst>
        </p:spPr>
        <p:txBody>
          <a:bodyPr rot="0" spcFirstLastPara="0" vertOverflow="overflow" horzOverflow="overflow" vert="horz" wrap="square" lIns="91440" tIns="128016" rIns="91440" bIns="36576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800" b="0" i="0" u="none" strike="noStrike" kern="0" cap="none" spc="0" normalizeH="0" baseline="0" noProof="0">
              <a:ln>
                <a:noFill/>
              </a:ln>
              <a:solidFill>
                <a:srgbClr val="FFFFFF"/>
              </a:solidFill>
              <a:effectLst/>
              <a:uLnTx/>
              <a:uFillTx/>
              <a:latin typeface="Segoe Sans Display"/>
              <a:ea typeface="+mn-ea"/>
              <a:cs typeface="Segoe UI" pitchFamily="34" charset="0"/>
            </a:endParaRPr>
          </a:p>
        </p:txBody>
      </p:sp>
      <p:sp>
        <p:nvSpPr>
          <p:cNvPr id="7" name="TextBox 6">
            <a:extLst>
              <a:ext uri="{FF2B5EF4-FFF2-40B4-BE49-F238E27FC236}">
                <a16:creationId xmlns:a16="http://schemas.microsoft.com/office/drawing/2014/main" id="{47A9EF61-EE8D-34DB-7B1C-B2945F569C5E}"/>
              </a:ext>
            </a:extLst>
          </p:cNvPr>
          <p:cNvSpPr txBox="1"/>
          <p:nvPr/>
        </p:nvSpPr>
        <p:spPr>
          <a:xfrm>
            <a:off x="5032772" y="2435360"/>
            <a:ext cx="2926080" cy="2062103"/>
          </a:xfrm>
          <a:prstGeom prst="rect">
            <a:avLst/>
          </a:prstGeom>
          <a:noFill/>
        </p:spPr>
        <p:txBody>
          <a:bodyPr wrap="square" lIns="0" tIns="0" rIns="0" bIns="0" rtlCol="0">
            <a:spAutoFit/>
          </a:bodyPr>
          <a:lstStyle/>
          <a:p>
            <a:pPr marL="0" marR="0" lvl="0" indent="0" algn="ctr" defTabSz="914400" rtl="0" eaLnBrk="1" fontAlgn="auto" latinLnBrk="0" hangingPunct="1">
              <a:lnSpc>
                <a:spcPct val="150000"/>
              </a:lnSpc>
              <a:spcBef>
                <a:spcPts val="0"/>
              </a:spcBef>
              <a:spcAft>
                <a:spcPts val="600"/>
              </a:spcAft>
              <a:buClrTx/>
              <a:buSzTx/>
              <a:buFontTx/>
              <a:buNone/>
              <a:tabLst/>
              <a:defRPr/>
            </a:pPr>
            <a:r>
              <a:rPr kumimoji="0" lang="en-US" sz="2000" b="0" i="0" u="none" strike="noStrike" kern="1200" cap="none" spc="-40" normalizeH="0" baseline="0" noProof="0">
                <a:ln w="3175">
                  <a:noFill/>
                </a:ln>
                <a:gradFill>
                  <a:gsLst>
                    <a:gs pos="0">
                      <a:srgbClr val="599FFD"/>
                    </a:gs>
                    <a:gs pos="80000">
                      <a:srgbClr val="0360DB"/>
                    </a:gs>
                  </a:gsLst>
                  <a:path path="circle">
                    <a:fillToRect l="100000" t="100000"/>
                  </a:path>
                </a:gradFill>
                <a:effectLst/>
                <a:uLnTx/>
                <a:uFillTx/>
                <a:latin typeface="Segoe Sans Display Semibold"/>
                <a:ea typeface="+mn-ea"/>
                <a:cs typeface="Segoe UI" panose="020B0502040204020203" pitchFamily="34" charset="0"/>
              </a:rPr>
              <a:t>What happened</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w="3175">
                  <a:noFill/>
                </a:ln>
                <a:solidFill>
                  <a:srgbClr val="000000"/>
                </a:solidFill>
                <a:effectLst/>
                <a:uLnTx/>
                <a:uFillTx/>
                <a:latin typeface="Segoe Sans Display"/>
                <a:ea typeface="+mn-ea"/>
                <a:cs typeface="Segoe UI" panose="020B0502040204020203" pitchFamily="34" charset="0"/>
              </a:rPr>
              <a:t>Violet received welcome email</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w="3175">
                  <a:noFill/>
                </a:ln>
                <a:solidFill>
                  <a:srgbClr val="000000"/>
                </a:solidFill>
                <a:effectLst/>
                <a:uLnTx/>
                <a:uFillTx/>
                <a:latin typeface="Segoe Sans Display"/>
                <a:ea typeface="+mn-ea"/>
                <a:cs typeface="Segoe UI" panose="020B0502040204020203" pitchFamily="34" charset="0"/>
              </a:rPr>
              <a:t>Requested access to a new </a:t>
            </a:r>
            <a:br>
              <a:rPr kumimoji="0" lang="en-US" sz="1400" b="0" i="0" u="none" strike="noStrike" kern="1200" cap="none" spc="0" normalizeH="0" baseline="0" noProof="0">
                <a:ln w="3175">
                  <a:noFill/>
                </a:ln>
                <a:solidFill>
                  <a:srgbClr val="000000"/>
                </a:solidFill>
                <a:effectLst/>
                <a:uLnTx/>
                <a:uFillTx/>
                <a:latin typeface="Segoe Sans Display"/>
                <a:ea typeface="+mn-ea"/>
                <a:cs typeface="Segoe UI" panose="020B0502040204020203" pitchFamily="34" charset="0"/>
              </a:rPr>
            </a:br>
            <a:r>
              <a:rPr kumimoji="0" lang="en-US" sz="1400" b="0" i="0" u="none" strike="noStrike" kern="1200" cap="none" spc="0" normalizeH="0" baseline="0" noProof="0">
                <a:ln w="3175">
                  <a:noFill/>
                </a:ln>
                <a:solidFill>
                  <a:srgbClr val="000000"/>
                </a:solidFill>
                <a:effectLst/>
                <a:uLnTx/>
                <a:uFillTx/>
                <a:latin typeface="Segoe Sans Display"/>
                <a:ea typeface="+mn-ea"/>
                <a:cs typeface="Segoe UI" panose="020B0502040204020203" pitchFamily="34" charset="0"/>
              </a:rPr>
              <a:t>access package</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w="3175">
                  <a:noFill/>
                </a:ln>
                <a:solidFill>
                  <a:srgbClr val="000000"/>
                </a:solidFill>
                <a:effectLst/>
                <a:uLnTx/>
                <a:uFillTx/>
                <a:latin typeface="Segoe Sans Display"/>
                <a:ea typeface="+mn-ea"/>
                <a:cs typeface="Segoe UI" panose="020B0502040204020203" pitchFamily="34" charset="0"/>
              </a:rPr>
              <a:t>Verified her identity with Face Check</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w="3175">
                  <a:noFill/>
                </a:ln>
                <a:solidFill>
                  <a:srgbClr val="000000"/>
                </a:solidFill>
                <a:effectLst/>
                <a:uLnTx/>
                <a:uFillTx/>
                <a:latin typeface="Segoe Sans Display"/>
                <a:ea typeface="+mn-ea"/>
                <a:cs typeface="Segoe UI" panose="020B0502040204020203" pitchFamily="34" charset="0"/>
              </a:rPr>
              <a:t>Lost access to resources she no longer needs</a:t>
            </a:r>
          </a:p>
        </p:txBody>
      </p:sp>
      <p:sp>
        <p:nvSpPr>
          <p:cNvPr id="13" name="TextBox 12">
            <a:extLst>
              <a:ext uri="{FF2B5EF4-FFF2-40B4-BE49-F238E27FC236}">
                <a16:creationId xmlns:a16="http://schemas.microsoft.com/office/drawing/2014/main" id="{7228747B-9015-5046-77E6-2AAC93B79923}"/>
              </a:ext>
            </a:extLst>
          </p:cNvPr>
          <p:cNvSpPr txBox="1"/>
          <p:nvPr/>
        </p:nvSpPr>
        <p:spPr>
          <a:xfrm>
            <a:off x="8543542" y="2435359"/>
            <a:ext cx="2926080" cy="1046440"/>
          </a:xfrm>
          <a:prstGeom prst="rect">
            <a:avLst/>
          </a:prstGeom>
          <a:noFill/>
        </p:spPr>
        <p:txBody>
          <a:bodyPr wrap="square" lIns="0" tIns="0" rIns="0" bIns="0" rtlCol="0">
            <a:spAutoFit/>
          </a:bodyPr>
          <a:lstStyle/>
          <a:p>
            <a:pPr marL="0" marR="0" lvl="0" indent="0" algn="ctr" defTabSz="914400" rtl="0" eaLnBrk="1" fontAlgn="auto" latinLnBrk="0" hangingPunct="1">
              <a:lnSpc>
                <a:spcPct val="150000"/>
              </a:lnSpc>
              <a:spcBef>
                <a:spcPts val="0"/>
              </a:spcBef>
              <a:spcAft>
                <a:spcPts val="600"/>
              </a:spcAft>
              <a:buClrTx/>
              <a:buSzTx/>
              <a:buFontTx/>
              <a:buNone/>
              <a:tabLst/>
              <a:defRPr/>
            </a:pPr>
            <a:r>
              <a:rPr kumimoji="0" lang="en-US" sz="2000" b="0" i="0" u="none" strike="noStrike" kern="1200" cap="none" spc="-40" normalizeH="0" baseline="0" noProof="0">
                <a:ln w="3175">
                  <a:noFill/>
                </a:ln>
                <a:gradFill>
                  <a:gsLst>
                    <a:gs pos="0">
                      <a:srgbClr val="599FFD"/>
                    </a:gs>
                    <a:gs pos="80000">
                      <a:srgbClr val="0360DB"/>
                    </a:gs>
                  </a:gsLst>
                  <a:path path="circle">
                    <a:fillToRect l="100000" t="100000"/>
                  </a:path>
                </a:gradFill>
                <a:effectLst/>
                <a:uLnTx/>
                <a:uFillTx/>
                <a:latin typeface="Segoe Sans Display Semibold"/>
                <a:ea typeface="+mn-ea"/>
                <a:cs typeface="Segoe UI" panose="020B0502040204020203" pitchFamily="34" charset="0"/>
              </a:rPr>
              <a:t>Products</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w="3175">
                  <a:noFill/>
                </a:ln>
                <a:solidFill>
                  <a:srgbClr val="000000"/>
                </a:solidFill>
                <a:effectLst/>
                <a:uLnTx/>
                <a:uFillTx/>
                <a:latin typeface="Segoe Sans Display"/>
                <a:ea typeface="+mn-ea"/>
                <a:cs typeface="Segoe UI" panose="020B0502040204020203" pitchFamily="34" charset="0"/>
              </a:rPr>
              <a:t>Microsoft Entra ID Governance</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w="3175">
                  <a:noFill/>
                </a:ln>
                <a:solidFill>
                  <a:srgbClr val="000000"/>
                </a:solidFill>
                <a:effectLst/>
                <a:uLnTx/>
                <a:uFillTx/>
                <a:latin typeface="Segoe Sans Display"/>
                <a:ea typeface="+mn-ea"/>
                <a:cs typeface="Segoe UI" panose="020B0502040204020203" pitchFamily="34" charset="0"/>
              </a:rPr>
              <a:t>Microsoft Entra Verified ID</a:t>
            </a:r>
          </a:p>
        </p:txBody>
      </p:sp>
    </p:spTree>
    <p:extLst>
      <p:ext uri="{BB962C8B-B14F-4D97-AF65-F5344CB8AC3E}">
        <p14:creationId xmlns:p14="http://schemas.microsoft.com/office/powerpoint/2010/main" val="6173003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0"/>
                                        </p:tgtEl>
                                        <p:attrNameLst>
                                          <p:attrName>style.visibility</p:attrName>
                                        </p:attrNameLst>
                                      </p:cBhvr>
                                      <p:to>
                                        <p:strVal val="visible"/>
                                      </p:to>
                                    </p:set>
                                    <p:animEffect transition="in" filter="fade">
                                      <p:cBhvr>
                                        <p:cTn id="7" dur="500"/>
                                        <p:tgtEl>
                                          <p:spTgt spid="130"/>
                                        </p:tgtEl>
                                      </p:cBhvr>
                                    </p:animEffect>
                                  </p:childTnLst>
                                </p:cTn>
                              </p:par>
                              <p:par>
                                <p:cTn id="8" presetID="2" presetClass="entr" presetSubtype="8" decel="10000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 calcmode="lin" valueType="num">
                                      <p:cBhvr additive="base">
                                        <p:cTn id="10" dur="500" fill="hold"/>
                                        <p:tgtEl>
                                          <p:spTgt spid="10"/>
                                        </p:tgtEl>
                                        <p:attrNameLst>
                                          <p:attrName>ppt_x</p:attrName>
                                        </p:attrNameLst>
                                      </p:cBhvr>
                                      <p:tavLst>
                                        <p:tav tm="0">
                                          <p:val>
                                            <p:strVal val="0-#ppt_w/2"/>
                                          </p:val>
                                        </p:tav>
                                        <p:tav tm="100000">
                                          <p:val>
                                            <p:strVal val="#ppt_x"/>
                                          </p:val>
                                        </p:tav>
                                      </p:tavLst>
                                    </p:anim>
                                    <p:anim calcmode="lin" valueType="num">
                                      <p:cBhvr additive="base">
                                        <p:cTn id="11" dur="500" fill="hold"/>
                                        <p:tgtEl>
                                          <p:spTgt spid="10"/>
                                        </p:tgtEl>
                                        <p:attrNameLst>
                                          <p:attrName>ppt_y</p:attrName>
                                        </p:attrNameLst>
                                      </p:cBhvr>
                                      <p:tavLst>
                                        <p:tav tm="0">
                                          <p:val>
                                            <p:strVal val="#ppt_y"/>
                                          </p:val>
                                        </p:tav>
                                        <p:tav tm="100000">
                                          <p:val>
                                            <p:strVal val="#ppt_y"/>
                                          </p:val>
                                        </p:tav>
                                      </p:tavLst>
                                    </p:anim>
                                  </p:childTnLst>
                                </p:cTn>
                              </p:par>
                              <p:par>
                                <p:cTn id="12" presetID="10" presetClass="entr" presetSubtype="0" fill="hold" grpId="0" nodeType="withEffect">
                                  <p:stCondLst>
                                    <p:cond delay="25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25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10" presetClass="entr" presetSubtype="0" fill="hold" grpId="0" nodeType="withEffect">
                                  <p:stCondLst>
                                    <p:cond delay="25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25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animBg="1"/>
      <p:bldP spid="7" grpId="0"/>
      <p:bldP spid="13"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FA3370-653A-FAE1-A6CF-FBDD39900738}"/>
            </a:ext>
          </a:extLst>
        </p:cNvPr>
        <p:cNvGrpSpPr/>
        <p:nvPr/>
      </p:nvGrpSpPr>
      <p:grpSpPr>
        <a:xfrm>
          <a:off x="0" y="0"/>
          <a:ext cx="0" cy="0"/>
          <a:chOff x="0" y="0"/>
          <a:chExt cx="0" cy="0"/>
        </a:xfrm>
      </p:grpSpPr>
      <p:sp>
        <p:nvSpPr>
          <p:cNvPr id="16" name="Title 13">
            <a:extLst>
              <a:ext uri="{FF2B5EF4-FFF2-40B4-BE49-F238E27FC236}">
                <a16:creationId xmlns:a16="http://schemas.microsoft.com/office/drawing/2014/main" id="{5A604DEE-1A86-2B03-9B0A-E9B55CC028F6}"/>
              </a:ext>
            </a:extLst>
          </p:cNvPr>
          <p:cNvSpPr txBox="1">
            <a:spLocks noGrp="1"/>
          </p:cNvSpPr>
          <p:nvPr>
            <p:ph type="title" idx="4294967295"/>
          </p:nvPr>
        </p:nvSpPr>
        <p:spPr>
          <a:xfrm>
            <a:off x="4895610" y="387729"/>
            <a:ext cx="6710362" cy="984250"/>
          </a:xfr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r>
              <a:rPr lang="en-US" sz="3200" b="1" dirty="0">
                <a:latin typeface="Segoe Sans Display Semibold" pitchFamily="2" charset="0"/>
                <a:cs typeface="Segoe Sans Display Semibold" pitchFamily="2" charset="0"/>
              </a:rPr>
              <a:t>Protect access to </a:t>
            </a:r>
            <a:br>
              <a:rPr lang="en-US" sz="3200" b="1" dirty="0">
                <a:latin typeface="Segoe Sans Display Semibold" pitchFamily="2" charset="0"/>
                <a:cs typeface="Segoe Sans Display Semibold" pitchFamily="2" charset="0"/>
              </a:rPr>
            </a:br>
            <a:r>
              <a:rPr lang="en-US" sz="3200" b="1" dirty="0">
                <a:solidFill>
                  <a:srgbClr val="0360DB"/>
                </a:solidFill>
                <a:latin typeface="Segoe Sans Display Semibold" pitchFamily="2" charset="0"/>
                <a:cs typeface="Segoe Sans Display Semibold" pitchFamily="2" charset="0"/>
              </a:rPr>
              <a:t>all applications and AI</a:t>
            </a:r>
          </a:p>
        </p:txBody>
      </p:sp>
      <p:grpSp>
        <p:nvGrpSpPr>
          <p:cNvPr id="40" name="Group 39">
            <a:extLst>
              <a:ext uri="{FF2B5EF4-FFF2-40B4-BE49-F238E27FC236}">
                <a16:creationId xmlns:a16="http://schemas.microsoft.com/office/drawing/2014/main" id="{A9866E5F-CCC8-9786-3A7A-CEB2F0ACABA9}"/>
              </a:ext>
              <a:ext uri="{C183D7F6-B498-43B3-948B-1728B52AA6E4}">
                <adec:decorative xmlns:adec="http://schemas.microsoft.com/office/drawing/2017/decorative" val="1"/>
              </a:ext>
            </a:extLst>
          </p:cNvPr>
          <p:cNvGrpSpPr/>
          <p:nvPr/>
        </p:nvGrpSpPr>
        <p:grpSpPr>
          <a:xfrm>
            <a:off x="-1" y="0"/>
            <a:ext cx="4238869" cy="6852458"/>
            <a:chOff x="-1" y="0"/>
            <a:chExt cx="4238869" cy="6852458"/>
          </a:xfrm>
        </p:grpSpPr>
        <p:pic>
          <p:nvPicPr>
            <p:cNvPr id="39" name="Picture 38">
              <a:extLst>
                <a:ext uri="{FF2B5EF4-FFF2-40B4-BE49-F238E27FC236}">
                  <a16:creationId xmlns:a16="http://schemas.microsoft.com/office/drawing/2014/main" id="{F2D91239-ED67-8473-8715-4A9176F1DF40}"/>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rcRect l="22011" t="166" r="36783" b="-166"/>
            <a:stretch/>
          </p:blipFill>
          <p:spPr>
            <a:xfrm>
              <a:off x="-1" y="0"/>
              <a:ext cx="4238869" cy="6852458"/>
            </a:xfrm>
            <a:custGeom>
              <a:avLst/>
              <a:gdLst>
                <a:gd name="connsiteX0" fmla="*/ 0 w 4238869"/>
                <a:gd name="connsiteY0" fmla="*/ 0 h 6852458"/>
                <a:gd name="connsiteX1" fmla="*/ 4238869 w 4238869"/>
                <a:gd name="connsiteY1" fmla="*/ 0 h 6852458"/>
                <a:gd name="connsiteX2" fmla="*/ 4238869 w 4238869"/>
                <a:gd name="connsiteY2" fmla="*/ 6852458 h 6852458"/>
                <a:gd name="connsiteX3" fmla="*/ 0 w 4238869"/>
                <a:gd name="connsiteY3" fmla="*/ 6852458 h 6852458"/>
              </a:gdLst>
              <a:ahLst/>
              <a:cxnLst>
                <a:cxn ang="0">
                  <a:pos x="connsiteX0" y="connsiteY0"/>
                </a:cxn>
                <a:cxn ang="0">
                  <a:pos x="connsiteX1" y="connsiteY1"/>
                </a:cxn>
                <a:cxn ang="0">
                  <a:pos x="connsiteX2" y="connsiteY2"/>
                </a:cxn>
                <a:cxn ang="0">
                  <a:pos x="connsiteX3" y="connsiteY3"/>
                </a:cxn>
              </a:cxnLst>
              <a:rect l="l" t="t" r="r" b="b"/>
              <a:pathLst>
                <a:path w="4238869" h="6852458">
                  <a:moveTo>
                    <a:pt x="0" y="0"/>
                  </a:moveTo>
                  <a:lnTo>
                    <a:pt x="4238869" y="0"/>
                  </a:lnTo>
                  <a:lnTo>
                    <a:pt x="4238869" y="6852458"/>
                  </a:lnTo>
                  <a:lnTo>
                    <a:pt x="0" y="6852458"/>
                  </a:lnTo>
                  <a:close/>
                </a:path>
              </a:pathLst>
            </a:custGeom>
          </p:spPr>
        </p:pic>
        <p:pic>
          <p:nvPicPr>
            <p:cNvPr id="38" name="Picture 37">
              <a:extLst>
                <a:ext uri="{FF2B5EF4-FFF2-40B4-BE49-F238E27FC236}">
                  <a16:creationId xmlns:a16="http://schemas.microsoft.com/office/drawing/2014/main" id="{C4D1C121-4373-557D-68BF-BC0CB66B1632}"/>
                </a:ext>
              </a:extLst>
            </p:cNvPr>
            <p:cNvPicPr>
              <a:picLocks noChangeAspect="1"/>
            </p:cNvPicPr>
            <p:nvPr/>
          </p:nvPicPr>
          <p:blipFill>
            <a:blip r:embed="rId4">
              <a:alphaModFix amt="70000"/>
            </a:blip>
            <a:srcRect l="21841" r="21841"/>
            <a:stretch/>
          </p:blipFill>
          <p:spPr>
            <a:xfrm rot="16200000" flipV="1">
              <a:off x="2770744" y="2681231"/>
              <a:ext cx="1469017" cy="1467230"/>
            </a:xfrm>
            <a:custGeom>
              <a:avLst/>
              <a:gdLst>
                <a:gd name="connsiteX0" fmla="*/ 0 w 1133669"/>
                <a:gd name="connsiteY0" fmla="*/ 0 h 1132290"/>
                <a:gd name="connsiteX1" fmla="*/ 1133669 w 1133669"/>
                <a:gd name="connsiteY1" fmla="*/ 0 h 1132290"/>
                <a:gd name="connsiteX2" fmla="*/ 1133669 w 1133669"/>
                <a:gd name="connsiteY2" fmla="*/ 1132290 h 1132290"/>
                <a:gd name="connsiteX3" fmla="*/ 0 w 1133669"/>
                <a:gd name="connsiteY3" fmla="*/ 1132290 h 1132290"/>
              </a:gdLst>
              <a:ahLst/>
              <a:cxnLst>
                <a:cxn ang="0">
                  <a:pos x="connsiteX0" y="connsiteY0"/>
                </a:cxn>
                <a:cxn ang="0">
                  <a:pos x="connsiteX1" y="connsiteY1"/>
                </a:cxn>
                <a:cxn ang="0">
                  <a:pos x="connsiteX2" y="connsiteY2"/>
                </a:cxn>
                <a:cxn ang="0">
                  <a:pos x="connsiteX3" y="connsiteY3"/>
                </a:cxn>
              </a:cxnLst>
              <a:rect l="l" t="t" r="r" b="b"/>
              <a:pathLst>
                <a:path w="1133669" h="1132290">
                  <a:moveTo>
                    <a:pt x="0" y="0"/>
                  </a:moveTo>
                  <a:lnTo>
                    <a:pt x="1133669" y="0"/>
                  </a:lnTo>
                  <a:lnTo>
                    <a:pt x="1133669" y="1132290"/>
                  </a:lnTo>
                  <a:lnTo>
                    <a:pt x="0" y="1132290"/>
                  </a:lnTo>
                  <a:close/>
                </a:path>
              </a:pathLst>
            </a:custGeom>
          </p:spPr>
        </p:pic>
      </p:grpSp>
      <p:grpSp>
        <p:nvGrpSpPr>
          <p:cNvPr id="13" name="Group 12">
            <a:extLst>
              <a:ext uri="{FF2B5EF4-FFF2-40B4-BE49-F238E27FC236}">
                <a16:creationId xmlns:a16="http://schemas.microsoft.com/office/drawing/2014/main" id="{79BFD969-F982-26B8-1911-D212B47EDBB4}"/>
              </a:ext>
              <a:ext uri="{C183D7F6-B498-43B3-948B-1728B52AA6E4}">
                <adec:decorative xmlns:adec="http://schemas.microsoft.com/office/drawing/2017/decorative" val="1"/>
              </a:ext>
            </a:extLst>
          </p:cNvPr>
          <p:cNvGrpSpPr/>
          <p:nvPr/>
        </p:nvGrpSpPr>
        <p:grpSpPr>
          <a:xfrm>
            <a:off x="10784824" y="457200"/>
            <a:ext cx="821388" cy="821388"/>
            <a:chOff x="10468823" y="734429"/>
            <a:chExt cx="821388" cy="821388"/>
          </a:xfrm>
        </p:grpSpPr>
        <p:grpSp>
          <p:nvGrpSpPr>
            <p:cNvPr id="14" name="Group 13">
              <a:extLst>
                <a:ext uri="{FF2B5EF4-FFF2-40B4-BE49-F238E27FC236}">
                  <a16:creationId xmlns:a16="http://schemas.microsoft.com/office/drawing/2014/main" id="{7A3BD479-B419-B438-B7BB-1F3B6D1E179E}"/>
                </a:ext>
                <a:ext uri="{C183D7F6-B498-43B3-948B-1728B52AA6E4}">
                  <adec:decorative xmlns:adec="http://schemas.microsoft.com/office/drawing/2017/decorative" val="1"/>
                </a:ext>
              </a:extLst>
            </p:cNvPr>
            <p:cNvGrpSpPr/>
            <p:nvPr/>
          </p:nvGrpSpPr>
          <p:grpSpPr>
            <a:xfrm>
              <a:off x="10468823" y="734429"/>
              <a:ext cx="821388" cy="821388"/>
              <a:chOff x="1511104" y="983803"/>
              <a:chExt cx="874443" cy="874443"/>
            </a:xfrm>
          </p:grpSpPr>
          <p:sp>
            <p:nvSpPr>
              <p:cNvPr id="19" name="Oval 18">
                <a:extLst>
                  <a:ext uri="{FF2B5EF4-FFF2-40B4-BE49-F238E27FC236}">
                    <a16:creationId xmlns:a16="http://schemas.microsoft.com/office/drawing/2014/main" id="{2F8C3662-DEC7-4DE6-BE1A-9D5CE978FD6A}"/>
                  </a:ext>
                </a:extLst>
              </p:cNvPr>
              <p:cNvSpPr/>
              <p:nvPr/>
            </p:nvSpPr>
            <p:spPr bwMode="auto">
              <a:xfrm>
                <a:off x="1511104" y="983803"/>
                <a:ext cx="874443" cy="874443"/>
              </a:xfrm>
              <a:prstGeom prst="ellipse">
                <a:avLst/>
              </a:prstGeom>
              <a:gradFill flip="none" rotWithShape="1">
                <a:gsLst>
                  <a:gs pos="0">
                    <a:srgbClr val="FADC14">
                      <a:alpha val="50000"/>
                    </a:srgbClr>
                  </a:gs>
                  <a:gs pos="100000">
                    <a:srgbClr val="599FFD">
                      <a:alpha val="50000"/>
                    </a:srgbClr>
                  </a:gs>
                </a:gsLst>
                <a:path path="circle">
                  <a:fillToRect t="100000" r="100000"/>
                </a:path>
                <a:tileRect l="-100000" b="-10000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91F2C"/>
                  </a:solidFill>
                  <a:effectLst/>
                  <a:uLnTx/>
                  <a:uFillTx/>
                  <a:latin typeface="Segoe UI Variable Display"/>
                  <a:ea typeface="+mn-ea"/>
                  <a:cs typeface="Segoe UI" pitchFamily="34" charset="0"/>
                </a:endParaRPr>
              </a:p>
            </p:txBody>
          </p:sp>
          <p:sp>
            <p:nvSpPr>
              <p:cNvPr id="20" name="Oval 19">
                <a:extLst>
                  <a:ext uri="{FF2B5EF4-FFF2-40B4-BE49-F238E27FC236}">
                    <a16:creationId xmlns:a16="http://schemas.microsoft.com/office/drawing/2014/main" id="{D78357D4-FDE1-F1AA-2811-E6A94755D784}"/>
                  </a:ext>
                </a:extLst>
              </p:cNvPr>
              <p:cNvSpPr/>
              <p:nvPr/>
            </p:nvSpPr>
            <p:spPr bwMode="auto">
              <a:xfrm>
                <a:off x="1620236" y="1092935"/>
                <a:ext cx="656179" cy="656179"/>
              </a:xfrm>
              <a:prstGeom prst="ellipse">
                <a:avLst/>
              </a:prstGeom>
              <a:solidFill>
                <a:srgbClr val="FFFFFF"/>
              </a:solidFill>
              <a:ln w="19050" cap="flat" cmpd="sng" algn="ctr">
                <a:gradFill>
                  <a:gsLst>
                    <a:gs pos="0">
                      <a:srgbClr val="599FFD"/>
                    </a:gs>
                    <a:gs pos="100000">
                      <a:srgbClr val="FADC14"/>
                    </a:gs>
                  </a:gsLst>
                  <a:lin ang="5400000" scaled="1"/>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91F2C"/>
                  </a:solidFill>
                  <a:effectLst/>
                  <a:uLnTx/>
                  <a:uFillTx/>
                  <a:latin typeface="Segoe UI Variable Display"/>
                  <a:ea typeface="+mn-ea"/>
                  <a:cs typeface="Segoe UI" pitchFamily="34" charset="0"/>
                </a:endParaRPr>
              </a:p>
            </p:txBody>
          </p:sp>
        </p:grpSp>
        <p:grpSp>
          <p:nvGrpSpPr>
            <p:cNvPr id="15" name="Group 14">
              <a:extLst>
                <a:ext uri="{FF2B5EF4-FFF2-40B4-BE49-F238E27FC236}">
                  <a16:creationId xmlns:a16="http://schemas.microsoft.com/office/drawing/2014/main" id="{B50848A1-4FC3-315D-BDE5-1512F7CF47A2}"/>
                </a:ext>
              </a:extLst>
            </p:cNvPr>
            <p:cNvGrpSpPr/>
            <p:nvPr/>
          </p:nvGrpSpPr>
          <p:grpSpPr>
            <a:xfrm>
              <a:off x="10706581" y="973056"/>
              <a:ext cx="345873" cy="344134"/>
              <a:chOff x="3542462" y="4162836"/>
              <a:chExt cx="306339" cy="304799"/>
            </a:xfrm>
            <a:solidFill>
              <a:srgbClr val="000000"/>
            </a:solidFill>
          </p:grpSpPr>
          <p:sp>
            <p:nvSpPr>
              <p:cNvPr id="17" name="Freeform: Shape 16">
                <a:extLst>
                  <a:ext uri="{FF2B5EF4-FFF2-40B4-BE49-F238E27FC236}">
                    <a16:creationId xmlns:a16="http://schemas.microsoft.com/office/drawing/2014/main" id="{1BBF6BD7-C57D-5148-A995-76FFC7990126}"/>
                  </a:ext>
                </a:extLst>
              </p:cNvPr>
              <p:cNvSpPr/>
              <p:nvPr/>
            </p:nvSpPr>
            <p:spPr>
              <a:xfrm>
                <a:off x="3752790" y="4219225"/>
                <a:ext cx="38100" cy="38100"/>
              </a:xfrm>
              <a:custGeom>
                <a:avLst/>
                <a:gdLst>
                  <a:gd name="connsiteX0" fmla="*/ 38100 w 38100"/>
                  <a:gd name="connsiteY0" fmla="*/ 19050 h 38100"/>
                  <a:gd name="connsiteX1" fmla="*/ 19050 w 38100"/>
                  <a:gd name="connsiteY1" fmla="*/ 38100 h 38100"/>
                  <a:gd name="connsiteX2" fmla="*/ 0 w 38100"/>
                  <a:gd name="connsiteY2" fmla="*/ 19050 h 38100"/>
                  <a:gd name="connsiteX3" fmla="*/ 19050 w 38100"/>
                  <a:gd name="connsiteY3" fmla="*/ 0 h 38100"/>
                  <a:gd name="connsiteX4" fmla="*/ 38100 w 38100"/>
                  <a:gd name="connsiteY4" fmla="*/ 19050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8100" y="19050"/>
                    </a:moveTo>
                    <a:cubicBezTo>
                      <a:pt x="38100" y="29571"/>
                      <a:pt x="29572" y="38100"/>
                      <a:pt x="19050" y="38100"/>
                    </a:cubicBezTo>
                    <a:cubicBezTo>
                      <a:pt x="8528" y="38100"/>
                      <a:pt x="0" y="29571"/>
                      <a:pt x="0" y="19050"/>
                    </a:cubicBezTo>
                    <a:cubicBezTo>
                      <a:pt x="0" y="8529"/>
                      <a:pt x="8528" y="0"/>
                      <a:pt x="19050" y="0"/>
                    </a:cubicBezTo>
                    <a:cubicBezTo>
                      <a:pt x="29572" y="0"/>
                      <a:pt x="38100" y="8529"/>
                      <a:pt x="38100" y="19050"/>
                    </a:cubicBezTo>
                    <a:close/>
                  </a:path>
                </a:pathLst>
              </a:custGeom>
              <a:grp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Display"/>
                  <a:ea typeface="+mn-ea"/>
                  <a:cs typeface="+mn-cs"/>
                </a:endParaRPr>
              </a:p>
            </p:txBody>
          </p:sp>
          <p:sp>
            <p:nvSpPr>
              <p:cNvPr id="18" name="Freeform: Shape 17">
                <a:extLst>
                  <a:ext uri="{FF2B5EF4-FFF2-40B4-BE49-F238E27FC236}">
                    <a16:creationId xmlns:a16="http://schemas.microsoft.com/office/drawing/2014/main" id="{9FEF874A-7A75-435B-AA9A-547E60227A67}"/>
                  </a:ext>
                </a:extLst>
              </p:cNvPr>
              <p:cNvSpPr/>
              <p:nvPr/>
            </p:nvSpPr>
            <p:spPr>
              <a:xfrm>
                <a:off x="3542462" y="4162836"/>
                <a:ext cx="306339" cy="304799"/>
              </a:xfrm>
              <a:custGeom>
                <a:avLst/>
                <a:gdLst>
                  <a:gd name="connsiteX0" fmla="*/ 206517 w 306339"/>
                  <a:gd name="connsiteY0" fmla="*/ 0 h 304799"/>
                  <a:gd name="connsiteX1" fmla="*/ 106695 w 306339"/>
                  <a:gd name="connsiteY1" fmla="*/ 99822 h 304799"/>
                  <a:gd name="connsiteX2" fmla="*/ 108372 w 306339"/>
                  <a:gd name="connsiteY2" fmla="*/ 116647 h 304799"/>
                  <a:gd name="connsiteX3" fmla="*/ 107305 w 306339"/>
                  <a:gd name="connsiteY3" fmla="*/ 120366 h 304799"/>
                  <a:gd name="connsiteX4" fmla="*/ 12283 w 306339"/>
                  <a:gd name="connsiteY4" fmla="*/ 215402 h 304799"/>
                  <a:gd name="connsiteX5" fmla="*/ 0 w 306339"/>
                  <a:gd name="connsiteY5" fmla="*/ 245029 h 304799"/>
                  <a:gd name="connsiteX6" fmla="*/ 0 w 306339"/>
                  <a:gd name="connsiteY6" fmla="*/ 278130 h 304799"/>
                  <a:gd name="connsiteX7" fmla="*/ 26670 w 306339"/>
                  <a:gd name="connsiteY7" fmla="*/ 304800 h 304799"/>
                  <a:gd name="connsiteX8" fmla="*/ 64770 w 306339"/>
                  <a:gd name="connsiteY8" fmla="*/ 304800 h 304799"/>
                  <a:gd name="connsiteX9" fmla="*/ 91440 w 306339"/>
                  <a:gd name="connsiteY9" fmla="*/ 278130 h 304799"/>
                  <a:gd name="connsiteX10" fmla="*/ 91440 w 306339"/>
                  <a:gd name="connsiteY10" fmla="*/ 259080 h 304799"/>
                  <a:gd name="connsiteX11" fmla="*/ 118125 w 306339"/>
                  <a:gd name="connsiteY11" fmla="*/ 259080 h 304799"/>
                  <a:gd name="connsiteX12" fmla="*/ 137175 w 306339"/>
                  <a:gd name="connsiteY12" fmla="*/ 240030 h 304799"/>
                  <a:gd name="connsiteX13" fmla="*/ 137175 w 306339"/>
                  <a:gd name="connsiteY13" fmla="*/ 213360 h 304799"/>
                  <a:gd name="connsiteX14" fmla="*/ 163845 w 306339"/>
                  <a:gd name="connsiteY14" fmla="*/ 213360 h 304799"/>
                  <a:gd name="connsiteX15" fmla="*/ 182895 w 306339"/>
                  <a:gd name="connsiteY15" fmla="*/ 195011 h 304799"/>
                  <a:gd name="connsiteX16" fmla="*/ 206517 w 306339"/>
                  <a:gd name="connsiteY16" fmla="*/ 198120 h 304799"/>
                  <a:gd name="connsiteX17" fmla="*/ 306339 w 306339"/>
                  <a:gd name="connsiteY17" fmla="*/ 98298 h 304799"/>
                  <a:gd name="connsiteX18" fmla="*/ 206517 w 306339"/>
                  <a:gd name="connsiteY18" fmla="*/ 0 h 304799"/>
                  <a:gd name="connsiteX19" fmla="*/ 129555 w 306339"/>
                  <a:gd name="connsiteY19" fmla="*/ 99822 h 304799"/>
                  <a:gd name="connsiteX20" fmla="*/ 206517 w 306339"/>
                  <a:gd name="connsiteY20" fmla="*/ 22860 h 304799"/>
                  <a:gd name="connsiteX21" fmla="*/ 283479 w 306339"/>
                  <a:gd name="connsiteY21" fmla="*/ 98298 h 304799"/>
                  <a:gd name="connsiteX22" fmla="*/ 206517 w 306339"/>
                  <a:gd name="connsiteY22" fmla="*/ 175260 h 304799"/>
                  <a:gd name="connsiteX23" fmla="*/ 175961 w 306339"/>
                  <a:gd name="connsiteY23" fmla="*/ 168554 h 304799"/>
                  <a:gd name="connsiteX24" fmla="*/ 160948 w 306339"/>
                  <a:gd name="connsiteY24" fmla="*/ 174545 h 304799"/>
                  <a:gd name="connsiteX25" fmla="*/ 160020 w 306339"/>
                  <a:gd name="connsiteY25" fmla="*/ 179070 h 304799"/>
                  <a:gd name="connsiteX26" fmla="*/ 160020 w 306339"/>
                  <a:gd name="connsiteY26" fmla="*/ 190500 h 304799"/>
                  <a:gd name="connsiteX27" fmla="*/ 133365 w 306339"/>
                  <a:gd name="connsiteY27" fmla="*/ 190500 h 304799"/>
                  <a:gd name="connsiteX28" fmla="*/ 114315 w 306339"/>
                  <a:gd name="connsiteY28" fmla="*/ 209550 h 304799"/>
                  <a:gd name="connsiteX29" fmla="*/ 114315 w 306339"/>
                  <a:gd name="connsiteY29" fmla="*/ 236220 h 304799"/>
                  <a:gd name="connsiteX30" fmla="*/ 87645 w 306339"/>
                  <a:gd name="connsiteY30" fmla="*/ 236220 h 304799"/>
                  <a:gd name="connsiteX31" fmla="*/ 68595 w 306339"/>
                  <a:gd name="connsiteY31" fmla="*/ 255270 h 304799"/>
                  <a:gd name="connsiteX32" fmla="*/ 68595 w 306339"/>
                  <a:gd name="connsiteY32" fmla="*/ 278130 h 304799"/>
                  <a:gd name="connsiteX33" fmla="*/ 64785 w 306339"/>
                  <a:gd name="connsiteY33" fmla="*/ 281940 h 304799"/>
                  <a:gd name="connsiteX34" fmla="*/ 26685 w 306339"/>
                  <a:gd name="connsiteY34" fmla="*/ 281940 h 304799"/>
                  <a:gd name="connsiteX35" fmla="*/ 22875 w 306339"/>
                  <a:gd name="connsiteY35" fmla="*/ 278130 h 304799"/>
                  <a:gd name="connsiteX36" fmla="*/ 22875 w 306339"/>
                  <a:gd name="connsiteY36" fmla="*/ 245029 h 304799"/>
                  <a:gd name="connsiteX37" fmla="*/ 28453 w 306339"/>
                  <a:gd name="connsiteY37" fmla="*/ 231557 h 304799"/>
                  <a:gd name="connsiteX38" fmla="*/ 123490 w 306339"/>
                  <a:gd name="connsiteY38" fmla="*/ 136535 h 304799"/>
                  <a:gd name="connsiteX39" fmla="*/ 130896 w 306339"/>
                  <a:gd name="connsiteY39" fmla="*/ 112700 h 304799"/>
                  <a:gd name="connsiteX40" fmla="*/ 129555 w 306339"/>
                  <a:gd name="connsiteY40" fmla="*/ 99822 h 30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06339" h="304799">
                    <a:moveTo>
                      <a:pt x="206517" y="0"/>
                    </a:moveTo>
                    <a:cubicBezTo>
                      <a:pt x="151400" y="34"/>
                      <a:pt x="106729" y="44706"/>
                      <a:pt x="106695" y="99822"/>
                    </a:cubicBezTo>
                    <a:cubicBezTo>
                      <a:pt x="106695" y="105720"/>
                      <a:pt x="107457" y="111404"/>
                      <a:pt x="108372" y="116647"/>
                    </a:cubicBezTo>
                    <a:cubicBezTo>
                      <a:pt x="108644" y="117986"/>
                      <a:pt x="108245" y="119374"/>
                      <a:pt x="107305" y="120366"/>
                    </a:cubicBezTo>
                    <a:lnTo>
                      <a:pt x="12283" y="215402"/>
                    </a:lnTo>
                    <a:cubicBezTo>
                      <a:pt x="4423" y="223258"/>
                      <a:pt x="4" y="233916"/>
                      <a:pt x="0" y="245029"/>
                    </a:cubicBezTo>
                    <a:lnTo>
                      <a:pt x="0" y="278130"/>
                    </a:lnTo>
                    <a:cubicBezTo>
                      <a:pt x="0" y="292852"/>
                      <a:pt x="11948" y="304800"/>
                      <a:pt x="26670" y="304800"/>
                    </a:cubicBezTo>
                    <a:lnTo>
                      <a:pt x="64770" y="304800"/>
                    </a:lnTo>
                    <a:cubicBezTo>
                      <a:pt x="79499" y="304800"/>
                      <a:pt x="91440" y="292859"/>
                      <a:pt x="91440" y="278130"/>
                    </a:cubicBezTo>
                    <a:lnTo>
                      <a:pt x="91440" y="259080"/>
                    </a:lnTo>
                    <a:lnTo>
                      <a:pt x="118125" y="259080"/>
                    </a:lnTo>
                    <a:cubicBezTo>
                      <a:pt x="128641" y="259080"/>
                      <a:pt x="137175" y="250546"/>
                      <a:pt x="137175" y="240030"/>
                    </a:cubicBezTo>
                    <a:lnTo>
                      <a:pt x="137175" y="213360"/>
                    </a:lnTo>
                    <a:lnTo>
                      <a:pt x="163845" y="213360"/>
                    </a:lnTo>
                    <a:cubicBezTo>
                      <a:pt x="174099" y="213368"/>
                      <a:pt x="182517" y="205257"/>
                      <a:pt x="182895" y="195011"/>
                    </a:cubicBezTo>
                    <a:cubicBezTo>
                      <a:pt x="190454" y="196962"/>
                      <a:pt x="198440" y="198120"/>
                      <a:pt x="206517" y="198120"/>
                    </a:cubicBezTo>
                    <a:cubicBezTo>
                      <a:pt x="261634" y="198086"/>
                      <a:pt x="306306" y="153415"/>
                      <a:pt x="306339" y="98298"/>
                    </a:cubicBezTo>
                    <a:cubicBezTo>
                      <a:pt x="306339" y="42962"/>
                      <a:pt x="261336" y="0"/>
                      <a:pt x="206517" y="0"/>
                    </a:cubicBezTo>
                    <a:close/>
                    <a:moveTo>
                      <a:pt x="129555" y="99822"/>
                    </a:moveTo>
                    <a:cubicBezTo>
                      <a:pt x="129589" y="57331"/>
                      <a:pt x="164027" y="22894"/>
                      <a:pt x="206517" y="22860"/>
                    </a:cubicBezTo>
                    <a:cubicBezTo>
                      <a:pt x="249220" y="22860"/>
                      <a:pt x="283479" y="56098"/>
                      <a:pt x="283479" y="98298"/>
                    </a:cubicBezTo>
                    <a:cubicBezTo>
                      <a:pt x="283446" y="140789"/>
                      <a:pt x="249008" y="175226"/>
                      <a:pt x="206517" y="175260"/>
                    </a:cubicBezTo>
                    <a:cubicBezTo>
                      <a:pt x="196154" y="175260"/>
                      <a:pt x="185486" y="172654"/>
                      <a:pt x="175961" y="168554"/>
                    </a:cubicBezTo>
                    <a:cubicBezTo>
                      <a:pt x="170161" y="166063"/>
                      <a:pt x="163440" y="168745"/>
                      <a:pt x="160948" y="174545"/>
                    </a:cubicBezTo>
                    <a:cubicBezTo>
                      <a:pt x="160334" y="175975"/>
                      <a:pt x="160018" y="177514"/>
                      <a:pt x="160020" y="179070"/>
                    </a:cubicBezTo>
                    <a:lnTo>
                      <a:pt x="160020" y="190500"/>
                    </a:lnTo>
                    <a:lnTo>
                      <a:pt x="133365" y="190500"/>
                    </a:lnTo>
                    <a:cubicBezTo>
                      <a:pt x="122850" y="190500"/>
                      <a:pt x="114315" y="199034"/>
                      <a:pt x="114315" y="209550"/>
                    </a:cubicBezTo>
                    <a:lnTo>
                      <a:pt x="114315" y="236220"/>
                    </a:lnTo>
                    <a:lnTo>
                      <a:pt x="87645" y="236220"/>
                    </a:lnTo>
                    <a:cubicBezTo>
                      <a:pt x="77130" y="236220"/>
                      <a:pt x="68595" y="244754"/>
                      <a:pt x="68595" y="255270"/>
                    </a:cubicBezTo>
                    <a:lnTo>
                      <a:pt x="68595" y="278130"/>
                    </a:lnTo>
                    <a:cubicBezTo>
                      <a:pt x="68595" y="280235"/>
                      <a:pt x="66889" y="281940"/>
                      <a:pt x="64785" y="281940"/>
                    </a:cubicBezTo>
                    <a:lnTo>
                      <a:pt x="26685" y="281940"/>
                    </a:lnTo>
                    <a:cubicBezTo>
                      <a:pt x="24581" y="281940"/>
                      <a:pt x="22875" y="280235"/>
                      <a:pt x="22875" y="278130"/>
                    </a:cubicBezTo>
                    <a:lnTo>
                      <a:pt x="22875" y="245029"/>
                    </a:lnTo>
                    <a:cubicBezTo>
                      <a:pt x="22875" y="239984"/>
                      <a:pt x="24887" y="235123"/>
                      <a:pt x="28453" y="231557"/>
                    </a:cubicBezTo>
                    <a:lnTo>
                      <a:pt x="123490" y="136535"/>
                    </a:lnTo>
                    <a:cubicBezTo>
                      <a:pt x="129699" y="130273"/>
                      <a:pt x="132462" y="121377"/>
                      <a:pt x="130896" y="112700"/>
                    </a:cubicBezTo>
                    <a:cubicBezTo>
                      <a:pt x="130078" y="108454"/>
                      <a:pt x="129630" y="104145"/>
                      <a:pt x="129555" y="99822"/>
                    </a:cubicBezTo>
                    <a:close/>
                  </a:path>
                </a:pathLst>
              </a:custGeom>
              <a:grp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Display"/>
                  <a:ea typeface="+mn-ea"/>
                  <a:cs typeface="+mn-cs"/>
                </a:endParaRPr>
              </a:p>
            </p:txBody>
          </p:sp>
        </p:grpSp>
      </p:grpSp>
      <p:sp>
        <p:nvSpPr>
          <p:cNvPr id="21" name="TextBox 20">
            <a:extLst>
              <a:ext uri="{FF2B5EF4-FFF2-40B4-BE49-F238E27FC236}">
                <a16:creationId xmlns:a16="http://schemas.microsoft.com/office/drawing/2014/main" id="{16D4C2C0-A128-442C-4356-B214E03C0304}"/>
              </a:ext>
            </a:extLst>
          </p:cNvPr>
          <p:cNvSpPr txBox="1">
            <a:spLocks/>
          </p:cNvSpPr>
          <p:nvPr/>
        </p:nvSpPr>
        <p:spPr>
          <a:xfrm>
            <a:off x="4895612" y="1556326"/>
            <a:ext cx="2651760" cy="307777"/>
          </a:xfrm>
          <a:prstGeom prst="rect">
            <a:avLst/>
          </a:prstGeom>
          <a:noFill/>
          <a:ln>
            <a:noFill/>
          </a:ln>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Sans Display Semibold"/>
                <a:ea typeface="+mn-ea"/>
                <a:cs typeface="+mn-cs"/>
              </a:rPr>
              <a:t>Microsoft Entra Suite </a:t>
            </a:r>
          </a:p>
        </p:txBody>
      </p:sp>
      <p:sp>
        <p:nvSpPr>
          <p:cNvPr id="22" name="Rectangle 21">
            <a:extLst>
              <a:ext uri="{FF2B5EF4-FFF2-40B4-BE49-F238E27FC236}">
                <a16:creationId xmlns:a16="http://schemas.microsoft.com/office/drawing/2014/main" id="{CF8CB6C2-588E-DDE6-D80F-4D0FC3D62C6C}"/>
              </a:ext>
            </a:extLst>
          </p:cNvPr>
          <p:cNvSpPr>
            <a:spLocks/>
          </p:cNvSpPr>
          <p:nvPr/>
        </p:nvSpPr>
        <p:spPr>
          <a:xfrm>
            <a:off x="4895610" y="2120385"/>
            <a:ext cx="6710601" cy="830997"/>
          </a:xfrm>
          <a:prstGeom prst="rect">
            <a:avLst/>
          </a:prstGeom>
          <a:noFill/>
          <a:ln w="10795" cap="flat" cmpd="sng" algn="ctr">
            <a:noFill/>
            <a:prstDash val="solid"/>
          </a:ln>
          <a:effectLst/>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w="3175">
                  <a:noFill/>
                </a:ln>
                <a:solidFill>
                  <a:srgbClr val="000000"/>
                </a:solidFill>
                <a:effectLst/>
                <a:uLnTx/>
                <a:uFillTx/>
                <a:latin typeface="Segoe Sans Display"/>
                <a:ea typeface="+mn-ea"/>
                <a:cs typeface="Segoe UI" panose="020B0502040204020203" pitchFamily="34" charset="0"/>
              </a:rPr>
              <a:t>Violet</a:t>
            </a:r>
            <a:r>
              <a:rPr kumimoji="0" lang="en-US" sz="1800" b="0" i="0" u="none" strike="noStrike" kern="0" cap="none" spc="0" normalizeH="0" baseline="0" noProof="0">
                <a:ln>
                  <a:noFill/>
                </a:ln>
                <a:solidFill>
                  <a:srgbClr val="000000"/>
                </a:solidFill>
                <a:effectLst/>
                <a:uLnTx/>
                <a:uFillTx/>
                <a:latin typeface="Segoe Sans Display"/>
                <a:ea typeface="+mn-ea"/>
                <a:cs typeface="+mn-cs"/>
              </a:rPr>
              <a:t> is </a:t>
            </a:r>
            <a:r>
              <a:rPr kumimoji="0" lang="en-US" sz="1800" b="1" i="0" u="none" strike="noStrike" kern="0" cap="none" spc="0" normalizeH="0" baseline="0" noProof="0">
                <a:ln>
                  <a:noFill/>
                </a:ln>
                <a:solidFill>
                  <a:srgbClr val="0360DB"/>
                </a:solidFill>
                <a:effectLst/>
                <a:uLnTx/>
                <a:uFillTx/>
                <a:latin typeface="Segoe Sans Display"/>
                <a:ea typeface="+mn-ea"/>
                <a:cs typeface="+mn-cs"/>
              </a:rPr>
              <a:t>traveling while working remotely </a:t>
            </a:r>
            <a:r>
              <a:rPr kumimoji="0" lang="en-US" sz="1800" b="0" i="0" u="none" strike="noStrike" kern="0" cap="none" spc="0" normalizeH="0" baseline="0" noProof="0">
                <a:ln>
                  <a:noFill/>
                </a:ln>
                <a:solidFill>
                  <a:srgbClr val="000000"/>
                </a:solidFill>
                <a:effectLst/>
                <a:uLnTx/>
                <a:uFillTx/>
                <a:latin typeface="Segoe Sans Display"/>
                <a:ea typeface="+mn-ea"/>
                <a:cs typeface="+mn-cs"/>
              </a:rPr>
              <a:t>for Contoso Bank and needs secure access to the </a:t>
            </a:r>
            <a:r>
              <a:rPr kumimoji="0" lang="en-US" sz="1800" b="1" i="0" u="none" strike="noStrike" kern="0" cap="none" spc="0" normalizeH="0" baseline="0" noProof="0">
                <a:ln>
                  <a:noFill/>
                </a:ln>
                <a:solidFill>
                  <a:srgbClr val="0360DB"/>
                </a:solidFill>
                <a:effectLst/>
                <a:uLnTx/>
                <a:uFillTx/>
                <a:latin typeface="Segoe Sans Display"/>
                <a:ea typeface="+mn-ea"/>
                <a:cs typeface="+mn-cs"/>
              </a:rPr>
              <a:t>company's internal servers </a:t>
            </a:r>
            <a:r>
              <a:rPr kumimoji="0" lang="en-US" sz="1800" b="0" i="0" u="none" strike="noStrike" kern="0" cap="none" spc="0" normalizeH="0" baseline="0" noProof="0">
                <a:ln>
                  <a:noFill/>
                </a:ln>
                <a:solidFill>
                  <a:srgbClr val="000000"/>
                </a:solidFill>
                <a:effectLst/>
                <a:uLnTx/>
                <a:uFillTx/>
                <a:latin typeface="Segoe Sans Display"/>
                <a:ea typeface="+mn-ea"/>
                <a:cs typeface="+mn-cs"/>
              </a:rPr>
              <a:t>to update software, access databases, and collaborate on sensitive projects.</a:t>
            </a:r>
          </a:p>
        </p:txBody>
      </p:sp>
      <p:grpSp>
        <p:nvGrpSpPr>
          <p:cNvPr id="33" name="Group 32">
            <a:extLst>
              <a:ext uri="{FF2B5EF4-FFF2-40B4-BE49-F238E27FC236}">
                <a16:creationId xmlns:a16="http://schemas.microsoft.com/office/drawing/2014/main" id="{74685FE0-D40F-7443-93C3-A8916838F91D}"/>
              </a:ext>
              <a:ext uri="{C183D7F6-B498-43B3-948B-1728B52AA6E4}">
                <adec:decorative xmlns:adec="http://schemas.microsoft.com/office/drawing/2017/decorative" val="1"/>
              </a:ext>
            </a:extLst>
          </p:cNvPr>
          <p:cNvGrpSpPr/>
          <p:nvPr/>
        </p:nvGrpSpPr>
        <p:grpSpPr>
          <a:xfrm>
            <a:off x="4910980" y="3567312"/>
            <a:ext cx="6710602" cy="2623305"/>
            <a:chOff x="900265" y="1721852"/>
            <a:chExt cx="3212067" cy="4229523"/>
          </a:xfrm>
        </p:grpSpPr>
        <p:grpSp>
          <p:nvGrpSpPr>
            <p:cNvPr id="35" name="Group 34">
              <a:extLst>
                <a:ext uri="{FF2B5EF4-FFF2-40B4-BE49-F238E27FC236}">
                  <a16:creationId xmlns:a16="http://schemas.microsoft.com/office/drawing/2014/main" id="{EB09F65F-E97A-A2B4-85C5-BF8F13FE44C9}"/>
                </a:ext>
              </a:extLst>
            </p:cNvPr>
            <p:cNvGrpSpPr/>
            <p:nvPr/>
          </p:nvGrpSpPr>
          <p:grpSpPr>
            <a:xfrm>
              <a:off x="900265" y="1721852"/>
              <a:ext cx="3212067" cy="4229523"/>
              <a:chOff x="900265" y="1324048"/>
              <a:chExt cx="3212067" cy="4627327"/>
            </a:xfrm>
          </p:grpSpPr>
          <p:sp>
            <p:nvSpPr>
              <p:cNvPr id="37" name="Rectangle 36">
                <a:extLst>
                  <a:ext uri="{FF2B5EF4-FFF2-40B4-BE49-F238E27FC236}">
                    <a16:creationId xmlns:a16="http://schemas.microsoft.com/office/drawing/2014/main" id="{FDCD673F-D0DE-BEAD-6868-1588C97AC51C}"/>
                  </a:ext>
                </a:extLst>
              </p:cNvPr>
              <p:cNvSpPr/>
              <p:nvPr/>
            </p:nvSpPr>
            <p:spPr bwMode="auto">
              <a:xfrm>
                <a:off x="900265" y="1324048"/>
                <a:ext cx="3212067" cy="4627327"/>
              </a:xfrm>
              <a:prstGeom prst="rect">
                <a:avLst/>
              </a:prstGeom>
              <a:gradFill flip="none" rotWithShape="1">
                <a:gsLst>
                  <a:gs pos="100000">
                    <a:sysClr val="window" lastClr="FFFFFF">
                      <a:alpha val="95000"/>
                    </a:sysClr>
                  </a:gs>
                  <a:gs pos="42000">
                    <a:sysClr val="window" lastClr="FFFFFF">
                      <a:alpha val="90000"/>
                    </a:sys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37160" tIns="91440" rIns="137160" bIns="137160" numCol="1" spcCol="0" rtlCol="0" fromWordArt="0" anchor="t" anchorCtr="0" forceAA="0" compatLnSpc="1">
                <a:prstTxWarp prst="textNoShape">
                  <a:avLst/>
                </a:prstTxWarp>
                <a:noAutofit/>
              </a:bodyPr>
              <a:lstStyle/>
              <a:p>
                <a:pPr marL="0" marR="0" lvl="0" indent="0" algn="l" defTabSz="932754" rtl="0" eaLnBrk="1" fontAlgn="auto" latinLnBrk="0" hangingPunct="1">
                  <a:lnSpc>
                    <a:spcPct val="100000"/>
                  </a:lnSpc>
                  <a:spcBef>
                    <a:spcPts val="0"/>
                  </a:spcBef>
                  <a:spcAft>
                    <a:spcPts val="600"/>
                  </a:spcAft>
                  <a:buClrTx/>
                  <a:buSzPct val="90000"/>
                  <a:buFontTx/>
                  <a:buNone/>
                  <a:tabLst/>
                  <a:defRPr/>
                </a:pPr>
                <a:r>
                  <a:rPr kumimoji="0" lang="en-US" sz="1900" b="0" i="0" u="none" strike="noStrike" kern="0" cap="none" spc="0" normalizeH="0" baseline="0" noProof="0">
                    <a:ln>
                      <a:noFill/>
                    </a:ln>
                    <a:gradFill>
                      <a:gsLst>
                        <a:gs pos="0">
                          <a:srgbClr val="091F2C"/>
                        </a:gs>
                        <a:gs pos="100000">
                          <a:srgbClr val="091F2C"/>
                        </a:gs>
                      </a:gsLst>
                      <a:lin ang="0" scaled="0"/>
                    </a:gradFill>
                    <a:effectLst/>
                    <a:uLnTx/>
                    <a:uFillTx/>
                    <a:latin typeface="Segoe Sans Display"/>
                    <a:ea typeface="+mn-ea"/>
                    <a:cs typeface="Segoe Sans Display Semilight" pitchFamily="2" charset="0"/>
                  </a:rPr>
                  <a:t>Contextual </a:t>
                </a:r>
                <a:br>
                  <a:rPr kumimoji="0" lang="en-US" sz="1900" b="0" i="0" u="none" strike="noStrike" kern="0" cap="none" spc="0" normalizeH="0" baseline="0" noProof="0">
                    <a:ln>
                      <a:noFill/>
                    </a:ln>
                    <a:gradFill>
                      <a:gsLst>
                        <a:gs pos="0">
                          <a:srgbClr val="091F2C"/>
                        </a:gs>
                        <a:gs pos="100000">
                          <a:srgbClr val="091F2C"/>
                        </a:gs>
                      </a:gsLst>
                      <a:lin ang="0" scaled="0"/>
                    </a:gradFill>
                    <a:effectLst/>
                    <a:uLnTx/>
                    <a:uFillTx/>
                    <a:latin typeface="Segoe Sans Display"/>
                    <a:ea typeface="+mn-ea"/>
                    <a:cs typeface="Segoe Sans Display Semilight" pitchFamily="2" charset="0"/>
                  </a:rPr>
                </a:br>
                <a:r>
                  <a:rPr kumimoji="0" lang="en-US" sz="1900" b="0" i="0" u="none" strike="noStrike" kern="0" cap="none" spc="0" normalizeH="0" baseline="0" noProof="0">
                    <a:ln>
                      <a:noFill/>
                    </a:ln>
                    <a:gradFill>
                      <a:gsLst>
                        <a:gs pos="0">
                          <a:srgbClr val="091F2C"/>
                        </a:gs>
                        <a:gs pos="100000">
                          <a:srgbClr val="091F2C"/>
                        </a:gs>
                      </a:gsLst>
                      <a:lin ang="0" scaled="0"/>
                    </a:gradFill>
                    <a:effectLst/>
                    <a:uLnTx/>
                    <a:uFillTx/>
                    <a:latin typeface="Segoe Sans Display"/>
                    <a:ea typeface="+mn-ea"/>
                    <a:cs typeface="Segoe Sans Display Semilight" pitchFamily="2" charset="0"/>
                  </a:rPr>
                  <a:t>insights across </a:t>
                </a:r>
                <a:br>
                  <a:rPr kumimoji="0" lang="en-US" sz="1900" b="0" i="0" u="none" strike="noStrike" kern="0" cap="none" spc="0" normalizeH="0" baseline="0" noProof="0">
                    <a:ln>
                      <a:noFill/>
                    </a:ln>
                    <a:gradFill>
                      <a:gsLst>
                        <a:gs pos="0">
                          <a:srgbClr val="091F2C"/>
                        </a:gs>
                        <a:gs pos="100000">
                          <a:srgbClr val="091F2C"/>
                        </a:gs>
                      </a:gsLst>
                      <a:lin ang="0" scaled="0"/>
                    </a:gradFill>
                    <a:effectLst/>
                    <a:uLnTx/>
                    <a:uFillTx/>
                    <a:latin typeface="Segoe Sans Display"/>
                    <a:ea typeface="+mn-ea"/>
                    <a:cs typeface="Segoe Sans Display Semilight" pitchFamily="2" charset="0"/>
                  </a:rPr>
                </a:br>
                <a:r>
                  <a:rPr kumimoji="0" lang="en-US" sz="1900" b="0" i="0" u="none" strike="noStrike" kern="0" cap="none" spc="0" normalizeH="0" baseline="0" noProof="0">
                    <a:ln>
                      <a:noFill/>
                    </a:ln>
                    <a:gradFill>
                      <a:gsLst>
                        <a:gs pos="0">
                          <a:srgbClr val="091F2C"/>
                        </a:gs>
                        <a:gs pos="100000">
                          <a:srgbClr val="091F2C"/>
                        </a:gs>
                      </a:gsLst>
                      <a:lin ang="0" scaled="0"/>
                    </a:gradFill>
                    <a:effectLst/>
                    <a:uLnTx/>
                    <a:uFillTx/>
                    <a:latin typeface="Segoe Sans Display"/>
                    <a:ea typeface="+mn-ea"/>
                    <a:cs typeface="Segoe Sans Display Semilight" pitchFamily="2" charset="0"/>
                  </a:rPr>
                  <a:t>50+ categories</a:t>
                </a:r>
              </a:p>
            </p:txBody>
          </p:sp>
          <p:sp>
            <p:nvSpPr>
              <p:cNvPr id="41" name="Rectangle 40">
                <a:extLst>
                  <a:ext uri="{FF2B5EF4-FFF2-40B4-BE49-F238E27FC236}">
                    <a16:creationId xmlns:a16="http://schemas.microsoft.com/office/drawing/2014/main" id="{787E16DC-AFA1-52FD-C6A6-9C8252F72190}"/>
                  </a:ext>
                </a:extLst>
              </p:cNvPr>
              <p:cNvSpPr/>
              <p:nvPr/>
            </p:nvSpPr>
            <p:spPr bwMode="auto">
              <a:xfrm>
                <a:off x="900265" y="1324048"/>
                <a:ext cx="3212067" cy="4627327"/>
              </a:xfrm>
              <a:prstGeom prst="rect">
                <a:avLst/>
              </a:prstGeom>
              <a:solidFill>
                <a:srgbClr val="F6F4E7"/>
              </a:solidFill>
              <a:ln w="6350" cap="flat" cmpd="sng" algn="ctr">
                <a:noFill/>
                <a:prstDash val="solid"/>
                <a:headEnd type="none" w="med" len="med"/>
                <a:tailEnd type="none" w="med" len="med"/>
              </a:ln>
              <a:effectLst>
                <a:innerShdw blurRad="889000" dist="508000" dir="8400000">
                  <a:srgbClr val="599FFD">
                    <a:alpha val="25000"/>
                  </a:srgbClr>
                </a:innerShdw>
              </a:effectLst>
            </p:spPr>
            <p:txBody>
              <a:bodyPr rot="0" spcFirstLastPara="0" vertOverflow="overflow" horzOverflow="overflow" vert="horz" wrap="square" lIns="2834640" tIns="365760" rIns="365760" bIns="36576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2000" b="0" i="0" u="none" strike="noStrike" kern="0" cap="none" spc="0" normalizeH="0" baseline="0" noProof="0">
                    <a:ln>
                      <a:noFill/>
                    </a:ln>
                    <a:solidFill>
                      <a:prstClr val="black"/>
                    </a:solidFill>
                    <a:effectLst/>
                    <a:uLnTx/>
                    <a:uFillTx/>
                    <a:latin typeface="Segoe Sans Display"/>
                    <a:ea typeface="+mn-ea"/>
                    <a:cs typeface="Segoe UI" pitchFamily="34" charset="0"/>
                  </a:rPr>
                  <a:t>of organizations find it difficult to</a:t>
                </a:r>
                <a:r>
                  <a:rPr kumimoji="0" lang="en-US" sz="2000" b="0" i="0" u="none" strike="noStrike" kern="1200" cap="none" spc="0" normalizeH="0" baseline="0" noProof="0">
                    <a:ln>
                      <a:noFill/>
                    </a:ln>
                    <a:solidFill>
                      <a:srgbClr val="000000"/>
                    </a:solidFill>
                    <a:effectLst/>
                    <a:uLnTx/>
                    <a:uFillTx/>
                    <a:latin typeface="Segoe Sans Display"/>
                    <a:ea typeface="+mn-ea"/>
                    <a:cs typeface="+mn-cs"/>
                  </a:rPr>
                  <a:t> secure access to all apps for remote and hybrid workers </a:t>
                </a:r>
                <a:endParaRPr kumimoji="0" lang="en-US" sz="2000" b="0" i="0" u="none" strike="noStrike" kern="0" cap="none" spc="0" normalizeH="0" baseline="0" noProof="0">
                  <a:ln>
                    <a:noFill/>
                  </a:ln>
                  <a:solidFill>
                    <a:prstClr val="black"/>
                  </a:solidFill>
                  <a:effectLst/>
                  <a:uLnTx/>
                  <a:uFillTx/>
                  <a:latin typeface="Segoe Sans Display"/>
                  <a:ea typeface="+mn-ea"/>
                  <a:cs typeface="Segoe UI" pitchFamily="34" charset="0"/>
                </a:endParaRPr>
              </a:p>
            </p:txBody>
          </p:sp>
        </p:grpSp>
        <p:cxnSp>
          <p:nvCxnSpPr>
            <p:cNvPr id="36" name="Straight Connector 35">
              <a:extLst>
                <a:ext uri="{FF2B5EF4-FFF2-40B4-BE49-F238E27FC236}">
                  <a16:creationId xmlns:a16="http://schemas.microsoft.com/office/drawing/2014/main" id="{70FF7749-8DF6-8B41-8D71-04B5AA992C7F}"/>
                </a:ext>
              </a:extLst>
            </p:cNvPr>
            <p:cNvCxnSpPr>
              <a:cxnSpLocks/>
            </p:cNvCxnSpPr>
            <p:nvPr/>
          </p:nvCxnSpPr>
          <p:spPr>
            <a:xfrm>
              <a:off x="900265" y="5951375"/>
              <a:ext cx="3212067" cy="0"/>
            </a:xfrm>
            <a:prstGeom prst="line">
              <a:avLst/>
            </a:prstGeom>
            <a:noFill/>
            <a:ln w="22225" cap="flat" cmpd="sng" algn="ctr">
              <a:solidFill>
                <a:srgbClr val="207EFC"/>
              </a:solidFill>
              <a:prstDash val="solid"/>
              <a:headEnd type="none" w="lg" len="med"/>
              <a:tailEnd type="none" w="lg" len="med"/>
            </a:ln>
            <a:effectLst/>
          </p:spPr>
        </p:cxnSp>
      </p:grpSp>
      <p:grpSp>
        <p:nvGrpSpPr>
          <p:cNvPr id="42" name="Group 41">
            <a:extLst>
              <a:ext uri="{FF2B5EF4-FFF2-40B4-BE49-F238E27FC236}">
                <a16:creationId xmlns:a16="http://schemas.microsoft.com/office/drawing/2014/main" id="{490A816B-002A-E3BF-FEF0-E0D40DA7031E}"/>
              </a:ext>
              <a:ext uri="{C183D7F6-B498-43B3-948B-1728B52AA6E4}">
                <adec:decorative xmlns:adec="http://schemas.microsoft.com/office/drawing/2017/decorative" val="1"/>
              </a:ext>
            </a:extLst>
          </p:cNvPr>
          <p:cNvGrpSpPr/>
          <p:nvPr/>
        </p:nvGrpSpPr>
        <p:grpSpPr>
          <a:xfrm>
            <a:off x="5334374" y="3976478"/>
            <a:ext cx="1804972" cy="1804972"/>
            <a:chOff x="4167293" y="1859050"/>
            <a:chExt cx="2107933" cy="2107933"/>
          </a:xfrm>
        </p:grpSpPr>
        <p:sp>
          <p:nvSpPr>
            <p:cNvPr id="43" name="Oval 42">
              <a:extLst>
                <a:ext uri="{FF2B5EF4-FFF2-40B4-BE49-F238E27FC236}">
                  <a16:creationId xmlns:a16="http://schemas.microsoft.com/office/drawing/2014/main" id="{81A7B078-E53A-84F2-49EA-16861B93F75D}"/>
                </a:ext>
              </a:extLst>
            </p:cNvPr>
            <p:cNvSpPr/>
            <p:nvPr/>
          </p:nvSpPr>
          <p:spPr bwMode="auto">
            <a:xfrm>
              <a:off x="4167293" y="1859050"/>
              <a:ext cx="2107933" cy="2107933"/>
            </a:xfrm>
            <a:prstGeom prst="ellipse">
              <a:avLst/>
            </a:prstGeom>
            <a:noFill/>
            <a:ln w="9525" cap="flat" cmpd="sng" algn="ctr">
              <a:noFill/>
              <a:prstDash val="solid"/>
              <a:headEnd type="none" w="med" len="med"/>
              <a:tailEnd type="none" w="med" len="med"/>
            </a:ln>
            <a:effectLst>
              <a:innerShdw blurRad="114300" dist="63500" dir="13500000">
                <a:srgbClr val="000000">
                  <a:alpha val="60000"/>
                </a:srgbClr>
              </a:inn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44" name="Block Arc 43">
              <a:extLst>
                <a:ext uri="{FF2B5EF4-FFF2-40B4-BE49-F238E27FC236}">
                  <a16:creationId xmlns:a16="http://schemas.microsoft.com/office/drawing/2014/main" id="{D75E9D7D-83EE-FEB2-9118-16FD77A1E8E7}"/>
                </a:ext>
              </a:extLst>
            </p:cNvPr>
            <p:cNvSpPr/>
            <p:nvPr/>
          </p:nvSpPr>
          <p:spPr bwMode="auto">
            <a:xfrm rot="16200000" flipV="1">
              <a:off x="4167293" y="1859050"/>
              <a:ext cx="2107933" cy="2107933"/>
            </a:xfrm>
            <a:prstGeom prst="blockArc">
              <a:avLst>
                <a:gd name="adj1" fmla="val 11485896"/>
                <a:gd name="adj2" fmla="val 35903"/>
                <a:gd name="adj3" fmla="val 6276"/>
              </a:avLst>
            </a:prstGeom>
            <a:gradFill>
              <a:gsLst>
                <a:gs pos="0">
                  <a:srgbClr val="F6F4E7"/>
                </a:gs>
                <a:gs pos="94000">
                  <a:srgbClr val="599FFD"/>
                </a:gs>
              </a:gsLst>
              <a:path path="circle">
                <a:fillToRect l="100000" t="100000"/>
              </a:path>
            </a:gradFill>
            <a:ln w="9525" cap="flat" cmpd="sng" algn="ctr">
              <a:noFill/>
              <a:prstDash val="solid"/>
              <a:headEnd type="none" w="med" len="med"/>
              <a:tailEnd type="none" w="med" len="med"/>
            </a:ln>
            <a:effectLst>
              <a:innerShdw blurRad="114300" dist="63500" dir="13500000">
                <a:srgbClr val="091F2C">
                  <a:alpha val="45000"/>
                </a:srgbClr>
              </a:inn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45" name="Title 3">
              <a:extLst>
                <a:ext uri="{FF2B5EF4-FFF2-40B4-BE49-F238E27FC236}">
                  <a16:creationId xmlns:a16="http://schemas.microsoft.com/office/drawing/2014/main" id="{844A101C-5739-3287-8847-B2D89D681202}"/>
                </a:ext>
              </a:extLst>
            </p:cNvPr>
            <p:cNvSpPr txBox="1">
              <a:spLocks/>
            </p:cNvSpPr>
            <p:nvPr/>
          </p:nvSpPr>
          <p:spPr>
            <a:xfrm>
              <a:off x="4726893" y="2574463"/>
              <a:ext cx="988732" cy="677108"/>
            </a:xfrm>
            <a:prstGeom prst="rect">
              <a:avLst/>
            </a:prstGeom>
          </p:spPr>
          <p:txBody>
            <a:bodyPr vert="horz" wrap="none" lIns="0" tIns="0" rIns="0" bIns="0" rtlCol="0" anchor="ctr" anchorCtr="0">
              <a:noAutofit/>
            </a:bodyPr>
            <a:lstStyle>
              <a:lvl1pPr algn="l" defTabSz="932742" rtl="0" eaLnBrk="1" latinLnBrk="0" hangingPunct="1">
                <a:lnSpc>
                  <a:spcPct val="100000"/>
                </a:lnSpc>
                <a:spcBef>
                  <a:spcPct val="0"/>
                </a:spcBef>
                <a:buNone/>
                <a:defRPr lang="en-US" sz="4400" b="0" kern="1200" cap="none" spc="-130" baseline="0" dirty="0" smtClean="0">
                  <a:ln w="3175">
                    <a:noFill/>
                  </a:ln>
                  <a:solidFill>
                    <a:schemeClr val="tx1"/>
                  </a:solidFill>
                  <a:effectLst/>
                  <a:latin typeface="+mj-lt"/>
                  <a:ea typeface="+mn-ea"/>
                  <a:cs typeface="Segoe Sans Display" pitchFamily="2"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4800" b="0" i="0" u="none" strike="noStrike" kern="1200" cap="none" spc="-130" normalizeH="0" baseline="0" noProof="0">
                  <a:ln w="3175">
                    <a:noFill/>
                  </a:ln>
                  <a:solidFill>
                    <a:prstClr val="black"/>
                  </a:solidFill>
                  <a:effectLst/>
                  <a:uLnTx/>
                  <a:uFillTx/>
                  <a:latin typeface="Segoe Sans Display Semilight"/>
                  <a:ea typeface="+mn-ea"/>
                  <a:cs typeface="Segoe Sans Display" pitchFamily="2" charset="0"/>
                </a:rPr>
                <a:t>46</a:t>
              </a:r>
              <a:r>
                <a:rPr kumimoji="0" lang="en-US" sz="4400" b="0" i="0" u="none" strike="noStrike" kern="1200" cap="none" spc="-130" normalizeH="0" baseline="25000" noProof="0">
                  <a:ln w="3175">
                    <a:noFill/>
                  </a:ln>
                  <a:solidFill>
                    <a:prstClr val="black"/>
                  </a:solidFill>
                  <a:effectLst/>
                  <a:uLnTx/>
                  <a:uFillTx/>
                  <a:latin typeface="Segoe Sans Display Semilight"/>
                  <a:ea typeface="+mn-ea"/>
                  <a:cs typeface="Segoe Sans Display" pitchFamily="2" charset="0"/>
                </a:rPr>
                <a:t>%</a:t>
              </a:r>
              <a:endParaRPr kumimoji="0" lang="en-US" sz="4800" b="0" i="0" u="none" strike="noStrike" kern="1200" cap="none" spc="-130" normalizeH="0" baseline="25000" noProof="0">
                <a:ln w="3175">
                  <a:noFill/>
                </a:ln>
                <a:solidFill>
                  <a:prstClr val="black"/>
                </a:solidFill>
                <a:effectLst/>
                <a:uLnTx/>
                <a:uFillTx/>
                <a:latin typeface="Segoe Sans Display Semilight"/>
                <a:ea typeface="+mn-ea"/>
                <a:cs typeface="Segoe Sans Display" pitchFamily="2" charset="0"/>
              </a:endParaRPr>
            </a:p>
          </p:txBody>
        </p:sp>
        <p:sp>
          <p:nvSpPr>
            <p:cNvPr id="46" name="Oval 45">
              <a:extLst>
                <a:ext uri="{FF2B5EF4-FFF2-40B4-BE49-F238E27FC236}">
                  <a16:creationId xmlns:a16="http://schemas.microsoft.com/office/drawing/2014/main" id="{2CA1E582-9094-0688-4004-E7C70B1E896F}"/>
                </a:ext>
              </a:extLst>
            </p:cNvPr>
            <p:cNvSpPr/>
            <p:nvPr/>
          </p:nvSpPr>
          <p:spPr bwMode="auto">
            <a:xfrm>
              <a:off x="4167293" y="1859050"/>
              <a:ext cx="2107933" cy="2107933"/>
            </a:xfrm>
            <a:prstGeom prst="ellipse">
              <a:avLst/>
            </a:prstGeom>
            <a:noFill/>
            <a:ln w="15875" cap="flat" cmpd="sng" algn="ctr">
              <a:solidFill>
                <a:srgbClr val="599FFD"/>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grpSp>
    </p:spTree>
    <p:extLst>
      <p:ext uri="{BB962C8B-B14F-4D97-AF65-F5344CB8AC3E}">
        <p14:creationId xmlns:p14="http://schemas.microsoft.com/office/powerpoint/2010/main" val="10192285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0"/>
                                        </p:tgtEl>
                                        <p:attrNameLst>
                                          <p:attrName>style.visibility</p:attrName>
                                        </p:attrNameLst>
                                      </p:cBhvr>
                                      <p:to>
                                        <p:strVal val="visible"/>
                                      </p:to>
                                    </p:set>
                                    <p:anim calcmode="lin" valueType="num">
                                      <p:cBhvr additive="base">
                                        <p:cTn id="7" dur="500" fill="hold"/>
                                        <p:tgtEl>
                                          <p:spTgt spid="40"/>
                                        </p:tgtEl>
                                        <p:attrNameLst>
                                          <p:attrName>ppt_x</p:attrName>
                                        </p:attrNameLst>
                                      </p:cBhvr>
                                      <p:tavLst>
                                        <p:tav tm="0">
                                          <p:val>
                                            <p:strVal val="0-#ppt_w/2"/>
                                          </p:val>
                                        </p:tav>
                                        <p:tav tm="100000">
                                          <p:val>
                                            <p:strVal val="#ppt_x"/>
                                          </p:val>
                                        </p:tav>
                                      </p:tavLst>
                                    </p:anim>
                                    <p:anim calcmode="lin" valueType="num">
                                      <p:cBhvr additive="base">
                                        <p:cTn id="8" dur="500" fill="hold"/>
                                        <p:tgtEl>
                                          <p:spTgt spid="40"/>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22"/>
                                        </p:tgtEl>
                                        <p:attrNameLst>
                                          <p:attrName>style.visibility</p:attrName>
                                        </p:attrNameLst>
                                      </p:cBhvr>
                                      <p:to>
                                        <p:strVal val="visible"/>
                                      </p:to>
                                    </p:set>
                                    <p:animEffect transition="in" filter="fade">
                                      <p:cBhvr>
                                        <p:cTn id="14" dur="500"/>
                                        <p:tgtEl>
                                          <p:spTgt spid="22"/>
                                        </p:tgtEl>
                                      </p:cBhvr>
                                    </p:animEffect>
                                  </p:childTnLst>
                                </p:cTn>
                              </p:par>
                              <p:par>
                                <p:cTn id="15" presetID="10" presetClass="entr" presetSubtype="0" fill="hold" nodeType="withEffect">
                                  <p:stCondLst>
                                    <p:cond delay="250"/>
                                  </p:stCondLst>
                                  <p:childTnLst>
                                    <p:set>
                                      <p:cBhvr>
                                        <p:cTn id="16" dur="1" fill="hold">
                                          <p:stCondLst>
                                            <p:cond delay="0"/>
                                          </p:stCondLst>
                                        </p:cTn>
                                        <p:tgtEl>
                                          <p:spTgt spid="33"/>
                                        </p:tgtEl>
                                        <p:attrNameLst>
                                          <p:attrName>style.visibility</p:attrName>
                                        </p:attrNameLst>
                                      </p:cBhvr>
                                      <p:to>
                                        <p:strVal val="visible"/>
                                      </p:to>
                                    </p:set>
                                    <p:animEffect transition="in" filter="fade">
                                      <p:cBhvr>
                                        <p:cTn id="17" dur="500"/>
                                        <p:tgtEl>
                                          <p:spTgt spid="33"/>
                                        </p:tgtEl>
                                      </p:cBhvr>
                                    </p:animEffect>
                                  </p:childTnLst>
                                </p:cTn>
                              </p:par>
                              <p:par>
                                <p:cTn id="18" presetID="42" presetClass="path" presetSubtype="0" decel="100000" fill="hold" nodeType="withEffect">
                                  <p:stCondLst>
                                    <p:cond delay="250"/>
                                  </p:stCondLst>
                                  <p:childTnLst>
                                    <p:animMotion origin="layout" path="M -4.79167E-6 -2.59259E-6 L -4.79167E-6 0.03542 " pathEditMode="relative" rAng="0" ptsTypes="AA">
                                      <p:cBhvr>
                                        <p:cTn id="19" dur="700" spd="-100000" fill="hold"/>
                                        <p:tgtEl>
                                          <p:spTgt spid="33"/>
                                        </p:tgtEl>
                                        <p:attrNameLst>
                                          <p:attrName>ppt_x</p:attrName>
                                          <p:attrName>ppt_y</p:attrName>
                                        </p:attrNameLst>
                                      </p:cBhvr>
                                      <p:rCtr x="0" y="1759"/>
                                    </p:animMotion>
                                  </p:childTnLst>
                                </p:cTn>
                              </p:par>
                              <p:par>
                                <p:cTn id="20" presetID="53" presetClass="entr" presetSubtype="16" accel="50000" decel="50000" fill="hold" nodeType="withEffect">
                                  <p:stCondLst>
                                    <p:cond delay="250"/>
                                  </p:stCondLst>
                                  <p:childTnLst>
                                    <p:set>
                                      <p:cBhvr>
                                        <p:cTn id="21" dur="1" fill="hold">
                                          <p:stCondLst>
                                            <p:cond delay="0"/>
                                          </p:stCondLst>
                                        </p:cTn>
                                        <p:tgtEl>
                                          <p:spTgt spid="42"/>
                                        </p:tgtEl>
                                        <p:attrNameLst>
                                          <p:attrName>style.visibility</p:attrName>
                                        </p:attrNameLst>
                                      </p:cBhvr>
                                      <p:to>
                                        <p:strVal val="visible"/>
                                      </p:to>
                                    </p:set>
                                    <p:anim calcmode="lin" valueType="num">
                                      <p:cBhvr>
                                        <p:cTn id="22" dur="500" fill="hold"/>
                                        <p:tgtEl>
                                          <p:spTgt spid="42"/>
                                        </p:tgtEl>
                                        <p:attrNameLst>
                                          <p:attrName>ppt_w</p:attrName>
                                        </p:attrNameLst>
                                      </p:cBhvr>
                                      <p:tavLst>
                                        <p:tav tm="0">
                                          <p:val>
                                            <p:fltVal val="0"/>
                                          </p:val>
                                        </p:tav>
                                        <p:tav tm="100000">
                                          <p:val>
                                            <p:strVal val="#ppt_w"/>
                                          </p:val>
                                        </p:tav>
                                      </p:tavLst>
                                    </p:anim>
                                    <p:anim calcmode="lin" valueType="num">
                                      <p:cBhvr>
                                        <p:cTn id="23" dur="500" fill="hold"/>
                                        <p:tgtEl>
                                          <p:spTgt spid="42"/>
                                        </p:tgtEl>
                                        <p:attrNameLst>
                                          <p:attrName>ppt_h</p:attrName>
                                        </p:attrNameLst>
                                      </p:cBhvr>
                                      <p:tavLst>
                                        <p:tav tm="0">
                                          <p:val>
                                            <p:fltVal val="0"/>
                                          </p:val>
                                        </p:tav>
                                        <p:tav tm="100000">
                                          <p:val>
                                            <p:strVal val="#ppt_h"/>
                                          </p:val>
                                        </p:tav>
                                      </p:tavLst>
                                    </p:anim>
                                    <p:animEffect transition="in" filter="fade">
                                      <p:cBhvr>
                                        <p:cTn id="24" dur="500"/>
                                        <p:tgtEl>
                                          <p:spTgt spid="42"/>
                                        </p:tgtEl>
                                      </p:cBhvr>
                                    </p:animEffect>
                                  </p:childTnLst>
                                </p:cTn>
                              </p:par>
                              <p:par>
                                <p:cTn id="25" presetID="6" presetClass="emph" presetSubtype="0" accel="50000" decel="50000" autoRev="1" fill="hold" nodeType="withEffect">
                                  <p:stCondLst>
                                    <p:cond delay="250"/>
                                  </p:stCondLst>
                                  <p:childTnLst>
                                    <p:animScale>
                                      <p:cBhvr>
                                        <p:cTn id="26" dur="300" fill="hold"/>
                                        <p:tgtEl>
                                          <p:spTgt spid="42"/>
                                        </p:tgtEl>
                                      </p:cBhvr>
                                      <p:by x="120000" y="12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hlinkClick r:id="rId3"/>
            <a:extLst>
              <a:ext uri="{FF2B5EF4-FFF2-40B4-BE49-F238E27FC236}">
                <a16:creationId xmlns:a16="http://schemas.microsoft.com/office/drawing/2014/main" id="{BCE2FB31-32E5-E790-AF49-88E420857061}"/>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0" y="0"/>
            <a:ext cx="12192000" cy="6858000"/>
          </a:xfrm>
          <a:prstGeom prst="rect">
            <a:avLst/>
          </a:prstGeom>
        </p:spPr>
      </p:pic>
      <p:sp>
        <p:nvSpPr>
          <p:cNvPr id="3" name="Title 2">
            <a:extLst>
              <a:ext uri="{FF2B5EF4-FFF2-40B4-BE49-F238E27FC236}">
                <a16:creationId xmlns:a16="http://schemas.microsoft.com/office/drawing/2014/main" id="{44504E49-7CF3-E073-9FE2-6801F4E95E30}"/>
              </a:ext>
            </a:extLst>
          </p:cNvPr>
          <p:cNvSpPr>
            <a:spLocks noGrp="1"/>
          </p:cNvSpPr>
          <p:nvPr>
            <p:ph type="title" idx="4294967295"/>
          </p:nvPr>
        </p:nvSpPr>
        <p:spPr>
          <a:xfrm>
            <a:off x="588263" y="-614158"/>
            <a:ext cx="11018520" cy="553998"/>
          </a:xfrm>
        </p:spPr>
        <p:txBody>
          <a:bodyPr vert="horz" wrap="square" lIns="0" tIns="0" rIns="0" bIns="0" rtlCol="0" anchor="b">
            <a:spAutoFit/>
          </a:bodyPr>
          <a:lstStyle/>
          <a:p>
            <a:r>
              <a:rPr lang="en-US"/>
              <a:t>Video 2</a:t>
            </a:r>
          </a:p>
        </p:txBody>
      </p:sp>
    </p:spTree>
    <p:extLst>
      <p:ext uri="{BB962C8B-B14F-4D97-AF65-F5344CB8AC3E}">
        <p14:creationId xmlns:p14="http://schemas.microsoft.com/office/powerpoint/2010/main" val="50225302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D4AB16-94E3-F6B7-F91C-D81F060FEF61}"/>
            </a:ext>
          </a:extLst>
        </p:cNvPr>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42E07BA4-84B0-4834-41B9-25FAB577A627}"/>
              </a:ext>
              <a:ext uri="{C183D7F6-B498-43B3-948B-1728B52AA6E4}">
                <adec:decorative xmlns:adec="http://schemas.microsoft.com/office/drawing/2017/decorative" val="1"/>
              </a:ext>
            </a:extLst>
          </p:cNvPr>
          <p:cNvSpPr>
            <a:spLocks/>
          </p:cNvSpPr>
          <p:nvPr/>
        </p:nvSpPr>
        <p:spPr bwMode="auto">
          <a:xfrm rot="16200000">
            <a:off x="4986098" y="2100600"/>
            <a:ext cx="3017520" cy="3200400"/>
          </a:xfrm>
          <a:prstGeom prst="roundRect">
            <a:avLst>
              <a:gd name="adj" fmla="val 0"/>
            </a:avLst>
          </a:prstGeom>
          <a:solidFill>
            <a:schemeClr val="bg1"/>
          </a:solidFill>
          <a:ln w="6350" cap="flat" cmpd="sng" algn="ctr">
            <a:solidFill>
              <a:srgbClr val="A5B8EE"/>
            </a:solidFill>
            <a:prstDash val="solid"/>
            <a:headEnd type="none" w="med" len="med"/>
            <a:tailEnd type="none" w="med" len="med"/>
          </a:ln>
          <a:effectLst>
            <a:innerShdw blurRad="889000" dist="508000" dir="8400000">
              <a:srgbClr val="599FFD">
                <a:alpha val="25000"/>
              </a:srgbClr>
            </a:innerShdw>
          </a:effectLst>
        </p:spPr>
        <p:txBody>
          <a:bodyPr rot="0" spcFirstLastPara="0" vertOverflow="overflow" horzOverflow="overflow" vert="horz" wrap="square" lIns="91440" tIns="128016" rIns="91440" bIns="36576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800" b="0" i="0" u="none" strike="noStrike" kern="0" cap="none" spc="0" normalizeH="0" baseline="0" noProof="0">
              <a:ln>
                <a:noFill/>
              </a:ln>
              <a:solidFill>
                <a:srgbClr val="FFFFFF"/>
              </a:solidFill>
              <a:effectLst/>
              <a:uLnTx/>
              <a:uFillTx/>
              <a:latin typeface="Segoe Sans Display"/>
              <a:ea typeface="+mn-ea"/>
              <a:cs typeface="Segoe UI" pitchFamily="34" charset="0"/>
            </a:endParaRPr>
          </a:p>
        </p:txBody>
      </p:sp>
      <p:sp>
        <p:nvSpPr>
          <p:cNvPr id="6" name="Rectangle: Rounded Corners 5">
            <a:extLst>
              <a:ext uri="{FF2B5EF4-FFF2-40B4-BE49-F238E27FC236}">
                <a16:creationId xmlns:a16="http://schemas.microsoft.com/office/drawing/2014/main" id="{A231CE06-C31A-9B35-5131-2A36CEABD70D}"/>
              </a:ext>
              <a:ext uri="{C183D7F6-B498-43B3-948B-1728B52AA6E4}">
                <adec:decorative xmlns:adec="http://schemas.microsoft.com/office/drawing/2017/decorative" val="1"/>
              </a:ext>
            </a:extLst>
          </p:cNvPr>
          <p:cNvSpPr>
            <a:spLocks/>
          </p:cNvSpPr>
          <p:nvPr/>
        </p:nvSpPr>
        <p:spPr bwMode="auto">
          <a:xfrm rot="16200000">
            <a:off x="8497822" y="2100600"/>
            <a:ext cx="3017520" cy="3200400"/>
          </a:xfrm>
          <a:prstGeom prst="roundRect">
            <a:avLst>
              <a:gd name="adj" fmla="val 0"/>
            </a:avLst>
          </a:prstGeom>
          <a:solidFill>
            <a:schemeClr val="bg1"/>
          </a:solidFill>
          <a:ln w="6350" cap="flat" cmpd="sng" algn="ctr">
            <a:solidFill>
              <a:srgbClr val="A5B8EE"/>
            </a:solidFill>
            <a:prstDash val="solid"/>
            <a:headEnd type="none" w="med" len="med"/>
            <a:tailEnd type="none" w="med" len="med"/>
          </a:ln>
          <a:effectLst>
            <a:innerShdw blurRad="889000" dist="508000" dir="8400000">
              <a:srgbClr val="599FFD">
                <a:alpha val="25000"/>
              </a:srgbClr>
            </a:innerShdw>
          </a:effectLst>
        </p:spPr>
        <p:txBody>
          <a:bodyPr rot="0" spcFirstLastPara="0" vertOverflow="overflow" horzOverflow="overflow" vert="horz" wrap="square" lIns="91440" tIns="128016" rIns="91440" bIns="36576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800" b="0" i="0" u="none" strike="noStrike" kern="0" cap="none" spc="0" normalizeH="0" baseline="0" noProof="0">
              <a:ln>
                <a:noFill/>
              </a:ln>
              <a:solidFill>
                <a:srgbClr val="FFFFFF"/>
              </a:solidFill>
              <a:effectLst/>
              <a:uLnTx/>
              <a:uFillTx/>
              <a:latin typeface="Segoe Sans Display"/>
              <a:ea typeface="+mn-ea"/>
              <a:cs typeface="Segoe UI" pitchFamily="34" charset="0"/>
            </a:endParaRPr>
          </a:p>
        </p:txBody>
      </p:sp>
      <p:sp>
        <p:nvSpPr>
          <p:cNvPr id="63" name="Title 13">
            <a:extLst>
              <a:ext uri="{FF2B5EF4-FFF2-40B4-BE49-F238E27FC236}">
                <a16:creationId xmlns:a16="http://schemas.microsoft.com/office/drawing/2014/main" id="{FDB794C6-1264-504C-893C-C19CDBED6498}"/>
              </a:ext>
            </a:extLst>
          </p:cNvPr>
          <p:cNvSpPr txBox="1">
            <a:spLocks noGrp="1"/>
          </p:cNvSpPr>
          <p:nvPr>
            <p:ph type="title" idx="4294967295"/>
          </p:nvPr>
        </p:nvSpPr>
        <p:spPr>
          <a:xfrm>
            <a:off x="4894658" y="446625"/>
            <a:ext cx="6711950" cy="984250"/>
          </a:xfr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lvl="0"/>
            <a:r>
              <a:rPr lang="en-US" sz="3200" b="1" dirty="0">
                <a:latin typeface="Segoe Sans Display Semibold" pitchFamily="2" charset="0"/>
                <a:cs typeface="Segoe Sans Display Semibold" pitchFamily="2" charset="0"/>
              </a:rPr>
              <a:t>Protect access to </a:t>
            </a:r>
            <a:br>
              <a:rPr lang="en-US" sz="3200" b="1" dirty="0">
                <a:latin typeface="Segoe Sans Display Semibold" pitchFamily="2" charset="0"/>
                <a:cs typeface="Segoe Sans Display Semibold" pitchFamily="2" charset="0"/>
              </a:rPr>
            </a:br>
            <a:r>
              <a:rPr lang="en-US" sz="3200" b="1" dirty="0">
                <a:solidFill>
                  <a:srgbClr val="0360DB"/>
                </a:solidFill>
                <a:latin typeface="Segoe Sans Display Semibold" pitchFamily="2" charset="0"/>
                <a:cs typeface="Segoe Sans Display Semibold" pitchFamily="2" charset="0"/>
              </a:rPr>
              <a:t>all applications and AI</a:t>
            </a:r>
            <a:endParaRPr lang="en-US" b="1" noProof="0" dirty="0">
              <a:solidFill>
                <a:schemeClr val="bg1"/>
              </a:solidFill>
              <a:latin typeface="Segoe Sans Display Semibold" pitchFamily="2" charset="0"/>
              <a:cs typeface="Segoe Sans Display Semibold" pitchFamily="2" charset="0"/>
            </a:endParaRPr>
          </a:p>
        </p:txBody>
      </p:sp>
      <p:grpSp>
        <p:nvGrpSpPr>
          <p:cNvPr id="2" name="Group 1">
            <a:extLst>
              <a:ext uri="{FF2B5EF4-FFF2-40B4-BE49-F238E27FC236}">
                <a16:creationId xmlns:a16="http://schemas.microsoft.com/office/drawing/2014/main" id="{16C5CAC3-7C22-6744-738E-4E4822CA42A1}"/>
              </a:ext>
              <a:ext uri="{C183D7F6-B498-43B3-948B-1728B52AA6E4}">
                <adec:decorative xmlns:adec="http://schemas.microsoft.com/office/drawing/2017/decorative" val="1"/>
              </a:ext>
            </a:extLst>
          </p:cNvPr>
          <p:cNvGrpSpPr/>
          <p:nvPr/>
        </p:nvGrpSpPr>
        <p:grpSpPr>
          <a:xfrm>
            <a:off x="10784824" y="457200"/>
            <a:ext cx="821388" cy="821388"/>
            <a:chOff x="10468823" y="734429"/>
            <a:chExt cx="821388" cy="821388"/>
          </a:xfrm>
        </p:grpSpPr>
        <p:grpSp>
          <p:nvGrpSpPr>
            <p:cNvPr id="3" name="Group 2">
              <a:extLst>
                <a:ext uri="{FF2B5EF4-FFF2-40B4-BE49-F238E27FC236}">
                  <a16:creationId xmlns:a16="http://schemas.microsoft.com/office/drawing/2014/main" id="{60C6122A-A99E-8CE3-BBF4-83767985C510}"/>
                </a:ext>
                <a:ext uri="{C183D7F6-B498-43B3-948B-1728B52AA6E4}">
                  <adec:decorative xmlns:adec="http://schemas.microsoft.com/office/drawing/2017/decorative" val="1"/>
                </a:ext>
              </a:extLst>
            </p:cNvPr>
            <p:cNvGrpSpPr/>
            <p:nvPr/>
          </p:nvGrpSpPr>
          <p:grpSpPr>
            <a:xfrm>
              <a:off x="10468823" y="734429"/>
              <a:ext cx="821388" cy="821388"/>
              <a:chOff x="1511104" y="983803"/>
              <a:chExt cx="874443" cy="874443"/>
            </a:xfrm>
          </p:grpSpPr>
          <p:sp>
            <p:nvSpPr>
              <p:cNvPr id="14" name="Oval 13">
                <a:extLst>
                  <a:ext uri="{FF2B5EF4-FFF2-40B4-BE49-F238E27FC236}">
                    <a16:creationId xmlns:a16="http://schemas.microsoft.com/office/drawing/2014/main" id="{162F796F-868E-985A-FC94-116D50E5A448}"/>
                  </a:ext>
                </a:extLst>
              </p:cNvPr>
              <p:cNvSpPr/>
              <p:nvPr/>
            </p:nvSpPr>
            <p:spPr bwMode="auto">
              <a:xfrm>
                <a:off x="1511104" y="983803"/>
                <a:ext cx="874443" cy="874443"/>
              </a:xfrm>
              <a:prstGeom prst="ellipse">
                <a:avLst/>
              </a:prstGeom>
              <a:gradFill flip="none" rotWithShape="1">
                <a:gsLst>
                  <a:gs pos="0">
                    <a:srgbClr val="FADC14">
                      <a:alpha val="50000"/>
                    </a:srgbClr>
                  </a:gs>
                  <a:gs pos="100000">
                    <a:srgbClr val="599FFD">
                      <a:alpha val="50000"/>
                    </a:srgbClr>
                  </a:gs>
                </a:gsLst>
                <a:path path="circle">
                  <a:fillToRect t="100000" r="100000"/>
                </a:path>
                <a:tileRect l="-100000" b="-10000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91F2C"/>
                  </a:solidFill>
                  <a:effectLst/>
                  <a:uLnTx/>
                  <a:uFillTx/>
                  <a:latin typeface="Segoe UI Variable Display"/>
                  <a:ea typeface="+mn-ea"/>
                  <a:cs typeface="Segoe UI" pitchFamily="34" charset="0"/>
                </a:endParaRPr>
              </a:p>
            </p:txBody>
          </p:sp>
          <p:sp>
            <p:nvSpPr>
              <p:cNvPr id="15" name="Oval 14">
                <a:extLst>
                  <a:ext uri="{FF2B5EF4-FFF2-40B4-BE49-F238E27FC236}">
                    <a16:creationId xmlns:a16="http://schemas.microsoft.com/office/drawing/2014/main" id="{B6E9C3C2-05E8-A02F-AB3E-79E5B2AB4C06}"/>
                  </a:ext>
                </a:extLst>
              </p:cNvPr>
              <p:cNvSpPr/>
              <p:nvPr/>
            </p:nvSpPr>
            <p:spPr bwMode="auto">
              <a:xfrm>
                <a:off x="1620236" y="1092935"/>
                <a:ext cx="656179" cy="656179"/>
              </a:xfrm>
              <a:prstGeom prst="ellipse">
                <a:avLst/>
              </a:prstGeom>
              <a:solidFill>
                <a:schemeClr val="bg1"/>
              </a:solidFill>
              <a:ln w="19050" cap="flat" cmpd="sng" algn="ctr">
                <a:gradFill>
                  <a:gsLst>
                    <a:gs pos="0">
                      <a:srgbClr val="599FFD"/>
                    </a:gs>
                    <a:gs pos="100000">
                      <a:srgbClr val="FADC14"/>
                    </a:gs>
                  </a:gsLst>
                  <a:lin ang="5400000" scaled="1"/>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Variable Display"/>
                  <a:ea typeface="+mn-ea"/>
                  <a:cs typeface="Segoe UI" pitchFamily="34" charset="0"/>
                </a:endParaRPr>
              </a:p>
            </p:txBody>
          </p:sp>
        </p:grpSp>
        <p:grpSp>
          <p:nvGrpSpPr>
            <p:cNvPr id="5" name="Group 4">
              <a:extLst>
                <a:ext uri="{FF2B5EF4-FFF2-40B4-BE49-F238E27FC236}">
                  <a16:creationId xmlns:a16="http://schemas.microsoft.com/office/drawing/2014/main" id="{C79AB93A-076B-EF9B-3DDD-B83C5FF8AF5F}"/>
                </a:ext>
              </a:extLst>
            </p:cNvPr>
            <p:cNvGrpSpPr/>
            <p:nvPr/>
          </p:nvGrpSpPr>
          <p:grpSpPr>
            <a:xfrm>
              <a:off x="10706581" y="973056"/>
              <a:ext cx="345873" cy="344134"/>
              <a:chOff x="3542462" y="4162836"/>
              <a:chExt cx="306339" cy="304799"/>
            </a:xfrm>
            <a:solidFill>
              <a:schemeClr val="bg1"/>
            </a:solidFill>
          </p:grpSpPr>
          <p:sp>
            <p:nvSpPr>
              <p:cNvPr id="7" name="Freeform: Shape 6">
                <a:extLst>
                  <a:ext uri="{FF2B5EF4-FFF2-40B4-BE49-F238E27FC236}">
                    <a16:creationId xmlns:a16="http://schemas.microsoft.com/office/drawing/2014/main" id="{0C687C4D-A441-95ED-12D1-A74CA1A21558}"/>
                  </a:ext>
                </a:extLst>
              </p:cNvPr>
              <p:cNvSpPr/>
              <p:nvPr/>
            </p:nvSpPr>
            <p:spPr>
              <a:xfrm>
                <a:off x="3752790" y="4219225"/>
                <a:ext cx="38100" cy="38100"/>
              </a:xfrm>
              <a:custGeom>
                <a:avLst/>
                <a:gdLst>
                  <a:gd name="connsiteX0" fmla="*/ 38100 w 38100"/>
                  <a:gd name="connsiteY0" fmla="*/ 19050 h 38100"/>
                  <a:gd name="connsiteX1" fmla="*/ 19050 w 38100"/>
                  <a:gd name="connsiteY1" fmla="*/ 38100 h 38100"/>
                  <a:gd name="connsiteX2" fmla="*/ 0 w 38100"/>
                  <a:gd name="connsiteY2" fmla="*/ 19050 h 38100"/>
                  <a:gd name="connsiteX3" fmla="*/ 19050 w 38100"/>
                  <a:gd name="connsiteY3" fmla="*/ 0 h 38100"/>
                  <a:gd name="connsiteX4" fmla="*/ 38100 w 38100"/>
                  <a:gd name="connsiteY4" fmla="*/ 19050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8100" y="19050"/>
                    </a:moveTo>
                    <a:cubicBezTo>
                      <a:pt x="38100" y="29571"/>
                      <a:pt x="29572" y="38100"/>
                      <a:pt x="19050" y="38100"/>
                    </a:cubicBezTo>
                    <a:cubicBezTo>
                      <a:pt x="8528" y="38100"/>
                      <a:pt x="0" y="29571"/>
                      <a:pt x="0" y="19050"/>
                    </a:cubicBezTo>
                    <a:cubicBezTo>
                      <a:pt x="0" y="8529"/>
                      <a:pt x="8528" y="0"/>
                      <a:pt x="19050" y="0"/>
                    </a:cubicBezTo>
                    <a:cubicBezTo>
                      <a:pt x="29572" y="0"/>
                      <a:pt x="38100" y="8529"/>
                      <a:pt x="38100" y="19050"/>
                    </a:cubicBezTo>
                    <a:close/>
                  </a:path>
                </a:pathLst>
              </a:custGeom>
              <a:solidFill>
                <a:schemeClr val="tx1"/>
              </a:solid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3" name="Freeform: Shape 12">
                <a:extLst>
                  <a:ext uri="{FF2B5EF4-FFF2-40B4-BE49-F238E27FC236}">
                    <a16:creationId xmlns:a16="http://schemas.microsoft.com/office/drawing/2014/main" id="{A797C25B-236E-185E-5BB3-528F47231FA8}"/>
                  </a:ext>
                </a:extLst>
              </p:cNvPr>
              <p:cNvSpPr/>
              <p:nvPr/>
            </p:nvSpPr>
            <p:spPr>
              <a:xfrm>
                <a:off x="3542462" y="4162836"/>
                <a:ext cx="306339" cy="304799"/>
              </a:xfrm>
              <a:custGeom>
                <a:avLst/>
                <a:gdLst>
                  <a:gd name="connsiteX0" fmla="*/ 206517 w 306339"/>
                  <a:gd name="connsiteY0" fmla="*/ 0 h 304799"/>
                  <a:gd name="connsiteX1" fmla="*/ 106695 w 306339"/>
                  <a:gd name="connsiteY1" fmla="*/ 99822 h 304799"/>
                  <a:gd name="connsiteX2" fmla="*/ 108372 w 306339"/>
                  <a:gd name="connsiteY2" fmla="*/ 116647 h 304799"/>
                  <a:gd name="connsiteX3" fmla="*/ 107305 w 306339"/>
                  <a:gd name="connsiteY3" fmla="*/ 120366 h 304799"/>
                  <a:gd name="connsiteX4" fmla="*/ 12283 w 306339"/>
                  <a:gd name="connsiteY4" fmla="*/ 215402 h 304799"/>
                  <a:gd name="connsiteX5" fmla="*/ 0 w 306339"/>
                  <a:gd name="connsiteY5" fmla="*/ 245029 h 304799"/>
                  <a:gd name="connsiteX6" fmla="*/ 0 w 306339"/>
                  <a:gd name="connsiteY6" fmla="*/ 278130 h 304799"/>
                  <a:gd name="connsiteX7" fmla="*/ 26670 w 306339"/>
                  <a:gd name="connsiteY7" fmla="*/ 304800 h 304799"/>
                  <a:gd name="connsiteX8" fmla="*/ 64770 w 306339"/>
                  <a:gd name="connsiteY8" fmla="*/ 304800 h 304799"/>
                  <a:gd name="connsiteX9" fmla="*/ 91440 w 306339"/>
                  <a:gd name="connsiteY9" fmla="*/ 278130 h 304799"/>
                  <a:gd name="connsiteX10" fmla="*/ 91440 w 306339"/>
                  <a:gd name="connsiteY10" fmla="*/ 259080 h 304799"/>
                  <a:gd name="connsiteX11" fmla="*/ 118125 w 306339"/>
                  <a:gd name="connsiteY11" fmla="*/ 259080 h 304799"/>
                  <a:gd name="connsiteX12" fmla="*/ 137175 w 306339"/>
                  <a:gd name="connsiteY12" fmla="*/ 240030 h 304799"/>
                  <a:gd name="connsiteX13" fmla="*/ 137175 w 306339"/>
                  <a:gd name="connsiteY13" fmla="*/ 213360 h 304799"/>
                  <a:gd name="connsiteX14" fmla="*/ 163845 w 306339"/>
                  <a:gd name="connsiteY14" fmla="*/ 213360 h 304799"/>
                  <a:gd name="connsiteX15" fmla="*/ 182895 w 306339"/>
                  <a:gd name="connsiteY15" fmla="*/ 195011 h 304799"/>
                  <a:gd name="connsiteX16" fmla="*/ 206517 w 306339"/>
                  <a:gd name="connsiteY16" fmla="*/ 198120 h 304799"/>
                  <a:gd name="connsiteX17" fmla="*/ 306339 w 306339"/>
                  <a:gd name="connsiteY17" fmla="*/ 98298 h 304799"/>
                  <a:gd name="connsiteX18" fmla="*/ 206517 w 306339"/>
                  <a:gd name="connsiteY18" fmla="*/ 0 h 304799"/>
                  <a:gd name="connsiteX19" fmla="*/ 129555 w 306339"/>
                  <a:gd name="connsiteY19" fmla="*/ 99822 h 304799"/>
                  <a:gd name="connsiteX20" fmla="*/ 206517 w 306339"/>
                  <a:gd name="connsiteY20" fmla="*/ 22860 h 304799"/>
                  <a:gd name="connsiteX21" fmla="*/ 283479 w 306339"/>
                  <a:gd name="connsiteY21" fmla="*/ 98298 h 304799"/>
                  <a:gd name="connsiteX22" fmla="*/ 206517 w 306339"/>
                  <a:gd name="connsiteY22" fmla="*/ 175260 h 304799"/>
                  <a:gd name="connsiteX23" fmla="*/ 175961 w 306339"/>
                  <a:gd name="connsiteY23" fmla="*/ 168554 h 304799"/>
                  <a:gd name="connsiteX24" fmla="*/ 160948 w 306339"/>
                  <a:gd name="connsiteY24" fmla="*/ 174545 h 304799"/>
                  <a:gd name="connsiteX25" fmla="*/ 160020 w 306339"/>
                  <a:gd name="connsiteY25" fmla="*/ 179070 h 304799"/>
                  <a:gd name="connsiteX26" fmla="*/ 160020 w 306339"/>
                  <a:gd name="connsiteY26" fmla="*/ 190500 h 304799"/>
                  <a:gd name="connsiteX27" fmla="*/ 133365 w 306339"/>
                  <a:gd name="connsiteY27" fmla="*/ 190500 h 304799"/>
                  <a:gd name="connsiteX28" fmla="*/ 114315 w 306339"/>
                  <a:gd name="connsiteY28" fmla="*/ 209550 h 304799"/>
                  <a:gd name="connsiteX29" fmla="*/ 114315 w 306339"/>
                  <a:gd name="connsiteY29" fmla="*/ 236220 h 304799"/>
                  <a:gd name="connsiteX30" fmla="*/ 87645 w 306339"/>
                  <a:gd name="connsiteY30" fmla="*/ 236220 h 304799"/>
                  <a:gd name="connsiteX31" fmla="*/ 68595 w 306339"/>
                  <a:gd name="connsiteY31" fmla="*/ 255270 h 304799"/>
                  <a:gd name="connsiteX32" fmla="*/ 68595 w 306339"/>
                  <a:gd name="connsiteY32" fmla="*/ 278130 h 304799"/>
                  <a:gd name="connsiteX33" fmla="*/ 64785 w 306339"/>
                  <a:gd name="connsiteY33" fmla="*/ 281940 h 304799"/>
                  <a:gd name="connsiteX34" fmla="*/ 26685 w 306339"/>
                  <a:gd name="connsiteY34" fmla="*/ 281940 h 304799"/>
                  <a:gd name="connsiteX35" fmla="*/ 22875 w 306339"/>
                  <a:gd name="connsiteY35" fmla="*/ 278130 h 304799"/>
                  <a:gd name="connsiteX36" fmla="*/ 22875 w 306339"/>
                  <a:gd name="connsiteY36" fmla="*/ 245029 h 304799"/>
                  <a:gd name="connsiteX37" fmla="*/ 28453 w 306339"/>
                  <a:gd name="connsiteY37" fmla="*/ 231557 h 304799"/>
                  <a:gd name="connsiteX38" fmla="*/ 123490 w 306339"/>
                  <a:gd name="connsiteY38" fmla="*/ 136535 h 304799"/>
                  <a:gd name="connsiteX39" fmla="*/ 130896 w 306339"/>
                  <a:gd name="connsiteY39" fmla="*/ 112700 h 304799"/>
                  <a:gd name="connsiteX40" fmla="*/ 129555 w 306339"/>
                  <a:gd name="connsiteY40" fmla="*/ 99822 h 30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06339" h="304799">
                    <a:moveTo>
                      <a:pt x="206517" y="0"/>
                    </a:moveTo>
                    <a:cubicBezTo>
                      <a:pt x="151400" y="34"/>
                      <a:pt x="106729" y="44706"/>
                      <a:pt x="106695" y="99822"/>
                    </a:cubicBezTo>
                    <a:cubicBezTo>
                      <a:pt x="106695" y="105720"/>
                      <a:pt x="107457" y="111404"/>
                      <a:pt x="108372" y="116647"/>
                    </a:cubicBezTo>
                    <a:cubicBezTo>
                      <a:pt x="108644" y="117986"/>
                      <a:pt x="108245" y="119374"/>
                      <a:pt x="107305" y="120366"/>
                    </a:cubicBezTo>
                    <a:lnTo>
                      <a:pt x="12283" y="215402"/>
                    </a:lnTo>
                    <a:cubicBezTo>
                      <a:pt x="4423" y="223258"/>
                      <a:pt x="4" y="233916"/>
                      <a:pt x="0" y="245029"/>
                    </a:cubicBezTo>
                    <a:lnTo>
                      <a:pt x="0" y="278130"/>
                    </a:lnTo>
                    <a:cubicBezTo>
                      <a:pt x="0" y="292852"/>
                      <a:pt x="11948" y="304800"/>
                      <a:pt x="26670" y="304800"/>
                    </a:cubicBezTo>
                    <a:lnTo>
                      <a:pt x="64770" y="304800"/>
                    </a:lnTo>
                    <a:cubicBezTo>
                      <a:pt x="79499" y="304800"/>
                      <a:pt x="91440" y="292859"/>
                      <a:pt x="91440" y="278130"/>
                    </a:cubicBezTo>
                    <a:lnTo>
                      <a:pt x="91440" y="259080"/>
                    </a:lnTo>
                    <a:lnTo>
                      <a:pt x="118125" y="259080"/>
                    </a:lnTo>
                    <a:cubicBezTo>
                      <a:pt x="128641" y="259080"/>
                      <a:pt x="137175" y="250546"/>
                      <a:pt x="137175" y="240030"/>
                    </a:cubicBezTo>
                    <a:lnTo>
                      <a:pt x="137175" y="213360"/>
                    </a:lnTo>
                    <a:lnTo>
                      <a:pt x="163845" y="213360"/>
                    </a:lnTo>
                    <a:cubicBezTo>
                      <a:pt x="174099" y="213368"/>
                      <a:pt x="182517" y="205257"/>
                      <a:pt x="182895" y="195011"/>
                    </a:cubicBezTo>
                    <a:cubicBezTo>
                      <a:pt x="190454" y="196962"/>
                      <a:pt x="198440" y="198120"/>
                      <a:pt x="206517" y="198120"/>
                    </a:cubicBezTo>
                    <a:cubicBezTo>
                      <a:pt x="261634" y="198086"/>
                      <a:pt x="306306" y="153415"/>
                      <a:pt x="306339" y="98298"/>
                    </a:cubicBezTo>
                    <a:cubicBezTo>
                      <a:pt x="306339" y="42962"/>
                      <a:pt x="261336" y="0"/>
                      <a:pt x="206517" y="0"/>
                    </a:cubicBezTo>
                    <a:close/>
                    <a:moveTo>
                      <a:pt x="129555" y="99822"/>
                    </a:moveTo>
                    <a:cubicBezTo>
                      <a:pt x="129589" y="57331"/>
                      <a:pt x="164027" y="22894"/>
                      <a:pt x="206517" y="22860"/>
                    </a:cubicBezTo>
                    <a:cubicBezTo>
                      <a:pt x="249220" y="22860"/>
                      <a:pt x="283479" y="56098"/>
                      <a:pt x="283479" y="98298"/>
                    </a:cubicBezTo>
                    <a:cubicBezTo>
                      <a:pt x="283446" y="140789"/>
                      <a:pt x="249008" y="175226"/>
                      <a:pt x="206517" y="175260"/>
                    </a:cubicBezTo>
                    <a:cubicBezTo>
                      <a:pt x="196154" y="175260"/>
                      <a:pt x="185486" y="172654"/>
                      <a:pt x="175961" y="168554"/>
                    </a:cubicBezTo>
                    <a:cubicBezTo>
                      <a:pt x="170161" y="166063"/>
                      <a:pt x="163440" y="168745"/>
                      <a:pt x="160948" y="174545"/>
                    </a:cubicBezTo>
                    <a:cubicBezTo>
                      <a:pt x="160334" y="175975"/>
                      <a:pt x="160018" y="177514"/>
                      <a:pt x="160020" y="179070"/>
                    </a:cubicBezTo>
                    <a:lnTo>
                      <a:pt x="160020" y="190500"/>
                    </a:lnTo>
                    <a:lnTo>
                      <a:pt x="133365" y="190500"/>
                    </a:lnTo>
                    <a:cubicBezTo>
                      <a:pt x="122850" y="190500"/>
                      <a:pt x="114315" y="199034"/>
                      <a:pt x="114315" y="209550"/>
                    </a:cubicBezTo>
                    <a:lnTo>
                      <a:pt x="114315" y="236220"/>
                    </a:lnTo>
                    <a:lnTo>
                      <a:pt x="87645" y="236220"/>
                    </a:lnTo>
                    <a:cubicBezTo>
                      <a:pt x="77130" y="236220"/>
                      <a:pt x="68595" y="244754"/>
                      <a:pt x="68595" y="255270"/>
                    </a:cubicBezTo>
                    <a:lnTo>
                      <a:pt x="68595" y="278130"/>
                    </a:lnTo>
                    <a:cubicBezTo>
                      <a:pt x="68595" y="280235"/>
                      <a:pt x="66889" y="281940"/>
                      <a:pt x="64785" y="281940"/>
                    </a:cubicBezTo>
                    <a:lnTo>
                      <a:pt x="26685" y="281940"/>
                    </a:lnTo>
                    <a:cubicBezTo>
                      <a:pt x="24581" y="281940"/>
                      <a:pt x="22875" y="280235"/>
                      <a:pt x="22875" y="278130"/>
                    </a:cubicBezTo>
                    <a:lnTo>
                      <a:pt x="22875" y="245029"/>
                    </a:lnTo>
                    <a:cubicBezTo>
                      <a:pt x="22875" y="239984"/>
                      <a:pt x="24887" y="235123"/>
                      <a:pt x="28453" y="231557"/>
                    </a:cubicBezTo>
                    <a:lnTo>
                      <a:pt x="123490" y="136535"/>
                    </a:lnTo>
                    <a:cubicBezTo>
                      <a:pt x="129699" y="130273"/>
                      <a:pt x="132462" y="121377"/>
                      <a:pt x="130896" y="112700"/>
                    </a:cubicBezTo>
                    <a:cubicBezTo>
                      <a:pt x="130078" y="108454"/>
                      <a:pt x="129630" y="104145"/>
                      <a:pt x="129555" y="99822"/>
                    </a:cubicBezTo>
                    <a:close/>
                  </a:path>
                </a:pathLst>
              </a:custGeom>
              <a:solidFill>
                <a:schemeClr val="tx1"/>
              </a:solid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grpSp>
      </p:grpSp>
      <p:grpSp>
        <p:nvGrpSpPr>
          <p:cNvPr id="16" name="Group 15">
            <a:extLst>
              <a:ext uri="{FF2B5EF4-FFF2-40B4-BE49-F238E27FC236}">
                <a16:creationId xmlns:a16="http://schemas.microsoft.com/office/drawing/2014/main" id="{EC5B91EC-7D8F-CB9B-3812-E8B47E09871D}"/>
              </a:ext>
              <a:ext uri="{C183D7F6-B498-43B3-948B-1728B52AA6E4}">
                <adec:decorative xmlns:adec="http://schemas.microsoft.com/office/drawing/2017/decorative" val="1"/>
              </a:ext>
            </a:extLst>
          </p:cNvPr>
          <p:cNvGrpSpPr/>
          <p:nvPr/>
        </p:nvGrpSpPr>
        <p:grpSpPr>
          <a:xfrm>
            <a:off x="-1" y="0"/>
            <a:ext cx="4238869" cy="6852458"/>
            <a:chOff x="-1" y="0"/>
            <a:chExt cx="4238869" cy="6852458"/>
          </a:xfrm>
        </p:grpSpPr>
        <p:pic>
          <p:nvPicPr>
            <p:cNvPr id="17" name="Picture 16">
              <a:extLst>
                <a:ext uri="{FF2B5EF4-FFF2-40B4-BE49-F238E27FC236}">
                  <a16:creationId xmlns:a16="http://schemas.microsoft.com/office/drawing/2014/main" id="{809BC2ED-5DAF-2298-DE22-83592C5645A0}"/>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rcRect l="22207" r="36587"/>
            <a:stretch/>
          </p:blipFill>
          <p:spPr>
            <a:xfrm>
              <a:off x="-1" y="0"/>
              <a:ext cx="4238869" cy="6852458"/>
            </a:xfrm>
            <a:custGeom>
              <a:avLst/>
              <a:gdLst>
                <a:gd name="connsiteX0" fmla="*/ 0 w 4238869"/>
                <a:gd name="connsiteY0" fmla="*/ 0 h 6852458"/>
                <a:gd name="connsiteX1" fmla="*/ 4238869 w 4238869"/>
                <a:gd name="connsiteY1" fmla="*/ 0 h 6852458"/>
                <a:gd name="connsiteX2" fmla="*/ 4238869 w 4238869"/>
                <a:gd name="connsiteY2" fmla="*/ 6852458 h 6852458"/>
                <a:gd name="connsiteX3" fmla="*/ 0 w 4238869"/>
                <a:gd name="connsiteY3" fmla="*/ 6852458 h 6852458"/>
              </a:gdLst>
              <a:ahLst/>
              <a:cxnLst>
                <a:cxn ang="0">
                  <a:pos x="connsiteX0" y="connsiteY0"/>
                </a:cxn>
                <a:cxn ang="0">
                  <a:pos x="connsiteX1" y="connsiteY1"/>
                </a:cxn>
                <a:cxn ang="0">
                  <a:pos x="connsiteX2" y="connsiteY2"/>
                </a:cxn>
                <a:cxn ang="0">
                  <a:pos x="connsiteX3" y="connsiteY3"/>
                </a:cxn>
              </a:cxnLst>
              <a:rect l="l" t="t" r="r" b="b"/>
              <a:pathLst>
                <a:path w="4238869" h="6852458">
                  <a:moveTo>
                    <a:pt x="0" y="0"/>
                  </a:moveTo>
                  <a:lnTo>
                    <a:pt x="4238869" y="0"/>
                  </a:lnTo>
                  <a:lnTo>
                    <a:pt x="4238869" y="6852458"/>
                  </a:lnTo>
                  <a:lnTo>
                    <a:pt x="0" y="6852458"/>
                  </a:lnTo>
                  <a:close/>
                </a:path>
              </a:pathLst>
            </a:custGeom>
          </p:spPr>
        </p:pic>
        <p:pic>
          <p:nvPicPr>
            <p:cNvPr id="18" name="Picture 17">
              <a:extLst>
                <a:ext uri="{FF2B5EF4-FFF2-40B4-BE49-F238E27FC236}">
                  <a16:creationId xmlns:a16="http://schemas.microsoft.com/office/drawing/2014/main" id="{BF60C1BA-E188-B5D3-B102-25A95C520FD9}"/>
                </a:ext>
              </a:extLst>
            </p:cNvPr>
            <p:cNvPicPr>
              <a:picLocks noChangeAspect="1"/>
            </p:cNvPicPr>
            <p:nvPr/>
          </p:nvPicPr>
          <p:blipFill>
            <a:blip r:embed="rId4">
              <a:alphaModFix amt="70000"/>
            </a:blip>
            <a:srcRect t="8489" b="8489"/>
            <a:stretch/>
          </p:blipFill>
          <p:spPr>
            <a:xfrm rot="16200000" flipV="1">
              <a:off x="1477420" y="2547158"/>
              <a:ext cx="3764752" cy="1758144"/>
            </a:xfrm>
            <a:custGeom>
              <a:avLst/>
              <a:gdLst>
                <a:gd name="connsiteX0" fmla="*/ 0 w 1133669"/>
                <a:gd name="connsiteY0" fmla="*/ 0 h 1132290"/>
                <a:gd name="connsiteX1" fmla="*/ 1133669 w 1133669"/>
                <a:gd name="connsiteY1" fmla="*/ 0 h 1132290"/>
                <a:gd name="connsiteX2" fmla="*/ 1133669 w 1133669"/>
                <a:gd name="connsiteY2" fmla="*/ 1132290 h 1132290"/>
                <a:gd name="connsiteX3" fmla="*/ 0 w 1133669"/>
                <a:gd name="connsiteY3" fmla="*/ 1132290 h 1132290"/>
              </a:gdLst>
              <a:ahLst/>
              <a:cxnLst>
                <a:cxn ang="0">
                  <a:pos x="connsiteX0" y="connsiteY0"/>
                </a:cxn>
                <a:cxn ang="0">
                  <a:pos x="connsiteX1" y="connsiteY1"/>
                </a:cxn>
                <a:cxn ang="0">
                  <a:pos x="connsiteX2" y="connsiteY2"/>
                </a:cxn>
                <a:cxn ang="0">
                  <a:pos x="connsiteX3" y="connsiteY3"/>
                </a:cxn>
              </a:cxnLst>
              <a:rect l="l" t="t" r="r" b="b"/>
              <a:pathLst>
                <a:path w="1133669" h="1132290">
                  <a:moveTo>
                    <a:pt x="0" y="0"/>
                  </a:moveTo>
                  <a:lnTo>
                    <a:pt x="1133669" y="0"/>
                  </a:lnTo>
                  <a:lnTo>
                    <a:pt x="1133669" y="1132290"/>
                  </a:lnTo>
                  <a:lnTo>
                    <a:pt x="0" y="1132290"/>
                  </a:lnTo>
                  <a:close/>
                </a:path>
              </a:pathLst>
            </a:custGeom>
          </p:spPr>
        </p:pic>
      </p:grpSp>
      <p:sp>
        <p:nvSpPr>
          <p:cNvPr id="19" name="TextBox 18">
            <a:extLst>
              <a:ext uri="{FF2B5EF4-FFF2-40B4-BE49-F238E27FC236}">
                <a16:creationId xmlns:a16="http://schemas.microsoft.com/office/drawing/2014/main" id="{E9C4D4CF-E3EC-DF59-303D-891F7F3CDA74}"/>
              </a:ext>
            </a:extLst>
          </p:cNvPr>
          <p:cNvSpPr txBox="1"/>
          <p:nvPr/>
        </p:nvSpPr>
        <p:spPr>
          <a:xfrm>
            <a:off x="5031818" y="2435360"/>
            <a:ext cx="2926080" cy="1769715"/>
          </a:xfrm>
          <a:prstGeom prst="rect">
            <a:avLst/>
          </a:prstGeom>
          <a:noFill/>
        </p:spPr>
        <p:txBody>
          <a:bodyPr wrap="square" lIns="0" tIns="0" rIns="0" bIns="0" rtlCol="0">
            <a:spAutoFit/>
          </a:bodyPr>
          <a:lstStyle/>
          <a:p>
            <a:pPr marL="0" marR="0" lvl="0" indent="0" algn="ctr" defTabSz="914400" rtl="0" eaLnBrk="1" fontAlgn="auto" latinLnBrk="0" hangingPunct="1">
              <a:lnSpc>
                <a:spcPct val="150000"/>
              </a:lnSpc>
              <a:spcBef>
                <a:spcPts val="0"/>
              </a:spcBef>
              <a:spcAft>
                <a:spcPts val="600"/>
              </a:spcAft>
              <a:buClrTx/>
              <a:buSzTx/>
              <a:buFontTx/>
              <a:buNone/>
              <a:tabLst/>
              <a:defRPr/>
            </a:pPr>
            <a:r>
              <a:rPr kumimoji="0" lang="en-US" sz="2000" b="0" i="0" u="none" strike="noStrike" kern="1200" cap="none" spc="-40" normalizeH="0" baseline="0" noProof="0">
                <a:ln w="3175">
                  <a:noFill/>
                </a:ln>
                <a:gradFill>
                  <a:gsLst>
                    <a:gs pos="0">
                      <a:srgbClr val="599FFD"/>
                    </a:gs>
                    <a:gs pos="80000">
                      <a:srgbClr val="0360DB"/>
                    </a:gs>
                  </a:gsLst>
                  <a:path path="circle">
                    <a:fillToRect l="100000" t="100000"/>
                  </a:path>
                </a:gradFill>
                <a:effectLst/>
                <a:uLnTx/>
                <a:uFillTx/>
                <a:latin typeface="Segoe Sans Display Semibold"/>
                <a:ea typeface="+mn-ea"/>
                <a:cs typeface="Segoe UI" panose="020B0502040204020203" pitchFamily="34" charset="0"/>
              </a:rPr>
              <a:t>What happened</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w="3175">
                  <a:noFill/>
                </a:ln>
                <a:solidFill>
                  <a:srgbClr val="000000"/>
                </a:solidFill>
                <a:effectLst/>
                <a:uLnTx/>
                <a:uFillTx/>
                <a:latin typeface="Segoe Sans Display"/>
                <a:ea typeface="+mn-ea"/>
                <a:cs typeface="Segoe UI" panose="020B0502040204020203" pitchFamily="34" charset="0"/>
              </a:rPr>
              <a:t>Violet requested access to an </a:t>
            </a:r>
            <a:br>
              <a:rPr kumimoji="0" lang="en-US" sz="1400" b="0" i="0" u="none" strike="noStrike" kern="1200" cap="none" spc="0" normalizeH="0" baseline="0" noProof="0">
                <a:ln w="3175">
                  <a:noFill/>
                </a:ln>
                <a:solidFill>
                  <a:srgbClr val="000000"/>
                </a:solidFill>
                <a:effectLst/>
                <a:uLnTx/>
                <a:uFillTx/>
                <a:latin typeface="Segoe Sans Display"/>
                <a:ea typeface="+mn-ea"/>
                <a:cs typeface="Segoe UI" panose="020B0502040204020203" pitchFamily="34" charset="0"/>
              </a:rPr>
            </a:br>
            <a:r>
              <a:rPr kumimoji="0" lang="en-US" sz="1400" b="0" i="0" u="none" strike="noStrike" kern="1200" cap="none" spc="0" normalizeH="0" baseline="0" noProof="0">
                <a:ln w="3175">
                  <a:noFill/>
                </a:ln>
                <a:solidFill>
                  <a:srgbClr val="000000"/>
                </a:solidFill>
                <a:effectLst/>
                <a:uLnTx/>
                <a:uFillTx/>
                <a:latin typeface="Segoe Sans Display"/>
                <a:ea typeface="+mn-ea"/>
                <a:cs typeface="Segoe UI" panose="020B0502040204020203" pitchFamily="34" charset="0"/>
              </a:rPr>
              <a:t>access package </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w="3175">
                  <a:noFill/>
                </a:ln>
                <a:solidFill>
                  <a:srgbClr val="000000"/>
                </a:solidFill>
                <a:effectLst/>
                <a:uLnTx/>
                <a:uFillTx/>
                <a:latin typeface="Segoe Sans Display"/>
                <a:ea typeface="+mn-ea"/>
                <a:cs typeface="Segoe UI" panose="020B0502040204020203" pitchFamily="34" charset="0"/>
              </a:rPr>
              <a:t>Accesses file share without needing </a:t>
            </a:r>
            <a:br>
              <a:rPr kumimoji="0" lang="en-US" sz="1400" b="0" i="0" u="none" strike="noStrike" kern="1200" cap="none" spc="0" normalizeH="0" baseline="0" noProof="0">
                <a:ln w="3175">
                  <a:noFill/>
                </a:ln>
                <a:solidFill>
                  <a:srgbClr val="000000"/>
                </a:solidFill>
                <a:effectLst/>
                <a:uLnTx/>
                <a:uFillTx/>
                <a:latin typeface="Segoe Sans Display"/>
                <a:ea typeface="+mn-ea"/>
                <a:cs typeface="Segoe UI" panose="020B0502040204020203" pitchFamily="34" charset="0"/>
              </a:rPr>
            </a:br>
            <a:r>
              <a:rPr kumimoji="0" lang="en-US" sz="1400" b="0" i="0" u="none" strike="noStrike" kern="1200" cap="none" spc="0" normalizeH="0" baseline="0" noProof="0">
                <a:ln w="3175">
                  <a:noFill/>
                </a:ln>
                <a:solidFill>
                  <a:srgbClr val="000000"/>
                </a:solidFill>
                <a:effectLst/>
                <a:uLnTx/>
                <a:uFillTx/>
                <a:latin typeface="Segoe Sans Display"/>
                <a:ea typeface="+mn-ea"/>
                <a:cs typeface="Segoe UI" panose="020B0502040204020203" pitchFamily="34" charset="0"/>
              </a:rPr>
              <a:t>a VPN</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w="3175">
                  <a:noFill/>
                </a:ln>
                <a:solidFill>
                  <a:srgbClr val="000000"/>
                </a:solidFill>
                <a:effectLst/>
                <a:uLnTx/>
                <a:uFillTx/>
                <a:latin typeface="Segoe Sans Display"/>
                <a:ea typeface="+mn-ea"/>
                <a:cs typeface="Segoe UI" panose="020B0502040204020203" pitchFamily="34" charset="0"/>
              </a:rPr>
              <a:t>Passkey is used to pass MF attempt</a:t>
            </a:r>
          </a:p>
        </p:txBody>
      </p:sp>
      <p:sp>
        <p:nvSpPr>
          <p:cNvPr id="20" name="TextBox 19">
            <a:extLst>
              <a:ext uri="{FF2B5EF4-FFF2-40B4-BE49-F238E27FC236}">
                <a16:creationId xmlns:a16="http://schemas.microsoft.com/office/drawing/2014/main" id="{6A01C11E-088D-0688-44F6-A172F48417D4}"/>
              </a:ext>
            </a:extLst>
          </p:cNvPr>
          <p:cNvSpPr txBox="1"/>
          <p:nvPr/>
        </p:nvSpPr>
        <p:spPr>
          <a:xfrm>
            <a:off x="8543542" y="2435360"/>
            <a:ext cx="2926080" cy="1338828"/>
          </a:xfrm>
          <a:prstGeom prst="rect">
            <a:avLst/>
          </a:prstGeom>
          <a:noFill/>
        </p:spPr>
        <p:txBody>
          <a:bodyPr wrap="square" lIns="0" tIns="0" rIns="0" bIns="0" rtlCol="0">
            <a:spAutoFit/>
          </a:bodyPr>
          <a:lstStyle/>
          <a:p>
            <a:pPr marL="0" marR="0" lvl="0" indent="0" algn="ctr" defTabSz="914400" rtl="0" eaLnBrk="1" fontAlgn="auto" latinLnBrk="0" hangingPunct="1">
              <a:lnSpc>
                <a:spcPct val="150000"/>
              </a:lnSpc>
              <a:spcBef>
                <a:spcPts val="0"/>
              </a:spcBef>
              <a:spcAft>
                <a:spcPts val="600"/>
              </a:spcAft>
              <a:buClrTx/>
              <a:buSzTx/>
              <a:buFontTx/>
              <a:buNone/>
              <a:tabLst/>
              <a:defRPr/>
            </a:pPr>
            <a:r>
              <a:rPr kumimoji="0" lang="en-US" sz="2000" b="0" i="0" u="none" strike="noStrike" kern="1200" cap="none" spc="-40" normalizeH="0" baseline="0" noProof="0">
                <a:ln w="3175">
                  <a:noFill/>
                </a:ln>
                <a:gradFill>
                  <a:gsLst>
                    <a:gs pos="0">
                      <a:srgbClr val="599FFD"/>
                    </a:gs>
                    <a:gs pos="80000">
                      <a:srgbClr val="0360DB"/>
                    </a:gs>
                  </a:gsLst>
                  <a:path path="circle">
                    <a:fillToRect l="100000" t="100000"/>
                  </a:path>
                </a:gradFill>
                <a:effectLst/>
                <a:uLnTx/>
                <a:uFillTx/>
                <a:latin typeface="Segoe Sans Display Semibold"/>
                <a:ea typeface="+mn-ea"/>
                <a:cs typeface="Segoe UI" panose="020B0502040204020203" pitchFamily="34" charset="0"/>
              </a:rPr>
              <a:t>Products</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w="3175">
                  <a:noFill/>
                </a:ln>
                <a:solidFill>
                  <a:srgbClr val="000000"/>
                </a:solidFill>
                <a:effectLst/>
                <a:uLnTx/>
                <a:uFillTx/>
                <a:latin typeface="Segoe Sans Display"/>
                <a:ea typeface="+mn-ea"/>
                <a:cs typeface="Segoe UI" panose="020B0502040204020203" pitchFamily="34" charset="0"/>
              </a:rPr>
              <a:t>Microsoft Entra Private Access</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w="3175">
                  <a:noFill/>
                </a:ln>
                <a:solidFill>
                  <a:srgbClr val="000000"/>
                </a:solidFill>
                <a:effectLst/>
                <a:uLnTx/>
                <a:uFillTx/>
                <a:latin typeface="Segoe Sans Display"/>
                <a:ea typeface="+mn-ea"/>
                <a:cs typeface="Segoe UI" panose="020B0502040204020203" pitchFamily="34" charset="0"/>
              </a:rPr>
              <a:t>Microsoft Entra ID Protection </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w="3175">
                  <a:noFill/>
                </a:ln>
                <a:solidFill>
                  <a:srgbClr val="000000"/>
                </a:solidFill>
                <a:effectLst/>
                <a:uLnTx/>
                <a:uFillTx/>
                <a:latin typeface="Segoe Sans Display"/>
                <a:ea typeface="+mn-ea"/>
                <a:cs typeface="Segoe UI" panose="020B0502040204020203" pitchFamily="34" charset="0"/>
              </a:rPr>
              <a:t>Microsoft Entra ID Governance</a:t>
            </a:r>
          </a:p>
        </p:txBody>
      </p:sp>
    </p:spTree>
    <p:extLst>
      <p:ext uri="{BB962C8B-B14F-4D97-AF65-F5344CB8AC3E}">
        <p14:creationId xmlns:p14="http://schemas.microsoft.com/office/powerpoint/2010/main" val="27760725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2" presetClass="entr" presetSubtype="8" decel="100000" fill="hold" nodeType="withEffect">
                                  <p:stCondLst>
                                    <p:cond delay="0"/>
                                  </p:stCondLst>
                                  <p:childTnLst>
                                    <p:set>
                                      <p:cBhvr>
                                        <p:cTn id="9" dur="1" fill="hold">
                                          <p:stCondLst>
                                            <p:cond delay="0"/>
                                          </p:stCondLst>
                                        </p:cTn>
                                        <p:tgtEl>
                                          <p:spTgt spid="16"/>
                                        </p:tgtEl>
                                        <p:attrNameLst>
                                          <p:attrName>style.visibility</p:attrName>
                                        </p:attrNameLst>
                                      </p:cBhvr>
                                      <p:to>
                                        <p:strVal val="visible"/>
                                      </p:to>
                                    </p:set>
                                    <p:anim calcmode="lin" valueType="num">
                                      <p:cBhvr additive="base">
                                        <p:cTn id="10" dur="500" fill="hold"/>
                                        <p:tgtEl>
                                          <p:spTgt spid="16"/>
                                        </p:tgtEl>
                                        <p:attrNameLst>
                                          <p:attrName>ppt_x</p:attrName>
                                        </p:attrNameLst>
                                      </p:cBhvr>
                                      <p:tavLst>
                                        <p:tav tm="0">
                                          <p:val>
                                            <p:strVal val="0-#ppt_w/2"/>
                                          </p:val>
                                        </p:tav>
                                        <p:tav tm="100000">
                                          <p:val>
                                            <p:strVal val="#ppt_x"/>
                                          </p:val>
                                        </p:tav>
                                      </p:tavLst>
                                    </p:anim>
                                    <p:anim calcmode="lin" valueType="num">
                                      <p:cBhvr additive="base">
                                        <p:cTn id="11" dur="500" fill="hold"/>
                                        <p:tgtEl>
                                          <p:spTgt spid="16"/>
                                        </p:tgtEl>
                                        <p:attrNameLst>
                                          <p:attrName>ppt_y</p:attrName>
                                        </p:attrNameLst>
                                      </p:cBhvr>
                                      <p:tavLst>
                                        <p:tav tm="0">
                                          <p:val>
                                            <p:strVal val="#ppt_y"/>
                                          </p:val>
                                        </p:tav>
                                        <p:tav tm="100000">
                                          <p:val>
                                            <p:strVal val="#ppt_y"/>
                                          </p:val>
                                        </p:tav>
                                      </p:tavLst>
                                    </p:anim>
                                  </p:childTnLst>
                                </p:cTn>
                              </p:par>
                              <p:par>
                                <p:cTn id="12" presetID="10" presetClass="entr" presetSubtype="0" fill="hold" grpId="0" nodeType="withEffect">
                                  <p:stCondLst>
                                    <p:cond delay="25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par>
                                <p:cTn id="15" presetID="10" presetClass="entr" presetSubtype="0" fill="hold" grpId="0" nodeType="withEffect">
                                  <p:stCondLst>
                                    <p:cond delay="25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10" presetClass="entr" presetSubtype="0" fill="hold" grpId="0" nodeType="withEffect">
                                  <p:stCondLst>
                                    <p:cond delay="250"/>
                                  </p:stCondLst>
                                  <p:childTnLst>
                                    <p:set>
                                      <p:cBhvr>
                                        <p:cTn id="19" dur="1" fill="hold">
                                          <p:stCondLst>
                                            <p:cond delay="0"/>
                                          </p:stCondLst>
                                        </p:cTn>
                                        <p:tgtEl>
                                          <p:spTgt spid="4"/>
                                        </p:tgtEl>
                                        <p:attrNameLst>
                                          <p:attrName>style.visibility</p:attrName>
                                        </p:attrNameLst>
                                      </p:cBhvr>
                                      <p:to>
                                        <p:strVal val="visible"/>
                                      </p:to>
                                    </p:set>
                                    <p:animEffect transition="in" filter="fade">
                                      <p:cBhvr>
                                        <p:cTn id="20" dur="500"/>
                                        <p:tgtEl>
                                          <p:spTgt spid="4"/>
                                        </p:tgtEl>
                                      </p:cBhvr>
                                    </p:animEffect>
                                  </p:childTnLst>
                                </p:cTn>
                              </p:par>
                              <p:par>
                                <p:cTn id="21" presetID="10" presetClass="entr" presetSubtype="0" fill="hold" grpId="0" nodeType="withEffect">
                                  <p:stCondLst>
                                    <p:cond delay="25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19" grpId="0"/>
      <p:bldP spid="20"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C06C92-474B-85F3-DA21-60EEE7114FCC}"/>
            </a:ext>
          </a:extLst>
        </p:cNvPr>
        <p:cNvGrpSpPr/>
        <p:nvPr/>
      </p:nvGrpSpPr>
      <p:grpSpPr>
        <a:xfrm>
          <a:off x="0" y="0"/>
          <a:ext cx="0" cy="0"/>
          <a:chOff x="0" y="0"/>
          <a:chExt cx="0" cy="0"/>
        </a:xfrm>
      </p:grpSpPr>
      <p:sp>
        <p:nvSpPr>
          <p:cNvPr id="22" name="Title 13">
            <a:extLst>
              <a:ext uri="{FF2B5EF4-FFF2-40B4-BE49-F238E27FC236}">
                <a16:creationId xmlns:a16="http://schemas.microsoft.com/office/drawing/2014/main" id="{62D9FFC1-C269-F32F-C430-D2F703845161}"/>
              </a:ext>
            </a:extLst>
          </p:cNvPr>
          <p:cNvSpPr txBox="1">
            <a:spLocks noGrp="1"/>
          </p:cNvSpPr>
          <p:nvPr>
            <p:ph type="title" idx="4294967295"/>
          </p:nvPr>
        </p:nvSpPr>
        <p:spPr>
          <a:xfrm>
            <a:off x="4895611" y="337715"/>
            <a:ext cx="6710362" cy="984250"/>
          </a:xfr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r>
              <a:rPr lang="en-US" sz="3200" b="1" dirty="0">
                <a:latin typeface="Segoe Sans Display Semibold" pitchFamily="2" charset="0"/>
                <a:cs typeface="Segoe Sans Display Semibold" pitchFamily="2" charset="0"/>
              </a:rPr>
              <a:t>Secure and govern access to </a:t>
            </a:r>
            <a:br>
              <a:rPr lang="en-US" sz="3200" b="1" dirty="0">
                <a:latin typeface="Segoe Sans Display Semibold" pitchFamily="2" charset="0"/>
                <a:cs typeface="Segoe Sans Display Semibold" pitchFamily="2" charset="0"/>
              </a:rPr>
            </a:br>
            <a:r>
              <a:rPr lang="en-US" sz="3200" b="1" dirty="0">
                <a:solidFill>
                  <a:srgbClr val="0360DB"/>
                </a:solidFill>
                <a:latin typeface="Segoe Sans Display Semibold" pitchFamily="2" charset="0"/>
                <a:cs typeface="Segoe Sans Display Semibold" pitchFamily="2" charset="0"/>
              </a:rPr>
              <a:t>internet resources</a:t>
            </a:r>
          </a:p>
        </p:txBody>
      </p:sp>
      <p:grpSp>
        <p:nvGrpSpPr>
          <p:cNvPr id="35" name="Group 34">
            <a:extLst>
              <a:ext uri="{FF2B5EF4-FFF2-40B4-BE49-F238E27FC236}">
                <a16:creationId xmlns:a16="http://schemas.microsoft.com/office/drawing/2014/main" id="{16687913-2D64-B67D-DE8F-F3D3F528E69A}"/>
              </a:ext>
              <a:ext uri="{C183D7F6-B498-43B3-948B-1728B52AA6E4}">
                <adec:decorative xmlns:adec="http://schemas.microsoft.com/office/drawing/2017/decorative" val="1"/>
              </a:ext>
            </a:extLst>
          </p:cNvPr>
          <p:cNvGrpSpPr/>
          <p:nvPr/>
        </p:nvGrpSpPr>
        <p:grpSpPr>
          <a:xfrm>
            <a:off x="0" y="0"/>
            <a:ext cx="4238869" cy="6858000"/>
            <a:chOff x="0" y="0"/>
            <a:chExt cx="4238869" cy="6847526"/>
          </a:xfrm>
        </p:grpSpPr>
        <p:pic>
          <p:nvPicPr>
            <p:cNvPr id="30" name="Picture 29">
              <a:extLst>
                <a:ext uri="{FF2B5EF4-FFF2-40B4-BE49-F238E27FC236}">
                  <a16:creationId xmlns:a16="http://schemas.microsoft.com/office/drawing/2014/main" id="{861CB39F-FA8E-2AC2-A06A-0F7B5BD4524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rcRect l="48329" r="10481"/>
            <a:stretch/>
          </p:blipFill>
          <p:spPr>
            <a:xfrm>
              <a:off x="0" y="2771"/>
              <a:ext cx="4238869" cy="6844755"/>
            </a:xfrm>
            <a:custGeom>
              <a:avLst/>
              <a:gdLst>
                <a:gd name="connsiteX0" fmla="*/ 0 w 4238869"/>
                <a:gd name="connsiteY0" fmla="*/ 0 h 6844755"/>
                <a:gd name="connsiteX1" fmla="*/ 4238869 w 4238869"/>
                <a:gd name="connsiteY1" fmla="*/ 0 h 6844755"/>
                <a:gd name="connsiteX2" fmla="*/ 4238869 w 4238869"/>
                <a:gd name="connsiteY2" fmla="*/ 6844755 h 6844755"/>
                <a:gd name="connsiteX3" fmla="*/ 0 w 4238869"/>
                <a:gd name="connsiteY3" fmla="*/ 6844755 h 6844755"/>
              </a:gdLst>
              <a:ahLst/>
              <a:cxnLst>
                <a:cxn ang="0">
                  <a:pos x="connsiteX0" y="connsiteY0"/>
                </a:cxn>
                <a:cxn ang="0">
                  <a:pos x="connsiteX1" y="connsiteY1"/>
                </a:cxn>
                <a:cxn ang="0">
                  <a:pos x="connsiteX2" y="connsiteY2"/>
                </a:cxn>
                <a:cxn ang="0">
                  <a:pos x="connsiteX3" y="connsiteY3"/>
                </a:cxn>
              </a:cxnLst>
              <a:rect l="l" t="t" r="r" b="b"/>
              <a:pathLst>
                <a:path w="4238869" h="6844755">
                  <a:moveTo>
                    <a:pt x="0" y="0"/>
                  </a:moveTo>
                  <a:lnTo>
                    <a:pt x="4238869" y="0"/>
                  </a:lnTo>
                  <a:lnTo>
                    <a:pt x="4238869" y="6844755"/>
                  </a:lnTo>
                  <a:lnTo>
                    <a:pt x="0" y="6844755"/>
                  </a:lnTo>
                  <a:close/>
                </a:path>
              </a:pathLst>
            </a:custGeom>
          </p:spPr>
        </p:pic>
        <p:pic>
          <p:nvPicPr>
            <p:cNvPr id="34" name="Picture 33">
              <a:extLst>
                <a:ext uri="{FF2B5EF4-FFF2-40B4-BE49-F238E27FC236}">
                  <a16:creationId xmlns:a16="http://schemas.microsoft.com/office/drawing/2014/main" id="{2C147694-FF16-F4DE-075A-DA11B6D9CA77}"/>
                </a:ext>
              </a:extLst>
            </p:cNvPr>
            <p:cNvPicPr>
              <a:picLocks noChangeAspect="1"/>
            </p:cNvPicPr>
            <p:nvPr/>
          </p:nvPicPr>
          <p:blipFill>
            <a:blip r:embed="rId4">
              <a:alphaModFix amt="70000"/>
            </a:blip>
            <a:srcRect l="46568" r="46568"/>
            <a:stretch/>
          </p:blipFill>
          <p:spPr>
            <a:xfrm flipH="1">
              <a:off x="0" y="0"/>
              <a:ext cx="836770" cy="6847526"/>
            </a:xfrm>
            <a:custGeom>
              <a:avLst/>
              <a:gdLst>
                <a:gd name="connsiteX0" fmla="*/ 0 w 1133669"/>
                <a:gd name="connsiteY0" fmla="*/ 0 h 1132290"/>
                <a:gd name="connsiteX1" fmla="*/ 1133669 w 1133669"/>
                <a:gd name="connsiteY1" fmla="*/ 0 h 1132290"/>
                <a:gd name="connsiteX2" fmla="*/ 1133669 w 1133669"/>
                <a:gd name="connsiteY2" fmla="*/ 1132290 h 1132290"/>
                <a:gd name="connsiteX3" fmla="*/ 0 w 1133669"/>
                <a:gd name="connsiteY3" fmla="*/ 1132290 h 1132290"/>
              </a:gdLst>
              <a:ahLst/>
              <a:cxnLst>
                <a:cxn ang="0">
                  <a:pos x="connsiteX0" y="connsiteY0"/>
                </a:cxn>
                <a:cxn ang="0">
                  <a:pos x="connsiteX1" y="connsiteY1"/>
                </a:cxn>
                <a:cxn ang="0">
                  <a:pos x="connsiteX2" y="connsiteY2"/>
                </a:cxn>
                <a:cxn ang="0">
                  <a:pos x="connsiteX3" y="connsiteY3"/>
                </a:cxn>
              </a:cxnLst>
              <a:rect l="l" t="t" r="r" b="b"/>
              <a:pathLst>
                <a:path w="1133669" h="1132290">
                  <a:moveTo>
                    <a:pt x="0" y="0"/>
                  </a:moveTo>
                  <a:lnTo>
                    <a:pt x="1133669" y="0"/>
                  </a:lnTo>
                  <a:lnTo>
                    <a:pt x="1133669" y="1132290"/>
                  </a:lnTo>
                  <a:lnTo>
                    <a:pt x="0" y="1132290"/>
                  </a:lnTo>
                  <a:close/>
                </a:path>
              </a:pathLst>
            </a:custGeom>
          </p:spPr>
        </p:pic>
      </p:grpSp>
      <p:sp>
        <p:nvSpPr>
          <p:cNvPr id="24" name="TextBox 23">
            <a:extLst>
              <a:ext uri="{FF2B5EF4-FFF2-40B4-BE49-F238E27FC236}">
                <a16:creationId xmlns:a16="http://schemas.microsoft.com/office/drawing/2014/main" id="{895C16B6-4593-2A4F-4F0E-C21D085099BC}"/>
              </a:ext>
            </a:extLst>
          </p:cNvPr>
          <p:cNvSpPr txBox="1">
            <a:spLocks/>
          </p:cNvSpPr>
          <p:nvPr/>
        </p:nvSpPr>
        <p:spPr>
          <a:xfrm>
            <a:off x="4895612" y="1556326"/>
            <a:ext cx="2651760" cy="307777"/>
          </a:xfrm>
          <a:prstGeom prst="rect">
            <a:avLst/>
          </a:prstGeom>
          <a:noFill/>
          <a:ln>
            <a:noFill/>
          </a:ln>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Sans Display Semibold"/>
                <a:ea typeface="+mn-ea"/>
                <a:cs typeface="+mn-cs"/>
              </a:rPr>
              <a:t>Microsoft Entra Suite </a:t>
            </a:r>
          </a:p>
        </p:txBody>
      </p:sp>
      <p:grpSp>
        <p:nvGrpSpPr>
          <p:cNvPr id="25" name="Group 24">
            <a:extLst>
              <a:ext uri="{FF2B5EF4-FFF2-40B4-BE49-F238E27FC236}">
                <a16:creationId xmlns:a16="http://schemas.microsoft.com/office/drawing/2014/main" id="{CE2E5D6E-654E-D6FD-2CF0-1977DFD2E731}"/>
              </a:ext>
              <a:ext uri="{C183D7F6-B498-43B3-948B-1728B52AA6E4}">
                <adec:decorative xmlns:adec="http://schemas.microsoft.com/office/drawing/2017/decorative" val="1"/>
              </a:ext>
            </a:extLst>
          </p:cNvPr>
          <p:cNvGrpSpPr/>
          <p:nvPr/>
        </p:nvGrpSpPr>
        <p:grpSpPr>
          <a:xfrm>
            <a:off x="10785395" y="457200"/>
            <a:ext cx="821388" cy="821388"/>
            <a:chOff x="10468823" y="734429"/>
            <a:chExt cx="821388" cy="821388"/>
          </a:xfrm>
        </p:grpSpPr>
        <p:grpSp>
          <p:nvGrpSpPr>
            <p:cNvPr id="26" name="Group 25">
              <a:extLst>
                <a:ext uri="{FF2B5EF4-FFF2-40B4-BE49-F238E27FC236}">
                  <a16:creationId xmlns:a16="http://schemas.microsoft.com/office/drawing/2014/main" id="{F31D81C3-92C3-803E-CF62-736592E7636F}"/>
                </a:ext>
                <a:ext uri="{C183D7F6-B498-43B3-948B-1728B52AA6E4}">
                  <adec:decorative xmlns:adec="http://schemas.microsoft.com/office/drawing/2017/decorative" val="1"/>
                </a:ext>
              </a:extLst>
            </p:cNvPr>
            <p:cNvGrpSpPr/>
            <p:nvPr/>
          </p:nvGrpSpPr>
          <p:grpSpPr>
            <a:xfrm>
              <a:off x="10468823" y="734429"/>
              <a:ext cx="821388" cy="821388"/>
              <a:chOff x="1511104" y="983803"/>
              <a:chExt cx="874443" cy="874443"/>
            </a:xfrm>
          </p:grpSpPr>
          <p:sp>
            <p:nvSpPr>
              <p:cNvPr id="32" name="Oval 31">
                <a:extLst>
                  <a:ext uri="{FF2B5EF4-FFF2-40B4-BE49-F238E27FC236}">
                    <a16:creationId xmlns:a16="http://schemas.microsoft.com/office/drawing/2014/main" id="{36EE4845-DB0F-6283-4C84-6267B6B5139A}"/>
                  </a:ext>
                </a:extLst>
              </p:cNvPr>
              <p:cNvSpPr/>
              <p:nvPr/>
            </p:nvSpPr>
            <p:spPr bwMode="auto">
              <a:xfrm>
                <a:off x="1511104" y="983803"/>
                <a:ext cx="874443" cy="874443"/>
              </a:xfrm>
              <a:prstGeom prst="ellipse">
                <a:avLst/>
              </a:prstGeom>
              <a:gradFill flip="none" rotWithShape="1">
                <a:gsLst>
                  <a:gs pos="0">
                    <a:srgbClr val="FADC14">
                      <a:alpha val="50000"/>
                    </a:srgbClr>
                  </a:gs>
                  <a:gs pos="100000">
                    <a:srgbClr val="599FFD">
                      <a:alpha val="50000"/>
                    </a:srgbClr>
                  </a:gs>
                </a:gsLst>
                <a:path path="circle">
                  <a:fillToRect t="100000" r="100000"/>
                </a:path>
                <a:tileRect l="-100000" b="-10000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91F2C"/>
                  </a:solidFill>
                  <a:effectLst/>
                  <a:uLnTx/>
                  <a:uFillTx/>
                  <a:latin typeface="Segoe UI Variable Display"/>
                  <a:ea typeface="+mn-ea"/>
                  <a:cs typeface="Segoe UI" pitchFamily="34" charset="0"/>
                </a:endParaRPr>
              </a:p>
            </p:txBody>
          </p:sp>
          <p:sp>
            <p:nvSpPr>
              <p:cNvPr id="33" name="Oval 32">
                <a:extLst>
                  <a:ext uri="{FF2B5EF4-FFF2-40B4-BE49-F238E27FC236}">
                    <a16:creationId xmlns:a16="http://schemas.microsoft.com/office/drawing/2014/main" id="{7F0219EB-720F-0B3E-2FAE-31FBBB59872C}"/>
                  </a:ext>
                </a:extLst>
              </p:cNvPr>
              <p:cNvSpPr/>
              <p:nvPr/>
            </p:nvSpPr>
            <p:spPr bwMode="auto">
              <a:xfrm>
                <a:off x="1620236" y="1092935"/>
                <a:ext cx="656179" cy="656179"/>
              </a:xfrm>
              <a:prstGeom prst="ellipse">
                <a:avLst/>
              </a:prstGeom>
              <a:solidFill>
                <a:srgbClr val="FFFFFF"/>
              </a:solidFill>
              <a:ln w="19050" cap="flat" cmpd="sng" algn="ctr">
                <a:gradFill>
                  <a:gsLst>
                    <a:gs pos="0">
                      <a:srgbClr val="599FFD"/>
                    </a:gs>
                    <a:gs pos="100000">
                      <a:srgbClr val="FADC14"/>
                    </a:gs>
                  </a:gsLst>
                  <a:lin ang="5400000" scaled="1"/>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91F2C"/>
                  </a:solidFill>
                  <a:effectLst/>
                  <a:uLnTx/>
                  <a:uFillTx/>
                  <a:latin typeface="Segoe UI Variable Display"/>
                  <a:ea typeface="+mn-ea"/>
                  <a:cs typeface="Segoe UI" pitchFamily="34" charset="0"/>
                </a:endParaRPr>
              </a:p>
            </p:txBody>
          </p:sp>
        </p:grpSp>
        <p:grpSp>
          <p:nvGrpSpPr>
            <p:cNvPr id="28" name="Group 27">
              <a:extLst>
                <a:ext uri="{FF2B5EF4-FFF2-40B4-BE49-F238E27FC236}">
                  <a16:creationId xmlns:a16="http://schemas.microsoft.com/office/drawing/2014/main" id="{529F39F1-C849-6E5A-47AF-512EE18C4C89}"/>
                </a:ext>
              </a:extLst>
            </p:cNvPr>
            <p:cNvGrpSpPr/>
            <p:nvPr/>
          </p:nvGrpSpPr>
          <p:grpSpPr>
            <a:xfrm>
              <a:off x="10711646" y="963263"/>
              <a:ext cx="335742" cy="363721"/>
              <a:chOff x="678048" y="1404000"/>
              <a:chExt cx="274320" cy="297180"/>
            </a:xfrm>
            <a:solidFill>
              <a:srgbClr val="000000"/>
            </a:solidFill>
          </p:grpSpPr>
          <p:sp>
            <p:nvSpPr>
              <p:cNvPr id="29" name="Freeform: Shape 28">
                <a:extLst>
                  <a:ext uri="{FF2B5EF4-FFF2-40B4-BE49-F238E27FC236}">
                    <a16:creationId xmlns:a16="http://schemas.microsoft.com/office/drawing/2014/main" id="{6C1E448B-A72F-1C5D-B9D1-C976E4B84E2A}"/>
                  </a:ext>
                </a:extLst>
              </p:cNvPr>
              <p:cNvSpPr/>
              <p:nvPr/>
            </p:nvSpPr>
            <p:spPr>
              <a:xfrm>
                <a:off x="723768" y="1449720"/>
                <a:ext cx="182880" cy="213360"/>
              </a:xfrm>
              <a:custGeom>
                <a:avLst/>
                <a:gdLst>
                  <a:gd name="connsiteX0" fmla="*/ 30480 w 182880"/>
                  <a:gd name="connsiteY0" fmla="*/ 15240 h 213360"/>
                  <a:gd name="connsiteX1" fmla="*/ 15240 w 182880"/>
                  <a:gd name="connsiteY1" fmla="*/ 30480 h 213360"/>
                  <a:gd name="connsiteX2" fmla="*/ 0 w 182880"/>
                  <a:gd name="connsiteY2" fmla="*/ 15240 h 213360"/>
                  <a:gd name="connsiteX3" fmla="*/ 15240 w 182880"/>
                  <a:gd name="connsiteY3" fmla="*/ 0 h 213360"/>
                  <a:gd name="connsiteX4" fmla="*/ 30480 w 182880"/>
                  <a:gd name="connsiteY4" fmla="*/ 15240 h 213360"/>
                  <a:gd name="connsiteX5" fmla="*/ 15240 w 182880"/>
                  <a:gd name="connsiteY5" fmla="*/ 76200 h 213360"/>
                  <a:gd name="connsiteX6" fmla="*/ 30480 w 182880"/>
                  <a:gd name="connsiteY6" fmla="*/ 60960 h 213360"/>
                  <a:gd name="connsiteX7" fmla="*/ 15240 w 182880"/>
                  <a:gd name="connsiteY7" fmla="*/ 45720 h 213360"/>
                  <a:gd name="connsiteX8" fmla="*/ 0 w 182880"/>
                  <a:gd name="connsiteY8" fmla="*/ 60960 h 213360"/>
                  <a:gd name="connsiteX9" fmla="*/ 15240 w 182880"/>
                  <a:gd name="connsiteY9" fmla="*/ 76200 h 213360"/>
                  <a:gd name="connsiteX10" fmla="*/ 30480 w 182880"/>
                  <a:gd name="connsiteY10" fmla="*/ 106680 h 213360"/>
                  <a:gd name="connsiteX11" fmla="*/ 15240 w 182880"/>
                  <a:gd name="connsiteY11" fmla="*/ 121920 h 213360"/>
                  <a:gd name="connsiteX12" fmla="*/ 0 w 182880"/>
                  <a:gd name="connsiteY12" fmla="*/ 106680 h 213360"/>
                  <a:gd name="connsiteX13" fmla="*/ 15240 w 182880"/>
                  <a:gd name="connsiteY13" fmla="*/ 91440 h 213360"/>
                  <a:gd name="connsiteX14" fmla="*/ 30480 w 182880"/>
                  <a:gd name="connsiteY14" fmla="*/ 106680 h 213360"/>
                  <a:gd name="connsiteX15" fmla="*/ 30480 w 182880"/>
                  <a:gd name="connsiteY15" fmla="*/ 152400 h 213360"/>
                  <a:gd name="connsiteX16" fmla="*/ 15240 w 182880"/>
                  <a:gd name="connsiteY16" fmla="*/ 167640 h 213360"/>
                  <a:gd name="connsiteX17" fmla="*/ 0 w 182880"/>
                  <a:gd name="connsiteY17" fmla="*/ 152400 h 213360"/>
                  <a:gd name="connsiteX18" fmla="*/ 15240 w 182880"/>
                  <a:gd name="connsiteY18" fmla="*/ 137160 h 213360"/>
                  <a:gd name="connsiteX19" fmla="*/ 30480 w 182880"/>
                  <a:gd name="connsiteY19" fmla="*/ 152400 h 213360"/>
                  <a:gd name="connsiteX20" fmla="*/ 15240 w 182880"/>
                  <a:gd name="connsiteY20" fmla="*/ 213360 h 213360"/>
                  <a:gd name="connsiteX21" fmla="*/ 30480 w 182880"/>
                  <a:gd name="connsiteY21" fmla="*/ 198120 h 213360"/>
                  <a:gd name="connsiteX22" fmla="*/ 15240 w 182880"/>
                  <a:gd name="connsiteY22" fmla="*/ 182880 h 213360"/>
                  <a:gd name="connsiteX23" fmla="*/ 0 w 182880"/>
                  <a:gd name="connsiteY23" fmla="*/ 198120 h 213360"/>
                  <a:gd name="connsiteX24" fmla="*/ 15240 w 182880"/>
                  <a:gd name="connsiteY24" fmla="*/ 213360 h 213360"/>
                  <a:gd name="connsiteX25" fmla="*/ 121920 w 182880"/>
                  <a:gd name="connsiteY25" fmla="*/ 167640 h 213360"/>
                  <a:gd name="connsiteX26" fmla="*/ 137160 w 182880"/>
                  <a:gd name="connsiteY26" fmla="*/ 152400 h 213360"/>
                  <a:gd name="connsiteX27" fmla="*/ 121920 w 182880"/>
                  <a:gd name="connsiteY27" fmla="*/ 137160 h 213360"/>
                  <a:gd name="connsiteX28" fmla="*/ 106680 w 182880"/>
                  <a:gd name="connsiteY28" fmla="*/ 152400 h 213360"/>
                  <a:gd name="connsiteX29" fmla="*/ 121920 w 182880"/>
                  <a:gd name="connsiteY29" fmla="*/ 167640 h 213360"/>
                  <a:gd name="connsiteX30" fmla="*/ 167640 w 182880"/>
                  <a:gd name="connsiteY30" fmla="*/ 167640 h 213360"/>
                  <a:gd name="connsiteX31" fmla="*/ 182880 w 182880"/>
                  <a:gd name="connsiteY31" fmla="*/ 152400 h 213360"/>
                  <a:gd name="connsiteX32" fmla="*/ 167640 w 182880"/>
                  <a:gd name="connsiteY32" fmla="*/ 137160 h 213360"/>
                  <a:gd name="connsiteX33" fmla="*/ 152400 w 182880"/>
                  <a:gd name="connsiteY33" fmla="*/ 152400 h 213360"/>
                  <a:gd name="connsiteX34" fmla="*/ 167640 w 182880"/>
                  <a:gd name="connsiteY34" fmla="*/ 167640 h 213360"/>
                  <a:gd name="connsiteX35" fmla="*/ 167640 w 182880"/>
                  <a:gd name="connsiteY35" fmla="*/ 121920 h 213360"/>
                  <a:gd name="connsiteX36" fmla="*/ 182880 w 182880"/>
                  <a:gd name="connsiteY36" fmla="*/ 106680 h 213360"/>
                  <a:gd name="connsiteX37" fmla="*/ 167640 w 182880"/>
                  <a:gd name="connsiteY37" fmla="*/ 91440 h 213360"/>
                  <a:gd name="connsiteX38" fmla="*/ 152400 w 182880"/>
                  <a:gd name="connsiteY38" fmla="*/ 106680 h 213360"/>
                  <a:gd name="connsiteX39" fmla="*/ 167640 w 182880"/>
                  <a:gd name="connsiteY39" fmla="*/ 121920 h 213360"/>
                  <a:gd name="connsiteX40" fmla="*/ 137160 w 182880"/>
                  <a:gd name="connsiteY40" fmla="*/ 106680 h 213360"/>
                  <a:gd name="connsiteX41" fmla="*/ 121920 w 182880"/>
                  <a:gd name="connsiteY41" fmla="*/ 121920 h 213360"/>
                  <a:gd name="connsiteX42" fmla="*/ 106680 w 182880"/>
                  <a:gd name="connsiteY42" fmla="*/ 106680 h 213360"/>
                  <a:gd name="connsiteX43" fmla="*/ 121920 w 182880"/>
                  <a:gd name="connsiteY43" fmla="*/ 91440 h 213360"/>
                  <a:gd name="connsiteX44" fmla="*/ 137160 w 182880"/>
                  <a:gd name="connsiteY44" fmla="*/ 106680 h 213360"/>
                  <a:gd name="connsiteX45" fmla="*/ 167640 w 182880"/>
                  <a:gd name="connsiteY45" fmla="*/ 76200 h 213360"/>
                  <a:gd name="connsiteX46" fmla="*/ 182880 w 182880"/>
                  <a:gd name="connsiteY46" fmla="*/ 60960 h 213360"/>
                  <a:gd name="connsiteX47" fmla="*/ 167640 w 182880"/>
                  <a:gd name="connsiteY47" fmla="*/ 45720 h 213360"/>
                  <a:gd name="connsiteX48" fmla="*/ 152400 w 182880"/>
                  <a:gd name="connsiteY48" fmla="*/ 60960 h 213360"/>
                  <a:gd name="connsiteX49" fmla="*/ 167640 w 182880"/>
                  <a:gd name="connsiteY49" fmla="*/ 76200 h 213360"/>
                  <a:gd name="connsiteX50" fmla="*/ 137160 w 182880"/>
                  <a:gd name="connsiteY50" fmla="*/ 60960 h 213360"/>
                  <a:gd name="connsiteX51" fmla="*/ 121920 w 182880"/>
                  <a:gd name="connsiteY51" fmla="*/ 76200 h 213360"/>
                  <a:gd name="connsiteX52" fmla="*/ 106680 w 182880"/>
                  <a:gd name="connsiteY52" fmla="*/ 60960 h 213360"/>
                  <a:gd name="connsiteX53" fmla="*/ 121920 w 182880"/>
                  <a:gd name="connsiteY53" fmla="*/ 45720 h 213360"/>
                  <a:gd name="connsiteX54" fmla="*/ 137160 w 182880"/>
                  <a:gd name="connsiteY54" fmla="*/ 60960 h 21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82880" h="213360">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3"/>
                      <a:pt x="30480" y="15240"/>
                    </a:cubicBezTo>
                    <a:close/>
                    <a:moveTo>
                      <a:pt x="15240" y="76200"/>
                    </a:moveTo>
                    <a:cubicBezTo>
                      <a:pt x="23657" y="76200"/>
                      <a:pt x="30480" y="69377"/>
                      <a:pt x="30480" y="60960"/>
                    </a:cubicBezTo>
                    <a:cubicBezTo>
                      <a:pt x="30480" y="52543"/>
                      <a:pt x="23657" y="45720"/>
                      <a:pt x="15240" y="45720"/>
                    </a:cubicBezTo>
                    <a:cubicBezTo>
                      <a:pt x="6823" y="45720"/>
                      <a:pt x="0" y="52543"/>
                      <a:pt x="0" y="60960"/>
                    </a:cubicBezTo>
                    <a:cubicBezTo>
                      <a:pt x="0" y="69377"/>
                      <a:pt x="6823" y="76200"/>
                      <a:pt x="15240" y="76200"/>
                    </a:cubicBezTo>
                    <a:close/>
                    <a:moveTo>
                      <a:pt x="30480" y="106680"/>
                    </a:moveTo>
                    <a:cubicBezTo>
                      <a:pt x="30480" y="115097"/>
                      <a:pt x="23657" y="121920"/>
                      <a:pt x="15240" y="121920"/>
                    </a:cubicBezTo>
                    <a:cubicBezTo>
                      <a:pt x="6823" y="121920"/>
                      <a:pt x="0" y="115097"/>
                      <a:pt x="0" y="106680"/>
                    </a:cubicBezTo>
                    <a:cubicBezTo>
                      <a:pt x="0" y="98263"/>
                      <a:pt x="6823" y="91440"/>
                      <a:pt x="15240" y="91440"/>
                    </a:cubicBezTo>
                    <a:cubicBezTo>
                      <a:pt x="23657" y="91440"/>
                      <a:pt x="30480" y="98263"/>
                      <a:pt x="30480" y="106680"/>
                    </a:cubicBezTo>
                    <a:close/>
                    <a:moveTo>
                      <a:pt x="30480" y="152400"/>
                    </a:moveTo>
                    <a:cubicBezTo>
                      <a:pt x="30480" y="160817"/>
                      <a:pt x="23657" y="167640"/>
                      <a:pt x="15240" y="167640"/>
                    </a:cubicBezTo>
                    <a:cubicBezTo>
                      <a:pt x="6823" y="167640"/>
                      <a:pt x="0" y="160817"/>
                      <a:pt x="0" y="152400"/>
                    </a:cubicBezTo>
                    <a:cubicBezTo>
                      <a:pt x="0" y="143983"/>
                      <a:pt x="6823" y="137160"/>
                      <a:pt x="15240" y="137160"/>
                    </a:cubicBezTo>
                    <a:cubicBezTo>
                      <a:pt x="23657" y="137160"/>
                      <a:pt x="30480" y="143983"/>
                      <a:pt x="30480" y="152400"/>
                    </a:cubicBezTo>
                    <a:close/>
                    <a:moveTo>
                      <a:pt x="15240" y="213360"/>
                    </a:moveTo>
                    <a:cubicBezTo>
                      <a:pt x="23657" y="213360"/>
                      <a:pt x="30480" y="206537"/>
                      <a:pt x="30480" y="198120"/>
                    </a:cubicBezTo>
                    <a:cubicBezTo>
                      <a:pt x="30480" y="189703"/>
                      <a:pt x="23657" y="182880"/>
                      <a:pt x="15240" y="182880"/>
                    </a:cubicBezTo>
                    <a:cubicBezTo>
                      <a:pt x="6823" y="182880"/>
                      <a:pt x="0" y="189703"/>
                      <a:pt x="0" y="198120"/>
                    </a:cubicBezTo>
                    <a:cubicBezTo>
                      <a:pt x="0" y="206537"/>
                      <a:pt x="6823" y="213360"/>
                      <a:pt x="15240" y="213360"/>
                    </a:cubicBezTo>
                    <a:close/>
                    <a:moveTo>
                      <a:pt x="121920" y="167640"/>
                    </a:moveTo>
                    <a:cubicBezTo>
                      <a:pt x="130337" y="167640"/>
                      <a:pt x="137160" y="160817"/>
                      <a:pt x="137160" y="152400"/>
                    </a:cubicBezTo>
                    <a:cubicBezTo>
                      <a:pt x="137160" y="143983"/>
                      <a:pt x="130337" y="137160"/>
                      <a:pt x="121920" y="137160"/>
                    </a:cubicBezTo>
                    <a:cubicBezTo>
                      <a:pt x="113503" y="137160"/>
                      <a:pt x="106680" y="143983"/>
                      <a:pt x="106680" y="152400"/>
                    </a:cubicBezTo>
                    <a:cubicBezTo>
                      <a:pt x="106680" y="160817"/>
                      <a:pt x="113503" y="167640"/>
                      <a:pt x="121920" y="167640"/>
                    </a:cubicBezTo>
                    <a:close/>
                    <a:moveTo>
                      <a:pt x="167640" y="167640"/>
                    </a:moveTo>
                    <a:cubicBezTo>
                      <a:pt x="176057" y="167640"/>
                      <a:pt x="182880" y="160817"/>
                      <a:pt x="182880" y="152400"/>
                    </a:cubicBezTo>
                    <a:cubicBezTo>
                      <a:pt x="182880" y="143983"/>
                      <a:pt x="176057" y="137160"/>
                      <a:pt x="167640" y="137160"/>
                    </a:cubicBezTo>
                    <a:cubicBezTo>
                      <a:pt x="159223" y="137160"/>
                      <a:pt x="152400" y="143983"/>
                      <a:pt x="152400" y="152400"/>
                    </a:cubicBezTo>
                    <a:cubicBezTo>
                      <a:pt x="152400" y="160817"/>
                      <a:pt x="159223" y="167640"/>
                      <a:pt x="167640" y="167640"/>
                    </a:cubicBezTo>
                    <a:close/>
                    <a:moveTo>
                      <a:pt x="167640" y="121920"/>
                    </a:moveTo>
                    <a:cubicBezTo>
                      <a:pt x="176057" y="121920"/>
                      <a:pt x="182880" y="115097"/>
                      <a:pt x="182880" y="106680"/>
                    </a:cubicBezTo>
                    <a:cubicBezTo>
                      <a:pt x="182880" y="98263"/>
                      <a:pt x="176057" y="91440"/>
                      <a:pt x="167640" y="91440"/>
                    </a:cubicBezTo>
                    <a:cubicBezTo>
                      <a:pt x="159223" y="91440"/>
                      <a:pt x="152400" y="98263"/>
                      <a:pt x="152400" y="106680"/>
                    </a:cubicBezTo>
                    <a:cubicBezTo>
                      <a:pt x="152400" y="115097"/>
                      <a:pt x="159223" y="121920"/>
                      <a:pt x="167640" y="121920"/>
                    </a:cubicBezTo>
                    <a:close/>
                    <a:moveTo>
                      <a:pt x="137160" y="106680"/>
                    </a:moveTo>
                    <a:cubicBezTo>
                      <a:pt x="137160" y="115097"/>
                      <a:pt x="130337" y="121920"/>
                      <a:pt x="121920" y="121920"/>
                    </a:cubicBezTo>
                    <a:cubicBezTo>
                      <a:pt x="113503" y="121920"/>
                      <a:pt x="106680" y="115097"/>
                      <a:pt x="106680" y="106680"/>
                    </a:cubicBezTo>
                    <a:cubicBezTo>
                      <a:pt x="106680" y="98263"/>
                      <a:pt x="113503" y="91440"/>
                      <a:pt x="121920" y="91440"/>
                    </a:cubicBezTo>
                    <a:cubicBezTo>
                      <a:pt x="130337" y="91440"/>
                      <a:pt x="137160" y="98263"/>
                      <a:pt x="137160" y="106680"/>
                    </a:cubicBezTo>
                    <a:close/>
                    <a:moveTo>
                      <a:pt x="167640" y="76200"/>
                    </a:moveTo>
                    <a:cubicBezTo>
                      <a:pt x="176057" y="76200"/>
                      <a:pt x="182880" y="69377"/>
                      <a:pt x="182880" y="60960"/>
                    </a:cubicBezTo>
                    <a:cubicBezTo>
                      <a:pt x="182880" y="52543"/>
                      <a:pt x="176057" y="45720"/>
                      <a:pt x="167640" y="45720"/>
                    </a:cubicBezTo>
                    <a:cubicBezTo>
                      <a:pt x="159223" y="45720"/>
                      <a:pt x="152400" y="52543"/>
                      <a:pt x="152400" y="60960"/>
                    </a:cubicBezTo>
                    <a:cubicBezTo>
                      <a:pt x="152400" y="69377"/>
                      <a:pt x="159223" y="76200"/>
                      <a:pt x="167640" y="76200"/>
                    </a:cubicBezTo>
                    <a:close/>
                    <a:moveTo>
                      <a:pt x="137160" y="60960"/>
                    </a:moveTo>
                    <a:cubicBezTo>
                      <a:pt x="137160" y="69377"/>
                      <a:pt x="130337" y="76200"/>
                      <a:pt x="121920" y="76200"/>
                    </a:cubicBezTo>
                    <a:cubicBezTo>
                      <a:pt x="113503" y="76200"/>
                      <a:pt x="106680" y="69377"/>
                      <a:pt x="106680" y="60960"/>
                    </a:cubicBezTo>
                    <a:cubicBezTo>
                      <a:pt x="106680" y="52543"/>
                      <a:pt x="113503" y="45720"/>
                      <a:pt x="121920" y="45720"/>
                    </a:cubicBezTo>
                    <a:cubicBezTo>
                      <a:pt x="130337" y="45720"/>
                      <a:pt x="137160" y="52543"/>
                      <a:pt x="137160" y="60960"/>
                    </a:cubicBezTo>
                    <a:close/>
                  </a:path>
                </a:pathLst>
              </a:custGeom>
              <a:grp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Display"/>
                  <a:ea typeface="+mn-ea"/>
                  <a:cs typeface="+mn-cs"/>
                </a:endParaRPr>
              </a:p>
            </p:txBody>
          </p:sp>
          <p:sp>
            <p:nvSpPr>
              <p:cNvPr id="31" name="Freeform: Shape 30">
                <a:extLst>
                  <a:ext uri="{FF2B5EF4-FFF2-40B4-BE49-F238E27FC236}">
                    <a16:creationId xmlns:a16="http://schemas.microsoft.com/office/drawing/2014/main" id="{0C4AB126-CCA3-A52F-46B5-806244B98C6D}"/>
                  </a:ext>
                </a:extLst>
              </p:cNvPr>
              <p:cNvSpPr/>
              <p:nvPr/>
            </p:nvSpPr>
            <p:spPr>
              <a:xfrm>
                <a:off x="678048" y="1404000"/>
                <a:ext cx="274320" cy="297180"/>
              </a:xfrm>
              <a:custGeom>
                <a:avLst/>
                <a:gdLst>
                  <a:gd name="connsiteX0" fmla="*/ 167640 w 274320"/>
                  <a:gd name="connsiteY0" fmla="*/ 45720 h 297180"/>
                  <a:gd name="connsiteX1" fmla="*/ 167640 w 274320"/>
                  <a:gd name="connsiteY1" fmla="*/ 34290 h 297180"/>
                  <a:gd name="connsiteX2" fmla="*/ 133350 w 274320"/>
                  <a:gd name="connsiteY2" fmla="*/ 0 h 297180"/>
                  <a:gd name="connsiteX3" fmla="*/ 34290 w 274320"/>
                  <a:gd name="connsiteY3" fmla="*/ 0 h 297180"/>
                  <a:gd name="connsiteX4" fmla="*/ 0 w 274320"/>
                  <a:gd name="connsiteY4" fmla="*/ 34290 h 297180"/>
                  <a:gd name="connsiteX5" fmla="*/ 0 w 274320"/>
                  <a:gd name="connsiteY5" fmla="*/ 285750 h 297180"/>
                  <a:gd name="connsiteX6" fmla="*/ 11430 w 274320"/>
                  <a:gd name="connsiteY6" fmla="*/ 297180 h 297180"/>
                  <a:gd name="connsiteX7" fmla="*/ 262890 w 274320"/>
                  <a:gd name="connsiteY7" fmla="*/ 297180 h 297180"/>
                  <a:gd name="connsiteX8" fmla="*/ 274320 w 274320"/>
                  <a:gd name="connsiteY8" fmla="*/ 285750 h 297180"/>
                  <a:gd name="connsiteX9" fmla="*/ 274320 w 274320"/>
                  <a:gd name="connsiteY9" fmla="*/ 80010 h 297180"/>
                  <a:gd name="connsiteX10" fmla="*/ 240030 w 274320"/>
                  <a:gd name="connsiteY10" fmla="*/ 45720 h 297180"/>
                  <a:gd name="connsiteX11" fmla="*/ 167640 w 274320"/>
                  <a:gd name="connsiteY11" fmla="*/ 45720 h 297180"/>
                  <a:gd name="connsiteX12" fmla="*/ 22860 w 274320"/>
                  <a:gd name="connsiteY12" fmla="*/ 34290 h 297180"/>
                  <a:gd name="connsiteX13" fmla="*/ 34290 w 274320"/>
                  <a:gd name="connsiteY13" fmla="*/ 22860 h 297180"/>
                  <a:gd name="connsiteX14" fmla="*/ 133350 w 274320"/>
                  <a:gd name="connsiteY14" fmla="*/ 22860 h 297180"/>
                  <a:gd name="connsiteX15" fmla="*/ 144780 w 274320"/>
                  <a:gd name="connsiteY15" fmla="*/ 34290 h 297180"/>
                  <a:gd name="connsiteX16" fmla="*/ 144780 w 274320"/>
                  <a:gd name="connsiteY16" fmla="*/ 45720 h 297180"/>
                  <a:gd name="connsiteX17" fmla="*/ 140970 w 274320"/>
                  <a:gd name="connsiteY17" fmla="*/ 45720 h 297180"/>
                  <a:gd name="connsiteX18" fmla="*/ 106680 w 274320"/>
                  <a:gd name="connsiteY18" fmla="*/ 80010 h 297180"/>
                  <a:gd name="connsiteX19" fmla="*/ 106680 w 274320"/>
                  <a:gd name="connsiteY19" fmla="*/ 274320 h 297180"/>
                  <a:gd name="connsiteX20" fmla="*/ 22860 w 274320"/>
                  <a:gd name="connsiteY20" fmla="*/ 274320 h 297180"/>
                  <a:gd name="connsiteX21" fmla="*/ 22860 w 274320"/>
                  <a:gd name="connsiteY21" fmla="*/ 34290 h 297180"/>
                  <a:gd name="connsiteX22" fmla="*/ 175260 w 274320"/>
                  <a:gd name="connsiteY22" fmla="*/ 274320 h 297180"/>
                  <a:gd name="connsiteX23" fmla="*/ 175260 w 274320"/>
                  <a:gd name="connsiteY23" fmla="*/ 251460 h 297180"/>
                  <a:gd name="connsiteX24" fmla="*/ 205740 w 274320"/>
                  <a:gd name="connsiteY24" fmla="*/ 251460 h 297180"/>
                  <a:gd name="connsiteX25" fmla="*/ 205740 w 274320"/>
                  <a:gd name="connsiteY25" fmla="*/ 274320 h 297180"/>
                  <a:gd name="connsiteX26" fmla="*/ 175260 w 274320"/>
                  <a:gd name="connsiteY26" fmla="*/ 274320 h 297180"/>
                  <a:gd name="connsiteX27" fmla="*/ 228600 w 274320"/>
                  <a:gd name="connsiteY27" fmla="*/ 240030 h 297180"/>
                  <a:gd name="connsiteX28" fmla="*/ 217170 w 274320"/>
                  <a:gd name="connsiteY28" fmla="*/ 228600 h 297180"/>
                  <a:gd name="connsiteX29" fmla="*/ 163830 w 274320"/>
                  <a:gd name="connsiteY29" fmla="*/ 228600 h 297180"/>
                  <a:gd name="connsiteX30" fmla="*/ 152400 w 274320"/>
                  <a:gd name="connsiteY30" fmla="*/ 240030 h 297180"/>
                  <a:gd name="connsiteX31" fmla="*/ 152400 w 274320"/>
                  <a:gd name="connsiteY31" fmla="*/ 274320 h 297180"/>
                  <a:gd name="connsiteX32" fmla="*/ 129540 w 274320"/>
                  <a:gd name="connsiteY32" fmla="*/ 274320 h 297180"/>
                  <a:gd name="connsiteX33" fmla="*/ 129540 w 274320"/>
                  <a:gd name="connsiteY33" fmla="*/ 80010 h 297180"/>
                  <a:gd name="connsiteX34" fmla="*/ 140970 w 274320"/>
                  <a:gd name="connsiteY34" fmla="*/ 68580 h 297180"/>
                  <a:gd name="connsiteX35" fmla="*/ 240030 w 274320"/>
                  <a:gd name="connsiteY35" fmla="*/ 68580 h 297180"/>
                  <a:gd name="connsiteX36" fmla="*/ 251460 w 274320"/>
                  <a:gd name="connsiteY36" fmla="*/ 80010 h 297180"/>
                  <a:gd name="connsiteX37" fmla="*/ 251460 w 274320"/>
                  <a:gd name="connsiteY37" fmla="*/ 274320 h 297180"/>
                  <a:gd name="connsiteX38" fmla="*/ 228600 w 274320"/>
                  <a:gd name="connsiteY38" fmla="*/ 274320 h 297180"/>
                  <a:gd name="connsiteX39" fmla="*/ 228600 w 274320"/>
                  <a:gd name="connsiteY39" fmla="*/ 240030 h 297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4320" h="297180">
                    <a:moveTo>
                      <a:pt x="167640" y="45720"/>
                    </a:moveTo>
                    <a:lnTo>
                      <a:pt x="167640" y="34290"/>
                    </a:lnTo>
                    <a:cubicBezTo>
                      <a:pt x="167640" y="15352"/>
                      <a:pt x="152287" y="0"/>
                      <a:pt x="133350" y="0"/>
                    </a:cubicBezTo>
                    <a:lnTo>
                      <a:pt x="34290" y="0"/>
                    </a:lnTo>
                    <a:cubicBezTo>
                      <a:pt x="15352" y="0"/>
                      <a:pt x="0" y="15352"/>
                      <a:pt x="0" y="34290"/>
                    </a:cubicBezTo>
                    <a:lnTo>
                      <a:pt x="0" y="285750"/>
                    </a:lnTo>
                    <a:cubicBezTo>
                      <a:pt x="0" y="292059"/>
                      <a:pt x="5121" y="297180"/>
                      <a:pt x="11430" y="297180"/>
                    </a:cubicBezTo>
                    <a:lnTo>
                      <a:pt x="262890" y="297180"/>
                    </a:lnTo>
                    <a:cubicBezTo>
                      <a:pt x="269202" y="297180"/>
                      <a:pt x="274320" y="292062"/>
                      <a:pt x="274320" y="285750"/>
                    </a:cubicBezTo>
                    <a:lnTo>
                      <a:pt x="274320" y="80010"/>
                    </a:lnTo>
                    <a:cubicBezTo>
                      <a:pt x="274320" y="61072"/>
                      <a:pt x="258967" y="45720"/>
                      <a:pt x="240030" y="45720"/>
                    </a:cubicBezTo>
                    <a:lnTo>
                      <a:pt x="167640" y="45720"/>
                    </a:lnTo>
                    <a:close/>
                    <a:moveTo>
                      <a:pt x="22860" y="34290"/>
                    </a:moveTo>
                    <a:cubicBezTo>
                      <a:pt x="22860" y="27977"/>
                      <a:pt x="27977" y="22860"/>
                      <a:pt x="34290" y="22860"/>
                    </a:cubicBezTo>
                    <a:lnTo>
                      <a:pt x="133350" y="22860"/>
                    </a:lnTo>
                    <a:cubicBezTo>
                      <a:pt x="139662" y="22860"/>
                      <a:pt x="144780" y="27977"/>
                      <a:pt x="144780" y="34290"/>
                    </a:cubicBezTo>
                    <a:lnTo>
                      <a:pt x="144780" y="45720"/>
                    </a:lnTo>
                    <a:lnTo>
                      <a:pt x="140970" y="45720"/>
                    </a:lnTo>
                    <a:cubicBezTo>
                      <a:pt x="122033" y="45720"/>
                      <a:pt x="106680" y="61072"/>
                      <a:pt x="106680" y="80010"/>
                    </a:cubicBezTo>
                    <a:lnTo>
                      <a:pt x="106680" y="274320"/>
                    </a:lnTo>
                    <a:lnTo>
                      <a:pt x="22860" y="274320"/>
                    </a:lnTo>
                    <a:lnTo>
                      <a:pt x="22860" y="34290"/>
                    </a:lnTo>
                    <a:close/>
                    <a:moveTo>
                      <a:pt x="175260" y="274320"/>
                    </a:moveTo>
                    <a:lnTo>
                      <a:pt x="175260" y="251460"/>
                    </a:lnTo>
                    <a:lnTo>
                      <a:pt x="205740" y="251460"/>
                    </a:lnTo>
                    <a:lnTo>
                      <a:pt x="205740" y="274320"/>
                    </a:lnTo>
                    <a:lnTo>
                      <a:pt x="175260" y="274320"/>
                    </a:lnTo>
                    <a:close/>
                    <a:moveTo>
                      <a:pt x="228600" y="240030"/>
                    </a:moveTo>
                    <a:cubicBezTo>
                      <a:pt x="228600" y="233718"/>
                      <a:pt x="223482" y="228600"/>
                      <a:pt x="217170" y="228600"/>
                    </a:cubicBezTo>
                    <a:lnTo>
                      <a:pt x="163830" y="228600"/>
                    </a:lnTo>
                    <a:cubicBezTo>
                      <a:pt x="157518" y="228600"/>
                      <a:pt x="152400" y="233718"/>
                      <a:pt x="152400" y="240030"/>
                    </a:cubicBezTo>
                    <a:lnTo>
                      <a:pt x="152400" y="274320"/>
                    </a:lnTo>
                    <a:lnTo>
                      <a:pt x="129540" y="274320"/>
                    </a:lnTo>
                    <a:lnTo>
                      <a:pt x="129540" y="80010"/>
                    </a:lnTo>
                    <a:cubicBezTo>
                      <a:pt x="129540" y="73697"/>
                      <a:pt x="134658" y="68580"/>
                      <a:pt x="140970" y="68580"/>
                    </a:cubicBezTo>
                    <a:lnTo>
                      <a:pt x="240030" y="68580"/>
                    </a:lnTo>
                    <a:cubicBezTo>
                      <a:pt x="246342" y="68580"/>
                      <a:pt x="251460" y="73697"/>
                      <a:pt x="251460" y="80010"/>
                    </a:cubicBezTo>
                    <a:lnTo>
                      <a:pt x="251460" y="274320"/>
                    </a:lnTo>
                    <a:lnTo>
                      <a:pt x="228600" y="274320"/>
                    </a:lnTo>
                    <a:lnTo>
                      <a:pt x="228600" y="240030"/>
                    </a:lnTo>
                    <a:close/>
                  </a:path>
                </a:pathLst>
              </a:custGeom>
              <a:grp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Display"/>
                  <a:ea typeface="+mn-ea"/>
                  <a:cs typeface="+mn-cs"/>
                </a:endParaRPr>
              </a:p>
            </p:txBody>
          </p:sp>
        </p:grpSp>
      </p:grpSp>
      <p:sp>
        <p:nvSpPr>
          <p:cNvPr id="36" name="Rectangle 35">
            <a:extLst>
              <a:ext uri="{FF2B5EF4-FFF2-40B4-BE49-F238E27FC236}">
                <a16:creationId xmlns:a16="http://schemas.microsoft.com/office/drawing/2014/main" id="{77FD75AF-42C4-6E40-96CF-5BB528D05747}"/>
              </a:ext>
            </a:extLst>
          </p:cNvPr>
          <p:cNvSpPr>
            <a:spLocks/>
          </p:cNvSpPr>
          <p:nvPr/>
        </p:nvSpPr>
        <p:spPr>
          <a:xfrm>
            <a:off x="4895611" y="2120385"/>
            <a:ext cx="6710602" cy="615553"/>
          </a:xfrm>
          <a:prstGeom prst="rect">
            <a:avLst/>
          </a:prstGeom>
          <a:noFill/>
          <a:ln w="10795" cap="flat" cmpd="sng" algn="ctr">
            <a:noFill/>
            <a:prstDash val="solid"/>
          </a:ln>
          <a:effectLst/>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w="3175">
                  <a:noFill/>
                </a:ln>
                <a:solidFill>
                  <a:srgbClr val="000000"/>
                </a:solidFill>
                <a:effectLst/>
                <a:uLnTx/>
                <a:uFillTx/>
                <a:latin typeface="Segoe Sans Display"/>
                <a:ea typeface="+mn-ea"/>
                <a:cs typeface="Segoe UI" panose="020B0502040204020203" pitchFamily="34" charset="0"/>
              </a:rPr>
              <a:t>Violet</a:t>
            </a:r>
            <a:r>
              <a:rPr kumimoji="0" lang="en-US" sz="2000" b="0" i="0" u="none" strike="noStrike" kern="0" cap="none" spc="0" normalizeH="0" baseline="0" noProof="0">
                <a:ln>
                  <a:noFill/>
                </a:ln>
                <a:solidFill>
                  <a:srgbClr val="000000"/>
                </a:solidFill>
                <a:effectLst/>
                <a:uLnTx/>
                <a:uFillTx/>
                <a:latin typeface="Segoe Sans Display"/>
                <a:ea typeface="+mn-ea"/>
                <a:cs typeface="+mn-cs"/>
              </a:rPr>
              <a:t> needs to </a:t>
            </a:r>
            <a:r>
              <a:rPr kumimoji="0" lang="en-US" sz="2000" b="1" i="0" u="none" strike="noStrike" kern="0" cap="none" spc="0" normalizeH="0" baseline="0" noProof="0">
                <a:ln>
                  <a:noFill/>
                </a:ln>
                <a:solidFill>
                  <a:srgbClr val="0360DB"/>
                </a:solidFill>
                <a:effectLst/>
                <a:uLnTx/>
                <a:uFillTx/>
                <a:latin typeface="Segoe Sans Display"/>
                <a:ea typeface="+mn-ea"/>
                <a:cs typeface="+mn-cs"/>
              </a:rPr>
              <a:t>share a highly sensitive financial statement document </a:t>
            </a:r>
            <a:r>
              <a:rPr kumimoji="0" lang="en-US" sz="2000" b="0" i="0" u="none" strike="noStrike" kern="0" cap="none" spc="0" normalizeH="0" baseline="0" noProof="0">
                <a:ln>
                  <a:noFill/>
                </a:ln>
                <a:solidFill>
                  <a:srgbClr val="000000"/>
                </a:solidFill>
                <a:effectLst/>
                <a:uLnTx/>
                <a:uFillTx/>
                <a:latin typeface="Segoe Sans Display"/>
                <a:ea typeface="+mn-ea"/>
                <a:cs typeface="+mn-cs"/>
              </a:rPr>
              <a:t>with a consultant through Dropbox. </a:t>
            </a:r>
          </a:p>
        </p:txBody>
      </p:sp>
      <p:grpSp>
        <p:nvGrpSpPr>
          <p:cNvPr id="37" name="Group 36">
            <a:extLst>
              <a:ext uri="{FF2B5EF4-FFF2-40B4-BE49-F238E27FC236}">
                <a16:creationId xmlns:a16="http://schemas.microsoft.com/office/drawing/2014/main" id="{392AC769-9A31-4DCB-B25F-8EF5CE989FC3}"/>
              </a:ext>
              <a:ext uri="{C183D7F6-B498-43B3-948B-1728B52AA6E4}">
                <adec:decorative xmlns:adec="http://schemas.microsoft.com/office/drawing/2017/decorative" val="1"/>
              </a:ext>
            </a:extLst>
          </p:cNvPr>
          <p:cNvGrpSpPr/>
          <p:nvPr/>
        </p:nvGrpSpPr>
        <p:grpSpPr>
          <a:xfrm>
            <a:off x="4895612" y="3429000"/>
            <a:ext cx="6710602" cy="2623305"/>
            <a:chOff x="900265" y="1721852"/>
            <a:chExt cx="3212067" cy="4229523"/>
          </a:xfrm>
        </p:grpSpPr>
        <p:grpSp>
          <p:nvGrpSpPr>
            <p:cNvPr id="38" name="Group 37">
              <a:extLst>
                <a:ext uri="{FF2B5EF4-FFF2-40B4-BE49-F238E27FC236}">
                  <a16:creationId xmlns:a16="http://schemas.microsoft.com/office/drawing/2014/main" id="{5BA45747-B854-C21E-B1DA-6B37F2694B47}"/>
                </a:ext>
              </a:extLst>
            </p:cNvPr>
            <p:cNvGrpSpPr/>
            <p:nvPr/>
          </p:nvGrpSpPr>
          <p:grpSpPr>
            <a:xfrm>
              <a:off x="900265" y="1721852"/>
              <a:ext cx="3212067" cy="4229523"/>
              <a:chOff x="900265" y="1324048"/>
              <a:chExt cx="3212067" cy="4627327"/>
            </a:xfrm>
          </p:grpSpPr>
          <p:sp>
            <p:nvSpPr>
              <p:cNvPr id="40" name="Rectangle 39">
                <a:extLst>
                  <a:ext uri="{FF2B5EF4-FFF2-40B4-BE49-F238E27FC236}">
                    <a16:creationId xmlns:a16="http://schemas.microsoft.com/office/drawing/2014/main" id="{3FFE1BC5-762D-24E5-7020-5A0EEC604A04}"/>
                  </a:ext>
                </a:extLst>
              </p:cNvPr>
              <p:cNvSpPr/>
              <p:nvPr/>
            </p:nvSpPr>
            <p:spPr bwMode="auto">
              <a:xfrm>
                <a:off x="900265" y="1324048"/>
                <a:ext cx="3212067" cy="4627327"/>
              </a:xfrm>
              <a:prstGeom prst="rect">
                <a:avLst/>
              </a:prstGeom>
              <a:gradFill flip="none" rotWithShape="1">
                <a:gsLst>
                  <a:gs pos="100000">
                    <a:sysClr val="window" lastClr="FFFFFF">
                      <a:alpha val="95000"/>
                    </a:sysClr>
                  </a:gs>
                  <a:gs pos="42000">
                    <a:sysClr val="window" lastClr="FFFFFF">
                      <a:alpha val="90000"/>
                    </a:sys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37160" tIns="91440" rIns="137160" bIns="137160" numCol="1" spcCol="0" rtlCol="0" fromWordArt="0" anchor="t" anchorCtr="0" forceAA="0" compatLnSpc="1">
                <a:prstTxWarp prst="textNoShape">
                  <a:avLst/>
                </a:prstTxWarp>
                <a:noAutofit/>
              </a:bodyPr>
              <a:lstStyle/>
              <a:p>
                <a:pPr marL="0" marR="0" lvl="0" indent="0" algn="l" defTabSz="932754" rtl="0" eaLnBrk="1" fontAlgn="auto" latinLnBrk="0" hangingPunct="1">
                  <a:lnSpc>
                    <a:spcPct val="100000"/>
                  </a:lnSpc>
                  <a:spcBef>
                    <a:spcPts val="0"/>
                  </a:spcBef>
                  <a:spcAft>
                    <a:spcPts val="600"/>
                  </a:spcAft>
                  <a:buClrTx/>
                  <a:buSzPct val="90000"/>
                  <a:buFontTx/>
                  <a:buNone/>
                  <a:tabLst/>
                  <a:defRPr/>
                </a:pPr>
                <a:r>
                  <a:rPr kumimoji="0" lang="en-US" sz="1900" b="0" i="0" u="none" strike="noStrike" kern="0" cap="none" spc="0" normalizeH="0" baseline="0" noProof="0">
                    <a:ln>
                      <a:noFill/>
                    </a:ln>
                    <a:gradFill>
                      <a:gsLst>
                        <a:gs pos="0">
                          <a:srgbClr val="091F2C"/>
                        </a:gs>
                        <a:gs pos="100000">
                          <a:srgbClr val="091F2C"/>
                        </a:gs>
                      </a:gsLst>
                      <a:lin ang="0" scaled="0"/>
                    </a:gradFill>
                    <a:effectLst/>
                    <a:uLnTx/>
                    <a:uFillTx/>
                    <a:latin typeface="Segoe Sans Display"/>
                    <a:ea typeface="+mn-ea"/>
                    <a:cs typeface="Segoe Sans Display Semilight" pitchFamily="2" charset="0"/>
                  </a:rPr>
                  <a:t>Contextual </a:t>
                </a:r>
                <a:br>
                  <a:rPr kumimoji="0" lang="en-US" sz="1900" b="0" i="0" u="none" strike="noStrike" kern="0" cap="none" spc="0" normalizeH="0" baseline="0" noProof="0">
                    <a:ln>
                      <a:noFill/>
                    </a:ln>
                    <a:gradFill>
                      <a:gsLst>
                        <a:gs pos="0">
                          <a:srgbClr val="091F2C"/>
                        </a:gs>
                        <a:gs pos="100000">
                          <a:srgbClr val="091F2C"/>
                        </a:gs>
                      </a:gsLst>
                      <a:lin ang="0" scaled="0"/>
                    </a:gradFill>
                    <a:effectLst/>
                    <a:uLnTx/>
                    <a:uFillTx/>
                    <a:latin typeface="Segoe Sans Display"/>
                    <a:ea typeface="+mn-ea"/>
                    <a:cs typeface="Segoe Sans Display Semilight" pitchFamily="2" charset="0"/>
                  </a:rPr>
                </a:br>
                <a:r>
                  <a:rPr kumimoji="0" lang="en-US" sz="1900" b="0" i="0" u="none" strike="noStrike" kern="0" cap="none" spc="0" normalizeH="0" baseline="0" noProof="0">
                    <a:ln>
                      <a:noFill/>
                    </a:ln>
                    <a:gradFill>
                      <a:gsLst>
                        <a:gs pos="0">
                          <a:srgbClr val="091F2C"/>
                        </a:gs>
                        <a:gs pos="100000">
                          <a:srgbClr val="091F2C"/>
                        </a:gs>
                      </a:gsLst>
                      <a:lin ang="0" scaled="0"/>
                    </a:gradFill>
                    <a:effectLst/>
                    <a:uLnTx/>
                    <a:uFillTx/>
                    <a:latin typeface="Segoe Sans Display"/>
                    <a:ea typeface="+mn-ea"/>
                    <a:cs typeface="Segoe Sans Display Semilight" pitchFamily="2" charset="0"/>
                  </a:rPr>
                  <a:t>insights across </a:t>
                </a:r>
                <a:br>
                  <a:rPr kumimoji="0" lang="en-US" sz="1900" b="0" i="0" u="none" strike="noStrike" kern="0" cap="none" spc="0" normalizeH="0" baseline="0" noProof="0">
                    <a:ln>
                      <a:noFill/>
                    </a:ln>
                    <a:gradFill>
                      <a:gsLst>
                        <a:gs pos="0">
                          <a:srgbClr val="091F2C"/>
                        </a:gs>
                        <a:gs pos="100000">
                          <a:srgbClr val="091F2C"/>
                        </a:gs>
                      </a:gsLst>
                      <a:lin ang="0" scaled="0"/>
                    </a:gradFill>
                    <a:effectLst/>
                    <a:uLnTx/>
                    <a:uFillTx/>
                    <a:latin typeface="Segoe Sans Display"/>
                    <a:ea typeface="+mn-ea"/>
                    <a:cs typeface="Segoe Sans Display Semilight" pitchFamily="2" charset="0"/>
                  </a:rPr>
                </a:br>
                <a:r>
                  <a:rPr kumimoji="0" lang="en-US" sz="1900" b="0" i="0" u="none" strike="noStrike" kern="0" cap="none" spc="0" normalizeH="0" baseline="0" noProof="0">
                    <a:ln>
                      <a:noFill/>
                    </a:ln>
                    <a:gradFill>
                      <a:gsLst>
                        <a:gs pos="0">
                          <a:srgbClr val="091F2C"/>
                        </a:gs>
                        <a:gs pos="100000">
                          <a:srgbClr val="091F2C"/>
                        </a:gs>
                      </a:gsLst>
                      <a:lin ang="0" scaled="0"/>
                    </a:gradFill>
                    <a:effectLst/>
                    <a:uLnTx/>
                    <a:uFillTx/>
                    <a:latin typeface="Segoe Sans Display"/>
                    <a:ea typeface="+mn-ea"/>
                    <a:cs typeface="Segoe Sans Display Semilight" pitchFamily="2" charset="0"/>
                  </a:rPr>
                  <a:t>50+ categories</a:t>
                </a:r>
              </a:p>
            </p:txBody>
          </p:sp>
          <p:sp>
            <p:nvSpPr>
              <p:cNvPr id="41" name="Rectangle 40">
                <a:extLst>
                  <a:ext uri="{FF2B5EF4-FFF2-40B4-BE49-F238E27FC236}">
                    <a16:creationId xmlns:a16="http://schemas.microsoft.com/office/drawing/2014/main" id="{7160B0AD-7CDD-9A4C-B92E-AD7667794B29}"/>
                  </a:ext>
                </a:extLst>
              </p:cNvPr>
              <p:cNvSpPr/>
              <p:nvPr/>
            </p:nvSpPr>
            <p:spPr bwMode="auto">
              <a:xfrm>
                <a:off x="900265" y="1324048"/>
                <a:ext cx="3212067" cy="4627327"/>
              </a:xfrm>
              <a:prstGeom prst="rect">
                <a:avLst/>
              </a:prstGeom>
              <a:solidFill>
                <a:srgbClr val="F6F4E7"/>
              </a:solidFill>
              <a:ln w="6350" cap="flat" cmpd="sng" algn="ctr">
                <a:noFill/>
                <a:prstDash val="solid"/>
                <a:headEnd type="none" w="med" len="med"/>
                <a:tailEnd type="none" w="med" len="med"/>
              </a:ln>
              <a:effectLst>
                <a:innerShdw blurRad="889000" dist="508000" dir="8400000">
                  <a:srgbClr val="599FFD">
                    <a:alpha val="25000"/>
                  </a:srgbClr>
                </a:innerShdw>
              </a:effectLst>
            </p:spPr>
            <p:txBody>
              <a:bodyPr rot="0" spcFirstLastPara="0" vertOverflow="overflow" horzOverflow="overflow" vert="horz" wrap="square" lIns="2834640" tIns="365760" rIns="365760" bIns="36576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2000" b="0" i="0" u="none" strike="noStrike" kern="0" cap="none" spc="0" normalizeH="0" baseline="0" noProof="0">
                    <a:ln>
                      <a:noFill/>
                    </a:ln>
                    <a:solidFill>
                      <a:prstClr val="black"/>
                    </a:solidFill>
                    <a:effectLst/>
                    <a:uLnTx/>
                    <a:uFillTx/>
                    <a:latin typeface="Segoe Sans Display"/>
                    <a:ea typeface="+mn-ea"/>
                    <a:cs typeface="Segoe UI" pitchFamily="34" charset="0"/>
                  </a:rPr>
                  <a:t>of organizations find it challenging to enforce least privilege access </a:t>
                </a:r>
              </a:p>
            </p:txBody>
          </p:sp>
        </p:grpSp>
        <p:cxnSp>
          <p:nvCxnSpPr>
            <p:cNvPr id="39" name="Straight Connector 38">
              <a:extLst>
                <a:ext uri="{FF2B5EF4-FFF2-40B4-BE49-F238E27FC236}">
                  <a16:creationId xmlns:a16="http://schemas.microsoft.com/office/drawing/2014/main" id="{192D6156-539C-627B-544C-CE5D1024EE8A}"/>
                </a:ext>
              </a:extLst>
            </p:cNvPr>
            <p:cNvCxnSpPr>
              <a:cxnSpLocks/>
            </p:cNvCxnSpPr>
            <p:nvPr/>
          </p:nvCxnSpPr>
          <p:spPr>
            <a:xfrm>
              <a:off x="900265" y="5951375"/>
              <a:ext cx="3212067" cy="0"/>
            </a:xfrm>
            <a:prstGeom prst="line">
              <a:avLst/>
            </a:prstGeom>
            <a:noFill/>
            <a:ln w="22225" cap="flat" cmpd="sng" algn="ctr">
              <a:solidFill>
                <a:srgbClr val="207EFC"/>
              </a:solidFill>
              <a:prstDash val="solid"/>
              <a:headEnd type="none" w="lg" len="med"/>
              <a:tailEnd type="none" w="lg" len="med"/>
            </a:ln>
            <a:effectLst/>
          </p:spPr>
        </p:cxnSp>
      </p:grpSp>
      <p:grpSp>
        <p:nvGrpSpPr>
          <p:cNvPr id="42" name="Group 41">
            <a:extLst>
              <a:ext uri="{FF2B5EF4-FFF2-40B4-BE49-F238E27FC236}">
                <a16:creationId xmlns:a16="http://schemas.microsoft.com/office/drawing/2014/main" id="{A2FB25F3-9184-EFF7-1E43-C30521829808}"/>
              </a:ext>
              <a:ext uri="{C183D7F6-B498-43B3-948B-1728B52AA6E4}">
                <adec:decorative xmlns:adec="http://schemas.microsoft.com/office/drawing/2017/decorative" val="1"/>
              </a:ext>
            </a:extLst>
          </p:cNvPr>
          <p:cNvGrpSpPr/>
          <p:nvPr/>
        </p:nvGrpSpPr>
        <p:grpSpPr>
          <a:xfrm>
            <a:off x="5319006" y="3838166"/>
            <a:ext cx="1804972" cy="1804972"/>
            <a:chOff x="4167293" y="1859050"/>
            <a:chExt cx="2107933" cy="2107933"/>
          </a:xfrm>
        </p:grpSpPr>
        <p:sp>
          <p:nvSpPr>
            <p:cNvPr id="43" name="Oval 42">
              <a:extLst>
                <a:ext uri="{FF2B5EF4-FFF2-40B4-BE49-F238E27FC236}">
                  <a16:creationId xmlns:a16="http://schemas.microsoft.com/office/drawing/2014/main" id="{1F3568EE-AAFE-1E52-8AE9-5B44C66EF961}"/>
                </a:ext>
              </a:extLst>
            </p:cNvPr>
            <p:cNvSpPr/>
            <p:nvPr/>
          </p:nvSpPr>
          <p:spPr bwMode="auto">
            <a:xfrm>
              <a:off x="4167293" y="1859050"/>
              <a:ext cx="2107933" cy="2107933"/>
            </a:xfrm>
            <a:prstGeom prst="ellipse">
              <a:avLst/>
            </a:prstGeom>
            <a:noFill/>
            <a:ln w="9525" cap="flat" cmpd="sng" algn="ctr">
              <a:noFill/>
              <a:prstDash val="solid"/>
              <a:headEnd type="none" w="med" len="med"/>
              <a:tailEnd type="none" w="med" len="med"/>
            </a:ln>
            <a:effectLst>
              <a:innerShdw blurRad="114300" dist="63500" dir="13500000">
                <a:srgbClr val="000000">
                  <a:alpha val="60000"/>
                </a:srgbClr>
              </a:inn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44" name="Block Arc 43">
              <a:extLst>
                <a:ext uri="{FF2B5EF4-FFF2-40B4-BE49-F238E27FC236}">
                  <a16:creationId xmlns:a16="http://schemas.microsoft.com/office/drawing/2014/main" id="{D56053B0-7BB7-6BED-5403-BDC74AA3CA61}"/>
                </a:ext>
              </a:extLst>
            </p:cNvPr>
            <p:cNvSpPr/>
            <p:nvPr/>
          </p:nvSpPr>
          <p:spPr bwMode="auto">
            <a:xfrm rot="16200000" flipV="1">
              <a:off x="4167293" y="1859050"/>
              <a:ext cx="2107933" cy="2107933"/>
            </a:xfrm>
            <a:prstGeom prst="blockArc">
              <a:avLst>
                <a:gd name="adj1" fmla="val 11400421"/>
                <a:gd name="adj2" fmla="val 35903"/>
                <a:gd name="adj3" fmla="val 6276"/>
              </a:avLst>
            </a:prstGeom>
            <a:gradFill>
              <a:gsLst>
                <a:gs pos="0">
                  <a:srgbClr val="F6F4E7"/>
                </a:gs>
                <a:gs pos="94000">
                  <a:srgbClr val="599FFD"/>
                </a:gs>
              </a:gsLst>
              <a:path path="circle">
                <a:fillToRect l="100000" t="100000"/>
              </a:path>
            </a:gradFill>
            <a:ln w="9525" cap="flat" cmpd="sng" algn="ctr">
              <a:noFill/>
              <a:prstDash val="solid"/>
              <a:headEnd type="none" w="med" len="med"/>
              <a:tailEnd type="none" w="med" len="med"/>
            </a:ln>
            <a:effectLst>
              <a:innerShdw blurRad="114300" dist="63500" dir="13500000">
                <a:srgbClr val="091F2C">
                  <a:alpha val="45000"/>
                </a:srgbClr>
              </a:inn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45" name="Title 3">
              <a:extLst>
                <a:ext uri="{FF2B5EF4-FFF2-40B4-BE49-F238E27FC236}">
                  <a16:creationId xmlns:a16="http://schemas.microsoft.com/office/drawing/2014/main" id="{484FE07D-BA8B-3C92-1EA6-DB01B54D6CB6}"/>
                </a:ext>
              </a:extLst>
            </p:cNvPr>
            <p:cNvSpPr txBox="1">
              <a:spLocks/>
            </p:cNvSpPr>
            <p:nvPr/>
          </p:nvSpPr>
          <p:spPr>
            <a:xfrm>
              <a:off x="4726893" y="2574463"/>
              <a:ext cx="988732" cy="677108"/>
            </a:xfrm>
            <a:prstGeom prst="rect">
              <a:avLst/>
            </a:prstGeom>
          </p:spPr>
          <p:txBody>
            <a:bodyPr vert="horz" wrap="none" lIns="0" tIns="0" rIns="0" bIns="0" rtlCol="0" anchor="ctr" anchorCtr="0">
              <a:noAutofit/>
            </a:bodyPr>
            <a:lstStyle>
              <a:lvl1pPr algn="l" defTabSz="932742" rtl="0" eaLnBrk="1" latinLnBrk="0" hangingPunct="1">
                <a:lnSpc>
                  <a:spcPct val="100000"/>
                </a:lnSpc>
                <a:spcBef>
                  <a:spcPct val="0"/>
                </a:spcBef>
                <a:buNone/>
                <a:defRPr lang="en-US" sz="4400" b="0" kern="1200" cap="none" spc="-130" baseline="0" dirty="0" smtClean="0">
                  <a:ln w="3175">
                    <a:noFill/>
                  </a:ln>
                  <a:solidFill>
                    <a:schemeClr val="tx1"/>
                  </a:solidFill>
                  <a:effectLst/>
                  <a:latin typeface="+mj-lt"/>
                  <a:ea typeface="+mn-ea"/>
                  <a:cs typeface="Segoe Sans Display" pitchFamily="2"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4800" b="0" i="0" u="none" strike="noStrike" kern="1200" cap="none" spc="-130" normalizeH="0" baseline="0" noProof="0">
                  <a:ln w="3175">
                    <a:noFill/>
                  </a:ln>
                  <a:solidFill>
                    <a:prstClr val="black"/>
                  </a:solidFill>
                  <a:effectLst/>
                  <a:uLnTx/>
                  <a:uFillTx/>
                  <a:latin typeface="Segoe Sans Display Semilight"/>
                  <a:ea typeface="+mn-ea"/>
                  <a:cs typeface="Segoe Sans Display" pitchFamily="2" charset="0"/>
                </a:rPr>
                <a:t>46</a:t>
              </a:r>
              <a:r>
                <a:rPr kumimoji="0" lang="en-US" sz="4400" b="0" i="0" u="none" strike="noStrike" kern="1200" cap="none" spc="-130" normalizeH="0" baseline="25000" noProof="0">
                  <a:ln w="3175">
                    <a:noFill/>
                  </a:ln>
                  <a:solidFill>
                    <a:prstClr val="black"/>
                  </a:solidFill>
                  <a:effectLst/>
                  <a:uLnTx/>
                  <a:uFillTx/>
                  <a:latin typeface="Segoe Sans Display Semilight"/>
                  <a:ea typeface="+mn-ea"/>
                  <a:cs typeface="Segoe Sans Display" pitchFamily="2" charset="0"/>
                </a:rPr>
                <a:t>%</a:t>
              </a:r>
              <a:endParaRPr kumimoji="0" lang="en-US" sz="4800" b="0" i="0" u="none" strike="noStrike" kern="1200" cap="none" spc="-130" normalizeH="0" baseline="25000" noProof="0">
                <a:ln w="3175">
                  <a:noFill/>
                </a:ln>
                <a:solidFill>
                  <a:prstClr val="black"/>
                </a:solidFill>
                <a:effectLst/>
                <a:uLnTx/>
                <a:uFillTx/>
                <a:latin typeface="Segoe Sans Display Semilight"/>
                <a:ea typeface="+mn-ea"/>
                <a:cs typeface="Segoe Sans Display" pitchFamily="2" charset="0"/>
              </a:endParaRPr>
            </a:p>
          </p:txBody>
        </p:sp>
        <p:sp>
          <p:nvSpPr>
            <p:cNvPr id="46" name="Oval 45">
              <a:extLst>
                <a:ext uri="{FF2B5EF4-FFF2-40B4-BE49-F238E27FC236}">
                  <a16:creationId xmlns:a16="http://schemas.microsoft.com/office/drawing/2014/main" id="{80BDB978-DE75-C33A-44FC-FA3542B25826}"/>
                </a:ext>
              </a:extLst>
            </p:cNvPr>
            <p:cNvSpPr/>
            <p:nvPr/>
          </p:nvSpPr>
          <p:spPr bwMode="auto">
            <a:xfrm>
              <a:off x="4167293" y="1859050"/>
              <a:ext cx="2107933" cy="2107933"/>
            </a:xfrm>
            <a:prstGeom prst="ellipse">
              <a:avLst/>
            </a:prstGeom>
            <a:noFill/>
            <a:ln w="15875" cap="flat" cmpd="sng" algn="ctr">
              <a:solidFill>
                <a:srgbClr val="599FFD"/>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grpSp>
    </p:spTree>
    <p:extLst>
      <p:ext uri="{BB962C8B-B14F-4D97-AF65-F5344CB8AC3E}">
        <p14:creationId xmlns:p14="http://schemas.microsoft.com/office/powerpoint/2010/main" val="12605599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additive="base">
                                        <p:cTn id="7" dur="500" fill="hold"/>
                                        <p:tgtEl>
                                          <p:spTgt spid="35"/>
                                        </p:tgtEl>
                                        <p:attrNameLst>
                                          <p:attrName>ppt_x</p:attrName>
                                        </p:attrNameLst>
                                      </p:cBhvr>
                                      <p:tavLst>
                                        <p:tav tm="0">
                                          <p:val>
                                            <p:strVal val="0-#ppt_w/2"/>
                                          </p:val>
                                        </p:tav>
                                        <p:tav tm="100000">
                                          <p:val>
                                            <p:strVal val="#ppt_x"/>
                                          </p:val>
                                        </p:tav>
                                      </p:tavLst>
                                    </p:anim>
                                    <p:anim calcmode="lin" valueType="num">
                                      <p:cBhvr additive="base">
                                        <p:cTn id="8" dur="500" fill="hold"/>
                                        <p:tgtEl>
                                          <p:spTgt spid="35"/>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fade">
                                      <p:cBhvr>
                                        <p:cTn id="11" dur="500"/>
                                        <p:tgtEl>
                                          <p:spTgt spid="25"/>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36"/>
                                        </p:tgtEl>
                                        <p:attrNameLst>
                                          <p:attrName>style.visibility</p:attrName>
                                        </p:attrNameLst>
                                      </p:cBhvr>
                                      <p:to>
                                        <p:strVal val="visible"/>
                                      </p:to>
                                    </p:set>
                                    <p:animEffect transition="in" filter="fade">
                                      <p:cBhvr>
                                        <p:cTn id="14" dur="500"/>
                                        <p:tgtEl>
                                          <p:spTgt spid="36"/>
                                        </p:tgtEl>
                                      </p:cBhvr>
                                    </p:animEffect>
                                  </p:childTnLst>
                                </p:cTn>
                              </p:par>
                              <p:par>
                                <p:cTn id="15" presetID="10" presetClass="entr" presetSubtype="0" fill="hold" nodeType="withEffect">
                                  <p:stCondLst>
                                    <p:cond delay="250"/>
                                  </p:stCondLst>
                                  <p:childTnLst>
                                    <p:set>
                                      <p:cBhvr>
                                        <p:cTn id="16" dur="1" fill="hold">
                                          <p:stCondLst>
                                            <p:cond delay="0"/>
                                          </p:stCondLst>
                                        </p:cTn>
                                        <p:tgtEl>
                                          <p:spTgt spid="37"/>
                                        </p:tgtEl>
                                        <p:attrNameLst>
                                          <p:attrName>style.visibility</p:attrName>
                                        </p:attrNameLst>
                                      </p:cBhvr>
                                      <p:to>
                                        <p:strVal val="visible"/>
                                      </p:to>
                                    </p:set>
                                    <p:animEffect transition="in" filter="fade">
                                      <p:cBhvr>
                                        <p:cTn id="17" dur="500"/>
                                        <p:tgtEl>
                                          <p:spTgt spid="37"/>
                                        </p:tgtEl>
                                      </p:cBhvr>
                                    </p:animEffect>
                                  </p:childTnLst>
                                </p:cTn>
                              </p:par>
                              <p:par>
                                <p:cTn id="18" presetID="42" presetClass="path" presetSubtype="0" decel="100000" fill="hold" nodeType="withEffect">
                                  <p:stCondLst>
                                    <p:cond delay="250"/>
                                  </p:stCondLst>
                                  <p:childTnLst>
                                    <p:animMotion origin="layout" path="M -2.70833E-6 -3.7037E-6 L -2.70833E-6 0.03542 " pathEditMode="relative" rAng="0" ptsTypes="AA">
                                      <p:cBhvr>
                                        <p:cTn id="19" dur="700" spd="-100000" fill="hold"/>
                                        <p:tgtEl>
                                          <p:spTgt spid="37"/>
                                        </p:tgtEl>
                                        <p:attrNameLst>
                                          <p:attrName>ppt_x</p:attrName>
                                          <p:attrName>ppt_y</p:attrName>
                                        </p:attrNameLst>
                                      </p:cBhvr>
                                      <p:rCtr x="0" y="1759"/>
                                    </p:animMotion>
                                  </p:childTnLst>
                                </p:cTn>
                              </p:par>
                              <p:par>
                                <p:cTn id="20" presetID="53" presetClass="entr" presetSubtype="16" accel="50000" decel="50000" fill="hold" nodeType="withEffect">
                                  <p:stCondLst>
                                    <p:cond delay="250"/>
                                  </p:stCondLst>
                                  <p:childTnLst>
                                    <p:set>
                                      <p:cBhvr>
                                        <p:cTn id="21" dur="1" fill="hold">
                                          <p:stCondLst>
                                            <p:cond delay="0"/>
                                          </p:stCondLst>
                                        </p:cTn>
                                        <p:tgtEl>
                                          <p:spTgt spid="42"/>
                                        </p:tgtEl>
                                        <p:attrNameLst>
                                          <p:attrName>style.visibility</p:attrName>
                                        </p:attrNameLst>
                                      </p:cBhvr>
                                      <p:to>
                                        <p:strVal val="visible"/>
                                      </p:to>
                                    </p:set>
                                    <p:anim calcmode="lin" valueType="num">
                                      <p:cBhvr>
                                        <p:cTn id="22" dur="500" fill="hold"/>
                                        <p:tgtEl>
                                          <p:spTgt spid="42"/>
                                        </p:tgtEl>
                                        <p:attrNameLst>
                                          <p:attrName>ppt_w</p:attrName>
                                        </p:attrNameLst>
                                      </p:cBhvr>
                                      <p:tavLst>
                                        <p:tav tm="0">
                                          <p:val>
                                            <p:fltVal val="0"/>
                                          </p:val>
                                        </p:tav>
                                        <p:tav tm="100000">
                                          <p:val>
                                            <p:strVal val="#ppt_w"/>
                                          </p:val>
                                        </p:tav>
                                      </p:tavLst>
                                    </p:anim>
                                    <p:anim calcmode="lin" valueType="num">
                                      <p:cBhvr>
                                        <p:cTn id="23" dur="500" fill="hold"/>
                                        <p:tgtEl>
                                          <p:spTgt spid="42"/>
                                        </p:tgtEl>
                                        <p:attrNameLst>
                                          <p:attrName>ppt_h</p:attrName>
                                        </p:attrNameLst>
                                      </p:cBhvr>
                                      <p:tavLst>
                                        <p:tav tm="0">
                                          <p:val>
                                            <p:fltVal val="0"/>
                                          </p:val>
                                        </p:tav>
                                        <p:tav tm="100000">
                                          <p:val>
                                            <p:strVal val="#ppt_h"/>
                                          </p:val>
                                        </p:tav>
                                      </p:tavLst>
                                    </p:anim>
                                    <p:animEffect transition="in" filter="fade">
                                      <p:cBhvr>
                                        <p:cTn id="24" dur="500"/>
                                        <p:tgtEl>
                                          <p:spTgt spid="42"/>
                                        </p:tgtEl>
                                      </p:cBhvr>
                                    </p:animEffect>
                                  </p:childTnLst>
                                </p:cTn>
                              </p:par>
                              <p:par>
                                <p:cTn id="25" presetID="6" presetClass="emph" presetSubtype="0" accel="50000" decel="50000" autoRev="1" fill="hold" nodeType="withEffect">
                                  <p:stCondLst>
                                    <p:cond delay="250"/>
                                  </p:stCondLst>
                                  <p:childTnLst>
                                    <p:animScale>
                                      <p:cBhvr>
                                        <p:cTn id="26" dur="300" fill="hold"/>
                                        <p:tgtEl>
                                          <p:spTgt spid="42"/>
                                        </p:tgtEl>
                                      </p:cBhvr>
                                      <p:by x="120000" y="12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1666CE3-6F38-F5A1-2D2C-F0B77698D3CE}"/>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0" y="0"/>
            <a:ext cx="12192000" cy="6858000"/>
          </a:xfrm>
          <a:prstGeom prst="rect">
            <a:avLst/>
          </a:prstGeom>
        </p:spPr>
      </p:pic>
      <p:sp>
        <p:nvSpPr>
          <p:cNvPr id="5" name="Title 4">
            <a:extLst>
              <a:ext uri="{FF2B5EF4-FFF2-40B4-BE49-F238E27FC236}">
                <a16:creationId xmlns:a16="http://schemas.microsoft.com/office/drawing/2014/main" id="{695F1210-21D8-774F-A503-70BA929C564E}"/>
              </a:ext>
            </a:extLst>
          </p:cNvPr>
          <p:cNvSpPr>
            <a:spLocks noGrp="1"/>
          </p:cNvSpPr>
          <p:nvPr>
            <p:ph type="title" idx="4294967295"/>
          </p:nvPr>
        </p:nvSpPr>
        <p:spPr>
          <a:xfrm>
            <a:off x="588263" y="-614158"/>
            <a:ext cx="11018520" cy="553998"/>
          </a:xfrm>
        </p:spPr>
        <p:txBody>
          <a:bodyPr vert="horz" wrap="square" lIns="0" tIns="0" rIns="0" bIns="0" rtlCol="0" anchor="b">
            <a:spAutoFit/>
          </a:bodyPr>
          <a:lstStyle/>
          <a:p>
            <a:r>
              <a:rPr lang="en-US"/>
              <a:t>Video 3</a:t>
            </a:r>
          </a:p>
        </p:txBody>
      </p:sp>
    </p:spTree>
    <p:extLst>
      <p:ext uri="{BB962C8B-B14F-4D97-AF65-F5344CB8AC3E}">
        <p14:creationId xmlns:p14="http://schemas.microsoft.com/office/powerpoint/2010/main" val="321379116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9DC75D-BDB4-47EB-662F-1E7EFE78952E}"/>
            </a:ext>
          </a:extLst>
        </p:cNvPr>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30753F2A-A108-37A9-7D4A-A556AB0B3F91}"/>
              </a:ext>
              <a:ext uri="{C183D7F6-B498-43B3-948B-1728B52AA6E4}">
                <adec:decorative xmlns:adec="http://schemas.microsoft.com/office/drawing/2017/decorative" val="1"/>
              </a:ext>
            </a:extLst>
          </p:cNvPr>
          <p:cNvSpPr>
            <a:spLocks/>
          </p:cNvSpPr>
          <p:nvPr/>
        </p:nvSpPr>
        <p:spPr bwMode="auto">
          <a:xfrm rot="16200000">
            <a:off x="4986099" y="2100600"/>
            <a:ext cx="3017520" cy="3200400"/>
          </a:xfrm>
          <a:prstGeom prst="roundRect">
            <a:avLst>
              <a:gd name="adj" fmla="val 0"/>
            </a:avLst>
          </a:prstGeom>
          <a:solidFill>
            <a:schemeClr val="bg1"/>
          </a:solidFill>
          <a:ln w="6350" cap="flat" cmpd="sng" algn="ctr">
            <a:solidFill>
              <a:srgbClr val="A5B8EE"/>
            </a:solidFill>
            <a:prstDash val="solid"/>
            <a:headEnd type="none" w="med" len="med"/>
            <a:tailEnd type="none" w="med" len="med"/>
          </a:ln>
          <a:effectLst>
            <a:innerShdw blurRad="889000" dist="508000" dir="8400000">
              <a:srgbClr val="599FFD">
                <a:alpha val="25000"/>
              </a:srgbClr>
            </a:innerShdw>
          </a:effectLst>
        </p:spPr>
        <p:txBody>
          <a:bodyPr rot="0" spcFirstLastPara="0" vertOverflow="overflow" horzOverflow="overflow" vert="horz" wrap="square" lIns="91440" tIns="128016" rIns="91440" bIns="36576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800" b="0" i="0" u="none" strike="noStrike" kern="0" cap="none" spc="0" normalizeH="0" baseline="0" noProof="0">
              <a:ln>
                <a:noFill/>
              </a:ln>
              <a:solidFill>
                <a:srgbClr val="FFFFFF"/>
              </a:solidFill>
              <a:effectLst/>
              <a:uLnTx/>
              <a:uFillTx/>
              <a:latin typeface="Segoe Sans Display"/>
              <a:ea typeface="+mn-ea"/>
              <a:cs typeface="Segoe UI" pitchFamily="34" charset="0"/>
            </a:endParaRPr>
          </a:p>
        </p:txBody>
      </p:sp>
      <p:sp>
        <p:nvSpPr>
          <p:cNvPr id="4" name="Rectangle: Rounded Corners 3">
            <a:extLst>
              <a:ext uri="{FF2B5EF4-FFF2-40B4-BE49-F238E27FC236}">
                <a16:creationId xmlns:a16="http://schemas.microsoft.com/office/drawing/2014/main" id="{63337B7B-32AC-7DD4-29E2-5B63969546EA}"/>
              </a:ext>
              <a:ext uri="{C183D7F6-B498-43B3-948B-1728B52AA6E4}">
                <adec:decorative xmlns:adec="http://schemas.microsoft.com/office/drawing/2017/decorative" val="1"/>
              </a:ext>
            </a:extLst>
          </p:cNvPr>
          <p:cNvSpPr>
            <a:spLocks/>
          </p:cNvSpPr>
          <p:nvPr/>
        </p:nvSpPr>
        <p:spPr bwMode="auto">
          <a:xfrm rot="16200000">
            <a:off x="8497823" y="2100600"/>
            <a:ext cx="3017520" cy="3200400"/>
          </a:xfrm>
          <a:prstGeom prst="roundRect">
            <a:avLst>
              <a:gd name="adj" fmla="val 0"/>
            </a:avLst>
          </a:prstGeom>
          <a:solidFill>
            <a:schemeClr val="bg1"/>
          </a:solidFill>
          <a:ln w="6350" cap="flat" cmpd="sng" algn="ctr">
            <a:solidFill>
              <a:srgbClr val="A5B8EE"/>
            </a:solidFill>
            <a:prstDash val="solid"/>
            <a:headEnd type="none" w="med" len="med"/>
            <a:tailEnd type="none" w="med" len="med"/>
          </a:ln>
          <a:effectLst>
            <a:innerShdw blurRad="889000" dist="508000" dir="8400000">
              <a:srgbClr val="599FFD">
                <a:alpha val="25000"/>
              </a:srgbClr>
            </a:innerShdw>
          </a:effectLst>
        </p:spPr>
        <p:txBody>
          <a:bodyPr rot="0" spcFirstLastPara="0" vertOverflow="overflow" horzOverflow="overflow" vert="horz" wrap="square" lIns="91440" tIns="128016" rIns="91440" bIns="36576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800" b="0" i="0" u="none" strike="noStrike" kern="0" cap="none" spc="0" normalizeH="0" baseline="0" noProof="0">
              <a:ln>
                <a:noFill/>
              </a:ln>
              <a:solidFill>
                <a:srgbClr val="FFFFFF"/>
              </a:solidFill>
              <a:effectLst/>
              <a:uLnTx/>
              <a:uFillTx/>
              <a:latin typeface="Segoe Sans Display"/>
              <a:ea typeface="+mn-ea"/>
              <a:cs typeface="Segoe UI" pitchFamily="34" charset="0"/>
            </a:endParaRPr>
          </a:p>
        </p:txBody>
      </p:sp>
      <p:sp>
        <p:nvSpPr>
          <p:cNvPr id="63" name="Title 13">
            <a:extLst>
              <a:ext uri="{FF2B5EF4-FFF2-40B4-BE49-F238E27FC236}">
                <a16:creationId xmlns:a16="http://schemas.microsoft.com/office/drawing/2014/main" id="{EE68416C-699C-8767-C6D5-EFB8B9B179DD}"/>
              </a:ext>
            </a:extLst>
          </p:cNvPr>
          <p:cNvSpPr txBox="1">
            <a:spLocks noGrp="1"/>
          </p:cNvSpPr>
          <p:nvPr>
            <p:ph type="title" idx="4294967295"/>
          </p:nvPr>
        </p:nvSpPr>
        <p:spPr>
          <a:xfrm>
            <a:off x="4894659" y="457200"/>
            <a:ext cx="6711950" cy="984250"/>
          </a:xfr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lvl="0"/>
            <a:r>
              <a:rPr lang="en-US" sz="3200" b="1" dirty="0">
                <a:gradFill>
                  <a:gsLst>
                    <a:gs pos="0">
                      <a:srgbClr val="0360DB"/>
                    </a:gs>
                    <a:gs pos="100000">
                      <a:srgbClr val="207EFC"/>
                    </a:gs>
                  </a:gsLst>
                  <a:path path="circle">
                    <a:fillToRect t="100000" r="100000"/>
                  </a:path>
                </a:gradFill>
                <a:latin typeface="Segoe Sans Display Semibold" pitchFamily="2" charset="0"/>
                <a:cs typeface="Segoe Sans Display Semibold" pitchFamily="2" charset="0"/>
              </a:rPr>
              <a:t>Protect access </a:t>
            </a:r>
            <a:r>
              <a:rPr lang="en-US" sz="3200" b="1" dirty="0">
                <a:latin typeface="Segoe Sans Display Semibold" pitchFamily="2" charset="0"/>
                <a:cs typeface="Segoe Sans Display Semibold" pitchFamily="2" charset="0"/>
              </a:rPr>
              <a:t>to all </a:t>
            </a:r>
            <a:br>
              <a:rPr lang="en-US" sz="3200" b="1" dirty="0">
                <a:latin typeface="Segoe Sans Display Semibold" pitchFamily="2" charset="0"/>
                <a:cs typeface="Segoe Sans Display Semibold" pitchFamily="2" charset="0"/>
              </a:rPr>
            </a:br>
            <a:r>
              <a:rPr lang="en-US" sz="3200" b="1" dirty="0">
                <a:latin typeface="Segoe Sans Display Semibold" pitchFamily="2" charset="0"/>
                <a:cs typeface="Segoe Sans Display Semibold" pitchFamily="2" charset="0"/>
              </a:rPr>
              <a:t>applications and AI</a:t>
            </a:r>
            <a:endParaRPr lang="en-US" b="1" noProof="0" dirty="0">
              <a:solidFill>
                <a:schemeClr val="bg1"/>
              </a:solidFill>
              <a:latin typeface="Segoe Sans Display Semibold" pitchFamily="2" charset="0"/>
              <a:cs typeface="Segoe Sans Display Semibold" pitchFamily="2" charset="0"/>
            </a:endParaRPr>
          </a:p>
        </p:txBody>
      </p:sp>
      <p:grpSp>
        <p:nvGrpSpPr>
          <p:cNvPr id="10" name="Group 9">
            <a:extLst>
              <a:ext uri="{FF2B5EF4-FFF2-40B4-BE49-F238E27FC236}">
                <a16:creationId xmlns:a16="http://schemas.microsoft.com/office/drawing/2014/main" id="{AFB550E3-7D07-4A99-AA79-AD2788500964}"/>
              </a:ext>
              <a:ext uri="{C183D7F6-B498-43B3-948B-1728B52AA6E4}">
                <adec:decorative xmlns:adec="http://schemas.microsoft.com/office/drawing/2017/decorative" val="1"/>
              </a:ext>
            </a:extLst>
          </p:cNvPr>
          <p:cNvGrpSpPr/>
          <p:nvPr/>
        </p:nvGrpSpPr>
        <p:grpSpPr>
          <a:xfrm>
            <a:off x="10785395" y="457200"/>
            <a:ext cx="821388" cy="821388"/>
            <a:chOff x="10468823" y="734429"/>
            <a:chExt cx="821388" cy="821388"/>
          </a:xfrm>
        </p:grpSpPr>
        <p:grpSp>
          <p:nvGrpSpPr>
            <p:cNvPr id="11" name="Group 10">
              <a:extLst>
                <a:ext uri="{FF2B5EF4-FFF2-40B4-BE49-F238E27FC236}">
                  <a16:creationId xmlns:a16="http://schemas.microsoft.com/office/drawing/2014/main" id="{95DD36FC-9CC8-023A-F3C2-D26EBA04FDAE}"/>
                </a:ext>
                <a:ext uri="{C183D7F6-B498-43B3-948B-1728B52AA6E4}">
                  <adec:decorative xmlns:adec="http://schemas.microsoft.com/office/drawing/2017/decorative" val="1"/>
                </a:ext>
              </a:extLst>
            </p:cNvPr>
            <p:cNvGrpSpPr/>
            <p:nvPr/>
          </p:nvGrpSpPr>
          <p:grpSpPr>
            <a:xfrm>
              <a:off x="10468823" y="734429"/>
              <a:ext cx="821388" cy="821388"/>
              <a:chOff x="1511104" y="983803"/>
              <a:chExt cx="874443" cy="874443"/>
            </a:xfrm>
          </p:grpSpPr>
          <p:sp>
            <p:nvSpPr>
              <p:cNvPr id="21" name="Oval 20">
                <a:extLst>
                  <a:ext uri="{FF2B5EF4-FFF2-40B4-BE49-F238E27FC236}">
                    <a16:creationId xmlns:a16="http://schemas.microsoft.com/office/drawing/2014/main" id="{C70530D8-C44C-C3C6-1F14-F6EB8B335153}"/>
                  </a:ext>
                </a:extLst>
              </p:cNvPr>
              <p:cNvSpPr/>
              <p:nvPr/>
            </p:nvSpPr>
            <p:spPr bwMode="auto">
              <a:xfrm>
                <a:off x="1511104" y="983803"/>
                <a:ext cx="874443" cy="874443"/>
              </a:xfrm>
              <a:prstGeom prst="ellipse">
                <a:avLst/>
              </a:prstGeom>
              <a:gradFill flip="none" rotWithShape="1">
                <a:gsLst>
                  <a:gs pos="0">
                    <a:srgbClr val="FADC14">
                      <a:alpha val="50000"/>
                    </a:srgbClr>
                  </a:gs>
                  <a:gs pos="100000">
                    <a:srgbClr val="599FFD">
                      <a:alpha val="50000"/>
                    </a:srgbClr>
                  </a:gs>
                </a:gsLst>
                <a:path path="circle">
                  <a:fillToRect t="100000" r="100000"/>
                </a:path>
                <a:tileRect l="-100000" b="-10000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91F2C"/>
                  </a:solidFill>
                  <a:effectLst/>
                  <a:uLnTx/>
                  <a:uFillTx/>
                  <a:latin typeface="Segoe UI Variable Display"/>
                  <a:ea typeface="+mn-ea"/>
                  <a:cs typeface="Segoe UI" pitchFamily="34" charset="0"/>
                </a:endParaRPr>
              </a:p>
            </p:txBody>
          </p:sp>
          <p:sp>
            <p:nvSpPr>
              <p:cNvPr id="22" name="Oval 21">
                <a:extLst>
                  <a:ext uri="{FF2B5EF4-FFF2-40B4-BE49-F238E27FC236}">
                    <a16:creationId xmlns:a16="http://schemas.microsoft.com/office/drawing/2014/main" id="{96AAC7D4-49FB-D08A-31CA-DFD27A229643}"/>
                  </a:ext>
                </a:extLst>
              </p:cNvPr>
              <p:cNvSpPr/>
              <p:nvPr/>
            </p:nvSpPr>
            <p:spPr bwMode="auto">
              <a:xfrm>
                <a:off x="1620236" y="1092935"/>
                <a:ext cx="656179" cy="656179"/>
              </a:xfrm>
              <a:prstGeom prst="ellipse">
                <a:avLst/>
              </a:prstGeom>
              <a:solidFill>
                <a:schemeClr val="bg1"/>
              </a:solidFill>
              <a:ln w="19050" cap="flat" cmpd="sng" algn="ctr">
                <a:gradFill>
                  <a:gsLst>
                    <a:gs pos="0">
                      <a:srgbClr val="599FFD"/>
                    </a:gs>
                    <a:gs pos="100000">
                      <a:srgbClr val="FADC14"/>
                    </a:gs>
                  </a:gsLst>
                  <a:lin ang="5400000" scaled="1"/>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91F2C"/>
                  </a:solidFill>
                  <a:effectLst/>
                  <a:uLnTx/>
                  <a:uFillTx/>
                  <a:latin typeface="Segoe UI Variable Display"/>
                  <a:ea typeface="+mn-ea"/>
                  <a:cs typeface="Segoe UI" pitchFamily="34" charset="0"/>
                </a:endParaRPr>
              </a:p>
            </p:txBody>
          </p:sp>
        </p:grpSp>
        <p:grpSp>
          <p:nvGrpSpPr>
            <p:cNvPr id="12" name="Group 11">
              <a:extLst>
                <a:ext uri="{FF2B5EF4-FFF2-40B4-BE49-F238E27FC236}">
                  <a16:creationId xmlns:a16="http://schemas.microsoft.com/office/drawing/2014/main" id="{D545AF69-52BE-88EF-5B63-6386EE22B668}"/>
                </a:ext>
              </a:extLst>
            </p:cNvPr>
            <p:cNvGrpSpPr/>
            <p:nvPr/>
          </p:nvGrpSpPr>
          <p:grpSpPr>
            <a:xfrm>
              <a:off x="10711646" y="963263"/>
              <a:ext cx="335742" cy="363721"/>
              <a:chOff x="678048" y="1404000"/>
              <a:chExt cx="274320" cy="297180"/>
            </a:xfrm>
            <a:solidFill>
              <a:schemeClr val="bg1"/>
            </a:solidFill>
          </p:grpSpPr>
          <p:sp>
            <p:nvSpPr>
              <p:cNvPr id="19" name="Freeform: Shape 18">
                <a:extLst>
                  <a:ext uri="{FF2B5EF4-FFF2-40B4-BE49-F238E27FC236}">
                    <a16:creationId xmlns:a16="http://schemas.microsoft.com/office/drawing/2014/main" id="{25D6BE0E-08DC-8BA8-4B70-6399541CD6E4}"/>
                  </a:ext>
                </a:extLst>
              </p:cNvPr>
              <p:cNvSpPr/>
              <p:nvPr/>
            </p:nvSpPr>
            <p:spPr>
              <a:xfrm>
                <a:off x="723768" y="1449720"/>
                <a:ext cx="182880" cy="213360"/>
              </a:xfrm>
              <a:custGeom>
                <a:avLst/>
                <a:gdLst>
                  <a:gd name="connsiteX0" fmla="*/ 30480 w 182880"/>
                  <a:gd name="connsiteY0" fmla="*/ 15240 h 213360"/>
                  <a:gd name="connsiteX1" fmla="*/ 15240 w 182880"/>
                  <a:gd name="connsiteY1" fmla="*/ 30480 h 213360"/>
                  <a:gd name="connsiteX2" fmla="*/ 0 w 182880"/>
                  <a:gd name="connsiteY2" fmla="*/ 15240 h 213360"/>
                  <a:gd name="connsiteX3" fmla="*/ 15240 w 182880"/>
                  <a:gd name="connsiteY3" fmla="*/ 0 h 213360"/>
                  <a:gd name="connsiteX4" fmla="*/ 30480 w 182880"/>
                  <a:gd name="connsiteY4" fmla="*/ 15240 h 213360"/>
                  <a:gd name="connsiteX5" fmla="*/ 15240 w 182880"/>
                  <a:gd name="connsiteY5" fmla="*/ 76200 h 213360"/>
                  <a:gd name="connsiteX6" fmla="*/ 30480 w 182880"/>
                  <a:gd name="connsiteY6" fmla="*/ 60960 h 213360"/>
                  <a:gd name="connsiteX7" fmla="*/ 15240 w 182880"/>
                  <a:gd name="connsiteY7" fmla="*/ 45720 h 213360"/>
                  <a:gd name="connsiteX8" fmla="*/ 0 w 182880"/>
                  <a:gd name="connsiteY8" fmla="*/ 60960 h 213360"/>
                  <a:gd name="connsiteX9" fmla="*/ 15240 w 182880"/>
                  <a:gd name="connsiteY9" fmla="*/ 76200 h 213360"/>
                  <a:gd name="connsiteX10" fmla="*/ 30480 w 182880"/>
                  <a:gd name="connsiteY10" fmla="*/ 106680 h 213360"/>
                  <a:gd name="connsiteX11" fmla="*/ 15240 w 182880"/>
                  <a:gd name="connsiteY11" fmla="*/ 121920 h 213360"/>
                  <a:gd name="connsiteX12" fmla="*/ 0 w 182880"/>
                  <a:gd name="connsiteY12" fmla="*/ 106680 h 213360"/>
                  <a:gd name="connsiteX13" fmla="*/ 15240 w 182880"/>
                  <a:gd name="connsiteY13" fmla="*/ 91440 h 213360"/>
                  <a:gd name="connsiteX14" fmla="*/ 30480 w 182880"/>
                  <a:gd name="connsiteY14" fmla="*/ 106680 h 213360"/>
                  <a:gd name="connsiteX15" fmla="*/ 30480 w 182880"/>
                  <a:gd name="connsiteY15" fmla="*/ 152400 h 213360"/>
                  <a:gd name="connsiteX16" fmla="*/ 15240 w 182880"/>
                  <a:gd name="connsiteY16" fmla="*/ 167640 h 213360"/>
                  <a:gd name="connsiteX17" fmla="*/ 0 w 182880"/>
                  <a:gd name="connsiteY17" fmla="*/ 152400 h 213360"/>
                  <a:gd name="connsiteX18" fmla="*/ 15240 w 182880"/>
                  <a:gd name="connsiteY18" fmla="*/ 137160 h 213360"/>
                  <a:gd name="connsiteX19" fmla="*/ 30480 w 182880"/>
                  <a:gd name="connsiteY19" fmla="*/ 152400 h 213360"/>
                  <a:gd name="connsiteX20" fmla="*/ 15240 w 182880"/>
                  <a:gd name="connsiteY20" fmla="*/ 213360 h 213360"/>
                  <a:gd name="connsiteX21" fmla="*/ 30480 w 182880"/>
                  <a:gd name="connsiteY21" fmla="*/ 198120 h 213360"/>
                  <a:gd name="connsiteX22" fmla="*/ 15240 w 182880"/>
                  <a:gd name="connsiteY22" fmla="*/ 182880 h 213360"/>
                  <a:gd name="connsiteX23" fmla="*/ 0 w 182880"/>
                  <a:gd name="connsiteY23" fmla="*/ 198120 h 213360"/>
                  <a:gd name="connsiteX24" fmla="*/ 15240 w 182880"/>
                  <a:gd name="connsiteY24" fmla="*/ 213360 h 213360"/>
                  <a:gd name="connsiteX25" fmla="*/ 121920 w 182880"/>
                  <a:gd name="connsiteY25" fmla="*/ 167640 h 213360"/>
                  <a:gd name="connsiteX26" fmla="*/ 137160 w 182880"/>
                  <a:gd name="connsiteY26" fmla="*/ 152400 h 213360"/>
                  <a:gd name="connsiteX27" fmla="*/ 121920 w 182880"/>
                  <a:gd name="connsiteY27" fmla="*/ 137160 h 213360"/>
                  <a:gd name="connsiteX28" fmla="*/ 106680 w 182880"/>
                  <a:gd name="connsiteY28" fmla="*/ 152400 h 213360"/>
                  <a:gd name="connsiteX29" fmla="*/ 121920 w 182880"/>
                  <a:gd name="connsiteY29" fmla="*/ 167640 h 213360"/>
                  <a:gd name="connsiteX30" fmla="*/ 167640 w 182880"/>
                  <a:gd name="connsiteY30" fmla="*/ 167640 h 213360"/>
                  <a:gd name="connsiteX31" fmla="*/ 182880 w 182880"/>
                  <a:gd name="connsiteY31" fmla="*/ 152400 h 213360"/>
                  <a:gd name="connsiteX32" fmla="*/ 167640 w 182880"/>
                  <a:gd name="connsiteY32" fmla="*/ 137160 h 213360"/>
                  <a:gd name="connsiteX33" fmla="*/ 152400 w 182880"/>
                  <a:gd name="connsiteY33" fmla="*/ 152400 h 213360"/>
                  <a:gd name="connsiteX34" fmla="*/ 167640 w 182880"/>
                  <a:gd name="connsiteY34" fmla="*/ 167640 h 213360"/>
                  <a:gd name="connsiteX35" fmla="*/ 167640 w 182880"/>
                  <a:gd name="connsiteY35" fmla="*/ 121920 h 213360"/>
                  <a:gd name="connsiteX36" fmla="*/ 182880 w 182880"/>
                  <a:gd name="connsiteY36" fmla="*/ 106680 h 213360"/>
                  <a:gd name="connsiteX37" fmla="*/ 167640 w 182880"/>
                  <a:gd name="connsiteY37" fmla="*/ 91440 h 213360"/>
                  <a:gd name="connsiteX38" fmla="*/ 152400 w 182880"/>
                  <a:gd name="connsiteY38" fmla="*/ 106680 h 213360"/>
                  <a:gd name="connsiteX39" fmla="*/ 167640 w 182880"/>
                  <a:gd name="connsiteY39" fmla="*/ 121920 h 213360"/>
                  <a:gd name="connsiteX40" fmla="*/ 137160 w 182880"/>
                  <a:gd name="connsiteY40" fmla="*/ 106680 h 213360"/>
                  <a:gd name="connsiteX41" fmla="*/ 121920 w 182880"/>
                  <a:gd name="connsiteY41" fmla="*/ 121920 h 213360"/>
                  <a:gd name="connsiteX42" fmla="*/ 106680 w 182880"/>
                  <a:gd name="connsiteY42" fmla="*/ 106680 h 213360"/>
                  <a:gd name="connsiteX43" fmla="*/ 121920 w 182880"/>
                  <a:gd name="connsiteY43" fmla="*/ 91440 h 213360"/>
                  <a:gd name="connsiteX44" fmla="*/ 137160 w 182880"/>
                  <a:gd name="connsiteY44" fmla="*/ 106680 h 213360"/>
                  <a:gd name="connsiteX45" fmla="*/ 167640 w 182880"/>
                  <a:gd name="connsiteY45" fmla="*/ 76200 h 213360"/>
                  <a:gd name="connsiteX46" fmla="*/ 182880 w 182880"/>
                  <a:gd name="connsiteY46" fmla="*/ 60960 h 213360"/>
                  <a:gd name="connsiteX47" fmla="*/ 167640 w 182880"/>
                  <a:gd name="connsiteY47" fmla="*/ 45720 h 213360"/>
                  <a:gd name="connsiteX48" fmla="*/ 152400 w 182880"/>
                  <a:gd name="connsiteY48" fmla="*/ 60960 h 213360"/>
                  <a:gd name="connsiteX49" fmla="*/ 167640 w 182880"/>
                  <a:gd name="connsiteY49" fmla="*/ 76200 h 213360"/>
                  <a:gd name="connsiteX50" fmla="*/ 137160 w 182880"/>
                  <a:gd name="connsiteY50" fmla="*/ 60960 h 213360"/>
                  <a:gd name="connsiteX51" fmla="*/ 121920 w 182880"/>
                  <a:gd name="connsiteY51" fmla="*/ 76200 h 213360"/>
                  <a:gd name="connsiteX52" fmla="*/ 106680 w 182880"/>
                  <a:gd name="connsiteY52" fmla="*/ 60960 h 213360"/>
                  <a:gd name="connsiteX53" fmla="*/ 121920 w 182880"/>
                  <a:gd name="connsiteY53" fmla="*/ 45720 h 213360"/>
                  <a:gd name="connsiteX54" fmla="*/ 137160 w 182880"/>
                  <a:gd name="connsiteY54" fmla="*/ 60960 h 21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82880" h="213360">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3"/>
                      <a:pt x="30480" y="15240"/>
                    </a:cubicBezTo>
                    <a:close/>
                    <a:moveTo>
                      <a:pt x="15240" y="76200"/>
                    </a:moveTo>
                    <a:cubicBezTo>
                      <a:pt x="23657" y="76200"/>
                      <a:pt x="30480" y="69377"/>
                      <a:pt x="30480" y="60960"/>
                    </a:cubicBezTo>
                    <a:cubicBezTo>
                      <a:pt x="30480" y="52543"/>
                      <a:pt x="23657" y="45720"/>
                      <a:pt x="15240" y="45720"/>
                    </a:cubicBezTo>
                    <a:cubicBezTo>
                      <a:pt x="6823" y="45720"/>
                      <a:pt x="0" y="52543"/>
                      <a:pt x="0" y="60960"/>
                    </a:cubicBezTo>
                    <a:cubicBezTo>
                      <a:pt x="0" y="69377"/>
                      <a:pt x="6823" y="76200"/>
                      <a:pt x="15240" y="76200"/>
                    </a:cubicBezTo>
                    <a:close/>
                    <a:moveTo>
                      <a:pt x="30480" y="106680"/>
                    </a:moveTo>
                    <a:cubicBezTo>
                      <a:pt x="30480" y="115097"/>
                      <a:pt x="23657" y="121920"/>
                      <a:pt x="15240" y="121920"/>
                    </a:cubicBezTo>
                    <a:cubicBezTo>
                      <a:pt x="6823" y="121920"/>
                      <a:pt x="0" y="115097"/>
                      <a:pt x="0" y="106680"/>
                    </a:cubicBezTo>
                    <a:cubicBezTo>
                      <a:pt x="0" y="98263"/>
                      <a:pt x="6823" y="91440"/>
                      <a:pt x="15240" y="91440"/>
                    </a:cubicBezTo>
                    <a:cubicBezTo>
                      <a:pt x="23657" y="91440"/>
                      <a:pt x="30480" y="98263"/>
                      <a:pt x="30480" y="106680"/>
                    </a:cubicBezTo>
                    <a:close/>
                    <a:moveTo>
                      <a:pt x="30480" y="152400"/>
                    </a:moveTo>
                    <a:cubicBezTo>
                      <a:pt x="30480" y="160817"/>
                      <a:pt x="23657" y="167640"/>
                      <a:pt x="15240" y="167640"/>
                    </a:cubicBezTo>
                    <a:cubicBezTo>
                      <a:pt x="6823" y="167640"/>
                      <a:pt x="0" y="160817"/>
                      <a:pt x="0" y="152400"/>
                    </a:cubicBezTo>
                    <a:cubicBezTo>
                      <a:pt x="0" y="143983"/>
                      <a:pt x="6823" y="137160"/>
                      <a:pt x="15240" y="137160"/>
                    </a:cubicBezTo>
                    <a:cubicBezTo>
                      <a:pt x="23657" y="137160"/>
                      <a:pt x="30480" y="143983"/>
                      <a:pt x="30480" y="152400"/>
                    </a:cubicBezTo>
                    <a:close/>
                    <a:moveTo>
                      <a:pt x="15240" y="213360"/>
                    </a:moveTo>
                    <a:cubicBezTo>
                      <a:pt x="23657" y="213360"/>
                      <a:pt x="30480" y="206537"/>
                      <a:pt x="30480" y="198120"/>
                    </a:cubicBezTo>
                    <a:cubicBezTo>
                      <a:pt x="30480" y="189703"/>
                      <a:pt x="23657" y="182880"/>
                      <a:pt x="15240" y="182880"/>
                    </a:cubicBezTo>
                    <a:cubicBezTo>
                      <a:pt x="6823" y="182880"/>
                      <a:pt x="0" y="189703"/>
                      <a:pt x="0" y="198120"/>
                    </a:cubicBezTo>
                    <a:cubicBezTo>
                      <a:pt x="0" y="206537"/>
                      <a:pt x="6823" y="213360"/>
                      <a:pt x="15240" y="213360"/>
                    </a:cubicBezTo>
                    <a:close/>
                    <a:moveTo>
                      <a:pt x="121920" y="167640"/>
                    </a:moveTo>
                    <a:cubicBezTo>
                      <a:pt x="130337" y="167640"/>
                      <a:pt x="137160" y="160817"/>
                      <a:pt x="137160" y="152400"/>
                    </a:cubicBezTo>
                    <a:cubicBezTo>
                      <a:pt x="137160" y="143983"/>
                      <a:pt x="130337" y="137160"/>
                      <a:pt x="121920" y="137160"/>
                    </a:cubicBezTo>
                    <a:cubicBezTo>
                      <a:pt x="113503" y="137160"/>
                      <a:pt x="106680" y="143983"/>
                      <a:pt x="106680" y="152400"/>
                    </a:cubicBezTo>
                    <a:cubicBezTo>
                      <a:pt x="106680" y="160817"/>
                      <a:pt x="113503" y="167640"/>
                      <a:pt x="121920" y="167640"/>
                    </a:cubicBezTo>
                    <a:close/>
                    <a:moveTo>
                      <a:pt x="167640" y="167640"/>
                    </a:moveTo>
                    <a:cubicBezTo>
                      <a:pt x="176057" y="167640"/>
                      <a:pt x="182880" y="160817"/>
                      <a:pt x="182880" y="152400"/>
                    </a:cubicBezTo>
                    <a:cubicBezTo>
                      <a:pt x="182880" y="143983"/>
                      <a:pt x="176057" y="137160"/>
                      <a:pt x="167640" y="137160"/>
                    </a:cubicBezTo>
                    <a:cubicBezTo>
                      <a:pt x="159223" y="137160"/>
                      <a:pt x="152400" y="143983"/>
                      <a:pt x="152400" y="152400"/>
                    </a:cubicBezTo>
                    <a:cubicBezTo>
                      <a:pt x="152400" y="160817"/>
                      <a:pt x="159223" y="167640"/>
                      <a:pt x="167640" y="167640"/>
                    </a:cubicBezTo>
                    <a:close/>
                    <a:moveTo>
                      <a:pt x="167640" y="121920"/>
                    </a:moveTo>
                    <a:cubicBezTo>
                      <a:pt x="176057" y="121920"/>
                      <a:pt x="182880" y="115097"/>
                      <a:pt x="182880" y="106680"/>
                    </a:cubicBezTo>
                    <a:cubicBezTo>
                      <a:pt x="182880" y="98263"/>
                      <a:pt x="176057" y="91440"/>
                      <a:pt x="167640" y="91440"/>
                    </a:cubicBezTo>
                    <a:cubicBezTo>
                      <a:pt x="159223" y="91440"/>
                      <a:pt x="152400" y="98263"/>
                      <a:pt x="152400" y="106680"/>
                    </a:cubicBezTo>
                    <a:cubicBezTo>
                      <a:pt x="152400" y="115097"/>
                      <a:pt x="159223" y="121920"/>
                      <a:pt x="167640" y="121920"/>
                    </a:cubicBezTo>
                    <a:close/>
                    <a:moveTo>
                      <a:pt x="137160" y="106680"/>
                    </a:moveTo>
                    <a:cubicBezTo>
                      <a:pt x="137160" y="115097"/>
                      <a:pt x="130337" y="121920"/>
                      <a:pt x="121920" y="121920"/>
                    </a:cubicBezTo>
                    <a:cubicBezTo>
                      <a:pt x="113503" y="121920"/>
                      <a:pt x="106680" y="115097"/>
                      <a:pt x="106680" y="106680"/>
                    </a:cubicBezTo>
                    <a:cubicBezTo>
                      <a:pt x="106680" y="98263"/>
                      <a:pt x="113503" y="91440"/>
                      <a:pt x="121920" y="91440"/>
                    </a:cubicBezTo>
                    <a:cubicBezTo>
                      <a:pt x="130337" y="91440"/>
                      <a:pt x="137160" y="98263"/>
                      <a:pt x="137160" y="106680"/>
                    </a:cubicBezTo>
                    <a:close/>
                    <a:moveTo>
                      <a:pt x="167640" y="76200"/>
                    </a:moveTo>
                    <a:cubicBezTo>
                      <a:pt x="176057" y="76200"/>
                      <a:pt x="182880" y="69377"/>
                      <a:pt x="182880" y="60960"/>
                    </a:cubicBezTo>
                    <a:cubicBezTo>
                      <a:pt x="182880" y="52543"/>
                      <a:pt x="176057" y="45720"/>
                      <a:pt x="167640" y="45720"/>
                    </a:cubicBezTo>
                    <a:cubicBezTo>
                      <a:pt x="159223" y="45720"/>
                      <a:pt x="152400" y="52543"/>
                      <a:pt x="152400" y="60960"/>
                    </a:cubicBezTo>
                    <a:cubicBezTo>
                      <a:pt x="152400" y="69377"/>
                      <a:pt x="159223" y="76200"/>
                      <a:pt x="167640" y="76200"/>
                    </a:cubicBezTo>
                    <a:close/>
                    <a:moveTo>
                      <a:pt x="137160" y="60960"/>
                    </a:moveTo>
                    <a:cubicBezTo>
                      <a:pt x="137160" y="69377"/>
                      <a:pt x="130337" y="76200"/>
                      <a:pt x="121920" y="76200"/>
                    </a:cubicBezTo>
                    <a:cubicBezTo>
                      <a:pt x="113503" y="76200"/>
                      <a:pt x="106680" y="69377"/>
                      <a:pt x="106680" y="60960"/>
                    </a:cubicBezTo>
                    <a:cubicBezTo>
                      <a:pt x="106680" y="52543"/>
                      <a:pt x="113503" y="45720"/>
                      <a:pt x="121920" y="45720"/>
                    </a:cubicBezTo>
                    <a:cubicBezTo>
                      <a:pt x="130337" y="45720"/>
                      <a:pt x="137160" y="52543"/>
                      <a:pt x="137160" y="60960"/>
                    </a:cubicBezTo>
                    <a:close/>
                  </a:path>
                </a:pathLst>
              </a:custGeom>
              <a:solidFill>
                <a:schemeClr val="tx1"/>
              </a:solid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20" name="Freeform: Shape 19">
                <a:extLst>
                  <a:ext uri="{FF2B5EF4-FFF2-40B4-BE49-F238E27FC236}">
                    <a16:creationId xmlns:a16="http://schemas.microsoft.com/office/drawing/2014/main" id="{1F35262E-04F9-C7E1-ED8E-4EA35C984688}"/>
                  </a:ext>
                </a:extLst>
              </p:cNvPr>
              <p:cNvSpPr/>
              <p:nvPr/>
            </p:nvSpPr>
            <p:spPr>
              <a:xfrm>
                <a:off x="678048" y="1404000"/>
                <a:ext cx="274320" cy="297180"/>
              </a:xfrm>
              <a:custGeom>
                <a:avLst/>
                <a:gdLst>
                  <a:gd name="connsiteX0" fmla="*/ 167640 w 274320"/>
                  <a:gd name="connsiteY0" fmla="*/ 45720 h 297180"/>
                  <a:gd name="connsiteX1" fmla="*/ 167640 w 274320"/>
                  <a:gd name="connsiteY1" fmla="*/ 34290 h 297180"/>
                  <a:gd name="connsiteX2" fmla="*/ 133350 w 274320"/>
                  <a:gd name="connsiteY2" fmla="*/ 0 h 297180"/>
                  <a:gd name="connsiteX3" fmla="*/ 34290 w 274320"/>
                  <a:gd name="connsiteY3" fmla="*/ 0 h 297180"/>
                  <a:gd name="connsiteX4" fmla="*/ 0 w 274320"/>
                  <a:gd name="connsiteY4" fmla="*/ 34290 h 297180"/>
                  <a:gd name="connsiteX5" fmla="*/ 0 w 274320"/>
                  <a:gd name="connsiteY5" fmla="*/ 285750 h 297180"/>
                  <a:gd name="connsiteX6" fmla="*/ 11430 w 274320"/>
                  <a:gd name="connsiteY6" fmla="*/ 297180 h 297180"/>
                  <a:gd name="connsiteX7" fmla="*/ 262890 w 274320"/>
                  <a:gd name="connsiteY7" fmla="*/ 297180 h 297180"/>
                  <a:gd name="connsiteX8" fmla="*/ 274320 w 274320"/>
                  <a:gd name="connsiteY8" fmla="*/ 285750 h 297180"/>
                  <a:gd name="connsiteX9" fmla="*/ 274320 w 274320"/>
                  <a:gd name="connsiteY9" fmla="*/ 80010 h 297180"/>
                  <a:gd name="connsiteX10" fmla="*/ 240030 w 274320"/>
                  <a:gd name="connsiteY10" fmla="*/ 45720 h 297180"/>
                  <a:gd name="connsiteX11" fmla="*/ 167640 w 274320"/>
                  <a:gd name="connsiteY11" fmla="*/ 45720 h 297180"/>
                  <a:gd name="connsiteX12" fmla="*/ 22860 w 274320"/>
                  <a:gd name="connsiteY12" fmla="*/ 34290 h 297180"/>
                  <a:gd name="connsiteX13" fmla="*/ 34290 w 274320"/>
                  <a:gd name="connsiteY13" fmla="*/ 22860 h 297180"/>
                  <a:gd name="connsiteX14" fmla="*/ 133350 w 274320"/>
                  <a:gd name="connsiteY14" fmla="*/ 22860 h 297180"/>
                  <a:gd name="connsiteX15" fmla="*/ 144780 w 274320"/>
                  <a:gd name="connsiteY15" fmla="*/ 34290 h 297180"/>
                  <a:gd name="connsiteX16" fmla="*/ 144780 w 274320"/>
                  <a:gd name="connsiteY16" fmla="*/ 45720 h 297180"/>
                  <a:gd name="connsiteX17" fmla="*/ 140970 w 274320"/>
                  <a:gd name="connsiteY17" fmla="*/ 45720 h 297180"/>
                  <a:gd name="connsiteX18" fmla="*/ 106680 w 274320"/>
                  <a:gd name="connsiteY18" fmla="*/ 80010 h 297180"/>
                  <a:gd name="connsiteX19" fmla="*/ 106680 w 274320"/>
                  <a:gd name="connsiteY19" fmla="*/ 274320 h 297180"/>
                  <a:gd name="connsiteX20" fmla="*/ 22860 w 274320"/>
                  <a:gd name="connsiteY20" fmla="*/ 274320 h 297180"/>
                  <a:gd name="connsiteX21" fmla="*/ 22860 w 274320"/>
                  <a:gd name="connsiteY21" fmla="*/ 34290 h 297180"/>
                  <a:gd name="connsiteX22" fmla="*/ 175260 w 274320"/>
                  <a:gd name="connsiteY22" fmla="*/ 274320 h 297180"/>
                  <a:gd name="connsiteX23" fmla="*/ 175260 w 274320"/>
                  <a:gd name="connsiteY23" fmla="*/ 251460 h 297180"/>
                  <a:gd name="connsiteX24" fmla="*/ 205740 w 274320"/>
                  <a:gd name="connsiteY24" fmla="*/ 251460 h 297180"/>
                  <a:gd name="connsiteX25" fmla="*/ 205740 w 274320"/>
                  <a:gd name="connsiteY25" fmla="*/ 274320 h 297180"/>
                  <a:gd name="connsiteX26" fmla="*/ 175260 w 274320"/>
                  <a:gd name="connsiteY26" fmla="*/ 274320 h 297180"/>
                  <a:gd name="connsiteX27" fmla="*/ 228600 w 274320"/>
                  <a:gd name="connsiteY27" fmla="*/ 240030 h 297180"/>
                  <a:gd name="connsiteX28" fmla="*/ 217170 w 274320"/>
                  <a:gd name="connsiteY28" fmla="*/ 228600 h 297180"/>
                  <a:gd name="connsiteX29" fmla="*/ 163830 w 274320"/>
                  <a:gd name="connsiteY29" fmla="*/ 228600 h 297180"/>
                  <a:gd name="connsiteX30" fmla="*/ 152400 w 274320"/>
                  <a:gd name="connsiteY30" fmla="*/ 240030 h 297180"/>
                  <a:gd name="connsiteX31" fmla="*/ 152400 w 274320"/>
                  <a:gd name="connsiteY31" fmla="*/ 274320 h 297180"/>
                  <a:gd name="connsiteX32" fmla="*/ 129540 w 274320"/>
                  <a:gd name="connsiteY32" fmla="*/ 274320 h 297180"/>
                  <a:gd name="connsiteX33" fmla="*/ 129540 w 274320"/>
                  <a:gd name="connsiteY33" fmla="*/ 80010 h 297180"/>
                  <a:gd name="connsiteX34" fmla="*/ 140970 w 274320"/>
                  <a:gd name="connsiteY34" fmla="*/ 68580 h 297180"/>
                  <a:gd name="connsiteX35" fmla="*/ 240030 w 274320"/>
                  <a:gd name="connsiteY35" fmla="*/ 68580 h 297180"/>
                  <a:gd name="connsiteX36" fmla="*/ 251460 w 274320"/>
                  <a:gd name="connsiteY36" fmla="*/ 80010 h 297180"/>
                  <a:gd name="connsiteX37" fmla="*/ 251460 w 274320"/>
                  <a:gd name="connsiteY37" fmla="*/ 274320 h 297180"/>
                  <a:gd name="connsiteX38" fmla="*/ 228600 w 274320"/>
                  <a:gd name="connsiteY38" fmla="*/ 274320 h 297180"/>
                  <a:gd name="connsiteX39" fmla="*/ 228600 w 274320"/>
                  <a:gd name="connsiteY39" fmla="*/ 240030 h 297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4320" h="297180">
                    <a:moveTo>
                      <a:pt x="167640" y="45720"/>
                    </a:moveTo>
                    <a:lnTo>
                      <a:pt x="167640" y="34290"/>
                    </a:lnTo>
                    <a:cubicBezTo>
                      <a:pt x="167640" y="15352"/>
                      <a:pt x="152287" y="0"/>
                      <a:pt x="133350" y="0"/>
                    </a:cubicBezTo>
                    <a:lnTo>
                      <a:pt x="34290" y="0"/>
                    </a:lnTo>
                    <a:cubicBezTo>
                      <a:pt x="15352" y="0"/>
                      <a:pt x="0" y="15352"/>
                      <a:pt x="0" y="34290"/>
                    </a:cubicBezTo>
                    <a:lnTo>
                      <a:pt x="0" y="285750"/>
                    </a:lnTo>
                    <a:cubicBezTo>
                      <a:pt x="0" y="292059"/>
                      <a:pt x="5121" y="297180"/>
                      <a:pt x="11430" y="297180"/>
                    </a:cubicBezTo>
                    <a:lnTo>
                      <a:pt x="262890" y="297180"/>
                    </a:lnTo>
                    <a:cubicBezTo>
                      <a:pt x="269202" y="297180"/>
                      <a:pt x="274320" y="292062"/>
                      <a:pt x="274320" y="285750"/>
                    </a:cubicBezTo>
                    <a:lnTo>
                      <a:pt x="274320" y="80010"/>
                    </a:lnTo>
                    <a:cubicBezTo>
                      <a:pt x="274320" y="61072"/>
                      <a:pt x="258967" y="45720"/>
                      <a:pt x="240030" y="45720"/>
                    </a:cubicBezTo>
                    <a:lnTo>
                      <a:pt x="167640" y="45720"/>
                    </a:lnTo>
                    <a:close/>
                    <a:moveTo>
                      <a:pt x="22860" y="34290"/>
                    </a:moveTo>
                    <a:cubicBezTo>
                      <a:pt x="22860" y="27977"/>
                      <a:pt x="27977" y="22860"/>
                      <a:pt x="34290" y="22860"/>
                    </a:cubicBezTo>
                    <a:lnTo>
                      <a:pt x="133350" y="22860"/>
                    </a:lnTo>
                    <a:cubicBezTo>
                      <a:pt x="139662" y="22860"/>
                      <a:pt x="144780" y="27977"/>
                      <a:pt x="144780" y="34290"/>
                    </a:cubicBezTo>
                    <a:lnTo>
                      <a:pt x="144780" y="45720"/>
                    </a:lnTo>
                    <a:lnTo>
                      <a:pt x="140970" y="45720"/>
                    </a:lnTo>
                    <a:cubicBezTo>
                      <a:pt x="122033" y="45720"/>
                      <a:pt x="106680" y="61072"/>
                      <a:pt x="106680" y="80010"/>
                    </a:cubicBezTo>
                    <a:lnTo>
                      <a:pt x="106680" y="274320"/>
                    </a:lnTo>
                    <a:lnTo>
                      <a:pt x="22860" y="274320"/>
                    </a:lnTo>
                    <a:lnTo>
                      <a:pt x="22860" y="34290"/>
                    </a:lnTo>
                    <a:close/>
                    <a:moveTo>
                      <a:pt x="175260" y="274320"/>
                    </a:moveTo>
                    <a:lnTo>
                      <a:pt x="175260" y="251460"/>
                    </a:lnTo>
                    <a:lnTo>
                      <a:pt x="205740" y="251460"/>
                    </a:lnTo>
                    <a:lnTo>
                      <a:pt x="205740" y="274320"/>
                    </a:lnTo>
                    <a:lnTo>
                      <a:pt x="175260" y="274320"/>
                    </a:lnTo>
                    <a:close/>
                    <a:moveTo>
                      <a:pt x="228600" y="240030"/>
                    </a:moveTo>
                    <a:cubicBezTo>
                      <a:pt x="228600" y="233718"/>
                      <a:pt x="223482" y="228600"/>
                      <a:pt x="217170" y="228600"/>
                    </a:cubicBezTo>
                    <a:lnTo>
                      <a:pt x="163830" y="228600"/>
                    </a:lnTo>
                    <a:cubicBezTo>
                      <a:pt x="157518" y="228600"/>
                      <a:pt x="152400" y="233718"/>
                      <a:pt x="152400" y="240030"/>
                    </a:cubicBezTo>
                    <a:lnTo>
                      <a:pt x="152400" y="274320"/>
                    </a:lnTo>
                    <a:lnTo>
                      <a:pt x="129540" y="274320"/>
                    </a:lnTo>
                    <a:lnTo>
                      <a:pt x="129540" y="80010"/>
                    </a:lnTo>
                    <a:cubicBezTo>
                      <a:pt x="129540" y="73697"/>
                      <a:pt x="134658" y="68580"/>
                      <a:pt x="140970" y="68580"/>
                    </a:cubicBezTo>
                    <a:lnTo>
                      <a:pt x="240030" y="68580"/>
                    </a:lnTo>
                    <a:cubicBezTo>
                      <a:pt x="246342" y="68580"/>
                      <a:pt x="251460" y="73697"/>
                      <a:pt x="251460" y="80010"/>
                    </a:cubicBezTo>
                    <a:lnTo>
                      <a:pt x="251460" y="274320"/>
                    </a:lnTo>
                    <a:lnTo>
                      <a:pt x="228600" y="274320"/>
                    </a:lnTo>
                    <a:lnTo>
                      <a:pt x="228600" y="240030"/>
                    </a:lnTo>
                    <a:close/>
                  </a:path>
                </a:pathLst>
              </a:custGeom>
              <a:solidFill>
                <a:schemeClr val="tx1"/>
              </a:solid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grpSp>
      </p:grpSp>
      <p:grpSp>
        <p:nvGrpSpPr>
          <p:cNvPr id="23" name="Group 22">
            <a:extLst>
              <a:ext uri="{FF2B5EF4-FFF2-40B4-BE49-F238E27FC236}">
                <a16:creationId xmlns:a16="http://schemas.microsoft.com/office/drawing/2014/main" id="{69DB8B66-B5AB-660C-2797-099EEB057A57}"/>
              </a:ext>
              <a:ext uri="{C183D7F6-B498-43B3-948B-1728B52AA6E4}">
                <adec:decorative xmlns:adec="http://schemas.microsoft.com/office/drawing/2017/decorative" val="1"/>
              </a:ext>
            </a:extLst>
          </p:cNvPr>
          <p:cNvGrpSpPr/>
          <p:nvPr/>
        </p:nvGrpSpPr>
        <p:grpSpPr>
          <a:xfrm>
            <a:off x="0" y="0"/>
            <a:ext cx="4238870" cy="6855229"/>
            <a:chOff x="-1" y="2771"/>
            <a:chExt cx="4238870" cy="6855229"/>
          </a:xfrm>
        </p:grpSpPr>
        <p:pic>
          <p:nvPicPr>
            <p:cNvPr id="24" name="Picture 23">
              <a:extLst>
                <a:ext uri="{FF2B5EF4-FFF2-40B4-BE49-F238E27FC236}">
                  <a16:creationId xmlns:a16="http://schemas.microsoft.com/office/drawing/2014/main" id="{78674A7B-9813-B1BA-AC8F-576CE465B9B6}"/>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rcRect l="50000" t="-153" r="8798" b="153"/>
            <a:stretch/>
          </p:blipFill>
          <p:spPr>
            <a:xfrm>
              <a:off x="0" y="2771"/>
              <a:ext cx="4238869" cy="6844755"/>
            </a:xfrm>
            <a:custGeom>
              <a:avLst/>
              <a:gdLst>
                <a:gd name="connsiteX0" fmla="*/ 0 w 4238869"/>
                <a:gd name="connsiteY0" fmla="*/ 0 h 6844755"/>
                <a:gd name="connsiteX1" fmla="*/ 4238869 w 4238869"/>
                <a:gd name="connsiteY1" fmla="*/ 0 h 6844755"/>
                <a:gd name="connsiteX2" fmla="*/ 4238869 w 4238869"/>
                <a:gd name="connsiteY2" fmla="*/ 6844755 h 6844755"/>
                <a:gd name="connsiteX3" fmla="*/ 0 w 4238869"/>
                <a:gd name="connsiteY3" fmla="*/ 6844755 h 6844755"/>
              </a:gdLst>
              <a:ahLst/>
              <a:cxnLst>
                <a:cxn ang="0">
                  <a:pos x="connsiteX0" y="connsiteY0"/>
                </a:cxn>
                <a:cxn ang="0">
                  <a:pos x="connsiteX1" y="connsiteY1"/>
                </a:cxn>
                <a:cxn ang="0">
                  <a:pos x="connsiteX2" y="connsiteY2"/>
                </a:cxn>
                <a:cxn ang="0">
                  <a:pos x="connsiteX3" y="connsiteY3"/>
                </a:cxn>
              </a:cxnLst>
              <a:rect l="l" t="t" r="r" b="b"/>
              <a:pathLst>
                <a:path w="4238869" h="6844755">
                  <a:moveTo>
                    <a:pt x="0" y="0"/>
                  </a:moveTo>
                  <a:lnTo>
                    <a:pt x="4238869" y="0"/>
                  </a:lnTo>
                  <a:lnTo>
                    <a:pt x="4238869" y="6844755"/>
                  </a:lnTo>
                  <a:lnTo>
                    <a:pt x="0" y="6844755"/>
                  </a:lnTo>
                  <a:close/>
                </a:path>
              </a:pathLst>
            </a:custGeom>
          </p:spPr>
        </p:pic>
        <p:pic>
          <p:nvPicPr>
            <p:cNvPr id="25" name="Picture 24">
              <a:extLst>
                <a:ext uri="{FF2B5EF4-FFF2-40B4-BE49-F238E27FC236}">
                  <a16:creationId xmlns:a16="http://schemas.microsoft.com/office/drawing/2014/main" id="{DE0F07E9-68C9-32EE-DDB8-C9C7CEFD54E1}"/>
                </a:ext>
              </a:extLst>
            </p:cNvPr>
            <p:cNvPicPr>
              <a:picLocks noChangeAspect="1"/>
            </p:cNvPicPr>
            <p:nvPr/>
          </p:nvPicPr>
          <p:blipFill>
            <a:blip r:embed="rId4">
              <a:alphaModFix amt="70000"/>
            </a:blip>
            <a:srcRect t="24890" b="24890"/>
            <a:stretch/>
          </p:blipFill>
          <p:spPr>
            <a:xfrm flipH="1">
              <a:off x="-1" y="5660571"/>
              <a:ext cx="4238867" cy="1197429"/>
            </a:xfrm>
            <a:custGeom>
              <a:avLst/>
              <a:gdLst>
                <a:gd name="connsiteX0" fmla="*/ 0 w 1133669"/>
                <a:gd name="connsiteY0" fmla="*/ 0 h 1132290"/>
                <a:gd name="connsiteX1" fmla="*/ 1133669 w 1133669"/>
                <a:gd name="connsiteY1" fmla="*/ 0 h 1132290"/>
                <a:gd name="connsiteX2" fmla="*/ 1133669 w 1133669"/>
                <a:gd name="connsiteY2" fmla="*/ 1132290 h 1132290"/>
                <a:gd name="connsiteX3" fmla="*/ 0 w 1133669"/>
                <a:gd name="connsiteY3" fmla="*/ 1132290 h 1132290"/>
              </a:gdLst>
              <a:ahLst/>
              <a:cxnLst>
                <a:cxn ang="0">
                  <a:pos x="connsiteX0" y="connsiteY0"/>
                </a:cxn>
                <a:cxn ang="0">
                  <a:pos x="connsiteX1" y="connsiteY1"/>
                </a:cxn>
                <a:cxn ang="0">
                  <a:pos x="connsiteX2" y="connsiteY2"/>
                </a:cxn>
                <a:cxn ang="0">
                  <a:pos x="connsiteX3" y="connsiteY3"/>
                </a:cxn>
              </a:cxnLst>
              <a:rect l="l" t="t" r="r" b="b"/>
              <a:pathLst>
                <a:path w="1133669" h="1132290">
                  <a:moveTo>
                    <a:pt x="0" y="0"/>
                  </a:moveTo>
                  <a:lnTo>
                    <a:pt x="1133669" y="0"/>
                  </a:lnTo>
                  <a:lnTo>
                    <a:pt x="1133669" y="1132290"/>
                  </a:lnTo>
                  <a:lnTo>
                    <a:pt x="0" y="1132290"/>
                  </a:lnTo>
                  <a:close/>
                </a:path>
              </a:pathLst>
            </a:custGeom>
          </p:spPr>
        </p:pic>
      </p:grpSp>
      <p:sp>
        <p:nvSpPr>
          <p:cNvPr id="7" name="TextBox 6">
            <a:extLst>
              <a:ext uri="{FF2B5EF4-FFF2-40B4-BE49-F238E27FC236}">
                <a16:creationId xmlns:a16="http://schemas.microsoft.com/office/drawing/2014/main" id="{F716B02E-9624-B2B7-974A-A6E97224FBCC}"/>
              </a:ext>
            </a:extLst>
          </p:cNvPr>
          <p:cNvSpPr txBox="1"/>
          <p:nvPr/>
        </p:nvSpPr>
        <p:spPr>
          <a:xfrm>
            <a:off x="5031819" y="2435360"/>
            <a:ext cx="2926080" cy="1985159"/>
          </a:xfrm>
          <a:prstGeom prst="rect">
            <a:avLst/>
          </a:prstGeom>
          <a:noFill/>
        </p:spPr>
        <p:txBody>
          <a:bodyPr wrap="square" lIns="0" tIns="0" rIns="0" bIns="0" rtlCol="0">
            <a:spAutoFit/>
          </a:bodyPr>
          <a:lstStyle/>
          <a:p>
            <a:pPr marL="0" marR="0" lvl="0" indent="0" algn="ctr" defTabSz="914400" rtl="0" eaLnBrk="1" fontAlgn="auto" latinLnBrk="0" hangingPunct="1">
              <a:lnSpc>
                <a:spcPct val="150000"/>
              </a:lnSpc>
              <a:spcBef>
                <a:spcPts val="0"/>
              </a:spcBef>
              <a:spcAft>
                <a:spcPts val="600"/>
              </a:spcAft>
              <a:buClrTx/>
              <a:buSzTx/>
              <a:buFontTx/>
              <a:buNone/>
              <a:tabLst/>
              <a:defRPr/>
            </a:pPr>
            <a:r>
              <a:rPr kumimoji="0" lang="en-US" sz="2000" b="0" i="0" u="none" strike="noStrike" kern="1200" cap="none" spc="-40" normalizeH="0" baseline="0" noProof="0">
                <a:ln w="3175">
                  <a:noFill/>
                </a:ln>
                <a:gradFill>
                  <a:gsLst>
                    <a:gs pos="0">
                      <a:srgbClr val="599FFD"/>
                    </a:gs>
                    <a:gs pos="80000">
                      <a:srgbClr val="0360DB"/>
                    </a:gs>
                  </a:gsLst>
                  <a:path path="circle">
                    <a:fillToRect l="100000" t="100000"/>
                  </a:path>
                </a:gradFill>
                <a:effectLst/>
                <a:uLnTx/>
                <a:uFillTx/>
                <a:latin typeface="Segoe Sans Display Semibold"/>
                <a:ea typeface="+mn-ea"/>
                <a:cs typeface="Segoe UI" panose="020B0502040204020203" pitchFamily="34" charset="0"/>
              </a:rPr>
              <a:t>What happened</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w="3175">
                  <a:noFill/>
                </a:ln>
                <a:solidFill>
                  <a:srgbClr val="000000"/>
                </a:solidFill>
                <a:effectLst/>
                <a:uLnTx/>
                <a:uFillTx/>
                <a:latin typeface="Segoe Sans Display"/>
                <a:ea typeface="+mn-ea"/>
                <a:cs typeface="Segoe UI" panose="020B0502040204020203" pitchFamily="34" charset="0"/>
              </a:rPr>
              <a:t>Violet received a link to </a:t>
            </a:r>
            <a:br>
              <a:rPr kumimoji="0" lang="en-US" sz="1400" b="0" i="0" u="none" strike="noStrike" kern="1200" cap="none" spc="0" normalizeH="0" baseline="0" noProof="0">
                <a:ln w="3175">
                  <a:noFill/>
                </a:ln>
                <a:solidFill>
                  <a:srgbClr val="000000"/>
                </a:solidFill>
                <a:effectLst/>
                <a:uLnTx/>
                <a:uFillTx/>
                <a:latin typeface="Segoe Sans Display"/>
                <a:ea typeface="+mn-ea"/>
                <a:cs typeface="Segoe UI" panose="020B0502040204020203" pitchFamily="34" charset="0"/>
              </a:rPr>
            </a:br>
            <a:r>
              <a:rPr kumimoji="0" lang="en-US" sz="1400" b="0" i="0" u="none" strike="noStrike" kern="1200" cap="none" spc="0" normalizeH="0" baseline="0" noProof="0">
                <a:ln w="3175">
                  <a:noFill/>
                </a:ln>
                <a:solidFill>
                  <a:srgbClr val="000000"/>
                </a:solidFill>
                <a:effectLst/>
                <a:uLnTx/>
                <a:uFillTx/>
                <a:latin typeface="Segoe Sans Display"/>
                <a:ea typeface="+mn-ea"/>
                <a:cs typeface="Segoe UI" panose="020B0502040204020203" pitchFamily="34" charset="0"/>
              </a:rPr>
              <a:t>a Dropbox folder</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w="3175">
                  <a:noFill/>
                </a:ln>
                <a:solidFill>
                  <a:srgbClr val="000000"/>
                </a:solidFill>
                <a:effectLst/>
                <a:uLnTx/>
                <a:uFillTx/>
                <a:latin typeface="Segoe Sans Display"/>
                <a:ea typeface="+mn-ea"/>
                <a:cs typeface="Segoe UI" panose="020B0502040204020203" pitchFamily="34" charset="0"/>
              </a:rPr>
              <a:t>Access was blocked  and required </a:t>
            </a:r>
            <a:br>
              <a:rPr kumimoji="0" lang="en-US" sz="1400" b="0" i="0" u="none" strike="noStrike" kern="1200" cap="none" spc="0" normalizeH="0" baseline="0" noProof="0">
                <a:ln w="3175">
                  <a:noFill/>
                </a:ln>
                <a:solidFill>
                  <a:srgbClr val="000000"/>
                </a:solidFill>
                <a:effectLst/>
                <a:uLnTx/>
                <a:uFillTx/>
                <a:latin typeface="Segoe Sans Display"/>
                <a:ea typeface="+mn-ea"/>
                <a:cs typeface="Segoe UI" panose="020B0502040204020203" pitchFamily="34" charset="0"/>
              </a:rPr>
            </a:br>
            <a:r>
              <a:rPr kumimoji="0" lang="en-US" sz="1400" b="0" i="0" u="none" strike="noStrike" kern="1200" cap="none" spc="0" normalizeH="0" baseline="0" noProof="0">
                <a:ln w="3175">
                  <a:noFill/>
                </a:ln>
                <a:solidFill>
                  <a:srgbClr val="000000"/>
                </a:solidFill>
                <a:effectLst/>
                <a:uLnTx/>
                <a:uFillTx/>
                <a:latin typeface="Segoe Sans Display"/>
                <a:ea typeface="+mn-ea"/>
                <a:cs typeface="Segoe UI" panose="020B0502040204020203" pitchFamily="34" charset="0"/>
              </a:rPr>
              <a:t>an exception</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w="3175">
                  <a:noFill/>
                </a:ln>
                <a:solidFill>
                  <a:srgbClr val="000000"/>
                </a:solidFill>
                <a:effectLst/>
                <a:uLnTx/>
                <a:uFillTx/>
                <a:latin typeface="Segoe Sans Display"/>
                <a:ea typeface="+mn-ea"/>
                <a:cs typeface="Segoe UI" panose="020B0502040204020203" pitchFamily="34" charset="0"/>
              </a:rPr>
              <a:t>Access was approved temporarily </a:t>
            </a:r>
            <a:br>
              <a:rPr kumimoji="0" lang="en-US" sz="1400" b="0" i="0" u="none" strike="noStrike" kern="1200" cap="none" spc="0" normalizeH="0" baseline="0" noProof="0">
                <a:ln w="3175">
                  <a:noFill/>
                </a:ln>
                <a:solidFill>
                  <a:srgbClr val="000000"/>
                </a:solidFill>
                <a:effectLst/>
                <a:uLnTx/>
                <a:uFillTx/>
                <a:latin typeface="Segoe Sans Display"/>
                <a:ea typeface="+mn-ea"/>
                <a:cs typeface="Segoe UI" panose="020B0502040204020203" pitchFamily="34" charset="0"/>
              </a:rPr>
            </a:br>
            <a:r>
              <a:rPr kumimoji="0" lang="en-US" sz="1400" b="0" i="0" u="none" strike="noStrike" kern="1200" cap="none" spc="0" normalizeH="0" baseline="0" noProof="0">
                <a:ln w="3175">
                  <a:noFill/>
                </a:ln>
                <a:solidFill>
                  <a:srgbClr val="000000"/>
                </a:solidFill>
                <a:effectLst/>
                <a:uLnTx/>
                <a:uFillTx/>
                <a:latin typeface="Segoe Sans Display"/>
                <a:ea typeface="+mn-ea"/>
                <a:cs typeface="Segoe UI" panose="020B0502040204020203" pitchFamily="34" charset="0"/>
              </a:rPr>
              <a:t>for 8 hours </a:t>
            </a:r>
          </a:p>
        </p:txBody>
      </p:sp>
      <p:sp>
        <p:nvSpPr>
          <p:cNvPr id="13" name="TextBox 12">
            <a:extLst>
              <a:ext uri="{FF2B5EF4-FFF2-40B4-BE49-F238E27FC236}">
                <a16:creationId xmlns:a16="http://schemas.microsoft.com/office/drawing/2014/main" id="{1EAD8ECD-2D8B-F745-5882-230E54A47752}"/>
              </a:ext>
            </a:extLst>
          </p:cNvPr>
          <p:cNvSpPr txBox="1"/>
          <p:nvPr/>
        </p:nvSpPr>
        <p:spPr>
          <a:xfrm>
            <a:off x="8543543" y="2435360"/>
            <a:ext cx="2926080" cy="1046440"/>
          </a:xfrm>
          <a:prstGeom prst="rect">
            <a:avLst/>
          </a:prstGeom>
          <a:noFill/>
        </p:spPr>
        <p:txBody>
          <a:bodyPr wrap="square" lIns="0" tIns="0" rIns="0" bIns="0" rtlCol="0">
            <a:spAutoFit/>
          </a:bodyPr>
          <a:lstStyle/>
          <a:p>
            <a:pPr marL="0" marR="0" lvl="0" indent="0" algn="ctr" defTabSz="914400" rtl="0" eaLnBrk="1" fontAlgn="auto" latinLnBrk="0" hangingPunct="1">
              <a:lnSpc>
                <a:spcPct val="150000"/>
              </a:lnSpc>
              <a:spcBef>
                <a:spcPts val="0"/>
              </a:spcBef>
              <a:spcAft>
                <a:spcPts val="600"/>
              </a:spcAft>
              <a:buClrTx/>
              <a:buSzTx/>
              <a:buFontTx/>
              <a:buNone/>
              <a:tabLst/>
              <a:defRPr/>
            </a:pPr>
            <a:r>
              <a:rPr kumimoji="0" lang="en-US" sz="2000" b="0" i="0" u="none" strike="noStrike" kern="1200" cap="none" spc="-40" normalizeH="0" baseline="0" noProof="0">
                <a:ln w="3175">
                  <a:noFill/>
                </a:ln>
                <a:gradFill>
                  <a:gsLst>
                    <a:gs pos="0">
                      <a:srgbClr val="599FFD"/>
                    </a:gs>
                    <a:gs pos="80000">
                      <a:srgbClr val="0360DB"/>
                    </a:gs>
                  </a:gsLst>
                  <a:path path="circle">
                    <a:fillToRect l="100000" t="100000"/>
                  </a:path>
                </a:gradFill>
                <a:effectLst/>
                <a:uLnTx/>
                <a:uFillTx/>
                <a:latin typeface="Segoe Sans Display Semibold"/>
                <a:ea typeface="+mn-ea"/>
                <a:cs typeface="Segoe UI" panose="020B0502040204020203" pitchFamily="34" charset="0"/>
              </a:rPr>
              <a:t>Products</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w="3175">
                  <a:noFill/>
                </a:ln>
                <a:solidFill>
                  <a:srgbClr val="000000"/>
                </a:solidFill>
                <a:effectLst/>
                <a:uLnTx/>
                <a:uFillTx/>
                <a:latin typeface="Segoe Sans Display"/>
                <a:ea typeface="+mn-ea"/>
                <a:cs typeface="Segoe UI" panose="020B0502040204020203" pitchFamily="34" charset="0"/>
              </a:rPr>
              <a:t>Microsoft Internet Access</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w="3175">
                  <a:noFill/>
                </a:ln>
                <a:solidFill>
                  <a:srgbClr val="000000"/>
                </a:solidFill>
                <a:effectLst/>
                <a:uLnTx/>
                <a:uFillTx/>
                <a:latin typeface="Segoe Sans Display"/>
                <a:ea typeface="+mn-ea"/>
                <a:cs typeface="Segoe UI" panose="020B0502040204020203" pitchFamily="34" charset="0"/>
              </a:rPr>
              <a:t>Microsoft ID Governance</a:t>
            </a:r>
          </a:p>
        </p:txBody>
      </p:sp>
    </p:spTree>
    <p:extLst>
      <p:ext uri="{BB962C8B-B14F-4D97-AF65-F5344CB8AC3E}">
        <p14:creationId xmlns:p14="http://schemas.microsoft.com/office/powerpoint/2010/main" val="33839898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2" presetClass="entr" presetSubtype="8" decel="100000" fill="hold" nodeType="withEffect">
                                  <p:stCondLst>
                                    <p:cond delay="0"/>
                                  </p:stCondLst>
                                  <p:childTnLst>
                                    <p:set>
                                      <p:cBhvr>
                                        <p:cTn id="9" dur="1" fill="hold">
                                          <p:stCondLst>
                                            <p:cond delay="0"/>
                                          </p:stCondLst>
                                        </p:cTn>
                                        <p:tgtEl>
                                          <p:spTgt spid="23"/>
                                        </p:tgtEl>
                                        <p:attrNameLst>
                                          <p:attrName>style.visibility</p:attrName>
                                        </p:attrNameLst>
                                      </p:cBhvr>
                                      <p:to>
                                        <p:strVal val="visible"/>
                                      </p:to>
                                    </p:set>
                                    <p:anim calcmode="lin" valueType="num">
                                      <p:cBhvr additive="base">
                                        <p:cTn id="10" dur="500" fill="hold"/>
                                        <p:tgtEl>
                                          <p:spTgt spid="23"/>
                                        </p:tgtEl>
                                        <p:attrNameLst>
                                          <p:attrName>ppt_x</p:attrName>
                                        </p:attrNameLst>
                                      </p:cBhvr>
                                      <p:tavLst>
                                        <p:tav tm="0">
                                          <p:val>
                                            <p:strVal val="0-#ppt_w/2"/>
                                          </p:val>
                                        </p:tav>
                                        <p:tav tm="100000">
                                          <p:val>
                                            <p:strVal val="#ppt_x"/>
                                          </p:val>
                                        </p:tav>
                                      </p:tavLst>
                                    </p:anim>
                                    <p:anim calcmode="lin" valueType="num">
                                      <p:cBhvr additive="base">
                                        <p:cTn id="11" dur="500" fill="hold"/>
                                        <p:tgtEl>
                                          <p:spTgt spid="23"/>
                                        </p:tgtEl>
                                        <p:attrNameLst>
                                          <p:attrName>ppt_y</p:attrName>
                                        </p:attrNameLst>
                                      </p:cBhvr>
                                      <p:tavLst>
                                        <p:tav tm="0">
                                          <p:val>
                                            <p:strVal val="#ppt_y"/>
                                          </p:val>
                                        </p:tav>
                                        <p:tav tm="100000">
                                          <p:val>
                                            <p:strVal val="#ppt_y"/>
                                          </p:val>
                                        </p:tav>
                                      </p:tavLst>
                                    </p:anim>
                                  </p:childTnLst>
                                </p:cTn>
                              </p:par>
                              <p:par>
                                <p:cTn id="12" presetID="10" presetClass="entr" presetSubtype="0" fill="hold" grpId="0" nodeType="withEffect">
                                  <p:stCondLst>
                                    <p:cond delay="250"/>
                                  </p:stCondLst>
                                  <p:childTnLst>
                                    <p:set>
                                      <p:cBhvr>
                                        <p:cTn id="13" dur="1" fill="hold">
                                          <p:stCondLst>
                                            <p:cond delay="0"/>
                                          </p:stCondLst>
                                        </p:cTn>
                                        <p:tgtEl>
                                          <p:spTgt spid="13"/>
                                        </p:tgtEl>
                                        <p:attrNameLst>
                                          <p:attrName>style.visibility</p:attrName>
                                        </p:attrNameLst>
                                      </p:cBhvr>
                                      <p:to>
                                        <p:strVal val="visible"/>
                                      </p:to>
                                    </p:set>
                                    <p:animEffect transition="in" filter="fade">
                                      <p:cBhvr>
                                        <p:cTn id="14" dur="500"/>
                                        <p:tgtEl>
                                          <p:spTgt spid="13"/>
                                        </p:tgtEl>
                                      </p:cBhvr>
                                    </p:animEffect>
                                  </p:childTnLst>
                                </p:cTn>
                              </p:par>
                              <p:par>
                                <p:cTn id="15" presetID="10" presetClass="entr" presetSubtype="0" fill="hold" grpId="0" nodeType="withEffect">
                                  <p:stCondLst>
                                    <p:cond delay="25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10" presetClass="entr" presetSubtype="0" fill="hold" grpId="0" nodeType="withEffect">
                                  <p:stCondLst>
                                    <p:cond delay="250"/>
                                  </p:stCondLst>
                                  <p:childTnLst>
                                    <p:set>
                                      <p:cBhvr>
                                        <p:cTn id="19" dur="1" fill="hold">
                                          <p:stCondLst>
                                            <p:cond delay="0"/>
                                          </p:stCondLst>
                                        </p:cTn>
                                        <p:tgtEl>
                                          <p:spTgt spid="2"/>
                                        </p:tgtEl>
                                        <p:attrNameLst>
                                          <p:attrName>style.visibility</p:attrName>
                                        </p:attrNameLst>
                                      </p:cBhvr>
                                      <p:to>
                                        <p:strVal val="visible"/>
                                      </p:to>
                                    </p:set>
                                    <p:animEffect transition="in" filter="fade">
                                      <p:cBhvr>
                                        <p:cTn id="20" dur="500"/>
                                        <p:tgtEl>
                                          <p:spTgt spid="2"/>
                                        </p:tgtEl>
                                      </p:cBhvr>
                                    </p:animEffect>
                                  </p:childTnLst>
                                </p:cTn>
                              </p:par>
                              <p:par>
                                <p:cTn id="21" presetID="10" presetClass="entr" presetSubtype="0" fill="hold" grpId="0" nodeType="withEffect">
                                  <p:stCondLst>
                                    <p:cond delay="25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animBg="1"/>
      <p:bldP spid="7" grpId="0"/>
      <p:bldP spid="13"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7032DB-00ED-F5AF-D44A-B19801B89F90}"/>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F635C15F-36F7-D499-E9B9-F3FE432D771A}"/>
              </a:ext>
            </a:extLst>
          </p:cNvPr>
          <p:cNvPicPr>
            <a:picLocks noChangeAspect="1"/>
          </p:cNvPicPr>
          <p:nvPr/>
        </p:nvPicPr>
        <p:blipFill>
          <a:blip r:embed="rId3"/>
          <a:stretch>
            <a:fillRect/>
          </a:stretch>
        </p:blipFill>
        <p:spPr>
          <a:xfrm>
            <a:off x="-19750" y="-14095"/>
            <a:ext cx="12211749" cy="6872095"/>
          </a:xfrm>
          <a:prstGeom prst="rect">
            <a:avLst/>
          </a:prstGeom>
        </p:spPr>
      </p:pic>
      <p:sp>
        <p:nvSpPr>
          <p:cNvPr id="3" name="Rectangle: Rounded Corners 2">
            <a:extLst>
              <a:ext uri="{FF2B5EF4-FFF2-40B4-BE49-F238E27FC236}">
                <a16:creationId xmlns:a16="http://schemas.microsoft.com/office/drawing/2014/main" id="{603AD79F-153C-FA01-570A-B400319E8BE6}"/>
              </a:ext>
              <a:ext uri="{C183D7F6-B498-43B3-948B-1728B52AA6E4}">
                <adec:decorative xmlns:adec="http://schemas.microsoft.com/office/drawing/2017/decorative" val="1"/>
              </a:ext>
            </a:extLst>
          </p:cNvPr>
          <p:cNvSpPr/>
          <p:nvPr/>
        </p:nvSpPr>
        <p:spPr bwMode="auto">
          <a:xfrm>
            <a:off x="374018" y="813187"/>
            <a:ext cx="11443964" cy="4860356"/>
          </a:xfrm>
          <a:prstGeom prst="roundRect">
            <a:avLst>
              <a:gd name="adj" fmla="val 1798"/>
            </a:avLst>
          </a:prstGeom>
          <a:gradFill flip="none" rotWithShape="1">
            <a:gsLst>
              <a:gs pos="100000">
                <a:schemeClr val="tx1">
                  <a:alpha val="95000"/>
                </a:schemeClr>
              </a:gs>
              <a:gs pos="42000">
                <a:schemeClr val="tx1">
                  <a:alpha val="90000"/>
                </a:schemeClr>
              </a:gs>
            </a:gsLst>
            <a:path path="circle">
              <a:fillToRect l="50000" t="50000" r="50000" b="50000"/>
            </a:path>
            <a:tileRect/>
          </a:gradFill>
          <a:ln w="9525" cap="flat" cmpd="sng" algn="ctr">
            <a:noFill/>
            <a:prstDash val="solid"/>
            <a:headEnd type="none" w="med" len="med"/>
            <a:tailEnd type="none" w="med" len="med"/>
          </a:ln>
          <a:effectLst>
            <a:outerShdw blurRad="254000" dist="190500" dir="3300000" algn="ctr" rotWithShape="0">
              <a:srgbClr val="000000">
                <a:alpha val="40000"/>
              </a:srgbClr>
            </a:outerShdw>
          </a:effectLst>
        </p:spPr>
        <p:txBody>
          <a:bodyPr rot="0" spcFirstLastPara="0" vertOverflow="overflow" horzOverflow="overflow" vert="horz" wrap="square" lIns="137160" tIns="91440" rIns="137160" bIns="137160" numCol="1" spcCol="0" rtlCol="0" fromWordArt="0" anchor="t" anchorCtr="0" forceAA="0" compatLnSpc="1">
            <a:prstTxWarp prst="textNoShape">
              <a:avLst/>
            </a:prstTxWarp>
            <a:noAutofit/>
          </a:bodyPr>
          <a:lstStyle/>
          <a:p>
            <a:pPr defTabSz="932754">
              <a:spcAft>
                <a:spcPts val="600"/>
              </a:spcAft>
              <a:buSzPct val="90000"/>
            </a:pPr>
            <a:endParaRPr lang="en-US" sz="1900" kern="0">
              <a:gradFill>
                <a:gsLst>
                  <a:gs pos="0">
                    <a:srgbClr val="091F2C"/>
                  </a:gs>
                  <a:gs pos="100000">
                    <a:srgbClr val="091F2C"/>
                  </a:gs>
                </a:gsLst>
                <a:lin ang="0" scaled="0"/>
              </a:gradFill>
              <a:cs typeface="Segoe Sans Display Semilight" pitchFamily="2" charset="0"/>
            </a:endParaRPr>
          </a:p>
        </p:txBody>
      </p:sp>
      <p:sp>
        <p:nvSpPr>
          <p:cNvPr id="5" name="Title 13">
            <a:extLst>
              <a:ext uri="{FF2B5EF4-FFF2-40B4-BE49-F238E27FC236}">
                <a16:creationId xmlns:a16="http://schemas.microsoft.com/office/drawing/2014/main" id="{6C034800-AE83-D177-01B8-70B6F6E3884F}"/>
              </a:ext>
            </a:extLst>
          </p:cNvPr>
          <p:cNvSpPr txBox="1">
            <a:spLocks noGrp="1"/>
          </p:cNvSpPr>
          <p:nvPr>
            <p:ph type="title" idx="4294967295"/>
          </p:nvPr>
        </p:nvSpPr>
        <p:spPr>
          <a:xfrm>
            <a:off x="1200292" y="1184457"/>
            <a:ext cx="9692640"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tab pos="4625975" algn="l"/>
              </a:tabLst>
              <a:defRPr/>
            </a:pPr>
            <a:r>
              <a:rPr kumimoji="0" lang="en-US" sz="3200" b="0" i="0" u="none" strike="noStrike" kern="1200" cap="none" spc="-50" normalizeH="0" baseline="0" noProof="0">
                <a:ln w="3175">
                  <a:noFill/>
                </a:ln>
                <a:solidFill>
                  <a:schemeClr val="bg1"/>
                </a:solidFill>
                <a:effectLst/>
                <a:uLnTx/>
                <a:uFillTx/>
                <a:latin typeface="Segoe Sans Display Semibold"/>
                <a:ea typeface="+mn-ea"/>
                <a:cs typeface="Segoe Sans Display" pitchFamily="2" charset="0"/>
              </a:rPr>
              <a:t>Recap of unified access demos</a:t>
            </a:r>
          </a:p>
        </p:txBody>
      </p:sp>
      <p:sp>
        <p:nvSpPr>
          <p:cNvPr id="9" name="TextBox 8">
            <a:extLst>
              <a:ext uri="{FF2B5EF4-FFF2-40B4-BE49-F238E27FC236}">
                <a16:creationId xmlns:a16="http://schemas.microsoft.com/office/drawing/2014/main" id="{89C3C8E5-C315-AC18-AF04-C42E7365D31D}"/>
              </a:ext>
            </a:extLst>
          </p:cNvPr>
          <p:cNvSpPr txBox="1">
            <a:spLocks/>
          </p:cNvSpPr>
          <p:nvPr/>
        </p:nvSpPr>
        <p:spPr>
          <a:xfrm>
            <a:off x="4770120" y="1861148"/>
            <a:ext cx="2651760" cy="307777"/>
          </a:xfrm>
          <a:prstGeom prst="rect">
            <a:avLst/>
          </a:prstGeom>
          <a:noFill/>
          <a:ln>
            <a:noFill/>
          </a:ln>
        </p:spPr>
        <p:txBody>
          <a:bodyPr wrap="square" lIns="0" tIns="0" rIns="0" bIns="0">
            <a:spAutoFit/>
          </a:bodyPr>
          <a:lstStyle/>
          <a:p>
            <a:pPr algn="ctr">
              <a:defRPr/>
            </a:pPr>
            <a:r>
              <a:rPr lang="en-US" sz="2000" dirty="0">
                <a:solidFill>
                  <a:schemeClr val="bg1"/>
                </a:solidFill>
                <a:latin typeface="Segoe Sans Display Semibold"/>
              </a:rPr>
              <a:t>Microsoft Entra Suite </a:t>
            </a:r>
          </a:p>
        </p:txBody>
      </p:sp>
      <p:grpSp>
        <p:nvGrpSpPr>
          <p:cNvPr id="10" name="Group 9">
            <a:extLst>
              <a:ext uri="{FF2B5EF4-FFF2-40B4-BE49-F238E27FC236}">
                <a16:creationId xmlns:a16="http://schemas.microsoft.com/office/drawing/2014/main" id="{072CFB8E-FEA3-9089-4BEC-74266071705C}"/>
              </a:ext>
            </a:extLst>
          </p:cNvPr>
          <p:cNvGrpSpPr/>
          <p:nvPr/>
        </p:nvGrpSpPr>
        <p:grpSpPr>
          <a:xfrm>
            <a:off x="828374" y="2630075"/>
            <a:ext cx="10535251" cy="2296910"/>
            <a:chOff x="2001064" y="2668310"/>
            <a:chExt cx="9284852" cy="2024295"/>
          </a:xfrm>
        </p:grpSpPr>
        <p:pic>
          <p:nvPicPr>
            <p:cNvPr id="11" name="Picture 10">
              <a:extLst>
                <a:ext uri="{FF2B5EF4-FFF2-40B4-BE49-F238E27FC236}">
                  <a16:creationId xmlns:a16="http://schemas.microsoft.com/office/drawing/2014/main" id="{57388DBD-D1CF-05FB-C83B-6943528DA815}"/>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rcRect l="2935" r="2935"/>
            <a:stretch/>
          </p:blipFill>
          <p:spPr>
            <a:xfrm flipH="1">
              <a:off x="2008299" y="2668310"/>
              <a:ext cx="2815307" cy="1994176"/>
            </a:xfrm>
            <a:custGeom>
              <a:avLst/>
              <a:gdLst>
                <a:gd name="connsiteX0" fmla="*/ 2194560 w 2194560"/>
                <a:gd name="connsiteY0" fmla="*/ 0 h 1554480"/>
                <a:gd name="connsiteX1" fmla="*/ 0 w 2194560"/>
                <a:gd name="connsiteY1" fmla="*/ 0 h 1554480"/>
                <a:gd name="connsiteX2" fmla="*/ 0 w 2194560"/>
                <a:gd name="connsiteY2" fmla="*/ 1554480 h 1554480"/>
                <a:gd name="connsiteX3" fmla="*/ 2194560 w 2194560"/>
                <a:gd name="connsiteY3" fmla="*/ 1554480 h 1554480"/>
              </a:gdLst>
              <a:ahLst/>
              <a:cxnLst>
                <a:cxn ang="0">
                  <a:pos x="connsiteX0" y="connsiteY0"/>
                </a:cxn>
                <a:cxn ang="0">
                  <a:pos x="connsiteX1" y="connsiteY1"/>
                </a:cxn>
                <a:cxn ang="0">
                  <a:pos x="connsiteX2" y="connsiteY2"/>
                </a:cxn>
                <a:cxn ang="0">
                  <a:pos x="connsiteX3" y="connsiteY3"/>
                </a:cxn>
              </a:cxnLst>
              <a:rect l="l" t="t" r="r" b="b"/>
              <a:pathLst>
                <a:path w="2194560" h="1554480">
                  <a:moveTo>
                    <a:pt x="2194560" y="0"/>
                  </a:moveTo>
                  <a:lnTo>
                    <a:pt x="0" y="0"/>
                  </a:lnTo>
                  <a:lnTo>
                    <a:pt x="0" y="1554480"/>
                  </a:lnTo>
                  <a:lnTo>
                    <a:pt x="2194560" y="1554480"/>
                  </a:lnTo>
                  <a:close/>
                </a:path>
              </a:pathLst>
            </a:custGeom>
          </p:spPr>
        </p:pic>
        <p:sp>
          <p:nvSpPr>
            <p:cNvPr id="12" name="Title 4">
              <a:extLst>
                <a:ext uri="{FF2B5EF4-FFF2-40B4-BE49-F238E27FC236}">
                  <a16:creationId xmlns:a16="http://schemas.microsoft.com/office/drawing/2014/main" id="{7C21A64E-A83C-21C2-182F-CFDADB11E268}"/>
                </a:ext>
              </a:extLst>
            </p:cNvPr>
            <p:cNvSpPr txBox="1">
              <a:spLocks/>
            </p:cNvSpPr>
            <p:nvPr/>
          </p:nvSpPr>
          <p:spPr bwMode="auto">
            <a:xfrm>
              <a:off x="2001064" y="4177236"/>
              <a:ext cx="2822284" cy="515369"/>
            </a:xfrm>
            <a:prstGeom prst="roundRect">
              <a:avLst>
                <a:gd name="adj" fmla="val 0"/>
              </a:avLst>
            </a:prstGeom>
            <a:gradFill flip="none" rotWithShape="1">
              <a:gsLst>
                <a:gs pos="0">
                  <a:srgbClr val="A5B8EE"/>
                </a:gs>
                <a:gs pos="100000">
                  <a:srgbClr val="E67ACB"/>
                </a:gs>
              </a:gsLst>
              <a:lin ang="3000000" scaled="0"/>
              <a:tileRect/>
            </a:gradFill>
            <a:ln w="9525"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defRPr lang="en-US"/>
              </a:defPPr>
              <a:lvl1pPr marR="0" lvl="0" indent="0" algn="ctr" defTabSz="299783" fontAlgn="auto">
                <a:lnSpc>
                  <a:spcPct val="100000"/>
                </a:lnSpc>
                <a:spcBef>
                  <a:spcPts val="508"/>
                </a:spcBef>
                <a:spcAft>
                  <a:spcPts val="508"/>
                </a:spcAft>
                <a:buClrTx/>
                <a:buSzTx/>
                <a:buFontTx/>
                <a:buNone/>
                <a:tabLst/>
                <a:defRPr kumimoji="0" sz="1400" b="0" i="0" u="none" strike="noStrike" cap="none" spc="0" normalizeH="0" baseline="0">
                  <a:ln w="3175">
                    <a:noFill/>
                  </a:ln>
                  <a:solidFill>
                    <a:srgbClr val="000000"/>
                  </a:solidFill>
                  <a:effectLst/>
                  <a:uLnTx/>
                  <a:uFillTx/>
                  <a:latin typeface="Segoe Sans Display Semibold"/>
                  <a:cs typeface="Segoe Sans Display"/>
                </a:defRPr>
              </a:lvl1pPr>
            </a:lstStyle>
            <a:p>
              <a:r>
                <a:rPr lang="en-US" sz="1600" dirty="0"/>
                <a:t>Streamline onboarding &amp; identity lifecycle</a:t>
              </a:r>
            </a:p>
          </p:txBody>
        </p:sp>
        <p:pic>
          <p:nvPicPr>
            <p:cNvPr id="20" name="Picture 19">
              <a:extLst>
                <a:ext uri="{FF2B5EF4-FFF2-40B4-BE49-F238E27FC236}">
                  <a16:creationId xmlns:a16="http://schemas.microsoft.com/office/drawing/2014/main" id="{FC231EF5-3856-2A33-91DB-423A6BF8DB87}"/>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rcRect l="2322" r="23199" b="20876"/>
            <a:stretch/>
          </p:blipFill>
          <p:spPr>
            <a:xfrm>
              <a:off x="5248152" y="2668311"/>
              <a:ext cx="2806741" cy="1988107"/>
            </a:xfrm>
            <a:custGeom>
              <a:avLst/>
              <a:gdLst>
                <a:gd name="connsiteX0" fmla="*/ 0 w 2194560"/>
                <a:gd name="connsiteY0" fmla="*/ 0 h 1554480"/>
                <a:gd name="connsiteX1" fmla="*/ 2194560 w 2194560"/>
                <a:gd name="connsiteY1" fmla="*/ 0 h 1554480"/>
                <a:gd name="connsiteX2" fmla="*/ 2194560 w 2194560"/>
                <a:gd name="connsiteY2" fmla="*/ 1554480 h 1554480"/>
                <a:gd name="connsiteX3" fmla="*/ 0 w 2194560"/>
                <a:gd name="connsiteY3" fmla="*/ 1554480 h 1554480"/>
              </a:gdLst>
              <a:ahLst/>
              <a:cxnLst>
                <a:cxn ang="0">
                  <a:pos x="connsiteX0" y="connsiteY0"/>
                </a:cxn>
                <a:cxn ang="0">
                  <a:pos x="connsiteX1" y="connsiteY1"/>
                </a:cxn>
                <a:cxn ang="0">
                  <a:pos x="connsiteX2" y="connsiteY2"/>
                </a:cxn>
                <a:cxn ang="0">
                  <a:pos x="connsiteX3" y="connsiteY3"/>
                </a:cxn>
              </a:cxnLst>
              <a:rect l="l" t="t" r="r" b="b"/>
              <a:pathLst>
                <a:path w="2194560" h="1554480">
                  <a:moveTo>
                    <a:pt x="0" y="0"/>
                  </a:moveTo>
                  <a:lnTo>
                    <a:pt x="2194560" y="0"/>
                  </a:lnTo>
                  <a:lnTo>
                    <a:pt x="2194560" y="1554480"/>
                  </a:lnTo>
                  <a:lnTo>
                    <a:pt x="0" y="1554480"/>
                  </a:lnTo>
                  <a:close/>
                </a:path>
              </a:pathLst>
            </a:custGeom>
          </p:spPr>
        </p:pic>
        <p:sp>
          <p:nvSpPr>
            <p:cNvPr id="22" name="Title 4">
              <a:extLst>
                <a:ext uri="{FF2B5EF4-FFF2-40B4-BE49-F238E27FC236}">
                  <a16:creationId xmlns:a16="http://schemas.microsoft.com/office/drawing/2014/main" id="{9AF97271-5921-3EC7-2138-A0B68C4D90A0}"/>
                </a:ext>
              </a:extLst>
            </p:cNvPr>
            <p:cNvSpPr txBox="1">
              <a:spLocks/>
            </p:cNvSpPr>
            <p:nvPr/>
          </p:nvSpPr>
          <p:spPr bwMode="auto">
            <a:xfrm>
              <a:off x="5240656" y="4177235"/>
              <a:ext cx="2822284" cy="515369"/>
            </a:xfrm>
            <a:prstGeom prst="roundRect">
              <a:avLst>
                <a:gd name="adj" fmla="val 0"/>
              </a:avLst>
            </a:prstGeom>
            <a:gradFill flip="none" rotWithShape="1">
              <a:gsLst>
                <a:gs pos="0">
                  <a:srgbClr val="A5B8EE"/>
                </a:gs>
                <a:gs pos="100000">
                  <a:srgbClr val="E67ACB"/>
                </a:gs>
              </a:gsLst>
              <a:lin ang="3000000" scaled="0"/>
              <a:tileRect/>
            </a:gradFill>
            <a:ln w="9525"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defRPr lang="en-US"/>
              </a:defPPr>
              <a:lvl1pPr marR="0" lvl="0" indent="0" algn="ctr" defTabSz="299783" fontAlgn="auto">
                <a:lnSpc>
                  <a:spcPct val="100000"/>
                </a:lnSpc>
                <a:spcBef>
                  <a:spcPts val="508"/>
                </a:spcBef>
                <a:spcAft>
                  <a:spcPts val="508"/>
                </a:spcAft>
                <a:buClrTx/>
                <a:buSzTx/>
                <a:buFontTx/>
                <a:buNone/>
                <a:tabLst/>
                <a:defRPr kumimoji="0" sz="1050" b="0" i="0" u="none" strike="noStrike" cap="none" spc="0" normalizeH="0" baseline="0">
                  <a:ln w="3175">
                    <a:noFill/>
                  </a:ln>
                  <a:solidFill>
                    <a:srgbClr val="000000"/>
                  </a:solidFill>
                  <a:effectLst/>
                  <a:uLnTx/>
                  <a:uFillTx/>
                  <a:latin typeface="Segoe Sans Display Semibold"/>
                  <a:cs typeface="Segoe Sans Display"/>
                </a:defRPr>
              </a:lvl1pPr>
            </a:lstStyle>
            <a:p>
              <a:r>
                <a:rPr sz="1600"/>
                <a:t>Protect access to all </a:t>
              </a:r>
              <a:br>
                <a:rPr sz="1600"/>
              </a:br>
              <a:r>
                <a:rPr sz="1600"/>
                <a:t>application</a:t>
              </a:r>
              <a:r>
                <a:rPr lang="en-US" sz="1600"/>
                <a:t>s</a:t>
              </a:r>
              <a:r>
                <a:rPr sz="1600"/>
                <a:t> &amp; AI</a:t>
              </a:r>
            </a:p>
          </p:txBody>
        </p:sp>
        <p:pic>
          <p:nvPicPr>
            <p:cNvPr id="35" name="Picture 34">
              <a:extLst>
                <a:ext uri="{FF2B5EF4-FFF2-40B4-BE49-F238E27FC236}">
                  <a16:creationId xmlns:a16="http://schemas.microsoft.com/office/drawing/2014/main" id="{73CFB6E7-61AB-AC2F-673C-90CF274C3182}"/>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rcRect l="2935" r="2935"/>
            <a:stretch/>
          </p:blipFill>
          <p:spPr>
            <a:xfrm>
              <a:off x="8463630" y="2668312"/>
              <a:ext cx="2806741" cy="1988107"/>
            </a:xfrm>
            <a:custGeom>
              <a:avLst/>
              <a:gdLst>
                <a:gd name="connsiteX0" fmla="*/ 0 w 2194560"/>
                <a:gd name="connsiteY0" fmla="*/ 0 h 1554480"/>
                <a:gd name="connsiteX1" fmla="*/ 2194560 w 2194560"/>
                <a:gd name="connsiteY1" fmla="*/ 0 h 1554480"/>
                <a:gd name="connsiteX2" fmla="*/ 2194560 w 2194560"/>
                <a:gd name="connsiteY2" fmla="*/ 1554480 h 1554480"/>
                <a:gd name="connsiteX3" fmla="*/ 0 w 2194560"/>
                <a:gd name="connsiteY3" fmla="*/ 1554480 h 1554480"/>
              </a:gdLst>
              <a:ahLst/>
              <a:cxnLst>
                <a:cxn ang="0">
                  <a:pos x="connsiteX0" y="connsiteY0"/>
                </a:cxn>
                <a:cxn ang="0">
                  <a:pos x="connsiteX1" y="connsiteY1"/>
                </a:cxn>
                <a:cxn ang="0">
                  <a:pos x="connsiteX2" y="connsiteY2"/>
                </a:cxn>
                <a:cxn ang="0">
                  <a:pos x="connsiteX3" y="connsiteY3"/>
                </a:cxn>
              </a:cxnLst>
              <a:rect l="l" t="t" r="r" b="b"/>
              <a:pathLst>
                <a:path w="2194560" h="1554480">
                  <a:moveTo>
                    <a:pt x="0" y="0"/>
                  </a:moveTo>
                  <a:lnTo>
                    <a:pt x="2194560" y="0"/>
                  </a:lnTo>
                  <a:lnTo>
                    <a:pt x="2194560" y="1554480"/>
                  </a:lnTo>
                  <a:lnTo>
                    <a:pt x="0" y="1554480"/>
                  </a:lnTo>
                  <a:close/>
                </a:path>
              </a:pathLst>
            </a:custGeom>
          </p:spPr>
        </p:pic>
        <p:sp>
          <p:nvSpPr>
            <p:cNvPr id="36" name="Title 4">
              <a:extLst>
                <a:ext uri="{FF2B5EF4-FFF2-40B4-BE49-F238E27FC236}">
                  <a16:creationId xmlns:a16="http://schemas.microsoft.com/office/drawing/2014/main" id="{3CE84FD8-372E-FEC4-1406-72451824634D}"/>
                </a:ext>
              </a:extLst>
            </p:cNvPr>
            <p:cNvSpPr txBox="1">
              <a:spLocks/>
            </p:cNvSpPr>
            <p:nvPr/>
          </p:nvSpPr>
          <p:spPr bwMode="auto">
            <a:xfrm>
              <a:off x="8463632" y="4177234"/>
              <a:ext cx="2822284" cy="515369"/>
            </a:xfrm>
            <a:prstGeom prst="roundRect">
              <a:avLst>
                <a:gd name="adj" fmla="val 0"/>
              </a:avLst>
            </a:prstGeom>
            <a:gradFill flip="none" rotWithShape="1">
              <a:gsLst>
                <a:gs pos="0">
                  <a:srgbClr val="A5B8EE"/>
                </a:gs>
                <a:gs pos="100000">
                  <a:srgbClr val="E67ACB"/>
                </a:gs>
              </a:gsLst>
              <a:lin ang="3000000" scaled="0"/>
              <a:tileRect/>
            </a:gradFill>
            <a:ln w="9525"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defRPr lang="en-US"/>
              </a:defPPr>
              <a:lvl1pPr marR="0" lvl="0" indent="0" algn="ctr" defTabSz="299783" fontAlgn="auto">
                <a:lnSpc>
                  <a:spcPct val="100000"/>
                </a:lnSpc>
                <a:spcBef>
                  <a:spcPts val="508"/>
                </a:spcBef>
                <a:spcAft>
                  <a:spcPts val="508"/>
                </a:spcAft>
                <a:buClrTx/>
                <a:buSzTx/>
                <a:buFontTx/>
                <a:buNone/>
                <a:tabLst/>
                <a:defRPr kumimoji="0" sz="1050" b="0" i="0" u="none" strike="noStrike" cap="none" spc="0" normalizeH="0" baseline="0">
                  <a:ln w="3175">
                    <a:noFill/>
                  </a:ln>
                  <a:solidFill>
                    <a:srgbClr val="000000"/>
                  </a:solidFill>
                  <a:effectLst/>
                  <a:uLnTx/>
                  <a:uFillTx/>
                  <a:latin typeface="Segoe Sans Display Semibold"/>
                  <a:cs typeface="Segoe Sans Display"/>
                </a:defRPr>
              </a:lvl1pPr>
            </a:lstStyle>
            <a:p>
              <a:r>
                <a:rPr lang="en-US" sz="1600"/>
                <a:t>Secure &amp; govern access to internet resources</a:t>
              </a:r>
            </a:p>
          </p:txBody>
        </p:sp>
      </p:grpSp>
    </p:spTree>
    <p:extLst>
      <p:ext uri="{BB962C8B-B14F-4D97-AF65-F5344CB8AC3E}">
        <p14:creationId xmlns:p14="http://schemas.microsoft.com/office/powerpoint/2010/main" val="4132548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0"/>
                                  </p:stCondLst>
                                  <p:childTnLst>
                                    <p:animMotion origin="layout" path="M 0 0 L 0 -0.03287 " pathEditMode="relative" rAng="0" ptsTypes="AA">
                                      <p:cBhvr>
                                        <p:cTn id="9" dur="700" spd="-100000" fill="hold"/>
                                        <p:tgtEl>
                                          <p:spTgt spid="3"/>
                                        </p:tgtEl>
                                        <p:attrNameLst>
                                          <p:attrName>ppt_x</p:attrName>
                                          <p:attrName>ppt_y</p:attrName>
                                        </p:attrNameLst>
                                      </p:cBhvr>
                                      <p:rCtr x="0" y="-1644"/>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0"/>
                                  </p:stCondLst>
                                  <p:childTnLst>
                                    <p:animMotion origin="layout" path="M 0 -1.11111E-6 L 0 -0.03287 " pathEditMode="relative" rAng="0" ptsTypes="AA">
                                      <p:cBhvr>
                                        <p:cTn id="14" dur="700" spd="-100000" fill="hold"/>
                                        <p:tgtEl>
                                          <p:spTgt spid="5"/>
                                        </p:tgtEl>
                                        <p:attrNameLst>
                                          <p:attrName>ppt_x</p:attrName>
                                          <p:attrName>ppt_y</p:attrName>
                                        </p:attrNameLst>
                                      </p:cBhvr>
                                      <p:rCtr x="0" y="-1644"/>
                                    </p:animMotion>
                                  </p:childTnLst>
                                </p:cTn>
                              </p:par>
                              <p:par>
                                <p:cTn id="15" presetID="10" presetClass="entr" presetSubtype="0" fill="hold" grpId="0" nodeType="withEffect">
                                  <p:stCondLst>
                                    <p:cond delay="2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5" grpId="0"/>
      <p:bldP spid="5" grpId="1"/>
      <p:bldP spid="9"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64">
            <a:extLst>
              <a:ext uri="{FF2B5EF4-FFF2-40B4-BE49-F238E27FC236}">
                <a16:creationId xmlns:a16="http://schemas.microsoft.com/office/drawing/2014/main" id="{F77B8C62-74B9-FAE4-93E1-4E67A4467293}"/>
              </a:ext>
              <a:ext uri="{C183D7F6-B498-43B3-948B-1728B52AA6E4}">
                <adec:decorative xmlns:adec="http://schemas.microsoft.com/office/drawing/2017/decorative" val="1"/>
              </a:ext>
            </a:extLst>
          </p:cNvPr>
          <p:cNvSpPr/>
          <p:nvPr/>
        </p:nvSpPr>
        <p:spPr bwMode="auto">
          <a:xfrm>
            <a:off x="588263" y="2595904"/>
            <a:ext cx="2103120" cy="1828800"/>
          </a:xfrm>
          <a:prstGeom prst="roundRect">
            <a:avLst>
              <a:gd name="adj" fmla="val 3815"/>
            </a:avLst>
          </a:prstGeom>
          <a:solidFill>
            <a:schemeClr val="bg1"/>
          </a:solidFill>
          <a:ln w="19050" cap="rnd" cmpd="sng" algn="ctr">
            <a:solidFill>
              <a:schemeClr val="accent1">
                <a:lumMod val="50000"/>
              </a:schemeClr>
            </a:solidFill>
            <a:prstDash val="solid"/>
            <a:headEnd type="none" w="lg" len="med"/>
            <a:tailEnd type="none" w="lg" len="med"/>
          </a:ln>
          <a:effectLst/>
        </p:spPr>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US" sz="2400" b="1" i="0" u="none" strike="noStrike" kern="1200" cap="none" spc="0" normalizeH="0" baseline="0" noProof="0">
              <a:ln>
                <a:noFill/>
              </a:ln>
              <a:gradFill>
                <a:gsLst>
                  <a:gs pos="41958">
                    <a:srgbClr val="FFFFFF"/>
                  </a:gs>
                  <a:gs pos="63000">
                    <a:srgbClr val="FFFFFF"/>
                  </a:gs>
                </a:gsLst>
                <a:lin ang="0" scaled="0"/>
              </a:gradFill>
              <a:effectLst/>
              <a:uLnTx/>
              <a:uFillTx/>
              <a:latin typeface="Segoe UI Variable Display Semibold" pitchFamily="2" charset="0"/>
              <a:ea typeface="+mn-ea"/>
              <a:cs typeface="+mn-cs"/>
            </a:endParaRPr>
          </a:p>
        </p:txBody>
      </p:sp>
      <p:sp>
        <p:nvSpPr>
          <p:cNvPr id="10" name="Rounded Rectangle 64">
            <a:extLst>
              <a:ext uri="{FF2B5EF4-FFF2-40B4-BE49-F238E27FC236}">
                <a16:creationId xmlns:a16="http://schemas.microsoft.com/office/drawing/2014/main" id="{2A14E5E7-79C1-CBF4-470E-C4D832BC585C}"/>
              </a:ext>
              <a:ext uri="{C183D7F6-B498-43B3-948B-1728B52AA6E4}">
                <adec:decorative xmlns:adec="http://schemas.microsoft.com/office/drawing/2017/decorative" val="1"/>
              </a:ext>
            </a:extLst>
          </p:cNvPr>
          <p:cNvSpPr/>
          <p:nvPr/>
        </p:nvSpPr>
        <p:spPr bwMode="auto">
          <a:xfrm>
            <a:off x="2817113" y="2595904"/>
            <a:ext cx="2103120" cy="1828800"/>
          </a:xfrm>
          <a:prstGeom prst="roundRect">
            <a:avLst>
              <a:gd name="adj" fmla="val 3815"/>
            </a:avLst>
          </a:prstGeom>
          <a:solidFill>
            <a:schemeClr val="bg1"/>
          </a:solidFill>
          <a:ln w="19050" cap="rnd" cmpd="sng" algn="ctr">
            <a:solidFill>
              <a:schemeClr val="accent1">
                <a:lumMod val="50000"/>
              </a:schemeClr>
            </a:solidFill>
            <a:prstDash val="solid"/>
            <a:headEnd type="none" w="lg" len="med"/>
            <a:tailEnd type="none" w="lg" len="med"/>
          </a:ln>
          <a:effectLst/>
        </p:spPr>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US" sz="2400" b="1" i="0" u="none" strike="noStrike" kern="1200" cap="none" spc="0" normalizeH="0" baseline="0" noProof="0">
              <a:ln>
                <a:noFill/>
              </a:ln>
              <a:gradFill>
                <a:gsLst>
                  <a:gs pos="41958">
                    <a:srgbClr val="FFFFFF"/>
                  </a:gs>
                  <a:gs pos="63000">
                    <a:srgbClr val="FFFFFF"/>
                  </a:gs>
                </a:gsLst>
                <a:lin ang="0" scaled="0"/>
              </a:gradFill>
              <a:effectLst/>
              <a:uLnTx/>
              <a:uFillTx/>
              <a:latin typeface="Segoe UI Variable Display Semibold" pitchFamily="2" charset="0"/>
              <a:ea typeface="+mn-ea"/>
              <a:cs typeface="+mn-cs"/>
            </a:endParaRPr>
          </a:p>
        </p:txBody>
      </p:sp>
      <p:sp>
        <p:nvSpPr>
          <p:cNvPr id="17" name="Rounded Rectangle 64">
            <a:extLst>
              <a:ext uri="{FF2B5EF4-FFF2-40B4-BE49-F238E27FC236}">
                <a16:creationId xmlns:a16="http://schemas.microsoft.com/office/drawing/2014/main" id="{E2E62B37-EE6B-4F72-C9D8-DD8355CEDC31}"/>
              </a:ext>
              <a:ext uri="{C183D7F6-B498-43B3-948B-1728B52AA6E4}">
                <adec:decorative xmlns:adec="http://schemas.microsoft.com/office/drawing/2017/decorative" val="1"/>
              </a:ext>
            </a:extLst>
          </p:cNvPr>
          <p:cNvSpPr/>
          <p:nvPr/>
        </p:nvSpPr>
        <p:spPr bwMode="auto">
          <a:xfrm>
            <a:off x="5044440" y="2595904"/>
            <a:ext cx="2103120" cy="1828800"/>
          </a:xfrm>
          <a:prstGeom prst="roundRect">
            <a:avLst>
              <a:gd name="adj" fmla="val 3815"/>
            </a:avLst>
          </a:prstGeom>
          <a:solidFill>
            <a:schemeClr val="bg1"/>
          </a:solidFill>
          <a:ln w="19050" cap="rnd" cmpd="sng" algn="ctr">
            <a:solidFill>
              <a:schemeClr val="accent1">
                <a:lumMod val="50000"/>
              </a:schemeClr>
            </a:solidFill>
            <a:prstDash val="solid"/>
            <a:headEnd type="none" w="lg" len="med"/>
            <a:tailEnd type="none" w="lg" len="med"/>
          </a:ln>
          <a:effectLst/>
        </p:spPr>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US" sz="2400" b="1" i="0" u="none" strike="noStrike" kern="1200" cap="none" spc="0" normalizeH="0" baseline="0" noProof="0">
              <a:ln>
                <a:noFill/>
              </a:ln>
              <a:gradFill>
                <a:gsLst>
                  <a:gs pos="41958">
                    <a:srgbClr val="FFFFFF"/>
                  </a:gs>
                  <a:gs pos="63000">
                    <a:srgbClr val="FFFFFF"/>
                  </a:gs>
                </a:gsLst>
                <a:lin ang="0" scaled="0"/>
              </a:gradFill>
              <a:effectLst/>
              <a:uLnTx/>
              <a:uFillTx/>
              <a:latin typeface="Segoe UI Variable Display Semibold" pitchFamily="2" charset="0"/>
              <a:ea typeface="+mn-ea"/>
              <a:cs typeface="+mn-cs"/>
            </a:endParaRPr>
          </a:p>
        </p:txBody>
      </p:sp>
      <p:sp>
        <p:nvSpPr>
          <p:cNvPr id="26" name="Rounded Rectangle 64">
            <a:extLst>
              <a:ext uri="{FF2B5EF4-FFF2-40B4-BE49-F238E27FC236}">
                <a16:creationId xmlns:a16="http://schemas.microsoft.com/office/drawing/2014/main" id="{93210E6D-71A1-FA9A-346F-8219C84FB6CD}"/>
              </a:ext>
              <a:ext uri="{C183D7F6-B498-43B3-948B-1728B52AA6E4}">
                <adec:decorative xmlns:adec="http://schemas.microsoft.com/office/drawing/2017/decorative" val="1"/>
              </a:ext>
            </a:extLst>
          </p:cNvPr>
          <p:cNvSpPr/>
          <p:nvPr/>
        </p:nvSpPr>
        <p:spPr bwMode="auto">
          <a:xfrm>
            <a:off x="7274813" y="2595904"/>
            <a:ext cx="2103120" cy="1828800"/>
          </a:xfrm>
          <a:prstGeom prst="roundRect">
            <a:avLst>
              <a:gd name="adj" fmla="val 3815"/>
            </a:avLst>
          </a:prstGeom>
          <a:solidFill>
            <a:schemeClr val="bg1"/>
          </a:solidFill>
          <a:ln w="19050" cap="rnd" cmpd="sng" algn="ctr">
            <a:solidFill>
              <a:schemeClr val="accent1">
                <a:lumMod val="50000"/>
              </a:schemeClr>
            </a:solidFill>
            <a:prstDash val="solid"/>
            <a:headEnd type="none" w="lg" len="med"/>
            <a:tailEnd type="none" w="lg" len="med"/>
          </a:ln>
          <a:effectLst/>
        </p:spPr>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US" sz="2400" b="1" i="0" u="none" strike="noStrike" kern="1200" cap="none" spc="0" normalizeH="0" baseline="0" noProof="0">
              <a:ln>
                <a:noFill/>
              </a:ln>
              <a:gradFill>
                <a:gsLst>
                  <a:gs pos="41958">
                    <a:srgbClr val="FFFFFF"/>
                  </a:gs>
                  <a:gs pos="63000">
                    <a:srgbClr val="FFFFFF"/>
                  </a:gs>
                </a:gsLst>
                <a:lin ang="0" scaled="0"/>
              </a:gradFill>
              <a:effectLst/>
              <a:uLnTx/>
              <a:uFillTx/>
              <a:latin typeface="Segoe UI Variable Display Semibold" pitchFamily="2" charset="0"/>
              <a:ea typeface="+mn-ea"/>
              <a:cs typeface="+mn-cs"/>
            </a:endParaRPr>
          </a:p>
        </p:txBody>
      </p:sp>
      <p:sp>
        <p:nvSpPr>
          <p:cNvPr id="59" name="Rounded Rectangle 64">
            <a:extLst>
              <a:ext uri="{FF2B5EF4-FFF2-40B4-BE49-F238E27FC236}">
                <a16:creationId xmlns:a16="http://schemas.microsoft.com/office/drawing/2014/main" id="{D0AAC89D-7866-AFAF-A876-74BEBCD954AF}"/>
              </a:ext>
              <a:ext uri="{C183D7F6-B498-43B3-948B-1728B52AA6E4}">
                <adec:decorative xmlns:adec="http://schemas.microsoft.com/office/drawing/2017/decorative" val="1"/>
              </a:ext>
            </a:extLst>
          </p:cNvPr>
          <p:cNvSpPr/>
          <p:nvPr/>
        </p:nvSpPr>
        <p:spPr bwMode="auto">
          <a:xfrm>
            <a:off x="9503663" y="2595904"/>
            <a:ext cx="2103120" cy="1828800"/>
          </a:xfrm>
          <a:prstGeom prst="roundRect">
            <a:avLst>
              <a:gd name="adj" fmla="val 3815"/>
            </a:avLst>
          </a:prstGeom>
          <a:solidFill>
            <a:schemeClr val="bg1"/>
          </a:solidFill>
          <a:ln w="19050" cap="rnd" cmpd="sng" algn="ctr">
            <a:solidFill>
              <a:schemeClr val="accent1">
                <a:lumMod val="50000"/>
              </a:schemeClr>
            </a:solidFill>
            <a:prstDash val="solid"/>
            <a:headEnd type="none" w="lg" len="med"/>
            <a:tailEnd type="none" w="lg" len="med"/>
          </a:ln>
          <a:effectLst/>
        </p:spPr>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US" sz="2400" b="1" i="0" u="none" strike="noStrike" kern="1200" cap="none" spc="0" normalizeH="0" baseline="0" noProof="0">
              <a:ln>
                <a:noFill/>
              </a:ln>
              <a:gradFill>
                <a:gsLst>
                  <a:gs pos="41958">
                    <a:srgbClr val="FFFFFF"/>
                  </a:gs>
                  <a:gs pos="63000">
                    <a:srgbClr val="FFFFFF"/>
                  </a:gs>
                </a:gsLst>
                <a:lin ang="0" scaled="0"/>
              </a:gradFill>
              <a:effectLst/>
              <a:uLnTx/>
              <a:uFillTx/>
              <a:latin typeface="Segoe UI Variable Display Semibold" pitchFamily="2" charset="0"/>
              <a:ea typeface="+mn-ea"/>
              <a:cs typeface="+mn-cs"/>
            </a:endParaRPr>
          </a:p>
        </p:txBody>
      </p:sp>
      <p:sp>
        <p:nvSpPr>
          <p:cNvPr id="11" name="Title 10">
            <a:extLst>
              <a:ext uri="{FF2B5EF4-FFF2-40B4-BE49-F238E27FC236}">
                <a16:creationId xmlns:a16="http://schemas.microsoft.com/office/drawing/2014/main" id="{DD7CBA3C-C7B8-9279-14D5-941EA91E5647}"/>
              </a:ext>
            </a:extLst>
          </p:cNvPr>
          <p:cNvSpPr>
            <a:spLocks noGrp="1"/>
          </p:cNvSpPr>
          <p:nvPr>
            <p:ph type="title" idx="4294967295"/>
          </p:nvPr>
        </p:nvSpPr>
        <p:spPr>
          <a:xfrm>
            <a:off x="708406" y="503135"/>
            <a:ext cx="11017250" cy="492125"/>
          </a:xfrm>
          <a:noFill/>
        </p:spPr>
        <p:txBody>
          <a:bodyPr bIns="91440" anchor="ctr">
            <a:noAutofit/>
          </a:bodyPr>
          <a:lstStyle/>
          <a:p>
            <a:pPr algn="ctr"/>
            <a:r>
              <a:rPr lang="en-US" sz="3200" dirty="0">
                <a:latin typeface="Segoe Sans Display Semibold" pitchFamily="2" charset="0"/>
                <a:cs typeface="Segoe Sans Display Semibold" pitchFamily="2" charset="0"/>
              </a:rPr>
              <a:t>Reduce your security on-premises footprint</a:t>
            </a:r>
          </a:p>
        </p:txBody>
      </p:sp>
      <p:sp>
        <p:nvSpPr>
          <p:cNvPr id="61" name="!!Oval SWG">
            <a:extLst>
              <a:ext uri="{FF2B5EF4-FFF2-40B4-BE49-F238E27FC236}">
                <a16:creationId xmlns:a16="http://schemas.microsoft.com/office/drawing/2014/main" id="{05406B5F-404F-349C-66EE-E7E6D6D52F53}"/>
              </a:ext>
              <a:ext uri="{C183D7F6-B498-43B3-948B-1728B52AA6E4}">
                <adec:decorative xmlns:adec="http://schemas.microsoft.com/office/drawing/2017/decorative" val="1"/>
              </a:ext>
            </a:extLst>
          </p:cNvPr>
          <p:cNvSpPr/>
          <p:nvPr/>
        </p:nvSpPr>
        <p:spPr bwMode="auto">
          <a:xfrm>
            <a:off x="1140940" y="2775330"/>
            <a:ext cx="996696" cy="996696"/>
          </a:xfrm>
          <a:prstGeom prst="ellipse">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mn-ea"/>
              <a:cs typeface="Segoe UI" pitchFamily="34" charset="0"/>
            </a:endParaRPr>
          </a:p>
        </p:txBody>
      </p:sp>
      <p:pic>
        <p:nvPicPr>
          <p:cNvPr id="62" name="Graphic 61">
            <a:extLst>
              <a:ext uri="{FF2B5EF4-FFF2-40B4-BE49-F238E27FC236}">
                <a16:creationId xmlns:a16="http://schemas.microsoft.com/office/drawing/2014/main" id="{AC427397-8CD1-5965-88D5-CAA0FD8F0AF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64968" y="2999358"/>
            <a:ext cx="548641" cy="548640"/>
          </a:xfrm>
          <a:prstGeom prst="rect">
            <a:avLst/>
          </a:prstGeom>
          <a:effectLst>
            <a:outerShdw blurRad="38100" dist="38100" dir="2700000" algn="tl" rotWithShape="0">
              <a:prstClr val="black">
                <a:alpha val="50000"/>
              </a:prstClr>
            </a:outerShdw>
          </a:effectLst>
        </p:spPr>
      </p:pic>
      <p:sp>
        <p:nvSpPr>
          <p:cNvPr id="721" name="!!Oval Firewall">
            <a:extLst>
              <a:ext uri="{FF2B5EF4-FFF2-40B4-BE49-F238E27FC236}">
                <a16:creationId xmlns:a16="http://schemas.microsoft.com/office/drawing/2014/main" id="{03199D17-44A8-08A8-E75C-1058CE5DCE93}"/>
              </a:ext>
              <a:ext uri="{C183D7F6-B498-43B3-948B-1728B52AA6E4}">
                <adec:decorative xmlns:adec="http://schemas.microsoft.com/office/drawing/2017/decorative" val="1"/>
              </a:ext>
            </a:extLst>
          </p:cNvPr>
          <p:cNvSpPr/>
          <p:nvPr/>
        </p:nvSpPr>
        <p:spPr bwMode="auto">
          <a:xfrm>
            <a:off x="3379075" y="2775330"/>
            <a:ext cx="996696" cy="996696"/>
          </a:xfrm>
          <a:prstGeom prst="ellipse">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mn-ea"/>
              <a:cs typeface="Segoe UI" pitchFamily="34" charset="0"/>
            </a:endParaRPr>
          </a:p>
        </p:txBody>
      </p:sp>
      <p:pic>
        <p:nvPicPr>
          <p:cNvPr id="722" name="Graphic 721">
            <a:extLst>
              <a:ext uri="{FF2B5EF4-FFF2-40B4-BE49-F238E27FC236}">
                <a16:creationId xmlns:a16="http://schemas.microsoft.com/office/drawing/2014/main" id="{03F31F8F-F5AC-F348-F627-BCB7606E022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648823" y="3045078"/>
            <a:ext cx="457200" cy="457200"/>
          </a:xfrm>
          <a:prstGeom prst="rect">
            <a:avLst/>
          </a:prstGeom>
          <a:effectLst>
            <a:outerShdw blurRad="38100" dist="38100" dir="2700000" algn="tl" rotWithShape="0">
              <a:prstClr val="black">
                <a:alpha val="50000"/>
              </a:prstClr>
            </a:outerShdw>
          </a:effectLst>
        </p:spPr>
      </p:pic>
      <p:sp>
        <p:nvSpPr>
          <p:cNvPr id="718" name="!!Oval VPN">
            <a:extLst>
              <a:ext uri="{FF2B5EF4-FFF2-40B4-BE49-F238E27FC236}">
                <a16:creationId xmlns:a16="http://schemas.microsoft.com/office/drawing/2014/main" id="{06FCA0A8-B465-098F-4B26-55EB2C9C0F75}"/>
              </a:ext>
              <a:ext uri="{C183D7F6-B498-43B3-948B-1728B52AA6E4}">
                <adec:decorative xmlns:adec="http://schemas.microsoft.com/office/drawing/2017/decorative" val="1"/>
              </a:ext>
            </a:extLst>
          </p:cNvPr>
          <p:cNvSpPr/>
          <p:nvPr/>
        </p:nvSpPr>
        <p:spPr bwMode="auto">
          <a:xfrm>
            <a:off x="5600163" y="2768413"/>
            <a:ext cx="996696" cy="996696"/>
          </a:xfrm>
          <a:prstGeom prst="ellipse">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mn-ea"/>
              <a:cs typeface="Segoe UI" pitchFamily="34" charset="0"/>
            </a:endParaRPr>
          </a:p>
        </p:txBody>
      </p:sp>
      <p:pic>
        <p:nvPicPr>
          <p:cNvPr id="719" name="Graphic 718">
            <a:extLst>
              <a:ext uri="{FF2B5EF4-FFF2-40B4-BE49-F238E27FC236}">
                <a16:creationId xmlns:a16="http://schemas.microsoft.com/office/drawing/2014/main" id="{D33E298C-26CE-59AD-85B9-9F715F981BA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869911" y="3038161"/>
            <a:ext cx="457200" cy="457200"/>
          </a:xfrm>
          <a:prstGeom prst="rect">
            <a:avLst/>
          </a:prstGeom>
          <a:effectLst>
            <a:outerShdw blurRad="38100" dist="38100" dir="2700000" algn="tl" rotWithShape="0">
              <a:prstClr val="black">
                <a:alpha val="50000"/>
              </a:prstClr>
            </a:outerShdw>
          </a:effectLst>
        </p:spPr>
      </p:pic>
      <p:sp>
        <p:nvSpPr>
          <p:cNvPr id="715" name="!!Oval On Prem IG">
            <a:extLst>
              <a:ext uri="{FF2B5EF4-FFF2-40B4-BE49-F238E27FC236}">
                <a16:creationId xmlns:a16="http://schemas.microsoft.com/office/drawing/2014/main" id="{45F3DDEA-F2A7-CB49-C3A7-94AF94EA9887}"/>
              </a:ext>
              <a:ext uri="{C183D7F6-B498-43B3-948B-1728B52AA6E4}">
                <adec:decorative xmlns:adec="http://schemas.microsoft.com/office/drawing/2017/decorative" val="1"/>
              </a:ext>
            </a:extLst>
          </p:cNvPr>
          <p:cNvSpPr/>
          <p:nvPr/>
        </p:nvSpPr>
        <p:spPr bwMode="auto">
          <a:xfrm>
            <a:off x="7819470" y="2775330"/>
            <a:ext cx="996696" cy="996696"/>
          </a:xfrm>
          <a:prstGeom prst="ellipse">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mn-ea"/>
              <a:cs typeface="Segoe UI" pitchFamily="34" charset="0"/>
            </a:endParaRPr>
          </a:p>
        </p:txBody>
      </p:sp>
      <p:pic>
        <p:nvPicPr>
          <p:cNvPr id="716" name="Graphic 715">
            <a:extLst>
              <a:ext uri="{FF2B5EF4-FFF2-40B4-BE49-F238E27FC236}">
                <a16:creationId xmlns:a16="http://schemas.microsoft.com/office/drawing/2014/main" id="{C2F1954A-C518-B8AD-E923-AB5B96CCBFC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997778" y="2953638"/>
            <a:ext cx="640081" cy="640080"/>
          </a:xfrm>
          <a:prstGeom prst="rect">
            <a:avLst/>
          </a:prstGeom>
          <a:effectLst>
            <a:outerShdw blurRad="38100" dist="38100" dir="2700000" algn="tl" rotWithShape="0">
              <a:prstClr val="black">
                <a:alpha val="50000"/>
              </a:prstClr>
            </a:outerShdw>
          </a:effectLst>
        </p:spPr>
      </p:pic>
      <p:sp>
        <p:nvSpPr>
          <p:cNvPr id="724" name="!!Oval ID verify">
            <a:extLst>
              <a:ext uri="{FF2B5EF4-FFF2-40B4-BE49-F238E27FC236}">
                <a16:creationId xmlns:a16="http://schemas.microsoft.com/office/drawing/2014/main" id="{087E1B53-C72A-776B-DEBB-1E2C2AF98728}"/>
              </a:ext>
              <a:ext uri="{C183D7F6-B498-43B3-948B-1728B52AA6E4}">
                <adec:decorative xmlns:adec="http://schemas.microsoft.com/office/drawing/2017/decorative" val="1"/>
              </a:ext>
            </a:extLst>
          </p:cNvPr>
          <p:cNvSpPr/>
          <p:nvPr/>
        </p:nvSpPr>
        <p:spPr bwMode="auto">
          <a:xfrm>
            <a:off x="10054364" y="2775330"/>
            <a:ext cx="996696" cy="996696"/>
          </a:xfrm>
          <a:prstGeom prst="ellipse">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mn-ea"/>
              <a:cs typeface="Segoe UI" pitchFamily="34" charset="0"/>
            </a:endParaRPr>
          </a:p>
        </p:txBody>
      </p:sp>
      <p:pic>
        <p:nvPicPr>
          <p:cNvPr id="725" name="Picture 724">
            <a:extLst>
              <a:ext uri="{FF2B5EF4-FFF2-40B4-BE49-F238E27FC236}">
                <a16:creationId xmlns:a16="http://schemas.microsoft.com/office/drawing/2014/main" id="{1673FBB4-FBBC-80BA-3E41-2265A845A2C7}"/>
              </a:ext>
            </a:extLst>
          </p:cNvPr>
          <p:cNvPicPr>
            <a:picLocks noChangeAspect="1"/>
          </p:cNvPicPr>
          <p:nvPr/>
        </p:nvPicPr>
        <p:blipFill>
          <a:blip r:embed="rId12"/>
          <a:stretch>
            <a:fillRect/>
          </a:stretch>
        </p:blipFill>
        <p:spPr>
          <a:xfrm>
            <a:off x="10278392" y="2999358"/>
            <a:ext cx="548640" cy="548640"/>
          </a:xfrm>
          <a:prstGeom prst="rect">
            <a:avLst/>
          </a:prstGeom>
          <a:effectLst>
            <a:outerShdw blurRad="38100" dist="38100" dir="2700000" algn="tl" rotWithShape="0">
              <a:prstClr val="black">
                <a:alpha val="50000"/>
              </a:prstClr>
            </a:outerShdw>
          </a:effectLst>
        </p:spPr>
      </p:pic>
      <p:sp>
        <p:nvSpPr>
          <p:cNvPr id="39" name="Rectangle 38">
            <a:extLst>
              <a:ext uri="{FF2B5EF4-FFF2-40B4-BE49-F238E27FC236}">
                <a16:creationId xmlns:a16="http://schemas.microsoft.com/office/drawing/2014/main" id="{D03D4333-FB4B-CDF4-2683-8E484987D947}"/>
              </a:ext>
            </a:extLst>
          </p:cNvPr>
          <p:cNvSpPr/>
          <p:nvPr/>
        </p:nvSpPr>
        <p:spPr bwMode="auto">
          <a:xfrm>
            <a:off x="835998" y="3878501"/>
            <a:ext cx="1607650" cy="430887"/>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50" normalizeH="0" baseline="0" noProof="0">
                <a:ln>
                  <a:noFill/>
                </a:ln>
                <a:solidFill>
                  <a:srgbClr val="000000">
                    <a:lumMod val="85000"/>
                    <a:lumOff val="15000"/>
                  </a:srgbClr>
                </a:solidFill>
                <a:effectLst/>
                <a:uLnTx/>
                <a:uFillTx/>
                <a:latin typeface="Segoe Sans Display Semibold"/>
                <a:ea typeface="+mn-ea"/>
                <a:cs typeface="+mn-cs"/>
              </a:rPr>
              <a:t>Basic Secure Web</a:t>
            </a:r>
            <a:br>
              <a:rPr kumimoji="0" lang="en-US" sz="1400" b="0" i="0" u="none" strike="noStrike" kern="1200" cap="none" spc="-50" normalizeH="0" baseline="0" noProof="0">
                <a:ln>
                  <a:noFill/>
                </a:ln>
                <a:solidFill>
                  <a:srgbClr val="000000">
                    <a:lumMod val="85000"/>
                    <a:lumOff val="15000"/>
                  </a:srgbClr>
                </a:solidFill>
                <a:effectLst/>
                <a:uLnTx/>
                <a:uFillTx/>
                <a:latin typeface="Segoe Sans Display Semibold"/>
                <a:ea typeface="+mn-ea"/>
                <a:cs typeface="+mn-cs"/>
              </a:rPr>
            </a:br>
            <a:r>
              <a:rPr kumimoji="0" lang="en-US" sz="1400" b="0" i="0" u="none" strike="noStrike" kern="1200" cap="none" spc="-50" normalizeH="0" baseline="0" noProof="0">
                <a:ln>
                  <a:noFill/>
                </a:ln>
                <a:solidFill>
                  <a:srgbClr val="000000">
                    <a:lumMod val="85000"/>
                    <a:lumOff val="15000"/>
                  </a:srgbClr>
                </a:solidFill>
                <a:effectLst/>
                <a:uLnTx/>
                <a:uFillTx/>
                <a:latin typeface="Segoe Sans Display Semibold"/>
                <a:ea typeface="+mn-ea"/>
                <a:cs typeface="+mn-cs"/>
              </a:rPr>
              <a:t>Gateway (SWG)</a:t>
            </a:r>
          </a:p>
        </p:txBody>
      </p:sp>
      <p:sp>
        <p:nvSpPr>
          <p:cNvPr id="54" name="TextBox 53">
            <a:extLst>
              <a:ext uri="{FF2B5EF4-FFF2-40B4-BE49-F238E27FC236}">
                <a16:creationId xmlns:a16="http://schemas.microsoft.com/office/drawing/2014/main" id="{F8F3698F-BCDD-B314-7942-1747BC13C51E}"/>
              </a:ext>
            </a:extLst>
          </p:cNvPr>
          <p:cNvSpPr txBox="1"/>
          <p:nvPr/>
        </p:nvSpPr>
        <p:spPr>
          <a:xfrm>
            <a:off x="3547695" y="3986222"/>
            <a:ext cx="640432" cy="215444"/>
          </a:xfrm>
          <a:prstGeom prst="rect">
            <a:avLst/>
          </a:prstGeom>
          <a:noFill/>
        </p:spPr>
        <p:txBody>
          <a:bodyPr wrap="none" lIns="0" tIns="0" rIns="0" bIns="0">
            <a:spAutoFit/>
          </a:bodyPr>
          <a:lstStyle/>
          <a:p>
            <a:pPr marL="0" marR="0" lvl="0" indent="0" algn="ctr"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50" normalizeH="0" baseline="0" noProof="0">
                <a:ln>
                  <a:noFill/>
                </a:ln>
                <a:gradFill>
                  <a:gsLst>
                    <a:gs pos="83000">
                      <a:srgbClr val="000000"/>
                    </a:gs>
                    <a:gs pos="100000">
                      <a:srgbClr val="000000"/>
                    </a:gs>
                  </a:gsLst>
                  <a:lin ang="5400000" scaled="1"/>
                </a:gradFill>
                <a:effectLst/>
                <a:uLnTx/>
                <a:uFillTx/>
                <a:latin typeface="Segoe Sans Display Semibold"/>
                <a:ea typeface="+mn-ea"/>
                <a:cs typeface="+mn-cs"/>
              </a:rPr>
              <a:t>Firewalls</a:t>
            </a:r>
          </a:p>
        </p:txBody>
      </p:sp>
      <p:sp>
        <p:nvSpPr>
          <p:cNvPr id="55" name="TextBox 54">
            <a:extLst>
              <a:ext uri="{FF2B5EF4-FFF2-40B4-BE49-F238E27FC236}">
                <a16:creationId xmlns:a16="http://schemas.microsoft.com/office/drawing/2014/main" id="{133A0873-0F9C-18F0-F6E5-9DFD20178862}"/>
              </a:ext>
            </a:extLst>
          </p:cNvPr>
          <p:cNvSpPr txBox="1"/>
          <p:nvPr/>
        </p:nvSpPr>
        <p:spPr>
          <a:xfrm>
            <a:off x="5605479" y="3986222"/>
            <a:ext cx="981038" cy="215444"/>
          </a:xfrm>
          <a:prstGeom prst="rect">
            <a:avLst/>
          </a:prstGeom>
          <a:noFill/>
        </p:spPr>
        <p:txBody>
          <a:bodyPr wrap="none" lIns="0" tIns="0" rIns="0" bIns="0">
            <a:spAutoFit/>
          </a:bodyPr>
          <a:lstStyle/>
          <a:p>
            <a:pPr marL="0" marR="0" lvl="0" indent="0" algn="ctr"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50" normalizeH="0" baseline="0" noProof="0">
                <a:ln>
                  <a:noFill/>
                </a:ln>
                <a:gradFill>
                  <a:gsLst>
                    <a:gs pos="83000">
                      <a:srgbClr val="000000"/>
                    </a:gs>
                    <a:gs pos="100000">
                      <a:srgbClr val="000000"/>
                    </a:gs>
                  </a:gsLst>
                  <a:lin ang="5400000" scaled="1"/>
                </a:gradFill>
                <a:effectLst/>
                <a:uLnTx/>
                <a:uFillTx/>
                <a:latin typeface="Segoe Sans Display Semibold"/>
                <a:ea typeface="+mn-ea"/>
                <a:cs typeface="+mn-cs"/>
              </a:rPr>
              <a:t>Legacy VPNs</a:t>
            </a:r>
          </a:p>
        </p:txBody>
      </p:sp>
      <p:sp>
        <p:nvSpPr>
          <p:cNvPr id="56" name="Rectangle 55">
            <a:extLst>
              <a:ext uri="{FF2B5EF4-FFF2-40B4-BE49-F238E27FC236}">
                <a16:creationId xmlns:a16="http://schemas.microsoft.com/office/drawing/2014/main" id="{92E3B6AA-944F-780C-15C8-54BCC70979F0}"/>
              </a:ext>
            </a:extLst>
          </p:cNvPr>
          <p:cNvSpPr/>
          <p:nvPr/>
        </p:nvSpPr>
        <p:spPr bwMode="auto">
          <a:xfrm>
            <a:off x="7272527" y="3878501"/>
            <a:ext cx="2103120" cy="430887"/>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50" normalizeH="0" baseline="0" noProof="0">
                <a:ln>
                  <a:noFill/>
                </a:ln>
                <a:gradFill>
                  <a:gsLst>
                    <a:gs pos="83000">
                      <a:srgbClr val="000000"/>
                    </a:gs>
                    <a:gs pos="100000">
                      <a:srgbClr val="000000"/>
                    </a:gs>
                  </a:gsLst>
                  <a:lin ang="5400000" scaled="1"/>
                </a:gradFill>
                <a:effectLst/>
                <a:uLnTx/>
                <a:uFillTx/>
                <a:latin typeface="Segoe Sans Display Semibold"/>
                <a:ea typeface="+mn-ea"/>
                <a:cs typeface="+mn-cs"/>
              </a:rPr>
              <a:t>On-premises identity governance</a:t>
            </a:r>
          </a:p>
        </p:txBody>
      </p:sp>
      <p:sp>
        <p:nvSpPr>
          <p:cNvPr id="57" name="Rectangle 56">
            <a:extLst>
              <a:ext uri="{FF2B5EF4-FFF2-40B4-BE49-F238E27FC236}">
                <a16:creationId xmlns:a16="http://schemas.microsoft.com/office/drawing/2014/main" id="{DEF237A9-B427-CD9B-23BC-A600154AEE5E}"/>
              </a:ext>
            </a:extLst>
          </p:cNvPr>
          <p:cNvSpPr/>
          <p:nvPr/>
        </p:nvSpPr>
        <p:spPr bwMode="auto">
          <a:xfrm>
            <a:off x="9696074" y="3878501"/>
            <a:ext cx="1712206" cy="430887"/>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50" normalizeH="0" baseline="0" noProof="0">
                <a:ln>
                  <a:noFill/>
                </a:ln>
                <a:gradFill>
                  <a:gsLst>
                    <a:gs pos="83000">
                      <a:srgbClr val="000000"/>
                    </a:gs>
                    <a:gs pos="100000">
                      <a:srgbClr val="000000"/>
                    </a:gs>
                  </a:gsLst>
                  <a:lin ang="5400000" scaled="1"/>
                </a:gradFill>
                <a:effectLst/>
                <a:uLnTx/>
                <a:uFillTx/>
                <a:latin typeface="Segoe Sans Display Semibold"/>
                <a:ea typeface="+mn-ea"/>
                <a:cs typeface="+mn-cs"/>
              </a:rPr>
              <a:t>Paper-based</a:t>
            </a:r>
            <a:br>
              <a:rPr kumimoji="0" lang="en-US" sz="1400" b="0" i="0" u="none" strike="noStrike" kern="1200" cap="none" spc="-50" normalizeH="0" baseline="0" noProof="0">
                <a:ln>
                  <a:noFill/>
                </a:ln>
                <a:gradFill>
                  <a:gsLst>
                    <a:gs pos="83000">
                      <a:srgbClr val="000000"/>
                    </a:gs>
                    <a:gs pos="100000">
                      <a:srgbClr val="000000"/>
                    </a:gs>
                  </a:gsLst>
                  <a:lin ang="5400000" scaled="1"/>
                </a:gradFill>
                <a:effectLst/>
                <a:uLnTx/>
                <a:uFillTx/>
                <a:latin typeface="Segoe Sans Display Semibold"/>
                <a:ea typeface="+mn-ea"/>
                <a:cs typeface="Segoe Sans Display Semibold"/>
              </a:rPr>
            </a:br>
            <a:r>
              <a:rPr kumimoji="0" lang="en-US" sz="1400" b="0" i="0" u="none" strike="noStrike" kern="1200" cap="none" spc="-50" normalizeH="0" baseline="0" noProof="0">
                <a:ln>
                  <a:noFill/>
                </a:ln>
                <a:gradFill>
                  <a:gsLst>
                    <a:gs pos="83000">
                      <a:srgbClr val="000000"/>
                    </a:gs>
                    <a:gs pos="100000">
                      <a:srgbClr val="000000"/>
                    </a:gs>
                  </a:gsLst>
                  <a:lin ang="5400000" scaled="1"/>
                </a:gradFill>
                <a:effectLst/>
                <a:uLnTx/>
                <a:uFillTx/>
                <a:latin typeface="Segoe Sans Display Semibold"/>
                <a:ea typeface="+mn-ea"/>
                <a:cs typeface="+mn-cs"/>
              </a:rPr>
              <a:t>identity verification</a:t>
            </a:r>
          </a:p>
        </p:txBody>
      </p:sp>
      <p:grpSp>
        <p:nvGrpSpPr>
          <p:cNvPr id="30" name="Group 29">
            <a:extLst>
              <a:ext uri="{FF2B5EF4-FFF2-40B4-BE49-F238E27FC236}">
                <a16:creationId xmlns:a16="http://schemas.microsoft.com/office/drawing/2014/main" id="{65FBB2C7-F861-1DAD-35BB-5EA7C1A2DC85}"/>
              </a:ext>
            </a:extLst>
          </p:cNvPr>
          <p:cNvGrpSpPr/>
          <p:nvPr/>
        </p:nvGrpSpPr>
        <p:grpSpPr>
          <a:xfrm>
            <a:off x="2247900" y="-1155176"/>
            <a:ext cx="7696200" cy="1005840"/>
            <a:chOff x="2247900" y="2097290"/>
            <a:chExt cx="7696200" cy="1005840"/>
          </a:xfrm>
        </p:grpSpPr>
        <p:sp>
          <p:nvSpPr>
            <p:cNvPr id="31" name="Rectangle: Rounded Corners 30">
              <a:extLst>
                <a:ext uri="{FF2B5EF4-FFF2-40B4-BE49-F238E27FC236}">
                  <a16:creationId xmlns:a16="http://schemas.microsoft.com/office/drawing/2014/main" id="{D810F4EE-DFA2-61F7-B00E-E03A0812DF97}"/>
                </a:ext>
              </a:extLst>
            </p:cNvPr>
            <p:cNvSpPr/>
            <p:nvPr/>
          </p:nvSpPr>
          <p:spPr bwMode="auto">
            <a:xfrm>
              <a:off x="2247900" y="2097290"/>
              <a:ext cx="7696200" cy="1005840"/>
            </a:xfrm>
            <a:prstGeom prst="roundRect">
              <a:avLst>
                <a:gd name="adj" fmla="val 50000"/>
              </a:avLst>
            </a:prstGeom>
            <a:solidFill>
              <a:schemeClr val="bg1"/>
            </a:solidFill>
            <a:ln w="34925">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1200"/>
                </a:spcBef>
                <a:spcAft>
                  <a:spcPts val="1500"/>
                </a:spcAft>
                <a:buClrTx/>
                <a:buSzPct val="90000"/>
                <a:buFontTx/>
                <a:buNone/>
                <a:tabLst/>
                <a:defRPr/>
              </a:pPr>
              <a:endParaRPr kumimoji="0" lang="en-US" sz="1400" b="0" i="0" u="none" strike="noStrike" kern="1200" cap="none" spc="0" normalizeH="0" baseline="0" noProof="0" err="1">
                <a:ln>
                  <a:noFill/>
                </a:ln>
                <a:gradFill>
                  <a:gsLst>
                    <a:gs pos="0">
                      <a:srgbClr val="000000"/>
                    </a:gs>
                    <a:gs pos="100000">
                      <a:srgbClr val="000000"/>
                    </a:gs>
                  </a:gsLst>
                  <a:path path="circle">
                    <a:fillToRect l="50000" t="50000" r="50000" b="50000"/>
                  </a:path>
                </a:gradFill>
                <a:effectLst/>
                <a:uLnTx/>
                <a:uFillTx/>
                <a:latin typeface="Segoe Sans Display Semibold"/>
                <a:ea typeface="+mn-ea"/>
                <a:cs typeface="Segoe UI" panose="020B0502040204020203" pitchFamily="34" charset="0"/>
              </a:endParaRPr>
            </a:p>
          </p:txBody>
        </p:sp>
        <p:grpSp>
          <p:nvGrpSpPr>
            <p:cNvPr id="32" name="Group 31">
              <a:extLst>
                <a:ext uri="{FF2B5EF4-FFF2-40B4-BE49-F238E27FC236}">
                  <a16:creationId xmlns:a16="http://schemas.microsoft.com/office/drawing/2014/main" id="{8755EC3F-9F7B-6230-924B-09B2A6FE5D36}"/>
                </a:ext>
              </a:extLst>
            </p:cNvPr>
            <p:cNvGrpSpPr/>
            <p:nvPr/>
          </p:nvGrpSpPr>
          <p:grpSpPr>
            <a:xfrm>
              <a:off x="2592586" y="2239949"/>
              <a:ext cx="7237215" cy="726353"/>
              <a:chOff x="2554486" y="2805479"/>
              <a:chExt cx="7237215" cy="726353"/>
            </a:xfrm>
          </p:grpSpPr>
          <p:sp>
            <p:nvSpPr>
              <p:cNvPr id="36" name="Rectangle 35">
                <a:extLst>
                  <a:ext uri="{FF2B5EF4-FFF2-40B4-BE49-F238E27FC236}">
                    <a16:creationId xmlns:a16="http://schemas.microsoft.com/office/drawing/2014/main" id="{DC33A60C-D16D-A8E4-DA95-39A38A844E1C}"/>
                  </a:ext>
                  <a:ext uri="{C183D7F6-B498-43B3-948B-1728B52AA6E4}">
                    <adec:decorative xmlns:adec="http://schemas.microsoft.com/office/drawing/2017/decorative" val="0"/>
                  </a:ext>
                </a:extLst>
              </p:cNvPr>
              <p:cNvSpPr/>
              <p:nvPr/>
            </p:nvSpPr>
            <p:spPr bwMode="auto">
              <a:xfrm>
                <a:off x="5700332" y="2805479"/>
                <a:ext cx="1966876" cy="7263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ts val="1200"/>
                  </a:spcBef>
                  <a:spcAft>
                    <a:spcPct val="0"/>
                  </a:spcAft>
                  <a:buClrTx/>
                  <a:buSzTx/>
                  <a:buFontTx/>
                  <a:buNone/>
                  <a:tabLst/>
                  <a:defRPr/>
                </a:pPr>
                <a:r>
                  <a:rPr kumimoji="0" lang="en-US" sz="1400" b="1" i="0" u="none" strike="noStrike" kern="1200" cap="none" spc="-50" normalizeH="0" baseline="0" noProof="0">
                    <a:ln>
                      <a:noFill/>
                    </a:ln>
                    <a:gradFill>
                      <a:gsLst>
                        <a:gs pos="1000">
                          <a:srgbClr val="000000"/>
                        </a:gs>
                        <a:gs pos="100000">
                          <a:srgbClr val="000000"/>
                        </a:gs>
                      </a:gsLst>
                      <a:path path="circle">
                        <a:fillToRect l="50000" t="50000" r="50000" b="50000"/>
                      </a:path>
                    </a:gradFill>
                    <a:effectLst/>
                    <a:uLnTx/>
                    <a:uFillTx/>
                    <a:latin typeface="Segoe Sans Display Semibold"/>
                    <a:ea typeface="+mn-ea"/>
                    <a:cs typeface="Segoe UI"/>
                  </a:rPr>
                  <a:t>Microsoft Entra Private Access</a:t>
                </a:r>
              </a:p>
            </p:txBody>
          </p:sp>
          <p:sp>
            <p:nvSpPr>
              <p:cNvPr id="37" name="Rectangle 36">
                <a:extLst>
                  <a:ext uri="{FF2B5EF4-FFF2-40B4-BE49-F238E27FC236}">
                    <a16:creationId xmlns:a16="http://schemas.microsoft.com/office/drawing/2014/main" id="{53D53F31-E78A-38D2-D646-46E024DE0CDB}"/>
                  </a:ext>
                </a:extLst>
              </p:cNvPr>
              <p:cNvSpPr/>
              <p:nvPr/>
            </p:nvSpPr>
            <p:spPr bwMode="auto">
              <a:xfrm>
                <a:off x="3207430" y="2805479"/>
                <a:ext cx="1966876" cy="7263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ts val="1200"/>
                  </a:spcBef>
                  <a:spcAft>
                    <a:spcPct val="0"/>
                  </a:spcAft>
                  <a:buClrTx/>
                  <a:buSzTx/>
                  <a:buFontTx/>
                  <a:buNone/>
                  <a:tabLst/>
                  <a:defRPr/>
                </a:pPr>
                <a:r>
                  <a:rPr kumimoji="0" lang="en-US" sz="1400" b="1" i="0" u="none" strike="noStrike" kern="1200" cap="none" spc="-50" normalizeH="0" baseline="0" noProof="0">
                    <a:ln>
                      <a:noFill/>
                    </a:ln>
                    <a:gradFill>
                      <a:gsLst>
                        <a:gs pos="1000">
                          <a:srgbClr val="000000"/>
                        </a:gs>
                        <a:gs pos="100000">
                          <a:srgbClr val="000000"/>
                        </a:gs>
                      </a:gsLst>
                      <a:path path="circle">
                        <a:fillToRect l="50000" t="50000" r="50000" b="50000"/>
                      </a:path>
                    </a:gradFill>
                    <a:effectLst/>
                    <a:uLnTx/>
                    <a:uFillTx/>
                    <a:latin typeface="Segoe Sans Display Semibold"/>
                    <a:ea typeface="+mn-ea"/>
                    <a:cs typeface="Segoe UI"/>
                  </a:rPr>
                  <a:t>Microsoft Entra Internet Access</a:t>
                </a:r>
              </a:p>
            </p:txBody>
          </p:sp>
          <p:grpSp>
            <p:nvGrpSpPr>
              <p:cNvPr id="38" name="Group 37">
                <a:extLst>
                  <a:ext uri="{FF2B5EF4-FFF2-40B4-BE49-F238E27FC236}">
                    <a16:creationId xmlns:a16="http://schemas.microsoft.com/office/drawing/2014/main" id="{866AECA9-5BF3-5222-A570-472BE7D0A504}"/>
                  </a:ext>
                  <a:ext uri="{C183D7F6-B498-43B3-948B-1728B52AA6E4}">
                    <adec:decorative xmlns:adec="http://schemas.microsoft.com/office/drawing/2017/decorative" val="1"/>
                  </a:ext>
                </a:extLst>
              </p:cNvPr>
              <p:cNvGrpSpPr>
                <a:grpSpLocks noChangeAspect="1"/>
              </p:cNvGrpSpPr>
              <p:nvPr/>
            </p:nvGrpSpPr>
            <p:grpSpPr>
              <a:xfrm>
                <a:off x="5035433" y="2822084"/>
                <a:ext cx="693145" cy="693145"/>
                <a:chOff x="3268798" y="2040215"/>
                <a:chExt cx="358666" cy="358666"/>
              </a:xfrm>
            </p:grpSpPr>
            <p:sp>
              <p:nvSpPr>
                <p:cNvPr id="50" name="Oval 49">
                  <a:extLst>
                    <a:ext uri="{FF2B5EF4-FFF2-40B4-BE49-F238E27FC236}">
                      <a16:creationId xmlns:a16="http://schemas.microsoft.com/office/drawing/2014/main" id="{C091C24D-EBAC-822A-3A7E-03201E0AD79D}"/>
                    </a:ext>
                    <a:ext uri="{C183D7F6-B498-43B3-948B-1728B52AA6E4}">
                      <adec:decorative xmlns:adec="http://schemas.microsoft.com/office/drawing/2017/decorative" val="1"/>
                    </a:ext>
                  </a:extLst>
                </p:cNvPr>
                <p:cNvSpPr/>
                <p:nvPr/>
              </p:nvSpPr>
              <p:spPr>
                <a:xfrm flipH="1">
                  <a:off x="3268798" y="2040215"/>
                  <a:ext cx="358666" cy="358666"/>
                </a:xfrm>
                <a:prstGeom prst="ellipse">
                  <a:avLst/>
                </a:prstGeom>
                <a:gradFill flip="none" rotWithShape="1">
                  <a:gsLst>
                    <a:gs pos="0">
                      <a:schemeClr val="accent1"/>
                    </a:gs>
                    <a:gs pos="100000">
                      <a:schemeClr val="accent1">
                        <a:lumMod val="75000"/>
                      </a:schemeClr>
                    </a:gs>
                  </a:gsLst>
                  <a:lin ang="2700000" scaled="1"/>
                  <a:tileRect/>
                </a:gradFill>
                <a:ln w="50800">
                  <a:solidFill>
                    <a:schemeClr val="bg1"/>
                  </a:solid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98000">
                          <a:srgbClr val="FFFFFF"/>
                        </a:gs>
                      </a:gsLst>
                      <a:lin ang="0" scaled="1"/>
                    </a:gradFill>
                    <a:effectLst/>
                    <a:uLnTx/>
                    <a:uFillTx/>
                    <a:latin typeface="Segoe Sans Display Semibold"/>
                    <a:ea typeface="+mn-ea"/>
                    <a:cs typeface="Segoe UI" pitchFamily="34" charset="0"/>
                  </a:endParaRPr>
                </a:p>
              </p:txBody>
            </p:sp>
            <p:pic>
              <p:nvPicPr>
                <p:cNvPr id="51" name="Graphic 50">
                  <a:extLst>
                    <a:ext uri="{FF2B5EF4-FFF2-40B4-BE49-F238E27FC236}">
                      <a16:creationId xmlns:a16="http://schemas.microsoft.com/office/drawing/2014/main" id="{804D038A-7615-7C48-452C-E97558CB768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346897" y="2118314"/>
                  <a:ext cx="202468" cy="202468"/>
                </a:xfrm>
                <a:prstGeom prst="rect">
                  <a:avLst/>
                </a:prstGeom>
                <a:effectLst>
                  <a:outerShdw blurRad="127000" algn="ctr" rotWithShape="0">
                    <a:prstClr val="black">
                      <a:alpha val="20000"/>
                    </a:prstClr>
                  </a:outerShdw>
                </a:effectLst>
              </p:spPr>
            </p:pic>
          </p:grpSp>
          <p:grpSp>
            <p:nvGrpSpPr>
              <p:cNvPr id="40" name="Group 39">
                <a:extLst>
                  <a:ext uri="{FF2B5EF4-FFF2-40B4-BE49-F238E27FC236}">
                    <a16:creationId xmlns:a16="http://schemas.microsoft.com/office/drawing/2014/main" id="{FCBDA7A8-D692-4679-3CC9-487379ABB7E4}"/>
                  </a:ext>
                  <a:ext uri="{C183D7F6-B498-43B3-948B-1728B52AA6E4}">
                    <adec:decorative xmlns:adec="http://schemas.microsoft.com/office/drawing/2017/decorative" val="1"/>
                  </a:ext>
                </a:extLst>
              </p:cNvPr>
              <p:cNvGrpSpPr>
                <a:grpSpLocks noChangeAspect="1"/>
              </p:cNvGrpSpPr>
              <p:nvPr/>
            </p:nvGrpSpPr>
            <p:grpSpPr>
              <a:xfrm>
                <a:off x="2554486" y="2822084"/>
                <a:ext cx="693145" cy="693145"/>
                <a:chOff x="3268798" y="2639773"/>
                <a:chExt cx="358666" cy="358666"/>
              </a:xfrm>
            </p:grpSpPr>
            <p:sp>
              <p:nvSpPr>
                <p:cNvPr id="48" name="Oval 47">
                  <a:extLst>
                    <a:ext uri="{FF2B5EF4-FFF2-40B4-BE49-F238E27FC236}">
                      <a16:creationId xmlns:a16="http://schemas.microsoft.com/office/drawing/2014/main" id="{C7F29375-05BB-EBA1-1F24-F43AA7748D39}"/>
                    </a:ext>
                    <a:ext uri="{C183D7F6-B498-43B3-948B-1728B52AA6E4}">
                      <adec:decorative xmlns:adec="http://schemas.microsoft.com/office/drawing/2017/decorative" val="1"/>
                    </a:ext>
                  </a:extLst>
                </p:cNvPr>
                <p:cNvSpPr/>
                <p:nvPr/>
              </p:nvSpPr>
              <p:spPr>
                <a:xfrm flipH="1">
                  <a:off x="3268798" y="2639773"/>
                  <a:ext cx="358666" cy="358666"/>
                </a:xfrm>
                <a:prstGeom prst="ellipse">
                  <a:avLst/>
                </a:prstGeom>
                <a:gradFill flip="none" rotWithShape="1">
                  <a:gsLst>
                    <a:gs pos="0">
                      <a:schemeClr val="accent1"/>
                    </a:gs>
                    <a:gs pos="100000">
                      <a:schemeClr val="accent1">
                        <a:lumMod val="75000"/>
                      </a:schemeClr>
                    </a:gs>
                  </a:gsLst>
                  <a:lin ang="2700000" scaled="1"/>
                  <a:tileRect/>
                </a:gradFill>
                <a:ln w="50800">
                  <a:solidFill>
                    <a:schemeClr val="bg1"/>
                  </a:solid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98000">
                          <a:srgbClr val="FFFFFF"/>
                        </a:gs>
                      </a:gsLst>
                      <a:lin ang="0" scaled="1"/>
                    </a:gradFill>
                    <a:effectLst/>
                    <a:uLnTx/>
                    <a:uFillTx/>
                    <a:latin typeface="Segoe Sans Display Semibold"/>
                    <a:ea typeface="+mn-ea"/>
                    <a:cs typeface="Segoe UI" pitchFamily="34" charset="0"/>
                  </a:endParaRPr>
                </a:p>
              </p:txBody>
            </p:sp>
            <p:pic>
              <p:nvPicPr>
                <p:cNvPr id="49" name="Graphic 48">
                  <a:extLst>
                    <a:ext uri="{FF2B5EF4-FFF2-40B4-BE49-F238E27FC236}">
                      <a16:creationId xmlns:a16="http://schemas.microsoft.com/office/drawing/2014/main" id="{C1B30843-4D5D-295E-AD6F-13276B83D02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349166" y="2720141"/>
                  <a:ext cx="197931" cy="197931"/>
                </a:xfrm>
                <a:prstGeom prst="rect">
                  <a:avLst/>
                </a:prstGeom>
                <a:effectLst>
                  <a:outerShdw blurRad="127000" algn="ctr" rotWithShape="0">
                    <a:prstClr val="black">
                      <a:alpha val="20000"/>
                    </a:prstClr>
                  </a:outerShdw>
                </a:effectLst>
              </p:spPr>
            </p:pic>
          </p:grpSp>
          <p:sp>
            <p:nvSpPr>
              <p:cNvPr id="41" name="Rectangle 40">
                <a:extLst>
                  <a:ext uri="{FF2B5EF4-FFF2-40B4-BE49-F238E27FC236}">
                    <a16:creationId xmlns:a16="http://schemas.microsoft.com/office/drawing/2014/main" id="{96D78DBB-33B7-CB40-3F85-24D6F3DCFE16}"/>
                  </a:ext>
                </a:extLst>
              </p:cNvPr>
              <p:cNvSpPr/>
              <p:nvPr/>
            </p:nvSpPr>
            <p:spPr bwMode="auto">
              <a:xfrm>
                <a:off x="8219035" y="2805479"/>
                <a:ext cx="1572666" cy="7263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ts val="1200"/>
                  </a:spcBef>
                  <a:spcAft>
                    <a:spcPct val="0"/>
                  </a:spcAft>
                  <a:buClrTx/>
                  <a:buSzTx/>
                  <a:buFontTx/>
                  <a:buNone/>
                  <a:tabLst/>
                  <a:defRPr/>
                </a:pPr>
                <a:r>
                  <a:rPr kumimoji="0" lang="en-US" sz="1400" b="1" i="0" u="none" strike="noStrike" kern="1200" cap="none" spc="-50" normalizeH="0" baseline="0" noProof="0">
                    <a:ln>
                      <a:noFill/>
                    </a:ln>
                    <a:gradFill>
                      <a:gsLst>
                        <a:gs pos="1000">
                          <a:srgbClr val="000000"/>
                        </a:gs>
                        <a:gs pos="100000">
                          <a:srgbClr val="000000"/>
                        </a:gs>
                      </a:gsLst>
                      <a:path path="circle">
                        <a:fillToRect l="50000" t="50000" r="50000" b="50000"/>
                      </a:path>
                    </a:gradFill>
                    <a:effectLst/>
                    <a:uLnTx/>
                    <a:uFillTx/>
                    <a:latin typeface="Segoe Sans Display Semibold"/>
                    <a:ea typeface="+mn-ea"/>
                    <a:cs typeface="Segoe UI"/>
                  </a:rPr>
                  <a:t>Microsoft Entra</a:t>
                </a:r>
                <a:br>
                  <a:rPr kumimoji="0" lang="en-US" sz="1400" b="1" i="0" u="none" strike="noStrike" kern="1200" cap="none" spc="-50" normalizeH="0" baseline="0" noProof="0">
                    <a:ln>
                      <a:noFill/>
                    </a:ln>
                    <a:solidFill>
                      <a:srgbClr val="FFFFFF"/>
                    </a:solidFill>
                    <a:effectLst/>
                    <a:uLnTx/>
                    <a:uFillTx/>
                    <a:latin typeface="Segoe Sans Display Semibold"/>
                    <a:ea typeface="+mn-ea"/>
                    <a:cs typeface="Segoe UI"/>
                  </a:rPr>
                </a:br>
                <a:r>
                  <a:rPr kumimoji="0" lang="en-US" sz="1400" b="1" i="0" u="none" strike="noStrike" kern="1200" cap="none" spc="-50" normalizeH="0" baseline="0" noProof="0">
                    <a:ln>
                      <a:noFill/>
                    </a:ln>
                    <a:gradFill>
                      <a:gsLst>
                        <a:gs pos="1000">
                          <a:srgbClr val="000000"/>
                        </a:gs>
                        <a:gs pos="100000">
                          <a:srgbClr val="000000"/>
                        </a:gs>
                      </a:gsLst>
                      <a:path path="circle">
                        <a:fillToRect l="50000" t="50000" r="50000" b="50000"/>
                      </a:path>
                    </a:gradFill>
                    <a:effectLst/>
                    <a:uLnTx/>
                    <a:uFillTx/>
                    <a:latin typeface="Segoe Sans Display Semibold"/>
                    <a:ea typeface="+mn-ea"/>
                    <a:cs typeface="Segoe UI"/>
                  </a:rPr>
                  <a:t>ID Governance</a:t>
                </a:r>
              </a:p>
            </p:txBody>
          </p:sp>
          <p:sp>
            <p:nvSpPr>
              <p:cNvPr id="42" name="Oval 41">
                <a:extLst>
                  <a:ext uri="{FF2B5EF4-FFF2-40B4-BE49-F238E27FC236}">
                    <a16:creationId xmlns:a16="http://schemas.microsoft.com/office/drawing/2014/main" id="{773171EB-559C-5256-CFEA-7CDB93898410}"/>
                  </a:ext>
                  <a:ext uri="{C183D7F6-B498-43B3-948B-1728B52AA6E4}">
                    <adec:decorative xmlns:adec="http://schemas.microsoft.com/office/drawing/2017/decorative" val="1"/>
                  </a:ext>
                </a:extLst>
              </p:cNvPr>
              <p:cNvSpPr/>
              <p:nvPr/>
            </p:nvSpPr>
            <p:spPr>
              <a:xfrm flipH="1">
                <a:off x="7515654" y="2822084"/>
                <a:ext cx="693145" cy="693145"/>
              </a:xfrm>
              <a:prstGeom prst="ellipse">
                <a:avLst/>
              </a:prstGeom>
              <a:gradFill flip="none" rotWithShape="1">
                <a:gsLst>
                  <a:gs pos="0">
                    <a:schemeClr val="accent1"/>
                  </a:gs>
                  <a:gs pos="100000">
                    <a:schemeClr val="accent1">
                      <a:lumMod val="75000"/>
                    </a:schemeClr>
                  </a:gs>
                </a:gsLst>
                <a:lin ang="2700000" scaled="1"/>
                <a:tileRect/>
              </a:gradFill>
              <a:ln w="50800">
                <a:solidFill>
                  <a:schemeClr val="bg1"/>
                </a:solid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98000">
                        <a:srgbClr val="FFFFFF"/>
                      </a:gs>
                    </a:gsLst>
                    <a:lin ang="0" scaled="1"/>
                  </a:gradFill>
                  <a:effectLst/>
                  <a:uLnTx/>
                  <a:uFillTx/>
                  <a:latin typeface="Segoe Sans Display Semibold"/>
                  <a:ea typeface="+mn-ea"/>
                  <a:cs typeface="Segoe UI" pitchFamily="34" charset="0"/>
                </a:endParaRPr>
              </a:p>
            </p:txBody>
          </p:sp>
          <p:grpSp>
            <p:nvGrpSpPr>
              <p:cNvPr id="43" name="Graphic 5">
                <a:extLst>
                  <a:ext uri="{FF2B5EF4-FFF2-40B4-BE49-F238E27FC236}">
                    <a16:creationId xmlns:a16="http://schemas.microsoft.com/office/drawing/2014/main" id="{207A95A4-5540-5EB5-7D7E-0E75A0285567}"/>
                  </a:ext>
                  <a:ext uri="{C183D7F6-B498-43B3-948B-1728B52AA6E4}">
                    <adec:decorative xmlns:adec="http://schemas.microsoft.com/office/drawing/2017/decorative" val="1"/>
                  </a:ext>
                </a:extLst>
              </p:cNvPr>
              <p:cNvGrpSpPr/>
              <p:nvPr/>
            </p:nvGrpSpPr>
            <p:grpSpPr>
              <a:xfrm>
                <a:off x="7655023" y="2961453"/>
                <a:ext cx="414409" cy="414407"/>
                <a:chOff x="943606" y="3823446"/>
                <a:chExt cx="325983" cy="325982"/>
              </a:xfrm>
              <a:solidFill>
                <a:schemeClr val="bg1"/>
              </a:solidFill>
            </p:grpSpPr>
            <p:sp>
              <p:nvSpPr>
                <p:cNvPr id="44" name="Freeform: Shape 43">
                  <a:extLst>
                    <a:ext uri="{FF2B5EF4-FFF2-40B4-BE49-F238E27FC236}">
                      <a16:creationId xmlns:a16="http://schemas.microsoft.com/office/drawing/2014/main" id="{420DD293-1D45-014E-C1BB-61BABC42113F}"/>
                    </a:ext>
                  </a:extLst>
                </p:cNvPr>
                <p:cNvSpPr/>
                <p:nvPr/>
              </p:nvSpPr>
              <p:spPr>
                <a:xfrm>
                  <a:off x="943606" y="3823446"/>
                  <a:ext cx="325983" cy="325982"/>
                </a:xfrm>
                <a:custGeom>
                  <a:avLst/>
                  <a:gdLst>
                    <a:gd name="connsiteX0" fmla="*/ 325966 w 325983"/>
                    <a:gd name="connsiteY0" fmla="*/ 162991 h 325982"/>
                    <a:gd name="connsiteX1" fmla="*/ 305737 w 325983"/>
                    <a:gd name="connsiteY1" fmla="*/ 84393 h 325982"/>
                    <a:gd name="connsiteX2" fmla="*/ 317128 w 325983"/>
                    <a:gd name="connsiteY2" fmla="*/ 54638 h 325982"/>
                    <a:gd name="connsiteX3" fmla="*/ 271853 w 325983"/>
                    <a:gd name="connsiteY3" fmla="*/ 9363 h 325982"/>
                    <a:gd name="connsiteX4" fmla="*/ 242242 w 325983"/>
                    <a:gd name="connsiteY4" fmla="*/ 20646 h 325982"/>
                    <a:gd name="connsiteX5" fmla="*/ 162956 w 325983"/>
                    <a:gd name="connsiteY5" fmla="*/ 0 h 325982"/>
                    <a:gd name="connsiteX6" fmla="*/ 83669 w 325983"/>
                    <a:gd name="connsiteY6" fmla="*/ 20646 h 325982"/>
                    <a:gd name="connsiteX7" fmla="*/ 54059 w 325983"/>
                    <a:gd name="connsiteY7" fmla="*/ 9363 h 325982"/>
                    <a:gd name="connsiteX8" fmla="*/ 8802 w 325983"/>
                    <a:gd name="connsiteY8" fmla="*/ 54638 h 325982"/>
                    <a:gd name="connsiteX9" fmla="*/ 20211 w 325983"/>
                    <a:gd name="connsiteY9" fmla="*/ 84393 h 325982"/>
                    <a:gd name="connsiteX10" fmla="*/ 0 w 325983"/>
                    <a:gd name="connsiteY10" fmla="*/ 162991 h 325982"/>
                    <a:gd name="connsiteX11" fmla="*/ 20754 w 325983"/>
                    <a:gd name="connsiteY11" fmla="*/ 242458 h 325982"/>
                    <a:gd name="connsiteX12" fmla="*/ 8820 w 325983"/>
                    <a:gd name="connsiteY12" fmla="*/ 272865 h 325982"/>
                    <a:gd name="connsiteX13" fmla="*/ 54095 w 325983"/>
                    <a:gd name="connsiteY13" fmla="*/ 318140 h 325982"/>
                    <a:gd name="connsiteX14" fmla="*/ 84756 w 325983"/>
                    <a:gd name="connsiteY14" fmla="*/ 305988 h 325982"/>
                    <a:gd name="connsiteX15" fmla="*/ 162992 w 325983"/>
                    <a:gd name="connsiteY15" fmla="*/ 325982 h 325982"/>
                    <a:gd name="connsiteX16" fmla="*/ 241228 w 325983"/>
                    <a:gd name="connsiteY16" fmla="*/ 305988 h 325982"/>
                    <a:gd name="connsiteX17" fmla="*/ 271889 w 325983"/>
                    <a:gd name="connsiteY17" fmla="*/ 318140 h 325982"/>
                    <a:gd name="connsiteX18" fmla="*/ 317164 w 325983"/>
                    <a:gd name="connsiteY18" fmla="*/ 272865 h 325982"/>
                    <a:gd name="connsiteX19" fmla="*/ 305230 w 325983"/>
                    <a:gd name="connsiteY19" fmla="*/ 242476 h 325982"/>
                    <a:gd name="connsiteX20" fmla="*/ 325984 w 325983"/>
                    <a:gd name="connsiteY20" fmla="*/ 163009 h 325982"/>
                    <a:gd name="connsiteX21" fmla="*/ 246589 w 325983"/>
                    <a:gd name="connsiteY21" fmla="*/ 44877 h 325982"/>
                    <a:gd name="connsiteX22" fmla="*/ 258505 w 325983"/>
                    <a:gd name="connsiteY22" fmla="*/ 31131 h 325982"/>
                    <a:gd name="connsiteX23" fmla="*/ 271871 w 325983"/>
                    <a:gd name="connsiteY23" fmla="*/ 27473 h 325982"/>
                    <a:gd name="connsiteX24" fmla="*/ 299036 w 325983"/>
                    <a:gd name="connsiteY24" fmla="*/ 54638 h 325982"/>
                    <a:gd name="connsiteX25" fmla="*/ 295323 w 325983"/>
                    <a:gd name="connsiteY25" fmla="*/ 68094 h 325982"/>
                    <a:gd name="connsiteX26" fmla="*/ 281523 w 325983"/>
                    <a:gd name="connsiteY26" fmla="*/ 79938 h 325982"/>
                    <a:gd name="connsiteX27" fmla="*/ 271871 w 325983"/>
                    <a:gd name="connsiteY27" fmla="*/ 81785 h 325982"/>
                    <a:gd name="connsiteX28" fmla="*/ 244705 w 325983"/>
                    <a:gd name="connsiteY28" fmla="*/ 54620 h 325982"/>
                    <a:gd name="connsiteX29" fmla="*/ 246589 w 325983"/>
                    <a:gd name="connsiteY29" fmla="*/ 44859 h 325982"/>
                    <a:gd name="connsiteX30" fmla="*/ 54077 w 325983"/>
                    <a:gd name="connsiteY30" fmla="*/ 27473 h 325982"/>
                    <a:gd name="connsiteX31" fmla="*/ 67442 w 325983"/>
                    <a:gd name="connsiteY31" fmla="*/ 31131 h 325982"/>
                    <a:gd name="connsiteX32" fmla="*/ 79359 w 325983"/>
                    <a:gd name="connsiteY32" fmla="*/ 44877 h 325982"/>
                    <a:gd name="connsiteX33" fmla="*/ 81242 w 325983"/>
                    <a:gd name="connsiteY33" fmla="*/ 54638 h 325982"/>
                    <a:gd name="connsiteX34" fmla="*/ 54077 w 325983"/>
                    <a:gd name="connsiteY34" fmla="*/ 81803 h 325982"/>
                    <a:gd name="connsiteX35" fmla="*/ 44442 w 325983"/>
                    <a:gd name="connsiteY35" fmla="*/ 79956 h 325982"/>
                    <a:gd name="connsiteX36" fmla="*/ 30642 w 325983"/>
                    <a:gd name="connsiteY36" fmla="*/ 68112 h 325982"/>
                    <a:gd name="connsiteX37" fmla="*/ 26930 w 325983"/>
                    <a:gd name="connsiteY37" fmla="*/ 54638 h 325982"/>
                    <a:gd name="connsiteX38" fmla="*/ 54095 w 325983"/>
                    <a:gd name="connsiteY38" fmla="*/ 27473 h 325982"/>
                    <a:gd name="connsiteX39" fmla="*/ 79739 w 325983"/>
                    <a:gd name="connsiteY39" fmla="*/ 281377 h 325982"/>
                    <a:gd name="connsiteX40" fmla="*/ 68602 w 325983"/>
                    <a:gd name="connsiteY40" fmla="*/ 295720 h 325982"/>
                    <a:gd name="connsiteX41" fmla="*/ 54077 w 325983"/>
                    <a:gd name="connsiteY41" fmla="*/ 300012 h 325982"/>
                    <a:gd name="connsiteX42" fmla="*/ 26912 w 325983"/>
                    <a:gd name="connsiteY42" fmla="*/ 272847 h 325982"/>
                    <a:gd name="connsiteX43" fmla="*/ 31095 w 325983"/>
                    <a:gd name="connsiteY43" fmla="*/ 258504 h 325982"/>
                    <a:gd name="connsiteX44" fmla="*/ 45348 w 325983"/>
                    <a:gd name="connsiteY44" fmla="*/ 247239 h 325982"/>
                    <a:gd name="connsiteX45" fmla="*/ 54077 w 325983"/>
                    <a:gd name="connsiteY45" fmla="*/ 245682 h 325982"/>
                    <a:gd name="connsiteX46" fmla="*/ 81242 w 325983"/>
                    <a:gd name="connsiteY46" fmla="*/ 272847 h 325982"/>
                    <a:gd name="connsiteX47" fmla="*/ 79739 w 325983"/>
                    <a:gd name="connsiteY47" fmla="*/ 281377 h 325982"/>
                    <a:gd name="connsiteX48" fmla="*/ 271871 w 325983"/>
                    <a:gd name="connsiteY48" fmla="*/ 300012 h 325982"/>
                    <a:gd name="connsiteX49" fmla="*/ 257346 w 325983"/>
                    <a:gd name="connsiteY49" fmla="*/ 295720 h 325982"/>
                    <a:gd name="connsiteX50" fmla="*/ 246208 w 325983"/>
                    <a:gd name="connsiteY50" fmla="*/ 281377 h 325982"/>
                    <a:gd name="connsiteX51" fmla="*/ 244705 w 325983"/>
                    <a:gd name="connsiteY51" fmla="*/ 272847 h 325982"/>
                    <a:gd name="connsiteX52" fmla="*/ 271871 w 325983"/>
                    <a:gd name="connsiteY52" fmla="*/ 245682 h 325982"/>
                    <a:gd name="connsiteX53" fmla="*/ 280600 w 325983"/>
                    <a:gd name="connsiteY53" fmla="*/ 247257 h 325982"/>
                    <a:gd name="connsiteX54" fmla="*/ 294853 w 325983"/>
                    <a:gd name="connsiteY54" fmla="*/ 258522 h 325982"/>
                    <a:gd name="connsiteX55" fmla="*/ 299036 w 325983"/>
                    <a:gd name="connsiteY55" fmla="*/ 272865 h 325982"/>
                    <a:gd name="connsiteX56" fmla="*/ 271871 w 325983"/>
                    <a:gd name="connsiteY56" fmla="*/ 300030 h 325982"/>
                    <a:gd name="connsiteX57" fmla="*/ 271871 w 325983"/>
                    <a:gd name="connsiteY57" fmla="*/ 227572 h 325982"/>
                    <a:gd name="connsiteX58" fmla="*/ 226595 w 325983"/>
                    <a:gd name="connsiteY58" fmla="*/ 272847 h 325982"/>
                    <a:gd name="connsiteX59" fmla="*/ 230489 w 325983"/>
                    <a:gd name="connsiteY59" fmla="*/ 291084 h 325982"/>
                    <a:gd name="connsiteX60" fmla="*/ 162974 w 325983"/>
                    <a:gd name="connsiteY60" fmla="*/ 307872 h 325982"/>
                    <a:gd name="connsiteX61" fmla="*/ 95459 w 325983"/>
                    <a:gd name="connsiteY61" fmla="*/ 291084 h 325982"/>
                    <a:gd name="connsiteX62" fmla="*/ 99353 w 325983"/>
                    <a:gd name="connsiteY62" fmla="*/ 272865 h 325982"/>
                    <a:gd name="connsiteX63" fmla="*/ 54077 w 325983"/>
                    <a:gd name="connsiteY63" fmla="*/ 227590 h 325982"/>
                    <a:gd name="connsiteX64" fmla="*/ 35460 w 325983"/>
                    <a:gd name="connsiteY64" fmla="*/ 231683 h 325982"/>
                    <a:gd name="connsiteX65" fmla="*/ 18092 w 325983"/>
                    <a:gd name="connsiteY65" fmla="*/ 162991 h 325982"/>
                    <a:gd name="connsiteX66" fmla="*/ 34880 w 325983"/>
                    <a:gd name="connsiteY66" fmla="*/ 95495 h 325982"/>
                    <a:gd name="connsiteX67" fmla="*/ 54077 w 325983"/>
                    <a:gd name="connsiteY67" fmla="*/ 99913 h 325982"/>
                    <a:gd name="connsiteX68" fmla="*/ 99353 w 325983"/>
                    <a:gd name="connsiteY68" fmla="*/ 54638 h 325982"/>
                    <a:gd name="connsiteX69" fmla="*/ 94825 w 325983"/>
                    <a:gd name="connsiteY69" fmla="*/ 35206 h 325982"/>
                    <a:gd name="connsiteX70" fmla="*/ 162992 w 325983"/>
                    <a:gd name="connsiteY70" fmla="*/ 18092 h 325982"/>
                    <a:gd name="connsiteX71" fmla="*/ 231141 w 325983"/>
                    <a:gd name="connsiteY71" fmla="*/ 35188 h 325982"/>
                    <a:gd name="connsiteX72" fmla="*/ 226613 w 325983"/>
                    <a:gd name="connsiteY72" fmla="*/ 54620 h 325982"/>
                    <a:gd name="connsiteX73" fmla="*/ 271889 w 325983"/>
                    <a:gd name="connsiteY73" fmla="*/ 99895 h 325982"/>
                    <a:gd name="connsiteX74" fmla="*/ 291086 w 325983"/>
                    <a:gd name="connsiteY74" fmla="*/ 95477 h 325982"/>
                    <a:gd name="connsiteX75" fmla="*/ 307874 w 325983"/>
                    <a:gd name="connsiteY75" fmla="*/ 162973 h 325982"/>
                    <a:gd name="connsiteX76" fmla="*/ 290506 w 325983"/>
                    <a:gd name="connsiteY76" fmla="*/ 231665 h 325982"/>
                    <a:gd name="connsiteX77" fmla="*/ 271871 w 325983"/>
                    <a:gd name="connsiteY77" fmla="*/ 227554 h 3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325983" h="325982">
                      <a:moveTo>
                        <a:pt x="325966" y="162991"/>
                      </a:moveTo>
                      <a:cubicBezTo>
                        <a:pt x="325966" y="134486"/>
                        <a:pt x="318613" y="107719"/>
                        <a:pt x="305737" y="84393"/>
                      </a:cubicBezTo>
                      <a:cubicBezTo>
                        <a:pt x="312745" y="76425"/>
                        <a:pt x="317128" y="66084"/>
                        <a:pt x="317128" y="54638"/>
                      </a:cubicBezTo>
                      <a:cubicBezTo>
                        <a:pt x="317128" y="29628"/>
                        <a:pt x="296863" y="9363"/>
                        <a:pt x="271853" y="9363"/>
                      </a:cubicBezTo>
                      <a:cubicBezTo>
                        <a:pt x="260479" y="9363"/>
                        <a:pt x="250193" y="13709"/>
                        <a:pt x="242242" y="20646"/>
                      </a:cubicBezTo>
                      <a:cubicBezTo>
                        <a:pt x="218771" y="7534"/>
                        <a:pt x="191751" y="0"/>
                        <a:pt x="162956" y="0"/>
                      </a:cubicBezTo>
                      <a:cubicBezTo>
                        <a:pt x="134161" y="0"/>
                        <a:pt x="107140" y="7534"/>
                        <a:pt x="83669" y="20646"/>
                      </a:cubicBezTo>
                      <a:cubicBezTo>
                        <a:pt x="75719" y="13709"/>
                        <a:pt x="65432" y="9363"/>
                        <a:pt x="54059" y="9363"/>
                      </a:cubicBezTo>
                      <a:cubicBezTo>
                        <a:pt x="29067" y="9363"/>
                        <a:pt x="8802" y="29628"/>
                        <a:pt x="8802" y="54638"/>
                      </a:cubicBezTo>
                      <a:cubicBezTo>
                        <a:pt x="8802" y="66084"/>
                        <a:pt x="13184" y="76425"/>
                        <a:pt x="20211" y="84393"/>
                      </a:cubicBezTo>
                      <a:cubicBezTo>
                        <a:pt x="7353" y="107701"/>
                        <a:pt x="0" y="134486"/>
                        <a:pt x="0" y="162991"/>
                      </a:cubicBezTo>
                      <a:cubicBezTo>
                        <a:pt x="0" y="191859"/>
                        <a:pt x="7570" y="218933"/>
                        <a:pt x="20754" y="242458"/>
                      </a:cubicBezTo>
                      <a:cubicBezTo>
                        <a:pt x="13420" y="250499"/>
                        <a:pt x="8820" y="261112"/>
                        <a:pt x="8820" y="272865"/>
                      </a:cubicBezTo>
                      <a:cubicBezTo>
                        <a:pt x="8820" y="297875"/>
                        <a:pt x="29085" y="318140"/>
                        <a:pt x="54095" y="318140"/>
                      </a:cubicBezTo>
                      <a:cubicBezTo>
                        <a:pt x="65976" y="318140"/>
                        <a:pt x="76679" y="313468"/>
                        <a:pt x="84756" y="305988"/>
                      </a:cubicBezTo>
                      <a:cubicBezTo>
                        <a:pt x="107973" y="318720"/>
                        <a:pt x="134631" y="325982"/>
                        <a:pt x="162992" y="325982"/>
                      </a:cubicBezTo>
                      <a:cubicBezTo>
                        <a:pt x="191353" y="325982"/>
                        <a:pt x="217993" y="318720"/>
                        <a:pt x="241228" y="305988"/>
                      </a:cubicBezTo>
                      <a:cubicBezTo>
                        <a:pt x="249305" y="313468"/>
                        <a:pt x="260027" y="318140"/>
                        <a:pt x="271889" y="318140"/>
                      </a:cubicBezTo>
                      <a:cubicBezTo>
                        <a:pt x="296899" y="318140"/>
                        <a:pt x="317164" y="297875"/>
                        <a:pt x="317164" y="272865"/>
                      </a:cubicBezTo>
                      <a:cubicBezTo>
                        <a:pt x="317164" y="261112"/>
                        <a:pt x="312582" y="250517"/>
                        <a:pt x="305230" y="242476"/>
                      </a:cubicBezTo>
                      <a:cubicBezTo>
                        <a:pt x="318396" y="218951"/>
                        <a:pt x="325984" y="191877"/>
                        <a:pt x="325984" y="163009"/>
                      </a:cubicBezTo>
                      <a:close/>
                      <a:moveTo>
                        <a:pt x="246589" y="44877"/>
                      </a:moveTo>
                      <a:cubicBezTo>
                        <a:pt x="248853" y="39009"/>
                        <a:pt x="253108" y="34210"/>
                        <a:pt x="258505" y="31131"/>
                      </a:cubicBezTo>
                      <a:cubicBezTo>
                        <a:pt x="262471" y="28868"/>
                        <a:pt x="266981" y="27473"/>
                        <a:pt x="271871" y="27473"/>
                      </a:cubicBezTo>
                      <a:cubicBezTo>
                        <a:pt x="286848" y="27473"/>
                        <a:pt x="299036" y="39661"/>
                        <a:pt x="299036" y="54638"/>
                      </a:cubicBezTo>
                      <a:cubicBezTo>
                        <a:pt x="299036" y="59564"/>
                        <a:pt x="297623" y="64110"/>
                        <a:pt x="295323" y="68094"/>
                      </a:cubicBezTo>
                      <a:cubicBezTo>
                        <a:pt x="292208" y="73473"/>
                        <a:pt x="287391" y="77692"/>
                        <a:pt x="281523" y="79938"/>
                      </a:cubicBezTo>
                      <a:cubicBezTo>
                        <a:pt x="278517" y="81097"/>
                        <a:pt x="275293" y="81785"/>
                        <a:pt x="271871" y="81785"/>
                      </a:cubicBezTo>
                      <a:cubicBezTo>
                        <a:pt x="256894" y="81785"/>
                        <a:pt x="244705" y="69597"/>
                        <a:pt x="244705" y="54620"/>
                      </a:cubicBezTo>
                      <a:cubicBezTo>
                        <a:pt x="244705" y="51179"/>
                        <a:pt x="245412" y="47901"/>
                        <a:pt x="246589" y="44859"/>
                      </a:cubicBezTo>
                      <a:close/>
                      <a:moveTo>
                        <a:pt x="54077" y="27473"/>
                      </a:moveTo>
                      <a:cubicBezTo>
                        <a:pt x="58949" y="27473"/>
                        <a:pt x="63476" y="28868"/>
                        <a:pt x="67442" y="31131"/>
                      </a:cubicBezTo>
                      <a:cubicBezTo>
                        <a:pt x="72839" y="34210"/>
                        <a:pt x="77095" y="39027"/>
                        <a:pt x="79359" y="44877"/>
                      </a:cubicBezTo>
                      <a:cubicBezTo>
                        <a:pt x="80536" y="47919"/>
                        <a:pt x="81242" y="51179"/>
                        <a:pt x="81242" y="54638"/>
                      </a:cubicBezTo>
                      <a:cubicBezTo>
                        <a:pt x="81242" y="69615"/>
                        <a:pt x="69054" y="81803"/>
                        <a:pt x="54077" y="81803"/>
                      </a:cubicBezTo>
                      <a:cubicBezTo>
                        <a:pt x="50672" y="81803"/>
                        <a:pt x="47449" y="81097"/>
                        <a:pt x="44442" y="79956"/>
                      </a:cubicBezTo>
                      <a:cubicBezTo>
                        <a:pt x="38575" y="77710"/>
                        <a:pt x="33739" y="73491"/>
                        <a:pt x="30642" y="68112"/>
                      </a:cubicBezTo>
                      <a:cubicBezTo>
                        <a:pt x="28342" y="64128"/>
                        <a:pt x="26930" y="59564"/>
                        <a:pt x="26930" y="54638"/>
                      </a:cubicBezTo>
                      <a:cubicBezTo>
                        <a:pt x="26930" y="39661"/>
                        <a:pt x="39118" y="27473"/>
                        <a:pt x="54095" y="27473"/>
                      </a:cubicBezTo>
                      <a:close/>
                      <a:moveTo>
                        <a:pt x="79739" y="281377"/>
                      </a:moveTo>
                      <a:cubicBezTo>
                        <a:pt x="77747" y="287353"/>
                        <a:pt x="73817" y="292388"/>
                        <a:pt x="68602" y="295720"/>
                      </a:cubicBezTo>
                      <a:cubicBezTo>
                        <a:pt x="64382" y="298400"/>
                        <a:pt x="59420" y="300012"/>
                        <a:pt x="54077" y="300012"/>
                      </a:cubicBezTo>
                      <a:cubicBezTo>
                        <a:pt x="39100" y="300012"/>
                        <a:pt x="26912" y="287824"/>
                        <a:pt x="26912" y="272847"/>
                      </a:cubicBezTo>
                      <a:cubicBezTo>
                        <a:pt x="26912" y="267577"/>
                        <a:pt x="28487" y="262687"/>
                        <a:pt x="31095" y="258504"/>
                      </a:cubicBezTo>
                      <a:cubicBezTo>
                        <a:pt x="34373" y="253252"/>
                        <a:pt x="39390" y="249286"/>
                        <a:pt x="45348" y="247239"/>
                      </a:cubicBezTo>
                      <a:cubicBezTo>
                        <a:pt x="48101" y="246298"/>
                        <a:pt x="50998" y="245682"/>
                        <a:pt x="54077" y="245682"/>
                      </a:cubicBezTo>
                      <a:cubicBezTo>
                        <a:pt x="69054" y="245682"/>
                        <a:pt x="81242" y="257870"/>
                        <a:pt x="81242" y="272847"/>
                      </a:cubicBezTo>
                      <a:cubicBezTo>
                        <a:pt x="81242" y="275835"/>
                        <a:pt x="80645" y="278678"/>
                        <a:pt x="79739" y="281377"/>
                      </a:cubicBezTo>
                      <a:close/>
                      <a:moveTo>
                        <a:pt x="271871" y="300012"/>
                      </a:moveTo>
                      <a:cubicBezTo>
                        <a:pt x="266510" y="300012"/>
                        <a:pt x="261548" y="298400"/>
                        <a:pt x="257346" y="295720"/>
                      </a:cubicBezTo>
                      <a:cubicBezTo>
                        <a:pt x="252131" y="292388"/>
                        <a:pt x="248201" y="287353"/>
                        <a:pt x="246208" y="281377"/>
                      </a:cubicBezTo>
                      <a:cubicBezTo>
                        <a:pt x="245303" y="278678"/>
                        <a:pt x="244705" y="275835"/>
                        <a:pt x="244705" y="272847"/>
                      </a:cubicBezTo>
                      <a:cubicBezTo>
                        <a:pt x="244705" y="257870"/>
                        <a:pt x="256894" y="245682"/>
                        <a:pt x="271871" y="245682"/>
                      </a:cubicBezTo>
                      <a:cubicBezTo>
                        <a:pt x="274949" y="245682"/>
                        <a:pt x="277847" y="246298"/>
                        <a:pt x="280600" y="247257"/>
                      </a:cubicBezTo>
                      <a:cubicBezTo>
                        <a:pt x="286540" y="249304"/>
                        <a:pt x="291556" y="253270"/>
                        <a:pt x="294853" y="258522"/>
                      </a:cubicBezTo>
                      <a:cubicBezTo>
                        <a:pt x="297460" y="262687"/>
                        <a:pt x="299036" y="267577"/>
                        <a:pt x="299036" y="272865"/>
                      </a:cubicBezTo>
                      <a:cubicBezTo>
                        <a:pt x="299036" y="287842"/>
                        <a:pt x="286848" y="300030"/>
                        <a:pt x="271871" y="300030"/>
                      </a:cubicBezTo>
                      <a:close/>
                      <a:moveTo>
                        <a:pt x="271871" y="227572"/>
                      </a:moveTo>
                      <a:cubicBezTo>
                        <a:pt x="246860" y="227572"/>
                        <a:pt x="226595" y="247837"/>
                        <a:pt x="226595" y="272847"/>
                      </a:cubicBezTo>
                      <a:cubicBezTo>
                        <a:pt x="226595" y="279348"/>
                        <a:pt x="228026" y="285488"/>
                        <a:pt x="230489" y="291084"/>
                      </a:cubicBezTo>
                      <a:cubicBezTo>
                        <a:pt x="210314" y="301769"/>
                        <a:pt x="187350" y="307872"/>
                        <a:pt x="162974" y="307872"/>
                      </a:cubicBezTo>
                      <a:cubicBezTo>
                        <a:pt x="138598" y="307872"/>
                        <a:pt x="115652" y="301751"/>
                        <a:pt x="95459" y="291084"/>
                      </a:cubicBezTo>
                      <a:cubicBezTo>
                        <a:pt x="97922" y="285506"/>
                        <a:pt x="99353" y="279348"/>
                        <a:pt x="99353" y="272865"/>
                      </a:cubicBezTo>
                      <a:cubicBezTo>
                        <a:pt x="99353" y="247855"/>
                        <a:pt x="79087" y="227590"/>
                        <a:pt x="54077" y="227590"/>
                      </a:cubicBezTo>
                      <a:cubicBezTo>
                        <a:pt x="47413" y="227590"/>
                        <a:pt x="41146" y="229111"/>
                        <a:pt x="35460" y="231683"/>
                      </a:cubicBezTo>
                      <a:cubicBezTo>
                        <a:pt x="24394" y="211236"/>
                        <a:pt x="18092" y="187838"/>
                        <a:pt x="18092" y="162991"/>
                      </a:cubicBezTo>
                      <a:cubicBezTo>
                        <a:pt x="18092" y="138615"/>
                        <a:pt x="24195" y="115669"/>
                        <a:pt x="34880" y="95495"/>
                      </a:cubicBezTo>
                      <a:cubicBezTo>
                        <a:pt x="40730" y="98247"/>
                        <a:pt x="47195" y="99913"/>
                        <a:pt x="54077" y="99913"/>
                      </a:cubicBezTo>
                      <a:cubicBezTo>
                        <a:pt x="79087" y="99913"/>
                        <a:pt x="99353" y="79648"/>
                        <a:pt x="99353" y="54638"/>
                      </a:cubicBezTo>
                      <a:cubicBezTo>
                        <a:pt x="99353" y="47648"/>
                        <a:pt x="97632" y="41128"/>
                        <a:pt x="94825" y="35206"/>
                      </a:cubicBezTo>
                      <a:cubicBezTo>
                        <a:pt x="115163" y="24322"/>
                        <a:pt x="138344" y="18092"/>
                        <a:pt x="162992" y="18092"/>
                      </a:cubicBezTo>
                      <a:cubicBezTo>
                        <a:pt x="187640" y="18092"/>
                        <a:pt x="210821" y="24304"/>
                        <a:pt x="231141" y="35188"/>
                      </a:cubicBezTo>
                      <a:cubicBezTo>
                        <a:pt x="228316" y="41092"/>
                        <a:pt x="226613" y="47630"/>
                        <a:pt x="226613" y="54620"/>
                      </a:cubicBezTo>
                      <a:cubicBezTo>
                        <a:pt x="226613" y="79630"/>
                        <a:pt x="246879" y="99895"/>
                        <a:pt x="271889" y="99895"/>
                      </a:cubicBezTo>
                      <a:cubicBezTo>
                        <a:pt x="278789" y="99895"/>
                        <a:pt x="285236" y="98229"/>
                        <a:pt x="291086" y="95477"/>
                      </a:cubicBezTo>
                      <a:cubicBezTo>
                        <a:pt x="301753" y="115651"/>
                        <a:pt x="307874" y="138597"/>
                        <a:pt x="307874" y="162973"/>
                      </a:cubicBezTo>
                      <a:cubicBezTo>
                        <a:pt x="307874" y="187820"/>
                        <a:pt x="301571" y="211200"/>
                        <a:pt x="290506" y="231665"/>
                      </a:cubicBezTo>
                      <a:cubicBezTo>
                        <a:pt x="284819" y="229075"/>
                        <a:pt x="278535" y="227554"/>
                        <a:pt x="271871" y="227554"/>
                      </a:cubicBezTo>
                      <a:close/>
                    </a:path>
                  </a:pathLst>
                </a:custGeom>
                <a:solidFill>
                  <a:schemeClr val="bg1"/>
                </a:solidFill>
                <a:ln w="179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nvGrpSpPr>
                <p:cNvPr id="45" name="Graphic 5">
                  <a:extLst>
                    <a:ext uri="{FF2B5EF4-FFF2-40B4-BE49-F238E27FC236}">
                      <a16:creationId xmlns:a16="http://schemas.microsoft.com/office/drawing/2014/main" id="{5D2683B6-17B0-078D-7445-BE4405F85686}"/>
                    </a:ext>
                  </a:extLst>
                </p:cNvPr>
                <p:cNvGrpSpPr/>
                <p:nvPr/>
              </p:nvGrpSpPr>
              <p:grpSpPr>
                <a:xfrm>
                  <a:off x="1034157" y="3896647"/>
                  <a:ext cx="144827" cy="180992"/>
                  <a:chOff x="1034157" y="3896647"/>
                  <a:chExt cx="144827" cy="180992"/>
                </a:xfrm>
                <a:solidFill>
                  <a:schemeClr val="bg1"/>
                </a:solidFill>
              </p:grpSpPr>
              <p:sp>
                <p:nvSpPr>
                  <p:cNvPr id="46" name="Freeform: Shape 45">
                    <a:extLst>
                      <a:ext uri="{FF2B5EF4-FFF2-40B4-BE49-F238E27FC236}">
                        <a16:creationId xmlns:a16="http://schemas.microsoft.com/office/drawing/2014/main" id="{82998A87-1E99-F392-D43C-B860C969E949}"/>
                      </a:ext>
                    </a:extLst>
                  </p:cNvPr>
                  <p:cNvSpPr/>
                  <p:nvPr/>
                </p:nvSpPr>
                <p:spPr>
                  <a:xfrm>
                    <a:off x="1034157" y="4005199"/>
                    <a:ext cx="144827" cy="72440"/>
                  </a:xfrm>
                  <a:custGeom>
                    <a:avLst/>
                    <a:gdLst>
                      <a:gd name="connsiteX0" fmla="*/ 124472 w 144827"/>
                      <a:gd name="connsiteY0" fmla="*/ 18 h 72440"/>
                      <a:gd name="connsiteX1" fmla="*/ 20356 w 144827"/>
                      <a:gd name="connsiteY1" fmla="*/ 18 h 72440"/>
                      <a:gd name="connsiteX2" fmla="*/ 0 w 144827"/>
                      <a:gd name="connsiteY2" fmla="*/ 20374 h 72440"/>
                      <a:gd name="connsiteX3" fmla="*/ 0 w 144827"/>
                      <a:gd name="connsiteY3" fmla="*/ 25608 h 72440"/>
                      <a:gd name="connsiteX4" fmla="*/ 8131 w 144827"/>
                      <a:gd name="connsiteY4" fmla="*/ 47648 h 72440"/>
                      <a:gd name="connsiteX5" fmla="*/ 72387 w 144827"/>
                      <a:gd name="connsiteY5" fmla="*/ 72440 h 72440"/>
                      <a:gd name="connsiteX6" fmla="*/ 136678 w 144827"/>
                      <a:gd name="connsiteY6" fmla="*/ 47648 h 72440"/>
                      <a:gd name="connsiteX7" fmla="*/ 144827 w 144827"/>
                      <a:gd name="connsiteY7" fmla="*/ 25571 h 72440"/>
                      <a:gd name="connsiteX8" fmla="*/ 144827 w 144827"/>
                      <a:gd name="connsiteY8" fmla="*/ 20356 h 72440"/>
                      <a:gd name="connsiteX9" fmla="*/ 124472 w 144827"/>
                      <a:gd name="connsiteY9" fmla="*/ 0 h 72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827" h="72440">
                        <a:moveTo>
                          <a:pt x="124472" y="18"/>
                        </a:moveTo>
                        <a:lnTo>
                          <a:pt x="20356" y="18"/>
                        </a:lnTo>
                        <a:cubicBezTo>
                          <a:pt x="9109" y="18"/>
                          <a:pt x="0" y="9127"/>
                          <a:pt x="0" y="20374"/>
                        </a:cubicBezTo>
                        <a:lnTo>
                          <a:pt x="0" y="25608"/>
                        </a:lnTo>
                        <a:cubicBezTo>
                          <a:pt x="0" y="33685"/>
                          <a:pt x="2880" y="41508"/>
                          <a:pt x="8131" y="47648"/>
                        </a:cubicBezTo>
                        <a:cubicBezTo>
                          <a:pt x="22312" y="64255"/>
                          <a:pt x="43917" y="72440"/>
                          <a:pt x="72387" y="72440"/>
                        </a:cubicBezTo>
                        <a:cubicBezTo>
                          <a:pt x="100856" y="72440"/>
                          <a:pt x="122461" y="64255"/>
                          <a:pt x="136678" y="47648"/>
                        </a:cubicBezTo>
                        <a:cubicBezTo>
                          <a:pt x="141948" y="41490"/>
                          <a:pt x="144827" y="33667"/>
                          <a:pt x="144827" y="25571"/>
                        </a:cubicBezTo>
                        <a:lnTo>
                          <a:pt x="144827" y="20356"/>
                        </a:lnTo>
                        <a:cubicBezTo>
                          <a:pt x="144827" y="9109"/>
                          <a:pt x="135718" y="0"/>
                          <a:pt x="124472" y="0"/>
                        </a:cubicBezTo>
                        <a:close/>
                      </a:path>
                    </a:pathLst>
                  </a:custGeom>
                  <a:solidFill>
                    <a:schemeClr val="bg1"/>
                  </a:solidFill>
                  <a:ln w="179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F25F938E-C5B4-0F1C-D737-08CF94E8713F}"/>
                      </a:ext>
                    </a:extLst>
                  </p:cNvPr>
                  <p:cNvSpPr/>
                  <p:nvPr/>
                </p:nvSpPr>
                <p:spPr>
                  <a:xfrm>
                    <a:off x="1061286" y="3896647"/>
                    <a:ext cx="90514" cy="90514"/>
                  </a:xfrm>
                  <a:custGeom>
                    <a:avLst/>
                    <a:gdLst>
                      <a:gd name="connsiteX0" fmla="*/ 45257 w 90514"/>
                      <a:gd name="connsiteY0" fmla="*/ 90514 h 90514"/>
                      <a:gd name="connsiteX1" fmla="*/ 90515 w 90514"/>
                      <a:gd name="connsiteY1" fmla="*/ 45257 h 90514"/>
                      <a:gd name="connsiteX2" fmla="*/ 45257 w 90514"/>
                      <a:gd name="connsiteY2" fmla="*/ 0 h 90514"/>
                      <a:gd name="connsiteX3" fmla="*/ 0 w 90514"/>
                      <a:gd name="connsiteY3" fmla="*/ 45257 h 90514"/>
                      <a:gd name="connsiteX4" fmla="*/ 45257 w 90514"/>
                      <a:gd name="connsiteY4" fmla="*/ 90514 h 90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514" h="90514">
                        <a:moveTo>
                          <a:pt x="45257" y="90514"/>
                        </a:moveTo>
                        <a:cubicBezTo>
                          <a:pt x="70250" y="90514"/>
                          <a:pt x="90515" y="70249"/>
                          <a:pt x="90515" y="45257"/>
                        </a:cubicBezTo>
                        <a:cubicBezTo>
                          <a:pt x="90515" y="20265"/>
                          <a:pt x="70250" y="0"/>
                          <a:pt x="45257" y="0"/>
                        </a:cubicBezTo>
                        <a:cubicBezTo>
                          <a:pt x="20265" y="0"/>
                          <a:pt x="0" y="20265"/>
                          <a:pt x="0" y="45257"/>
                        </a:cubicBezTo>
                        <a:cubicBezTo>
                          <a:pt x="0" y="70249"/>
                          <a:pt x="20265" y="90514"/>
                          <a:pt x="45257" y="90514"/>
                        </a:cubicBezTo>
                        <a:close/>
                      </a:path>
                    </a:pathLst>
                  </a:custGeom>
                  <a:solidFill>
                    <a:schemeClr val="bg1"/>
                  </a:solidFill>
                  <a:ln w="179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grpSp>
      </p:grpSp>
      <p:sp>
        <p:nvSpPr>
          <p:cNvPr id="52" name="Title 10">
            <a:extLst>
              <a:ext uri="{FF2B5EF4-FFF2-40B4-BE49-F238E27FC236}">
                <a16:creationId xmlns:a16="http://schemas.microsoft.com/office/drawing/2014/main" id="{F2CB8390-ED95-5E3C-74BF-8A588F573702}"/>
              </a:ext>
            </a:extLst>
          </p:cNvPr>
          <p:cNvSpPr txBox="1">
            <a:spLocks/>
          </p:cNvSpPr>
          <p:nvPr/>
        </p:nvSpPr>
        <p:spPr>
          <a:xfrm>
            <a:off x="588963" y="-971573"/>
            <a:ext cx="11017250" cy="67710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gradFill>
                  <a:gsLst>
                    <a:gs pos="2917">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70" normalizeH="0" baseline="0" noProof="0">
                <a:ln w="3175">
                  <a:noFill/>
                </a:ln>
                <a:solidFill>
                  <a:srgbClr val="0078D4"/>
                </a:solidFill>
                <a:effectLst/>
                <a:uLnTx/>
                <a:uFillTx/>
                <a:latin typeface="Segoe Sans Display Semibold"/>
                <a:ea typeface="+mn-ea"/>
                <a:cs typeface="Segoe UI" pitchFamily="34" charset="0"/>
              </a:rPr>
              <a:t>Microsoft Entra Suite</a:t>
            </a:r>
          </a:p>
        </p:txBody>
      </p:sp>
    </p:spTree>
    <p:extLst>
      <p:ext uri="{BB962C8B-B14F-4D97-AF65-F5344CB8AC3E}">
        <p14:creationId xmlns:p14="http://schemas.microsoft.com/office/powerpoint/2010/main" val="270712341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250"/>
                                        <p:tgtEl>
                                          <p:spTgt spid="62"/>
                                        </p:tgtEl>
                                      </p:cBhvr>
                                    </p:animEffect>
                                  </p:childTnLst>
                                </p:cTn>
                              </p:par>
                              <p:par>
                                <p:cTn id="8" presetID="42" presetClass="path" presetSubtype="0" decel="100000" fill="hold" nodeType="withEffect">
                                  <p:stCondLst>
                                    <p:cond delay="150"/>
                                  </p:stCondLst>
                                  <p:childTnLst>
                                    <p:animMotion origin="layout" path="M 5E-6 -0.03472 L 5E-6 -4.81481E-6 " pathEditMode="relative" rAng="0" ptsTypes="AA">
                                      <p:cBhvr>
                                        <p:cTn id="9" dur="500" fill="hold"/>
                                        <p:tgtEl>
                                          <p:spTgt spid="62"/>
                                        </p:tgtEl>
                                        <p:attrNameLst>
                                          <p:attrName>ppt_x</p:attrName>
                                          <p:attrName>ppt_y</p:attrName>
                                        </p:attrNameLst>
                                      </p:cBhvr>
                                      <p:rCtr x="0" y="1736"/>
                                    </p:animMotion>
                                  </p:childTnLst>
                                </p:cTn>
                              </p:par>
                              <p:par>
                                <p:cTn id="10" presetID="10" presetClass="entr" presetSubtype="0" fill="hold" grpId="0" nodeType="withEffect">
                                  <p:stCondLst>
                                    <p:cond delay="150"/>
                                  </p:stCondLst>
                                  <p:childTnLst>
                                    <p:set>
                                      <p:cBhvr>
                                        <p:cTn id="11" dur="1" fill="hold">
                                          <p:stCondLst>
                                            <p:cond delay="0"/>
                                          </p:stCondLst>
                                        </p:cTn>
                                        <p:tgtEl>
                                          <p:spTgt spid="39"/>
                                        </p:tgtEl>
                                        <p:attrNameLst>
                                          <p:attrName>style.visibility</p:attrName>
                                        </p:attrNameLst>
                                      </p:cBhvr>
                                      <p:to>
                                        <p:strVal val="visible"/>
                                      </p:to>
                                    </p:set>
                                    <p:animEffect transition="in" filter="fade">
                                      <p:cBhvr>
                                        <p:cTn id="12" dur="250"/>
                                        <p:tgtEl>
                                          <p:spTgt spid="39"/>
                                        </p:tgtEl>
                                      </p:cBhvr>
                                    </p:animEffect>
                                  </p:childTnLst>
                                </p:cTn>
                              </p:par>
                              <p:par>
                                <p:cTn id="13" presetID="42" presetClass="path" presetSubtype="0" decel="100000" fill="hold" grpId="1" nodeType="withEffect">
                                  <p:stCondLst>
                                    <p:cond delay="150"/>
                                  </p:stCondLst>
                                  <p:childTnLst>
                                    <p:animMotion origin="layout" path="M 4.79167E-6 -0.03472 L 4.79167E-6 -7.40741E-7 " pathEditMode="relative" rAng="0" ptsTypes="AA">
                                      <p:cBhvr>
                                        <p:cTn id="14" dur="500" fill="hold"/>
                                        <p:tgtEl>
                                          <p:spTgt spid="39"/>
                                        </p:tgtEl>
                                        <p:attrNameLst>
                                          <p:attrName>ppt_x</p:attrName>
                                          <p:attrName>ppt_y</p:attrName>
                                        </p:attrNameLst>
                                      </p:cBhvr>
                                      <p:rCtr x="0" y="1736"/>
                                    </p:animMotion>
                                  </p:childTnLst>
                                </p:cTn>
                              </p:par>
                              <p:par>
                                <p:cTn id="15" presetID="10" presetClass="entr" presetSubtype="0" fill="hold" grpId="0" nodeType="withEffect">
                                  <p:stCondLst>
                                    <p:cond delay="150"/>
                                  </p:stCondLst>
                                  <p:childTnLst>
                                    <p:set>
                                      <p:cBhvr>
                                        <p:cTn id="16" dur="1" fill="hold">
                                          <p:stCondLst>
                                            <p:cond delay="0"/>
                                          </p:stCondLst>
                                        </p:cTn>
                                        <p:tgtEl>
                                          <p:spTgt spid="61"/>
                                        </p:tgtEl>
                                        <p:attrNameLst>
                                          <p:attrName>style.visibility</p:attrName>
                                        </p:attrNameLst>
                                      </p:cBhvr>
                                      <p:to>
                                        <p:strVal val="visible"/>
                                      </p:to>
                                    </p:set>
                                    <p:animEffect transition="in" filter="fade">
                                      <p:cBhvr>
                                        <p:cTn id="17" dur="250"/>
                                        <p:tgtEl>
                                          <p:spTgt spid="61"/>
                                        </p:tgtEl>
                                      </p:cBhvr>
                                    </p:animEffect>
                                  </p:childTnLst>
                                </p:cTn>
                              </p:par>
                              <p:par>
                                <p:cTn id="18" presetID="42" presetClass="path" presetSubtype="0" decel="100000" fill="hold" grpId="1" nodeType="withEffect">
                                  <p:stCondLst>
                                    <p:cond delay="150"/>
                                  </p:stCondLst>
                                  <p:childTnLst>
                                    <p:animMotion origin="layout" path="M 4.79167E-6 -0.03472 L 4.79167E-6 -4.81481E-6 " pathEditMode="relative" rAng="0" ptsTypes="AA">
                                      <p:cBhvr>
                                        <p:cTn id="19" dur="500" fill="hold"/>
                                        <p:tgtEl>
                                          <p:spTgt spid="61"/>
                                        </p:tgtEl>
                                        <p:attrNameLst>
                                          <p:attrName>ppt_x</p:attrName>
                                          <p:attrName>ppt_y</p:attrName>
                                        </p:attrNameLst>
                                      </p:cBhvr>
                                      <p:rCtr x="0" y="1736"/>
                                    </p:animMotion>
                                  </p:childTnLst>
                                </p:cTn>
                              </p:par>
                              <p:par>
                                <p:cTn id="20" presetID="10" presetClass="entr" presetSubtype="0" fill="hold" grpId="0" nodeType="withEffect">
                                  <p:stCondLst>
                                    <p:cond delay="15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250"/>
                                        <p:tgtEl>
                                          <p:spTgt spid="3"/>
                                        </p:tgtEl>
                                      </p:cBhvr>
                                    </p:animEffect>
                                  </p:childTnLst>
                                </p:cTn>
                              </p:par>
                              <p:par>
                                <p:cTn id="23" presetID="42" presetClass="path" presetSubtype="0" decel="100000" fill="hold" grpId="1" nodeType="withEffect">
                                  <p:stCondLst>
                                    <p:cond delay="150"/>
                                  </p:stCondLst>
                                  <p:childTnLst>
                                    <p:animMotion origin="layout" path="M -3.75E-6 -0.03472 L -3.75E-6 1.85185E-6 " pathEditMode="relative" rAng="0" ptsTypes="AA">
                                      <p:cBhvr>
                                        <p:cTn id="24" dur="500" fill="hold"/>
                                        <p:tgtEl>
                                          <p:spTgt spid="3"/>
                                        </p:tgtEl>
                                        <p:attrNameLst>
                                          <p:attrName>ppt_x</p:attrName>
                                          <p:attrName>ppt_y</p:attrName>
                                        </p:attrNameLst>
                                      </p:cBhvr>
                                      <p:rCtr x="0" y="1736"/>
                                    </p:animMotion>
                                  </p:childTnLst>
                                </p:cTn>
                              </p:par>
                              <p:par>
                                <p:cTn id="25" presetID="10" presetClass="entr" presetSubtype="0" fill="hold" grpId="0" nodeType="withEffect">
                                  <p:stCondLst>
                                    <p:cond delay="150"/>
                                  </p:stCondLst>
                                  <p:childTnLst>
                                    <p:set>
                                      <p:cBhvr>
                                        <p:cTn id="26" dur="1" fill="hold">
                                          <p:stCondLst>
                                            <p:cond delay="0"/>
                                          </p:stCondLst>
                                        </p:cTn>
                                        <p:tgtEl>
                                          <p:spTgt spid="54"/>
                                        </p:tgtEl>
                                        <p:attrNameLst>
                                          <p:attrName>style.visibility</p:attrName>
                                        </p:attrNameLst>
                                      </p:cBhvr>
                                      <p:to>
                                        <p:strVal val="visible"/>
                                      </p:to>
                                    </p:set>
                                    <p:animEffect transition="in" filter="fade">
                                      <p:cBhvr>
                                        <p:cTn id="27" dur="250"/>
                                        <p:tgtEl>
                                          <p:spTgt spid="54"/>
                                        </p:tgtEl>
                                      </p:cBhvr>
                                    </p:animEffect>
                                  </p:childTnLst>
                                </p:cTn>
                              </p:par>
                              <p:par>
                                <p:cTn id="28" presetID="42" presetClass="path" presetSubtype="0" decel="100000" fill="hold" grpId="1" nodeType="withEffect">
                                  <p:stCondLst>
                                    <p:cond delay="150"/>
                                  </p:stCondLst>
                                  <p:childTnLst>
                                    <p:animMotion origin="layout" path="M 2.5E-6 -0.03472 L 2.5E-6 -7.40741E-7 " pathEditMode="relative" rAng="0" ptsTypes="AA">
                                      <p:cBhvr>
                                        <p:cTn id="29" dur="500" fill="hold"/>
                                        <p:tgtEl>
                                          <p:spTgt spid="54"/>
                                        </p:tgtEl>
                                        <p:attrNameLst>
                                          <p:attrName>ppt_x</p:attrName>
                                          <p:attrName>ppt_y</p:attrName>
                                        </p:attrNameLst>
                                      </p:cBhvr>
                                      <p:rCtr x="0" y="1736"/>
                                    </p:animMotion>
                                  </p:childTnLst>
                                </p:cTn>
                              </p:par>
                              <p:par>
                                <p:cTn id="30" presetID="10" presetClass="entr" presetSubtype="0" fill="hold" nodeType="withEffect">
                                  <p:stCondLst>
                                    <p:cond delay="300"/>
                                  </p:stCondLst>
                                  <p:childTnLst>
                                    <p:set>
                                      <p:cBhvr>
                                        <p:cTn id="31" dur="1" fill="hold">
                                          <p:stCondLst>
                                            <p:cond delay="0"/>
                                          </p:stCondLst>
                                        </p:cTn>
                                        <p:tgtEl>
                                          <p:spTgt spid="722"/>
                                        </p:tgtEl>
                                        <p:attrNameLst>
                                          <p:attrName>style.visibility</p:attrName>
                                        </p:attrNameLst>
                                      </p:cBhvr>
                                      <p:to>
                                        <p:strVal val="visible"/>
                                      </p:to>
                                    </p:set>
                                    <p:animEffect transition="in" filter="fade">
                                      <p:cBhvr>
                                        <p:cTn id="32" dur="250"/>
                                        <p:tgtEl>
                                          <p:spTgt spid="722"/>
                                        </p:tgtEl>
                                      </p:cBhvr>
                                    </p:animEffect>
                                  </p:childTnLst>
                                </p:cTn>
                              </p:par>
                              <p:par>
                                <p:cTn id="33" presetID="42" presetClass="path" presetSubtype="0" decel="100000" fill="hold" nodeType="withEffect">
                                  <p:stCondLst>
                                    <p:cond delay="300"/>
                                  </p:stCondLst>
                                  <p:childTnLst>
                                    <p:animMotion origin="layout" path="M 1.25E-6 -0.03472 L 1.25E-6 -4.81481E-6 " pathEditMode="relative" rAng="0" ptsTypes="AA">
                                      <p:cBhvr>
                                        <p:cTn id="34" dur="500" fill="hold"/>
                                        <p:tgtEl>
                                          <p:spTgt spid="722"/>
                                        </p:tgtEl>
                                        <p:attrNameLst>
                                          <p:attrName>ppt_x</p:attrName>
                                          <p:attrName>ppt_y</p:attrName>
                                        </p:attrNameLst>
                                      </p:cBhvr>
                                      <p:rCtr x="0" y="1736"/>
                                    </p:animMotion>
                                  </p:childTnLst>
                                </p:cTn>
                              </p:par>
                              <p:par>
                                <p:cTn id="35" presetID="10" presetClass="entr" presetSubtype="0" fill="hold" grpId="0" nodeType="withEffect">
                                  <p:stCondLst>
                                    <p:cond delay="300"/>
                                  </p:stCondLst>
                                  <p:childTnLst>
                                    <p:set>
                                      <p:cBhvr>
                                        <p:cTn id="36" dur="1" fill="hold">
                                          <p:stCondLst>
                                            <p:cond delay="0"/>
                                          </p:stCondLst>
                                        </p:cTn>
                                        <p:tgtEl>
                                          <p:spTgt spid="721"/>
                                        </p:tgtEl>
                                        <p:attrNameLst>
                                          <p:attrName>style.visibility</p:attrName>
                                        </p:attrNameLst>
                                      </p:cBhvr>
                                      <p:to>
                                        <p:strVal val="visible"/>
                                      </p:to>
                                    </p:set>
                                    <p:animEffect transition="in" filter="fade">
                                      <p:cBhvr>
                                        <p:cTn id="37" dur="250"/>
                                        <p:tgtEl>
                                          <p:spTgt spid="721"/>
                                        </p:tgtEl>
                                      </p:cBhvr>
                                    </p:animEffect>
                                  </p:childTnLst>
                                </p:cTn>
                              </p:par>
                              <p:par>
                                <p:cTn id="38" presetID="42" presetClass="path" presetSubtype="0" decel="100000" fill="hold" grpId="1" nodeType="withEffect">
                                  <p:stCondLst>
                                    <p:cond delay="300"/>
                                  </p:stCondLst>
                                  <p:childTnLst>
                                    <p:animMotion origin="layout" path="M 1.25E-6 -0.03472 L 1.25E-6 -4.81481E-6 " pathEditMode="relative" rAng="0" ptsTypes="AA">
                                      <p:cBhvr>
                                        <p:cTn id="39" dur="500" fill="hold"/>
                                        <p:tgtEl>
                                          <p:spTgt spid="721"/>
                                        </p:tgtEl>
                                        <p:attrNameLst>
                                          <p:attrName>ppt_x</p:attrName>
                                          <p:attrName>ppt_y</p:attrName>
                                        </p:attrNameLst>
                                      </p:cBhvr>
                                      <p:rCtr x="0" y="1736"/>
                                    </p:animMotion>
                                  </p:childTnLst>
                                </p:cTn>
                              </p:par>
                              <p:par>
                                <p:cTn id="40" presetID="10" presetClass="entr" presetSubtype="0" fill="hold" grpId="0" nodeType="withEffect">
                                  <p:stCondLst>
                                    <p:cond delay="300"/>
                                  </p:stCondLst>
                                  <p:childTnLst>
                                    <p:set>
                                      <p:cBhvr>
                                        <p:cTn id="41" dur="1" fill="hold">
                                          <p:stCondLst>
                                            <p:cond delay="0"/>
                                          </p:stCondLst>
                                        </p:cTn>
                                        <p:tgtEl>
                                          <p:spTgt spid="10"/>
                                        </p:tgtEl>
                                        <p:attrNameLst>
                                          <p:attrName>style.visibility</p:attrName>
                                        </p:attrNameLst>
                                      </p:cBhvr>
                                      <p:to>
                                        <p:strVal val="visible"/>
                                      </p:to>
                                    </p:set>
                                    <p:animEffect transition="in" filter="fade">
                                      <p:cBhvr>
                                        <p:cTn id="42" dur="250"/>
                                        <p:tgtEl>
                                          <p:spTgt spid="10"/>
                                        </p:tgtEl>
                                      </p:cBhvr>
                                    </p:animEffect>
                                  </p:childTnLst>
                                </p:cTn>
                              </p:par>
                              <p:par>
                                <p:cTn id="43" presetID="42" presetClass="path" presetSubtype="0" decel="100000" fill="hold" grpId="1" nodeType="withEffect">
                                  <p:stCondLst>
                                    <p:cond delay="300"/>
                                  </p:stCondLst>
                                  <p:childTnLst>
                                    <p:animMotion origin="layout" path="M -3.75E-6 -0.03472 L -3.75E-6 1.85185E-6 " pathEditMode="relative" rAng="0" ptsTypes="AA">
                                      <p:cBhvr>
                                        <p:cTn id="44" dur="500" fill="hold"/>
                                        <p:tgtEl>
                                          <p:spTgt spid="10"/>
                                        </p:tgtEl>
                                        <p:attrNameLst>
                                          <p:attrName>ppt_x</p:attrName>
                                          <p:attrName>ppt_y</p:attrName>
                                        </p:attrNameLst>
                                      </p:cBhvr>
                                      <p:rCtr x="0" y="1736"/>
                                    </p:animMotion>
                                  </p:childTnLst>
                                </p:cTn>
                              </p:par>
                              <p:par>
                                <p:cTn id="45" presetID="10" presetClass="entr" presetSubtype="0" fill="hold" grpId="0" nodeType="withEffect">
                                  <p:stCondLst>
                                    <p:cond delay="300"/>
                                  </p:stCondLst>
                                  <p:childTnLst>
                                    <p:set>
                                      <p:cBhvr>
                                        <p:cTn id="46" dur="1" fill="hold">
                                          <p:stCondLst>
                                            <p:cond delay="0"/>
                                          </p:stCondLst>
                                        </p:cTn>
                                        <p:tgtEl>
                                          <p:spTgt spid="55"/>
                                        </p:tgtEl>
                                        <p:attrNameLst>
                                          <p:attrName>style.visibility</p:attrName>
                                        </p:attrNameLst>
                                      </p:cBhvr>
                                      <p:to>
                                        <p:strVal val="visible"/>
                                      </p:to>
                                    </p:set>
                                    <p:animEffect transition="in" filter="fade">
                                      <p:cBhvr>
                                        <p:cTn id="47" dur="250"/>
                                        <p:tgtEl>
                                          <p:spTgt spid="55"/>
                                        </p:tgtEl>
                                      </p:cBhvr>
                                    </p:animEffect>
                                  </p:childTnLst>
                                </p:cTn>
                              </p:par>
                              <p:par>
                                <p:cTn id="48" presetID="42" presetClass="path" presetSubtype="0" decel="100000" fill="hold" grpId="1" nodeType="withEffect">
                                  <p:stCondLst>
                                    <p:cond delay="300"/>
                                  </p:stCondLst>
                                  <p:childTnLst>
                                    <p:animMotion origin="layout" path="M 0 -0.03472 L 0 -7.40741E-7 " pathEditMode="relative" rAng="0" ptsTypes="AA">
                                      <p:cBhvr>
                                        <p:cTn id="49" dur="500" fill="hold"/>
                                        <p:tgtEl>
                                          <p:spTgt spid="55"/>
                                        </p:tgtEl>
                                        <p:attrNameLst>
                                          <p:attrName>ppt_x</p:attrName>
                                          <p:attrName>ppt_y</p:attrName>
                                        </p:attrNameLst>
                                      </p:cBhvr>
                                      <p:rCtr x="0" y="1736"/>
                                    </p:animMotion>
                                  </p:childTnLst>
                                </p:cTn>
                              </p:par>
                              <p:par>
                                <p:cTn id="50" presetID="10" presetClass="entr" presetSubtype="0" fill="hold" nodeType="withEffect">
                                  <p:stCondLst>
                                    <p:cond delay="450"/>
                                  </p:stCondLst>
                                  <p:childTnLst>
                                    <p:set>
                                      <p:cBhvr>
                                        <p:cTn id="51" dur="1" fill="hold">
                                          <p:stCondLst>
                                            <p:cond delay="0"/>
                                          </p:stCondLst>
                                        </p:cTn>
                                        <p:tgtEl>
                                          <p:spTgt spid="719"/>
                                        </p:tgtEl>
                                        <p:attrNameLst>
                                          <p:attrName>style.visibility</p:attrName>
                                        </p:attrNameLst>
                                      </p:cBhvr>
                                      <p:to>
                                        <p:strVal val="visible"/>
                                      </p:to>
                                    </p:set>
                                    <p:animEffect transition="in" filter="fade">
                                      <p:cBhvr>
                                        <p:cTn id="52" dur="250"/>
                                        <p:tgtEl>
                                          <p:spTgt spid="719"/>
                                        </p:tgtEl>
                                      </p:cBhvr>
                                    </p:animEffect>
                                  </p:childTnLst>
                                </p:cTn>
                              </p:par>
                              <p:par>
                                <p:cTn id="53" presetID="42" presetClass="path" presetSubtype="0" decel="100000" fill="hold" nodeType="withEffect">
                                  <p:stCondLst>
                                    <p:cond delay="450"/>
                                  </p:stCondLst>
                                  <p:childTnLst>
                                    <p:animMotion origin="layout" path="M -4.16667E-7 -0.03472 L -4.16667E-7 1.11111E-6 " pathEditMode="relative" rAng="0" ptsTypes="AA">
                                      <p:cBhvr>
                                        <p:cTn id="54" dur="500" fill="hold"/>
                                        <p:tgtEl>
                                          <p:spTgt spid="719"/>
                                        </p:tgtEl>
                                        <p:attrNameLst>
                                          <p:attrName>ppt_x</p:attrName>
                                          <p:attrName>ppt_y</p:attrName>
                                        </p:attrNameLst>
                                      </p:cBhvr>
                                      <p:rCtr x="0" y="1736"/>
                                    </p:animMotion>
                                  </p:childTnLst>
                                </p:cTn>
                              </p:par>
                              <p:par>
                                <p:cTn id="55" presetID="10" presetClass="entr" presetSubtype="0" fill="hold" grpId="0" nodeType="withEffect">
                                  <p:stCondLst>
                                    <p:cond delay="450"/>
                                  </p:stCondLst>
                                  <p:childTnLst>
                                    <p:set>
                                      <p:cBhvr>
                                        <p:cTn id="56" dur="1" fill="hold">
                                          <p:stCondLst>
                                            <p:cond delay="0"/>
                                          </p:stCondLst>
                                        </p:cTn>
                                        <p:tgtEl>
                                          <p:spTgt spid="718"/>
                                        </p:tgtEl>
                                        <p:attrNameLst>
                                          <p:attrName>style.visibility</p:attrName>
                                        </p:attrNameLst>
                                      </p:cBhvr>
                                      <p:to>
                                        <p:strVal val="visible"/>
                                      </p:to>
                                    </p:set>
                                    <p:animEffect transition="in" filter="fade">
                                      <p:cBhvr>
                                        <p:cTn id="57" dur="250"/>
                                        <p:tgtEl>
                                          <p:spTgt spid="718"/>
                                        </p:tgtEl>
                                      </p:cBhvr>
                                    </p:animEffect>
                                  </p:childTnLst>
                                </p:cTn>
                              </p:par>
                              <p:par>
                                <p:cTn id="58" presetID="42" presetClass="path" presetSubtype="0" decel="100000" fill="hold" grpId="1" nodeType="withEffect">
                                  <p:stCondLst>
                                    <p:cond delay="450"/>
                                  </p:stCondLst>
                                  <p:childTnLst>
                                    <p:animMotion origin="layout" path="M -4.16667E-7 -0.03472 L -4.16667E-7 1.11111E-6 " pathEditMode="relative" rAng="0" ptsTypes="AA">
                                      <p:cBhvr>
                                        <p:cTn id="59" dur="500" fill="hold"/>
                                        <p:tgtEl>
                                          <p:spTgt spid="718"/>
                                        </p:tgtEl>
                                        <p:attrNameLst>
                                          <p:attrName>ppt_x</p:attrName>
                                          <p:attrName>ppt_y</p:attrName>
                                        </p:attrNameLst>
                                      </p:cBhvr>
                                      <p:rCtr x="0" y="1736"/>
                                    </p:animMotion>
                                  </p:childTnLst>
                                </p:cTn>
                              </p:par>
                              <p:par>
                                <p:cTn id="60" presetID="10" presetClass="entr" presetSubtype="0" fill="hold" grpId="0" nodeType="withEffect">
                                  <p:stCondLst>
                                    <p:cond delay="45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250"/>
                                        <p:tgtEl>
                                          <p:spTgt spid="17"/>
                                        </p:tgtEl>
                                      </p:cBhvr>
                                    </p:animEffect>
                                  </p:childTnLst>
                                </p:cTn>
                              </p:par>
                              <p:par>
                                <p:cTn id="63" presetID="42" presetClass="path" presetSubtype="0" decel="100000" fill="hold" grpId="1" nodeType="withEffect">
                                  <p:stCondLst>
                                    <p:cond delay="450"/>
                                  </p:stCondLst>
                                  <p:childTnLst>
                                    <p:animMotion origin="layout" path="M -3.75E-6 -0.03472 L -3.75E-6 1.85185E-6 " pathEditMode="relative" rAng="0" ptsTypes="AA">
                                      <p:cBhvr>
                                        <p:cTn id="64" dur="500" fill="hold"/>
                                        <p:tgtEl>
                                          <p:spTgt spid="17"/>
                                        </p:tgtEl>
                                        <p:attrNameLst>
                                          <p:attrName>ppt_x</p:attrName>
                                          <p:attrName>ppt_y</p:attrName>
                                        </p:attrNameLst>
                                      </p:cBhvr>
                                      <p:rCtr x="0" y="1736"/>
                                    </p:animMotion>
                                  </p:childTnLst>
                                </p:cTn>
                              </p:par>
                              <p:par>
                                <p:cTn id="65" presetID="10" presetClass="entr" presetSubtype="0" fill="hold" grpId="0" nodeType="withEffect">
                                  <p:stCondLst>
                                    <p:cond delay="450"/>
                                  </p:stCondLst>
                                  <p:childTnLst>
                                    <p:set>
                                      <p:cBhvr>
                                        <p:cTn id="66" dur="1" fill="hold">
                                          <p:stCondLst>
                                            <p:cond delay="0"/>
                                          </p:stCondLst>
                                        </p:cTn>
                                        <p:tgtEl>
                                          <p:spTgt spid="56"/>
                                        </p:tgtEl>
                                        <p:attrNameLst>
                                          <p:attrName>style.visibility</p:attrName>
                                        </p:attrNameLst>
                                      </p:cBhvr>
                                      <p:to>
                                        <p:strVal val="visible"/>
                                      </p:to>
                                    </p:set>
                                    <p:animEffect transition="in" filter="fade">
                                      <p:cBhvr>
                                        <p:cTn id="67" dur="250"/>
                                        <p:tgtEl>
                                          <p:spTgt spid="56"/>
                                        </p:tgtEl>
                                      </p:cBhvr>
                                    </p:animEffect>
                                  </p:childTnLst>
                                </p:cTn>
                              </p:par>
                              <p:par>
                                <p:cTn id="68" presetID="42" presetClass="path" presetSubtype="0" decel="100000" fill="hold" grpId="1" nodeType="withEffect">
                                  <p:stCondLst>
                                    <p:cond delay="450"/>
                                  </p:stCondLst>
                                  <p:childTnLst>
                                    <p:animMotion origin="layout" path="M -2.29167E-6 -0.03472 L -2.29167E-6 -7.40741E-7 " pathEditMode="relative" rAng="0" ptsTypes="AA">
                                      <p:cBhvr>
                                        <p:cTn id="69" dur="500" fill="hold"/>
                                        <p:tgtEl>
                                          <p:spTgt spid="56"/>
                                        </p:tgtEl>
                                        <p:attrNameLst>
                                          <p:attrName>ppt_x</p:attrName>
                                          <p:attrName>ppt_y</p:attrName>
                                        </p:attrNameLst>
                                      </p:cBhvr>
                                      <p:rCtr x="0" y="1736"/>
                                    </p:animMotion>
                                  </p:childTnLst>
                                </p:cTn>
                              </p:par>
                              <p:par>
                                <p:cTn id="70" presetID="10" presetClass="entr" presetSubtype="0" fill="hold" nodeType="withEffect">
                                  <p:stCondLst>
                                    <p:cond delay="600"/>
                                  </p:stCondLst>
                                  <p:childTnLst>
                                    <p:set>
                                      <p:cBhvr>
                                        <p:cTn id="71" dur="1" fill="hold">
                                          <p:stCondLst>
                                            <p:cond delay="0"/>
                                          </p:stCondLst>
                                        </p:cTn>
                                        <p:tgtEl>
                                          <p:spTgt spid="716"/>
                                        </p:tgtEl>
                                        <p:attrNameLst>
                                          <p:attrName>style.visibility</p:attrName>
                                        </p:attrNameLst>
                                      </p:cBhvr>
                                      <p:to>
                                        <p:strVal val="visible"/>
                                      </p:to>
                                    </p:set>
                                    <p:animEffect transition="in" filter="fade">
                                      <p:cBhvr>
                                        <p:cTn id="72" dur="250"/>
                                        <p:tgtEl>
                                          <p:spTgt spid="716"/>
                                        </p:tgtEl>
                                      </p:cBhvr>
                                    </p:animEffect>
                                  </p:childTnLst>
                                </p:cTn>
                              </p:par>
                              <p:par>
                                <p:cTn id="73" presetID="42" presetClass="path" presetSubtype="0" decel="100000" fill="hold" nodeType="withEffect">
                                  <p:stCondLst>
                                    <p:cond delay="600"/>
                                  </p:stCondLst>
                                  <p:childTnLst>
                                    <p:animMotion origin="layout" path="M -1.45833E-6 -0.03472 L -1.45833E-6 -4.81481E-6 " pathEditMode="relative" rAng="0" ptsTypes="AA">
                                      <p:cBhvr>
                                        <p:cTn id="74" dur="500" fill="hold"/>
                                        <p:tgtEl>
                                          <p:spTgt spid="716"/>
                                        </p:tgtEl>
                                        <p:attrNameLst>
                                          <p:attrName>ppt_x</p:attrName>
                                          <p:attrName>ppt_y</p:attrName>
                                        </p:attrNameLst>
                                      </p:cBhvr>
                                      <p:rCtr x="0" y="1736"/>
                                    </p:animMotion>
                                  </p:childTnLst>
                                </p:cTn>
                              </p:par>
                              <p:par>
                                <p:cTn id="75" presetID="10" presetClass="entr" presetSubtype="0" fill="hold" grpId="0" nodeType="withEffect">
                                  <p:stCondLst>
                                    <p:cond delay="600"/>
                                  </p:stCondLst>
                                  <p:childTnLst>
                                    <p:set>
                                      <p:cBhvr>
                                        <p:cTn id="76" dur="1" fill="hold">
                                          <p:stCondLst>
                                            <p:cond delay="0"/>
                                          </p:stCondLst>
                                        </p:cTn>
                                        <p:tgtEl>
                                          <p:spTgt spid="715"/>
                                        </p:tgtEl>
                                        <p:attrNameLst>
                                          <p:attrName>style.visibility</p:attrName>
                                        </p:attrNameLst>
                                      </p:cBhvr>
                                      <p:to>
                                        <p:strVal val="visible"/>
                                      </p:to>
                                    </p:set>
                                    <p:animEffect transition="in" filter="fade">
                                      <p:cBhvr>
                                        <p:cTn id="77" dur="250"/>
                                        <p:tgtEl>
                                          <p:spTgt spid="715"/>
                                        </p:tgtEl>
                                      </p:cBhvr>
                                    </p:animEffect>
                                  </p:childTnLst>
                                </p:cTn>
                              </p:par>
                              <p:par>
                                <p:cTn id="78" presetID="42" presetClass="path" presetSubtype="0" decel="100000" fill="hold" grpId="1" nodeType="withEffect">
                                  <p:stCondLst>
                                    <p:cond delay="600"/>
                                  </p:stCondLst>
                                  <p:childTnLst>
                                    <p:animMotion origin="layout" path="M -1.45833E-6 -0.03472 L -1.45833E-6 -4.81481E-6 " pathEditMode="relative" rAng="0" ptsTypes="AA">
                                      <p:cBhvr>
                                        <p:cTn id="79" dur="500" fill="hold"/>
                                        <p:tgtEl>
                                          <p:spTgt spid="715"/>
                                        </p:tgtEl>
                                        <p:attrNameLst>
                                          <p:attrName>ppt_x</p:attrName>
                                          <p:attrName>ppt_y</p:attrName>
                                        </p:attrNameLst>
                                      </p:cBhvr>
                                      <p:rCtr x="0" y="1736"/>
                                    </p:animMotion>
                                  </p:childTnLst>
                                </p:cTn>
                              </p:par>
                              <p:par>
                                <p:cTn id="80" presetID="10" presetClass="entr" presetSubtype="0" fill="hold" grpId="0" nodeType="withEffect">
                                  <p:stCondLst>
                                    <p:cond delay="600"/>
                                  </p:stCondLst>
                                  <p:childTnLst>
                                    <p:set>
                                      <p:cBhvr>
                                        <p:cTn id="81" dur="1" fill="hold">
                                          <p:stCondLst>
                                            <p:cond delay="0"/>
                                          </p:stCondLst>
                                        </p:cTn>
                                        <p:tgtEl>
                                          <p:spTgt spid="26"/>
                                        </p:tgtEl>
                                        <p:attrNameLst>
                                          <p:attrName>style.visibility</p:attrName>
                                        </p:attrNameLst>
                                      </p:cBhvr>
                                      <p:to>
                                        <p:strVal val="visible"/>
                                      </p:to>
                                    </p:set>
                                    <p:animEffect transition="in" filter="fade">
                                      <p:cBhvr>
                                        <p:cTn id="82" dur="250"/>
                                        <p:tgtEl>
                                          <p:spTgt spid="26"/>
                                        </p:tgtEl>
                                      </p:cBhvr>
                                    </p:animEffect>
                                  </p:childTnLst>
                                </p:cTn>
                              </p:par>
                              <p:par>
                                <p:cTn id="83" presetID="42" presetClass="path" presetSubtype="0" decel="100000" fill="hold" grpId="1" nodeType="withEffect">
                                  <p:stCondLst>
                                    <p:cond delay="600"/>
                                  </p:stCondLst>
                                  <p:childTnLst>
                                    <p:animMotion origin="layout" path="M -3.75E-6 -0.03472 L -3.75E-6 1.85185E-6 " pathEditMode="relative" rAng="0" ptsTypes="AA">
                                      <p:cBhvr>
                                        <p:cTn id="84" dur="500" fill="hold"/>
                                        <p:tgtEl>
                                          <p:spTgt spid="26"/>
                                        </p:tgtEl>
                                        <p:attrNameLst>
                                          <p:attrName>ppt_x</p:attrName>
                                          <p:attrName>ppt_y</p:attrName>
                                        </p:attrNameLst>
                                      </p:cBhvr>
                                      <p:rCtr x="0" y="1736"/>
                                    </p:animMotion>
                                  </p:childTnLst>
                                </p:cTn>
                              </p:par>
                              <p:par>
                                <p:cTn id="85" presetID="10" presetClass="entr" presetSubtype="0" fill="hold" nodeType="withEffect">
                                  <p:stCondLst>
                                    <p:cond delay="750"/>
                                  </p:stCondLst>
                                  <p:childTnLst>
                                    <p:set>
                                      <p:cBhvr>
                                        <p:cTn id="86" dur="1" fill="hold">
                                          <p:stCondLst>
                                            <p:cond delay="0"/>
                                          </p:stCondLst>
                                        </p:cTn>
                                        <p:tgtEl>
                                          <p:spTgt spid="725"/>
                                        </p:tgtEl>
                                        <p:attrNameLst>
                                          <p:attrName>style.visibility</p:attrName>
                                        </p:attrNameLst>
                                      </p:cBhvr>
                                      <p:to>
                                        <p:strVal val="visible"/>
                                      </p:to>
                                    </p:set>
                                    <p:animEffect transition="in" filter="fade">
                                      <p:cBhvr>
                                        <p:cTn id="87" dur="250"/>
                                        <p:tgtEl>
                                          <p:spTgt spid="725"/>
                                        </p:tgtEl>
                                      </p:cBhvr>
                                    </p:animEffect>
                                  </p:childTnLst>
                                </p:cTn>
                              </p:par>
                              <p:par>
                                <p:cTn id="88" presetID="42" presetClass="path" presetSubtype="0" decel="100000" fill="hold" nodeType="withEffect">
                                  <p:stCondLst>
                                    <p:cond delay="750"/>
                                  </p:stCondLst>
                                  <p:childTnLst>
                                    <p:animMotion origin="layout" path="M -4.79167E-6 -0.03472 L -4.79167E-6 -4.81481E-6 " pathEditMode="relative" rAng="0" ptsTypes="AA">
                                      <p:cBhvr>
                                        <p:cTn id="89" dur="500" fill="hold"/>
                                        <p:tgtEl>
                                          <p:spTgt spid="725"/>
                                        </p:tgtEl>
                                        <p:attrNameLst>
                                          <p:attrName>ppt_x</p:attrName>
                                          <p:attrName>ppt_y</p:attrName>
                                        </p:attrNameLst>
                                      </p:cBhvr>
                                      <p:rCtr x="0" y="1736"/>
                                    </p:animMotion>
                                  </p:childTnLst>
                                </p:cTn>
                              </p:par>
                              <p:par>
                                <p:cTn id="90" presetID="10" presetClass="entr" presetSubtype="0" fill="hold" grpId="0" nodeType="withEffect">
                                  <p:stCondLst>
                                    <p:cond delay="750"/>
                                  </p:stCondLst>
                                  <p:childTnLst>
                                    <p:set>
                                      <p:cBhvr>
                                        <p:cTn id="91" dur="1" fill="hold">
                                          <p:stCondLst>
                                            <p:cond delay="0"/>
                                          </p:stCondLst>
                                        </p:cTn>
                                        <p:tgtEl>
                                          <p:spTgt spid="724"/>
                                        </p:tgtEl>
                                        <p:attrNameLst>
                                          <p:attrName>style.visibility</p:attrName>
                                        </p:attrNameLst>
                                      </p:cBhvr>
                                      <p:to>
                                        <p:strVal val="visible"/>
                                      </p:to>
                                    </p:set>
                                    <p:animEffect transition="in" filter="fade">
                                      <p:cBhvr>
                                        <p:cTn id="92" dur="250"/>
                                        <p:tgtEl>
                                          <p:spTgt spid="724"/>
                                        </p:tgtEl>
                                      </p:cBhvr>
                                    </p:animEffect>
                                  </p:childTnLst>
                                </p:cTn>
                              </p:par>
                              <p:par>
                                <p:cTn id="93" presetID="42" presetClass="path" presetSubtype="0" decel="100000" fill="hold" grpId="1" nodeType="withEffect">
                                  <p:stCondLst>
                                    <p:cond delay="750"/>
                                  </p:stCondLst>
                                  <p:childTnLst>
                                    <p:animMotion origin="layout" path="M -4.79167E-6 -0.03472 L -4.79167E-6 -4.81481E-6 " pathEditMode="relative" rAng="0" ptsTypes="AA">
                                      <p:cBhvr>
                                        <p:cTn id="94" dur="500" fill="hold"/>
                                        <p:tgtEl>
                                          <p:spTgt spid="724"/>
                                        </p:tgtEl>
                                        <p:attrNameLst>
                                          <p:attrName>ppt_x</p:attrName>
                                          <p:attrName>ppt_y</p:attrName>
                                        </p:attrNameLst>
                                      </p:cBhvr>
                                      <p:rCtr x="0" y="1736"/>
                                    </p:animMotion>
                                  </p:childTnLst>
                                </p:cTn>
                              </p:par>
                              <p:par>
                                <p:cTn id="95" presetID="10" presetClass="entr" presetSubtype="0" fill="hold" grpId="0" nodeType="withEffect">
                                  <p:stCondLst>
                                    <p:cond delay="750"/>
                                  </p:stCondLst>
                                  <p:childTnLst>
                                    <p:set>
                                      <p:cBhvr>
                                        <p:cTn id="96" dur="1" fill="hold">
                                          <p:stCondLst>
                                            <p:cond delay="0"/>
                                          </p:stCondLst>
                                        </p:cTn>
                                        <p:tgtEl>
                                          <p:spTgt spid="57"/>
                                        </p:tgtEl>
                                        <p:attrNameLst>
                                          <p:attrName>style.visibility</p:attrName>
                                        </p:attrNameLst>
                                      </p:cBhvr>
                                      <p:to>
                                        <p:strVal val="visible"/>
                                      </p:to>
                                    </p:set>
                                    <p:animEffect transition="in" filter="fade">
                                      <p:cBhvr>
                                        <p:cTn id="97" dur="250"/>
                                        <p:tgtEl>
                                          <p:spTgt spid="57"/>
                                        </p:tgtEl>
                                      </p:cBhvr>
                                    </p:animEffect>
                                  </p:childTnLst>
                                </p:cTn>
                              </p:par>
                              <p:par>
                                <p:cTn id="98" presetID="42" presetClass="path" presetSubtype="0" decel="100000" fill="hold" grpId="1" nodeType="withEffect">
                                  <p:stCondLst>
                                    <p:cond delay="750"/>
                                  </p:stCondLst>
                                  <p:childTnLst>
                                    <p:animMotion origin="layout" path="M -4.79167E-6 -0.03472 L -4.79167E-6 -7.40741E-7 " pathEditMode="relative" rAng="0" ptsTypes="AA">
                                      <p:cBhvr>
                                        <p:cTn id="99" dur="500" fill="hold"/>
                                        <p:tgtEl>
                                          <p:spTgt spid="57"/>
                                        </p:tgtEl>
                                        <p:attrNameLst>
                                          <p:attrName>ppt_x</p:attrName>
                                          <p:attrName>ppt_y</p:attrName>
                                        </p:attrNameLst>
                                      </p:cBhvr>
                                      <p:rCtr x="0" y="1736"/>
                                    </p:animMotion>
                                  </p:childTnLst>
                                </p:cTn>
                              </p:par>
                              <p:par>
                                <p:cTn id="100" presetID="10" presetClass="entr" presetSubtype="0" fill="hold" grpId="0" nodeType="withEffect">
                                  <p:stCondLst>
                                    <p:cond delay="750"/>
                                  </p:stCondLst>
                                  <p:childTnLst>
                                    <p:set>
                                      <p:cBhvr>
                                        <p:cTn id="101" dur="1" fill="hold">
                                          <p:stCondLst>
                                            <p:cond delay="0"/>
                                          </p:stCondLst>
                                        </p:cTn>
                                        <p:tgtEl>
                                          <p:spTgt spid="59"/>
                                        </p:tgtEl>
                                        <p:attrNameLst>
                                          <p:attrName>style.visibility</p:attrName>
                                        </p:attrNameLst>
                                      </p:cBhvr>
                                      <p:to>
                                        <p:strVal val="visible"/>
                                      </p:to>
                                    </p:set>
                                    <p:animEffect transition="in" filter="fade">
                                      <p:cBhvr>
                                        <p:cTn id="102" dur="250"/>
                                        <p:tgtEl>
                                          <p:spTgt spid="59"/>
                                        </p:tgtEl>
                                      </p:cBhvr>
                                    </p:animEffect>
                                  </p:childTnLst>
                                </p:cTn>
                              </p:par>
                              <p:par>
                                <p:cTn id="103" presetID="42" presetClass="path" presetSubtype="0" decel="100000" fill="hold" grpId="1" nodeType="withEffect">
                                  <p:stCondLst>
                                    <p:cond delay="750"/>
                                  </p:stCondLst>
                                  <p:childTnLst>
                                    <p:animMotion origin="layout" path="M -3.75E-6 -0.03472 L -3.75E-6 1.85185E-6 " pathEditMode="relative" rAng="0" ptsTypes="AA">
                                      <p:cBhvr>
                                        <p:cTn id="104" dur="500" fill="hold"/>
                                        <p:tgtEl>
                                          <p:spTgt spid="59"/>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10" grpId="0" animBg="1"/>
      <p:bldP spid="10" grpId="1" animBg="1"/>
      <p:bldP spid="17" grpId="0" animBg="1"/>
      <p:bldP spid="17" grpId="1" animBg="1"/>
      <p:bldP spid="26" grpId="0" animBg="1"/>
      <p:bldP spid="26" grpId="1" animBg="1"/>
      <p:bldP spid="59" grpId="0" animBg="1"/>
      <p:bldP spid="59" grpId="1" animBg="1"/>
      <p:bldP spid="61" grpId="0" animBg="1"/>
      <p:bldP spid="61" grpId="1" animBg="1"/>
      <p:bldP spid="721" grpId="0" animBg="1"/>
      <p:bldP spid="721" grpId="1" animBg="1"/>
      <p:bldP spid="718" grpId="0" animBg="1"/>
      <p:bldP spid="718" grpId="1" animBg="1"/>
      <p:bldP spid="715" grpId="0" animBg="1"/>
      <p:bldP spid="715" grpId="1" animBg="1"/>
      <p:bldP spid="724" grpId="0" animBg="1"/>
      <p:bldP spid="724" grpId="1" animBg="1"/>
      <p:bldP spid="39" grpId="0"/>
      <p:bldP spid="39" grpId="1"/>
      <p:bldP spid="54" grpId="0"/>
      <p:bldP spid="54" grpId="1"/>
      <p:bldP spid="55" grpId="0"/>
      <p:bldP spid="55" grpId="1"/>
      <p:bldP spid="56" grpId="0"/>
      <p:bldP spid="56" grpId="1"/>
      <p:bldP spid="57" grpId="0"/>
      <p:bldP spid="57" grpId="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Whova mobile app logo">
            <a:extLst>
              <a:ext uri="{FF2B5EF4-FFF2-40B4-BE49-F238E27FC236}">
                <a16:creationId xmlns:a16="http://schemas.microsoft.com/office/drawing/2014/main" id="{931740CA-3FA7-198D-6774-6EF2CBF29F0C}"/>
              </a:ext>
            </a:extLst>
          </p:cNvPr>
          <p:cNvPicPr>
            <a:picLocks noChangeAspect="1"/>
          </p:cNvPicPr>
          <p:nvPr/>
        </p:nvPicPr>
        <p:blipFill>
          <a:blip r:embed="rId2"/>
          <a:stretch>
            <a:fillRect/>
          </a:stretch>
        </p:blipFill>
        <p:spPr>
          <a:xfrm>
            <a:off x="1492628" y="313083"/>
            <a:ext cx="2377437" cy="800099"/>
          </a:xfrm>
          <a:prstGeom prst="rect">
            <a:avLst/>
          </a:prstGeom>
        </p:spPr>
      </p:pic>
      <p:sp>
        <p:nvSpPr>
          <p:cNvPr id="8" name="TextBox 7">
            <a:extLst>
              <a:ext uri="{FF2B5EF4-FFF2-40B4-BE49-F238E27FC236}">
                <a16:creationId xmlns:a16="http://schemas.microsoft.com/office/drawing/2014/main" id="{3621A9B1-5D1E-8EDA-B18E-C71ACCC8B10D}"/>
              </a:ext>
            </a:extLst>
          </p:cNvPr>
          <p:cNvSpPr txBox="1"/>
          <p:nvPr/>
        </p:nvSpPr>
        <p:spPr>
          <a:xfrm>
            <a:off x="4664568" y="713132"/>
            <a:ext cx="5857875"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he official event app for th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91F2C"/>
                </a:solidFill>
                <a:effectLst/>
                <a:uLnTx/>
                <a:uFillTx/>
                <a:latin typeface="Segoe UI" panose="020B0502040204020203" pitchFamily="34" charset="0"/>
                <a:ea typeface="+mn-ea"/>
                <a:cs typeface="Segoe UI" panose="020B0502040204020203" pitchFamily="34" charset="0"/>
              </a:rPr>
              <a:t>Microsoft 365 Community Conference</a:t>
            </a:r>
          </a:p>
        </p:txBody>
      </p:sp>
      <p:pic>
        <p:nvPicPr>
          <p:cNvPr id="4" name="Picture 3" descr="Image of a mobile phone with a QR code to access the Whova mobile app. ">
            <a:extLst>
              <a:ext uri="{FF2B5EF4-FFF2-40B4-BE49-F238E27FC236}">
                <a16:creationId xmlns:a16="http://schemas.microsoft.com/office/drawing/2014/main" id="{2F175549-C4A3-D386-F9D1-3945F2E3AE9D}"/>
              </a:ext>
            </a:extLst>
          </p:cNvPr>
          <p:cNvPicPr>
            <a:picLocks noChangeAspect="1"/>
          </p:cNvPicPr>
          <p:nvPr/>
        </p:nvPicPr>
        <p:blipFill>
          <a:blip r:embed="rId3"/>
          <a:srcRect l="13443" t="3322" r="8439" b="1626"/>
          <a:stretch/>
        </p:blipFill>
        <p:spPr>
          <a:xfrm>
            <a:off x="1421364" y="1327404"/>
            <a:ext cx="2519967" cy="5217513"/>
          </a:xfrm>
          <a:prstGeom prst="roundRect">
            <a:avLst/>
          </a:prstGeom>
          <a:effectLst>
            <a:outerShdw blurRad="50800" dist="38100" dir="2700000" algn="tl" rotWithShape="0">
              <a:prstClr val="black">
                <a:alpha val="40000"/>
              </a:prstClr>
            </a:outerShdw>
          </a:effectLst>
        </p:spPr>
      </p:pic>
      <p:sp>
        <p:nvSpPr>
          <p:cNvPr id="12" name="Rectangle 11">
            <a:extLst>
              <a:ext uri="{FF2B5EF4-FFF2-40B4-BE49-F238E27FC236}">
                <a16:creationId xmlns:a16="http://schemas.microsoft.com/office/drawing/2014/main" id="{A3B93281-4B28-3D3B-28E9-492E065C17A1}"/>
              </a:ext>
            </a:extLst>
          </p:cNvPr>
          <p:cNvSpPr/>
          <p:nvPr/>
        </p:nvSpPr>
        <p:spPr>
          <a:xfrm>
            <a:off x="4794401" y="1648880"/>
            <a:ext cx="5477129" cy="546265"/>
          </a:xfrm>
          <a:prstGeom prst="rect">
            <a:avLst/>
          </a:prstGeom>
          <a:solidFill>
            <a:srgbClr val="091F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w="3175">
                  <a:noFill/>
                </a:ln>
                <a:solidFill>
                  <a:prstClr val="white"/>
                </a:solidFill>
                <a:effectLst/>
                <a:uLnTx/>
                <a:uFillTx/>
                <a:latin typeface="Aptos" panose="02110004020202020204"/>
                <a:ea typeface="+mn-ea"/>
                <a:cs typeface="+mn-cs"/>
              </a:rPr>
              <a:t>Event invitation code: NextGen2025</a:t>
            </a:r>
          </a:p>
        </p:txBody>
      </p:sp>
      <p:sp>
        <p:nvSpPr>
          <p:cNvPr id="13" name="Title 12">
            <a:extLst>
              <a:ext uri="{FF2B5EF4-FFF2-40B4-BE49-F238E27FC236}">
                <a16:creationId xmlns:a16="http://schemas.microsoft.com/office/drawing/2014/main" id="{2420C10F-0FBD-0FA6-FD4F-18D769F87D12}"/>
              </a:ext>
            </a:extLst>
          </p:cNvPr>
          <p:cNvSpPr txBox="1">
            <a:spLocks noGrp="1"/>
          </p:cNvSpPr>
          <p:nvPr>
            <p:ph type="title" idx="4294967295"/>
          </p:nvPr>
        </p:nvSpPr>
        <p:spPr>
          <a:xfrm>
            <a:off x="4794401" y="2748350"/>
            <a:ext cx="4362450" cy="461962"/>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tx1"/>
                </a:solidFill>
                <a:effectLst/>
                <a:uLnTx/>
                <a:uFillTx/>
                <a:latin typeface="+mn-lt"/>
                <a:ea typeface="+mn-ea"/>
                <a:cs typeface="+mn-cs"/>
              </a:rPr>
              <a:t>Join the event app to access:</a:t>
            </a:r>
          </a:p>
        </p:txBody>
      </p:sp>
      <p:sp>
        <p:nvSpPr>
          <p:cNvPr id="2" name="TextBox 1" descr="Bulleted list of app benefits:&#10;Event announcements&#10;Personalized agenda, session details&#10;Speaker &amp; attendee profiles&#10;Networking, meet-ups, messages&#10;Event documents&#10;">
            <a:extLst>
              <a:ext uri="{FF2B5EF4-FFF2-40B4-BE49-F238E27FC236}">
                <a16:creationId xmlns:a16="http://schemas.microsoft.com/office/drawing/2014/main" id="{9E8AD8A4-944E-D852-3CF7-4EF974142FA0}"/>
              </a:ext>
            </a:extLst>
          </p:cNvPr>
          <p:cNvSpPr txBox="1"/>
          <p:nvPr/>
        </p:nvSpPr>
        <p:spPr>
          <a:xfrm>
            <a:off x="4794401" y="3399366"/>
            <a:ext cx="5548277" cy="2701189"/>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Event announcements</a:t>
            </a:r>
          </a:p>
          <a:p>
            <a:pPr marL="342900" marR="0" lvl="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Personalized agenda, session details</a:t>
            </a:r>
          </a:p>
          <a:p>
            <a:pPr marL="342900" marR="0" lvl="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Speaker &amp; attendee profiles</a:t>
            </a:r>
          </a:p>
          <a:p>
            <a:pPr marL="342900" marR="0" lvl="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Networking, meet-ups, messages</a:t>
            </a:r>
          </a:p>
          <a:p>
            <a:pPr marL="342900" marR="0" lvl="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Event documents</a:t>
            </a:r>
          </a:p>
        </p:txBody>
      </p:sp>
      <p:pic>
        <p:nvPicPr>
          <p:cNvPr id="3" name="Graphic 2">
            <a:extLst>
              <a:ext uri="{FF2B5EF4-FFF2-40B4-BE49-F238E27FC236}">
                <a16:creationId xmlns:a16="http://schemas.microsoft.com/office/drawing/2014/main" id="{B767033D-AD96-05F2-66FC-BCD4DD40B8C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901373" y="-1176361"/>
            <a:ext cx="3162870" cy="561826"/>
          </a:xfrm>
          <a:prstGeom prst="rect">
            <a:avLst/>
          </a:prstGeom>
        </p:spPr>
      </p:pic>
    </p:spTree>
    <p:extLst>
      <p:ext uri="{BB962C8B-B14F-4D97-AF65-F5344CB8AC3E}">
        <p14:creationId xmlns:p14="http://schemas.microsoft.com/office/powerpoint/2010/main" val="141415318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27" name="Group 726">
            <a:extLst>
              <a:ext uri="{FF2B5EF4-FFF2-40B4-BE49-F238E27FC236}">
                <a16:creationId xmlns:a16="http://schemas.microsoft.com/office/drawing/2014/main" id="{C0861ABE-BECE-2513-FB28-B6569806B1B1}"/>
              </a:ext>
            </a:extLst>
          </p:cNvPr>
          <p:cNvGrpSpPr/>
          <p:nvPr/>
        </p:nvGrpSpPr>
        <p:grpSpPr>
          <a:xfrm>
            <a:off x="2247900" y="1632206"/>
            <a:ext cx="7696200" cy="1005840"/>
            <a:chOff x="2247900" y="2097290"/>
            <a:chExt cx="7696200" cy="1005840"/>
          </a:xfrm>
        </p:grpSpPr>
        <p:sp>
          <p:nvSpPr>
            <p:cNvPr id="726" name="Rectangle: Rounded Corners 725">
              <a:extLst>
                <a:ext uri="{FF2B5EF4-FFF2-40B4-BE49-F238E27FC236}">
                  <a16:creationId xmlns:a16="http://schemas.microsoft.com/office/drawing/2014/main" id="{2902CEE0-DCB4-2962-E2D8-D3B9FAEC75DD}"/>
                </a:ext>
              </a:extLst>
            </p:cNvPr>
            <p:cNvSpPr/>
            <p:nvPr/>
          </p:nvSpPr>
          <p:spPr bwMode="auto">
            <a:xfrm>
              <a:off x="2247900" y="2097290"/>
              <a:ext cx="7696200" cy="1005840"/>
            </a:xfrm>
            <a:prstGeom prst="roundRect">
              <a:avLst>
                <a:gd name="adj" fmla="val 50000"/>
              </a:avLst>
            </a:prstGeom>
            <a:solidFill>
              <a:schemeClr val="bg1"/>
            </a:solidFill>
            <a:ln w="34925">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1200"/>
                </a:spcBef>
                <a:spcAft>
                  <a:spcPts val="1500"/>
                </a:spcAft>
                <a:buClrTx/>
                <a:buSzPct val="90000"/>
                <a:buFontTx/>
                <a:buNone/>
                <a:tabLst/>
                <a:defRPr/>
              </a:pPr>
              <a:endParaRPr kumimoji="0" lang="en-US" sz="1400" b="0" i="0" u="none" strike="noStrike" kern="1200" cap="none" spc="0" normalizeH="0" baseline="0" noProof="0" err="1">
                <a:ln>
                  <a:noFill/>
                </a:ln>
                <a:gradFill>
                  <a:gsLst>
                    <a:gs pos="0">
                      <a:srgbClr val="000000"/>
                    </a:gs>
                    <a:gs pos="100000">
                      <a:srgbClr val="000000"/>
                    </a:gs>
                  </a:gsLst>
                  <a:path path="circle">
                    <a:fillToRect l="50000" t="50000" r="50000" b="50000"/>
                  </a:path>
                </a:gradFill>
                <a:effectLst/>
                <a:uLnTx/>
                <a:uFillTx/>
                <a:latin typeface="Segoe Sans Display Semibold"/>
                <a:ea typeface="+mn-ea"/>
                <a:cs typeface="Segoe UI" panose="020B0502040204020203" pitchFamily="34" charset="0"/>
              </a:endParaRPr>
            </a:p>
          </p:txBody>
        </p:sp>
        <p:grpSp>
          <p:nvGrpSpPr>
            <p:cNvPr id="2" name="Group 1">
              <a:extLst>
                <a:ext uri="{FF2B5EF4-FFF2-40B4-BE49-F238E27FC236}">
                  <a16:creationId xmlns:a16="http://schemas.microsoft.com/office/drawing/2014/main" id="{AB26957A-5573-0115-A697-5265A98C1F7D}"/>
                </a:ext>
              </a:extLst>
            </p:cNvPr>
            <p:cNvGrpSpPr/>
            <p:nvPr/>
          </p:nvGrpSpPr>
          <p:grpSpPr>
            <a:xfrm>
              <a:off x="2592586" y="2239949"/>
              <a:ext cx="7237215" cy="726353"/>
              <a:chOff x="2554486" y="2805479"/>
              <a:chExt cx="7237215" cy="726353"/>
            </a:xfrm>
          </p:grpSpPr>
          <p:sp>
            <p:nvSpPr>
              <p:cNvPr id="3" name="Rectangle 2">
                <a:extLst>
                  <a:ext uri="{FF2B5EF4-FFF2-40B4-BE49-F238E27FC236}">
                    <a16:creationId xmlns:a16="http://schemas.microsoft.com/office/drawing/2014/main" id="{9726F53A-4A9C-A1F4-512F-29F905790241}"/>
                  </a:ext>
                  <a:ext uri="{C183D7F6-B498-43B3-948B-1728B52AA6E4}">
                    <adec:decorative xmlns:adec="http://schemas.microsoft.com/office/drawing/2017/decorative" val="0"/>
                  </a:ext>
                </a:extLst>
              </p:cNvPr>
              <p:cNvSpPr/>
              <p:nvPr/>
            </p:nvSpPr>
            <p:spPr bwMode="auto">
              <a:xfrm>
                <a:off x="5700332" y="2805479"/>
                <a:ext cx="1966876" cy="7263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ts val="1200"/>
                  </a:spcBef>
                  <a:spcAft>
                    <a:spcPct val="0"/>
                  </a:spcAft>
                  <a:buClrTx/>
                  <a:buSzTx/>
                  <a:buFontTx/>
                  <a:buNone/>
                  <a:tabLst/>
                  <a:defRPr/>
                </a:pPr>
                <a:r>
                  <a:rPr kumimoji="0" lang="en-US" sz="1400" b="1" i="0" u="none" strike="noStrike" kern="1200" cap="none" spc="-50" normalizeH="0" baseline="0" noProof="0">
                    <a:ln>
                      <a:noFill/>
                    </a:ln>
                    <a:gradFill>
                      <a:gsLst>
                        <a:gs pos="1000">
                          <a:srgbClr val="000000"/>
                        </a:gs>
                        <a:gs pos="100000">
                          <a:srgbClr val="000000"/>
                        </a:gs>
                      </a:gsLst>
                      <a:path path="circle">
                        <a:fillToRect l="50000" t="50000" r="50000" b="50000"/>
                      </a:path>
                    </a:gradFill>
                    <a:effectLst/>
                    <a:uLnTx/>
                    <a:uFillTx/>
                    <a:latin typeface="Segoe Sans Display Semibold"/>
                    <a:ea typeface="+mn-ea"/>
                    <a:cs typeface="Segoe UI"/>
                  </a:rPr>
                  <a:t>Microsoft Entra Private Access</a:t>
                </a:r>
              </a:p>
            </p:txBody>
          </p:sp>
          <p:sp>
            <p:nvSpPr>
              <p:cNvPr id="4" name="Rectangle 3">
                <a:extLst>
                  <a:ext uri="{FF2B5EF4-FFF2-40B4-BE49-F238E27FC236}">
                    <a16:creationId xmlns:a16="http://schemas.microsoft.com/office/drawing/2014/main" id="{CC3D1DB6-1E52-11DB-5E49-1DCFCEF0A957}"/>
                  </a:ext>
                </a:extLst>
              </p:cNvPr>
              <p:cNvSpPr/>
              <p:nvPr/>
            </p:nvSpPr>
            <p:spPr bwMode="auto">
              <a:xfrm>
                <a:off x="3207430" y="2805479"/>
                <a:ext cx="1966876" cy="7263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ts val="1200"/>
                  </a:spcBef>
                  <a:spcAft>
                    <a:spcPct val="0"/>
                  </a:spcAft>
                  <a:buClrTx/>
                  <a:buSzTx/>
                  <a:buFontTx/>
                  <a:buNone/>
                  <a:tabLst/>
                  <a:defRPr/>
                </a:pPr>
                <a:r>
                  <a:rPr kumimoji="0" lang="en-US" sz="1400" b="1" i="0" u="none" strike="noStrike" kern="1200" cap="none" spc="-50" normalizeH="0" baseline="0" noProof="0">
                    <a:ln>
                      <a:noFill/>
                    </a:ln>
                    <a:gradFill>
                      <a:gsLst>
                        <a:gs pos="1000">
                          <a:srgbClr val="000000"/>
                        </a:gs>
                        <a:gs pos="100000">
                          <a:srgbClr val="000000"/>
                        </a:gs>
                      </a:gsLst>
                      <a:path path="circle">
                        <a:fillToRect l="50000" t="50000" r="50000" b="50000"/>
                      </a:path>
                    </a:gradFill>
                    <a:effectLst/>
                    <a:uLnTx/>
                    <a:uFillTx/>
                    <a:latin typeface="Segoe Sans Display Semibold"/>
                    <a:ea typeface="+mn-ea"/>
                    <a:cs typeface="Segoe UI"/>
                  </a:rPr>
                  <a:t>Microsoft Entra Internet Access</a:t>
                </a:r>
              </a:p>
            </p:txBody>
          </p:sp>
          <p:grpSp>
            <p:nvGrpSpPr>
              <p:cNvPr id="5" name="Group 4">
                <a:extLst>
                  <a:ext uri="{FF2B5EF4-FFF2-40B4-BE49-F238E27FC236}">
                    <a16:creationId xmlns:a16="http://schemas.microsoft.com/office/drawing/2014/main" id="{469059C1-9695-C8DA-02D0-E90590EECDA7}"/>
                  </a:ext>
                  <a:ext uri="{C183D7F6-B498-43B3-948B-1728B52AA6E4}">
                    <adec:decorative xmlns:adec="http://schemas.microsoft.com/office/drawing/2017/decorative" val="1"/>
                  </a:ext>
                </a:extLst>
              </p:cNvPr>
              <p:cNvGrpSpPr>
                <a:grpSpLocks noChangeAspect="1"/>
              </p:cNvGrpSpPr>
              <p:nvPr/>
            </p:nvGrpSpPr>
            <p:grpSpPr>
              <a:xfrm>
                <a:off x="5035433" y="2822084"/>
                <a:ext cx="693145" cy="693145"/>
                <a:chOff x="3268798" y="2040215"/>
                <a:chExt cx="358666" cy="358666"/>
              </a:xfrm>
            </p:grpSpPr>
            <p:sp>
              <p:nvSpPr>
                <p:cNvPr id="34" name="Oval 33">
                  <a:extLst>
                    <a:ext uri="{FF2B5EF4-FFF2-40B4-BE49-F238E27FC236}">
                      <a16:creationId xmlns:a16="http://schemas.microsoft.com/office/drawing/2014/main" id="{B57CF315-0F19-D982-9D7A-876D18A8D827}"/>
                    </a:ext>
                    <a:ext uri="{C183D7F6-B498-43B3-948B-1728B52AA6E4}">
                      <adec:decorative xmlns:adec="http://schemas.microsoft.com/office/drawing/2017/decorative" val="1"/>
                    </a:ext>
                  </a:extLst>
                </p:cNvPr>
                <p:cNvSpPr/>
                <p:nvPr/>
              </p:nvSpPr>
              <p:spPr>
                <a:xfrm flipH="1">
                  <a:off x="3268798" y="2040215"/>
                  <a:ext cx="358666" cy="358666"/>
                </a:xfrm>
                <a:prstGeom prst="ellipse">
                  <a:avLst/>
                </a:prstGeom>
                <a:gradFill flip="none" rotWithShape="1">
                  <a:gsLst>
                    <a:gs pos="0">
                      <a:schemeClr val="accent1"/>
                    </a:gs>
                    <a:gs pos="100000">
                      <a:schemeClr val="accent1">
                        <a:lumMod val="75000"/>
                      </a:schemeClr>
                    </a:gs>
                  </a:gsLst>
                  <a:lin ang="2700000" scaled="1"/>
                  <a:tileRect/>
                </a:gradFill>
                <a:ln w="50800">
                  <a:solidFill>
                    <a:schemeClr val="bg1"/>
                  </a:solid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98000">
                          <a:srgbClr val="FFFFFF"/>
                        </a:gs>
                      </a:gsLst>
                      <a:lin ang="0" scaled="1"/>
                    </a:gradFill>
                    <a:effectLst/>
                    <a:uLnTx/>
                    <a:uFillTx/>
                    <a:latin typeface="Segoe Sans Display Semibold"/>
                    <a:ea typeface="+mn-ea"/>
                    <a:cs typeface="Segoe UI" pitchFamily="34" charset="0"/>
                  </a:endParaRPr>
                </a:p>
              </p:txBody>
            </p:sp>
            <p:pic>
              <p:nvPicPr>
                <p:cNvPr id="35" name="Graphic 34">
                  <a:extLst>
                    <a:ext uri="{FF2B5EF4-FFF2-40B4-BE49-F238E27FC236}">
                      <a16:creationId xmlns:a16="http://schemas.microsoft.com/office/drawing/2014/main" id="{DE6A9C85-0E37-063A-3445-52C2B9BE583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46897" y="2118314"/>
                  <a:ext cx="202468" cy="202468"/>
                </a:xfrm>
                <a:prstGeom prst="rect">
                  <a:avLst/>
                </a:prstGeom>
                <a:effectLst>
                  <a:outerShdw blurRad="127000" algn="ctr" rotWithShape="0">
                    <a:prstClr val="black">
                      <a:alpha val="20000"/>
                    </a:prstClr>
                  </a:outerShdw>
                </a:effectLst>
              </p:spPr>
            </p:pic>
          </p:grpSp>
          <p:grpSp>
            <p:nvGrpSpPr>
              <p:cNvPr id="6" name="Group 5">
                <a:extLst>
                  <a:ext uri="{FF2B5EF4-FFF2-40B4-BE49-F238E27FC236}">
                    <a16:creationId xmlns:a16="http://schemas.microsoft.com/office/drawing/2014/main" id="{F5BCA026-D57E-B67D-FF81-662030E2FA97}"/>
                  </a:ext>
                  <a:ext uri="{C183D7F6-B498-43B3-948B-1728B52AA6E4}">
                    <adec:decorative xmlns:adec="http://schemas.microsoft.com/office/drawing/2017/decorative" val="1"/>
                  </a:ext>
                </a:extLst>
              </p:cNvPr>
              <p:cNvGrpSpPr>
                <a:grpSpLocks noChangeAspect="1"/>
              </p:cNvGrpSpPr>
              <p:nvPr/>
            </p:nvGrpSpPr>
            <p:grpSpPr>
              <a:xfrm>
                <a:off x="2554486" y="2822084"/>
                <a:ext cx="693145" cy="693145"/>
                <a:chOff x="3268798" y="2639773"/>
                <a:chExt cx="358666" cy="358666"/>
              </a:xfrm>
            </p:grpSpPr>
            <p:sp>
              <p:nvSpPr>
                <p:cNvPr id="26" name="Oval 25">
                  <a:extLst>
                    <a:ext uri="{FF2B5EF4-FFF2-40B4-BE49-F238E27FC236}">
                      <a16:creationId xmlns:a16="http://schemas.microsoft.com/office/drawing/2014/main" id="{ABA1E484-9312-0DF0-AB90-C01B95B9C0FE}"/>
                    </a:ext>
                    <a:ext uri="{C183D7F6-B498-43B3-948B-1728B52AA6E4}">
                      <adec:decorative xmlns:adec="http://schemas.microsoft.com/office/drawing/2017/decorative" val="1"/>
                    </a:ext>
                  </a:extLst>
                </p:cNvPr>
                <p:cNvSpPr/>
                <p:nvPr/>
              </p:nvSpPr>
              <p:spPr>
                <a:xfrm flipH="1">
                  <a:off x="3268798" y="2639773"/>
                  <a:ext cx="358666" cy="358666"/>
                </a:xfrm>
                <a:prstGeom prst="ellipse">
                  <a:avLst/>
                </a:prstGeom>
                <a:gradFill flip="none" rotWithShape="1">
                  <a:gsLst>
                    <a:gs pos="0">
                      <a:schemeClr val="accent1"/>
                    </a:gs>
                    <a:gs pos="100000">
                      <a:schemeClr val="accent1">
                        <a:lumMod val="75000"/>
                      </a:schemeClr>
                    </a:gs>
                  </a:gsLst>
                  <a:lin ang="2700000" scaled="1"/>
                  <a:tileRect/>
                </a:gradFill>
                <a:ln w="50800">
                  <a:solidFill>
                    <a:schemeClr val="bg1"/>
                  </a:solid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98000">
                          <a:srgbClr val="FFFFFF"/>
                        </a:gs>
                      </a:gsLst>
                      <a:lin ang="0" scaled="1"/>
                    </a:gradFill>
                    <a:effectLst/>
                    <a:uLnTx/>
                    <a:uFillTx/>
                    <a:latin typeface="Segoe Sans Display Semibold"/>
                    <a:ea typeface="+mn-ea"/>
                    <a:cs typeface="Segoe UI" pitchFamily="34" charset="0"/>
                  </a:endParaRPr>
                </a:p>
              </p:txBody>
            </p:sp>
            <p:pic>
              <p:nvPicPr>
                <p:cNvPr id="33" name="Graphic 32">
                  <a:extLst>
                    <a:ext uri="{FF2B5EF4-FFF2-40B4-BE49-F238E27FC236}">
                      <a16:creationId xmlns:a16="http://schemas.microsoft.com/office/drawing/2014/main" id="{0195ABA7-78B4-9C2B-1F7D-55D3BE90867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49166" y="2720141"/>
                  <a:ext cx="197931" cy="197931"/>
                </a:xfrm>
                <a:prstGeom prst="rect">
                  <a:avLst/>
                </a:prstGeom>
                <a:effectLst>
                  <a:outerShdw blurRad="127000" algn="ctr" rotWithShape="0">
                    <a:prstClr val="black">
                      <a:alpha val="20000"/>
                    </a:prstClr>
                  </a:outerShdw>
                </a:effectLst>
              </p:spPr>
            </p:pic>
          </p:grpSp>
          <p:sp>
            <p:nvSpPr>
              <p:cNvPr id="8" name="Rectangle 7">
                <a:extLst>
                  <a:ext uri="{FF2B5EF4-FFF2-40B4-BE49-F238E27FC236}">
                    <a16:creationId xmlns:a16="http://schemas.microsoft.com/office/drawing/2014/main" id="{DB1B54FD-FB1A-8BEC-AEDE-955422BD487D}"/>
                  </a:ext>
                </a:extLst>
              </p:cNvPr>
              <p:cNvSpPr/>
              <p:nvPr/>
            </p:nvSpPr>
            <p:spPr bwMode="auto">
              <a:xfrm>
                <a:off x="8219035" y="2805479"/>
                <a:ext cx="1572666" cy="7263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ts val="1200"/>
                  </a:spcBef>
                  <a:spcAft>
                    <a:spcPct val="0"/>
                  </a:spcAft>
                  <a:buClrTx/>
                  <a:buSzTx/>
                  <a:buFontTx/>
                  <a:buNone/>
                  <a:tabLst/>
                  <a:defRPr/>
                </a:pPr>
                <a:r>
                  <a:rPr kumimoji="0" lang="en-US" sz="1400" b="1" i="0" u="none" strike="noStrike" kern="1200" cap="none" spc="-50" normalizeH="0" baseline="0" noProof="0">
                    <a:ln>
                      <a:noFill/>
                    </a:ln>
                    <a:gradFill>
                      <a:gsLst>
                        <a:gs pos="1000">
                          <a:srgbClr val="000000"/>
                        </a:gs>
                        <a:gs pos="100000">
                          <a:srgbClr val="000000"/>
                        </a:gs>
                      </a:gsLst>
                      <a:path path="circle">
                        <a:fillToRect l="50000" t="50000" r="50000" b="50000"/>
                      </a:path>
                    </a:gradFill>
                    <a:effectLst/>
                    <a:uLnTx/>
                    <a:uFillTx/>
                    <a:latin typeface="Segoe Sans Display Semibold"/>
                    <a:ea typeface="+mn-ea"/>
                    <a:cs typeface="Segoe UI"/>
                  </a:rPr>
                  <a:t>Microsoft Entra</a:t>
                </a:r>
                <a:br>
                  <a:rPr kumimoji="0" lang="en-US" sz="1400" b="1" i="0" u="none" strike="noStrike" kern="1200" cap="none" spc="-50" normalizeH="0" baseline="0" noProof="0">
                    <a:ln>
                      <a:noFill/>
                    </a:ln>
                    <a:solidFill>
                      <a:srgbClr val="FFFFFF"/>
                    </a:solidFill>
                    <a:effectLst/>
                    <a:uLnTx/>
                    <a:uFillTx/>
                    <a:latin typeface="Segoe Sans Display Semibold"/>
                    <a:ea typeface="+mn-ea"/>
                    <a:cs typeface="Segoe UI"/>
                  </a:rPr>
                </a:br>
                <a:r>
                  <a:rPr kumimoji="0" lang="en-US" sz="1400" b="1" i="0" u="none" strike="noStrike" kern="1200" cap="none" spc="-50" normalizeH="0" baseline="0" noProof="0">
                    <a:ln>
                      <a:noFill/>
                    </a:ln>
                    <a:gradFill>
                      <a:gsLst>
                        <a:gs pos="1000">
                          <a:srgbClr val="000000"/>
                        </a:gs>
                        <a:gs pos="100000">
                          <a:srgbClr val="000000"/>
                        </a:gs>
                      </a:gsLst>
                      <a:path path="circle">
                        <a:fillToRect l="50000" t="50000" r="50000" b="50000"/>
                      </a:path>
                    </a:gradFill>
                    <a:effectLst/>
                    <a:uLnTx/>
                    <a:uFillTx/>
                    <a:latin typeface="Segoe Sans Display Semibold"/>
                    <a:ea typeface="+mn-ea"/>
                    <a:cs typeface="Segoe UI"/>
                  </a:rPr>
                  <a:t>ID Governance</a:t>
                </a:r>
              </a:p>
            </p:txBody>
          </p:sp>
          <p:sp>
            <p:nvSpPr>
              <p:cNvPr id="9" name="Oval 8">
                <a:extLst>
                  <a:ext uri="{FF2B5EF4-FFF2-40B4-BE49-F238E27FC236}">
                    <a16:creationId xmlns:a16="http://schemas.microsoft.com/office/drawing/2014/main" id="{1575B560-DF46-7C2A-EF0F-98E1097F7083}"/>
                  </a:ext>
                  <a:ext uri="{C183D7F6-B498-43B3-948B-1728B52AA6E4}">
                    <adec:decorative xmlns:adec="http://schemas.microsoft.com/office/drawing/2017/decorative" val="1"/>
                  </a:ext>
                </a:extLst>
              </p:cNvPr>
              <p:cNvSpPr/>
              <p:nvPr/>
            </p:nvSpPr>
            <p:spPr>
              <a:xfrm flipH="1">
                <a:off x="7515654" y="2822084"/>
                <a:ext cx="693145" cy="693145"/>
              </a:xfrm>
              <a:prstGeom prst="ellipse">
                <a:avLst/>
              </a:prstGeom>
              <a:gradFill flip="none" rotWithShape="1">
                <a:gsLst>
                  <a:gs pos="0">
                    <a:schemeClr val="accent1"/>
                  </a:gs>
                  <a:gs pos="100000">
                    <a:schemeClr val="accent1">
                      <a:lumMod val="75000"/>
                    </a:schemeClr>
                  </a:gs>
                </a:gsLst>
                <a:lin ang="2700000" scaled="1"/>
                <a:tileRect/>
              </a:gradFill>
              <a:ln w="50800">
                <a:solidFill>
                  <a:schemeClr val="bg1"/>
                </a:solid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98000">
                        <a:srgbClr val="FFFFFF"/>
                      </a:gs>
                    </a:gsLst>
                    <a:lin ang="0" scaled="1"/>
                  </a:gradFill>
                  <a:effectLst/>
                  <a:uLnTx/>
                  <a:uFillTx/>
                  <a:latin typeface="Segoe Sans Display Semibold"/>
                  <a:ea typeface="+mn-ea"/>
                  <a:cs typeface="Segoe UI" pitchFamily="34" charset="0"/>
                </a:endParaRPr>
              </a:p>
            </p:txBody>
          </p:sp>
          <p:grpSp>
            <p:nvGrpSpPr>
              <p:cNvPr id="10" name="Graphic 5">
                <a:extLst>
                  <a:ext uri="{FF2B5EF4-FFF2-40B4-BE49-F238E27FC236}">
                    <a16:creationId xmlns:a16="http://schemas.microsoft.com/office/drawing/2014/main" id="{D3577474-850B-BDA6-584E-DA27A24F5760}"/>
                  </a:ext>
                  <a:ext uri="{C183D7F6-B498-43B3-948B-1728B52AA6E4}">
                    <adec:decorative xmlns:adec="http://schemas.microsoft.com/office/drawing/2017/decorative" val="1"/>
                  </a:ext>
                </a:extLst>
              </p:cNvPr>
              <p:cNvGrpSpPr/>
              <p:nvPr/>
            </p:nvGrpSpPr>
            <p:grpSpPr>
              <a:xfrm>
                <a:off x="7655023" y="2961453"/>
                <a:ext cx="414409" cy="414407"/>
                <a:chOff x="943606" y="3823446"/>
                <a:chExt cx="325983" cy="325982"/>
              </a:xfrm>
              <a:solidFill>
                <a:schemeClr val="bg1"/>
              </a:solidFill>
            </p:grpSpPr>
            <p:sp>
              <p:nvSpPr>
                <p:cNvPr id="12" name="Freeform: Shape 11">
                  <a:extLst>
                    <a:ext uri="{FF2B5EF4-FFF2-40B4-BE49-F238E27FC236}">
                      <a16:creationId xmlns:a16="http://schemas.microsoft.com/office/drawing/2014/main" id="{8911E566-3A18-99F6-7DFD-C821A91C2E71}"/>
                    </a:ext>
                  </a:extLst>
                </p:cNvPr>
                <p:cNvSpPr/>
                <p:nvPr/>
              </p:nvSpPr>
              <p:spPr>
                <a:xfrm>
                  <a:off x="943606" y="3823446"/>
                  <a:ext cx="325983" cy="325982"/>
                </a:xfrm>
                <a:custGeom>
                  <a:avLst/>
                  <a:gdLst>
                    <a:gd name="connsiteX0" fmla="*/ 325966 w 325983"/>
                    <a:gd name="connsiteY0" fmla="*/ 162991 h 325982"/>
                    <a:gd name="connsiteX1" fmla="*/ 305737 w 325983"/>
                    <a:gd name="connsiteY1" fmla="*/ 84393 h 325982"/>
                    <a:gd name="connsiteX2" fmla="*/ 317128 w 325983"/>
                    <a:gd name="connsiteY2" fmla="*/ 54638 h 325982"/>
                    <a:gd name="connsiteX3" fmla="*/ 271853 w 325983"/>
                    <a:gd name="connsiteY3" fmla="*/ 9363 h 325982"/>
                    <a:gd name="connsiteX4" fmla="*/ 242242 w 325983"/>
                    <a:gd name="connsiteY4" fmla="*/ 20646 h 325982"/>
                    <a:gd name="connsiteX5" fmla="*/ 162956 w 325983"/>
                    <a:gd name="connsiteY5" fmla="*/ 0 h 325982"/>
                    <a:gd name="connsiteX6" fmla="*/ 83669 w 325983"/>
                    <a:gd name="connsiteY6" fmla="*/ 20646 h 325982"/>
                    <a:gd name="connsiteX7" fmla="*/ 54059 w 325983"/>
                    <a:gd name="connsiteY7" fmla="*/ 9363 h 325982"/>
                    <a:gd name="connsiteX8" fmla="*/ 8802 w 325983"/>
                    <a:gd name="connsiteY8" fmla="*/ 54638 h 325982"/>
                    <a:gd name="connsiteX9" fmla="*/ 20211 w 325983"/>
                    <a:gd name="connsiteY9" fmla="*/ 84393 h 325982"/>
                    <a:gd name="connsiteX10" fmla="*/ 0 w 325983"/>
                    <a:gd name="connsiteY10" fmla="*/ 162991 h 325982"/>
                    <a:gd name="connsiteX11" fmla="*/ 20754 w 325983"/>
                    <a:gd name="connsiteY11" fmla="*/ 242458 h 325982"/>
                    <a:gd name="connsiteX12" fmla="*/ 8820 w 325983"/>
                    <a:gd name="connsiteY12" fmla="*/ 272865 h 325982"/>
                    <a:gd name="connsiteX13" fmla="*/ 54095 w 325983"/>
                    <a:gd name="connsiteY13" fmla="*/ 318140 h 325982"/>
                    <a:gd name="connsiteX14" fmla="*/ 84756 w 325983"/>
                    <a:gd name="connsiteY14" fmla="*/ 305988 h 325982"/>
                    <a:gd name="connsiteX15" fmla="*/ 162992 w 325983"/>
                    <a:gd name="connsiteY15" fmla="*/ 325982 h 325982"/>
                    <a:gd name="connsiteX16" fmla="*/ 241228 w 325983"/>
                    <a:gd name="connsiteY16" fmla="*/ 305988 h 325982"/>
                    <a:gd name="connsiteX17" fmla="*/ 271889 w 325983"/>
                    <a:gd name="connsiteY17" fmla="*/ 318140 h 325982"/>
                    <a:gd name="connsiteX18" fmla="*/ 317164 w 325983"/>
                    <a:gd name="connsiteY18" fmla="*/ 272865 h 325982"/>
                    <a:gd name="connsiteX19" fmla="*/ 305230 w 325983"/>
                    <a:gd name="connsiteY19" fmla="*/ 242476 h 325982"/>
                    <a:gd name="connsiteX20" fmla="*/ 325984 w 325983"/>
                    <a:gd name="connsiteY20" fmla="*/ 163009 h 325982"/>
                    <a:gd name="connsiteX21" fmla="*/ 246589 w 325983"/>
                    <a:gd name="connsiteY21" fmla="*/ 44877 h 325982"/>
                    <a:gd name="connsiteX22" fmla="*/ 258505 w 325983"/>
                    <a:gd name="connsiteY22" fmla="*/ 31131 h 325982"/>
                    <a:gd name="connsiteX23" fmla="*/ 271871 w 325983"/>
                    <a:gd name="connsiteY23" fmla="*/ 27473 h 325982"/>
                    <a:gd name="connsiteX24" fmla="*/ 299036 w 325983"/>
                    <a:gd name="connsiteY24" fmla="*/ 54638 h 325982"/>
                    <a:gd name="connsiteX25" fmla="*/ 295323 w 325983"/>
                    <a:gd name="connsiteY25" fmla="*/ 68094 h 325982"/>
                    <a:gd name="connsiteX26" fmla="*/ 281523 w 325983"/>
                    <a:gd name="connsiteY26" fmla="*/ 79938 h 325982"/>
                    <a:gd name="connsiteX27" fmla="*/ 271871 w 325983"/>
                    <a:gd name="connsiteY27" fmla="*/ 81785 h 325982"/>
                    <a:gd name="connsiteX28" fmla="*/ 244705 w 325983"/>
                    <a:gd name="connsiteY28" fmla="*/ 54620 h 325982"/>
                    <a:gd name="connsiteX29" fmla="*/ 246589 w 325983"/>
                    <a:gd name="connsiteY29" fmla="*/ 44859 h 325982"/>
                    <a:gd name="connsiteX30" fmla="*/ 54077 w 325983"/>
                    <a:gd name="connsiteY30" fmla="*/ 27473 h 325982"/>
                    <a:gd name="connsiteX31" fmla="*/ 67442 w 325983"/>
                    <a:gd name="connsiteY31" fmla="*/ 31131 h 325982"/>
                    <a:gd name="connsiteX32" fmla="*/ 79359 w 325983"/>
                    <a:gd name="connsiteY32" fmla="*/ 44877 h 325982"/>
                    <a:gd name="connsiteX33" fmla="*/ 81242 w 325983"/>
                    <a:gd name="connsiteY33" fmla="*/ 54638 h 325982"/>
                    <a:gd name="connsiteX34" fmla="*/ 54077 w 325983"/>
                    <a:gd name="connsiteY34" fmla="*/ 81803 h 325982"/>
                    <a:gd name="connsiteX35" fmla="*/ 44442 w 325983"/>
                    <a:gd name="connsiteY35" fmla="*/ 79956 h 325982"/>
                    <a:gd name="connsiteX36" fmla="*/ 30642 w 325983"/>
                    <a:gd name="connsiteY36" fmla="*/ 68112 h 325982"/>
                    <a:gd name="connsiteX37" fmla="*/ 26930 w 325983"/>
                    <a:gd name="connsiteY37" fmla="*/ 54638 h 325982"/>
                    <a:gd name="connsiteX38" fmla="*/ 54095 w 325983"/>
                    <a:gd name="connsiteY38" fmla="*/ 27473 h 325982"/>
                    <a:gd name="connsiteX39" fmla="*/ 79739 w 325983"/>
                    <a:gd name="connsiteY39" fmla="*/ 281377 h 325982"/>
                    <a:gd name="connsiteX40" fmla="*/ 68602 w 325983"/>
                    <a:gd name="connsiteY40" fmla="*/ 295720 h 325982"/>
                    <a:gd name="connsiteX41" fmla="*/ 54077 w 325983"/>
                    <a:gd name="connsiteY41" fmla="*/ 300012 h 325982"/>
                    <a:gd name="connsiteX42" fmla="*/ 26912 w 325983"/>
                    <a:gd name="connsiteY42" fmla="*/ 272847 h 325982"/>
                    <a:gd name="connsiteX43" fmla="*/ 31095 w 325983"/>
                    <a:gd name="connsiteY43" fmla="*/ 258504 h 325982"/>
                    <a:gd name="connsiteX44" fmla="*/ 45348 w 325983"/>
                    <a:gd name="connsiteY44" fmla="*/ 247239 h 325982"/>
                    <a:gd name="connsiteX45" fmla="*/ 54077 w 325983"/>
                    <a:gd name="connsiteY45" fmla="*/ 245682 h 325982"/>
                    <a:gd name="connsiteX46" fmla="*/ 81242 w 325983"/>
                    <a:gd name="connsiteY46" fmla="*/ 272847 h 325982"/>
                    <a:gd name="connsiteX47" fmla="*/ 79739 w 325983"/>
                    <a:gd name="connsiteY47" fmla="*/ 281377 h 325982"/>
                    <a:gd name="connsiteX48" fmla="*/ 271871 w 325983"/>
                    <a:gd name="connsiteY48" fmla="*/ 300012 h 325982"/>
                    <a:gd name="connsiteX49" fmla="*/ 257346 w 325983"/>
                    <a:gd name="connsiteY49" fmla="*/ 295720 h 325982"/>
                    <a:gd name="connsiteX50" fmla="*/ 246208 w 325983"/>
                    <a:gd name="connsiteY50" fmla="*/ 281377 h 325982"/>
                    <a:gd name="connsiteX51" fmla="*/ 244705 w 325983"/>
                    <a:gd name="connsiteY51" fmla="*/ 272847 h 325982"/>
                    <a:gd name="connsiteX52" fmla="*/ 271871 w 325983"/>
                    <a:gd name="connsiteY52" fmla="*/ 245682 h 325982"/>
                    <a:gd name="connsiteX53" fmla="*/ 280600 w 325983"/>
                    <a:gd name="connsiteY53" fmla="*/ 247257 h 325982"/>
                    <a:gd name="connsiteX54" fmla="*/ 294853 w 325983"/>
                    <a:gd name="connsiteY54" fmla="*/ 258522 h 325982"/>
                    <a:gd name="connsiteX55" fmla="*/ 299036 w 325983"/>
                    <a:gd name="connsiteY55" fmla="*/ 272865 h 325982"/>
                    <a:gd name="connsiteX56" fmla="*/ 271871 w 325983"/>
                    <a:gd name="connsiteY56" fmla="*/ 300030 h 325982"/>
                    <a:gd name="connsiteX57" fmla="*/ 271871 w 325983"/>
                    <a:gd name="connsiteY57" fmla="*/ 227572 h 325982"/>
                    <a:gd name="connsiteX58" fmla="*/ 226595 w 325983"/>
                    <a:gd name="connsiteY58" fmla="*/ 272847 h 325982"/>
                    <a:gd name="connsiteX59" fmla="*/ 230489 w 325983"/>
                    <a:gd name="connsiteY59" fmla="*/ 291084 h 325982"/>
                    <a:gd name="connsiteX60" fmla="*/ 162974 w 325983"/>
                    <a:gd name="connsiteY60" fmla="*/ 307872 h 325982"/>
                    <a:gd name="connsiteX61" fmla="*/ 95459 w 325983"/>
                    <a:gd name="connsiteY61" fmla="*/ 291084 h 325982"/>
                    <a:gd name="connsiteX62" fmla="*/ 99353 w 325983"/>
                    <a:gd name="connsiteY62" fmla="*/ 272865 h 325982"/>
                    <a:gd name="connsiteX63" fmla="*/ 54077 w 325983"/>
                    <a:gd name="connsiteY63" fmla="*/ 227590 h 325982"/>
                    <a:gd name="connsiteX64" fmla="*/ 35460 w 325983"/>
                    <a:gd name="connsiteY64" fmla="*/ 231683 h 325982"/>
                    <a:gd name="connsiteX65" fmla="*/ 18092 w 325983"/>
                    <a:gd name="connsiteY65" fmla="*/ 162991 h 325982"/>
                    <a:gd name="connsiteX66" fmla="*/ 34880 w 325983"/>
                    <a:gd name="connsiteY66" fmla="*/ 95495 h 325982"/>
                    <a:gd name="connsiteX67" fmla="*/ 54077 w 325983"/>
                    <a:gd name="connsiteY67" fmla="*/ 99913 h 325982"/>
                    <a:gd name="connsiteX68" fmla="*/ 99353 w 325983"/>
                    <a:gd name="connsiteY68" fmla="*/ 54638 h 325982"/>
                    <a:gd name="connsiteX69" fmla="*/ 94825 w 325983"/>
                    <a:gd name="connsiteY69" fmla="*/ 35206 h 325982"/>
                    <a:gd name="connsiteX70" fmla="*/ 162992 w 325983"/>
                    <a:gd name="connsiteY70" fmla="*/ 18092 h 325982"/>
                    <a:gd name="connsiteX71" fmla="*/ 231141 w 325983"/>
                    <a:gd name="connsiteY71" fmla="*/ 35188 h 325982"/>
                    <a:gd name="connsiteX72" fmla="*/ 226613 w 325983"/>
                    <a:gd name="connsiteY72" fmla="*/ 54620 h 325982"/>
                    <a:gd name="connsiteX73" fmla="*/ 271889 w 325983"/>
                    <a:gd name="connsiteY73" fmla="*/ 99895 h 325982"/>
                    <a:gd name="connsiteX74" fmla="*/ 291086 w 325983"/>
                    <a:gd name="connsiteY74" fmla="*/ 95477 h 325982"/>
                    <a:gd name="connsiteX75" fmla="*/ 307874 w 325983"/>
                    <a:gd name="connsiteY75" fmla="*/ 162973 h 325982"/>
                    <a:gd name="connsiteX76" fmla="*/ 290506 w 325983"/>
                    <a:gd name="connsiteY76" fmla="*/ 231665 h 325982"/>
                    <a:gd name="connsiteX77" fmla="*/ 271871 w 325983"/>
                    <a:gd name="connsiteY77" fmla="*/ 227554 h 3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325983" h="325982">
                      <a:moveTo>
                        <a:pt x="325966" y="162991"/>
                      </a:moveTo>
                      <a:cubicBezTo>
                        <a:pt x="325966" y="134486"/>
                        <a:pt x="318613" y="107719"/>
                        <a:pt x="305737" y="84393"/>
                      </a:cubicBezTo>
                      <a:cubicBezTo>
                        <a:pt x="312745" y="76425"/>
                        <a:pt x="317128" y="66084"/>
                        <a:pt x="317128" y="54638"/>
                      </a:cubicBezTo>
                      <a:cubicBezTo>
                        <a:pt x="317128" y="29628"/>
                        <a:pt x="296863" y="9363"/>
                        <a:pt x="271853" y="9363"/>
                      </a:cubicBezTo>
                      <a:cubicBezTo>
                        <a:pt x="260479" y="9363"/>
                        <a:pt x="250193" y="13709"/>
                        <a:pt x="242242" y="20646"/>
                      </a:cubicBezTo>
                      <a:cubicBezTo>
                        <a:pt x="218771" y="7534"/>
                        <a:pt x="191751" y="0"/>
                        <a:pt x="162956" y="0"/>
                      </a:cubicBezTo>
                      <a:cubicBezTo>
                        <a:pt x="134161" y="0"/>
                        <a:pt x="107140" y="7534"/>
                        <a:pt x="83669" y="20646"/>
                      </a:cubicBezTo>
                      <a:cubicBezTo>
                        <a:pt x="75719" y="13709"/>
                        <a:pt x="65432" y="9363"/>
                        <a:pt x="54059" y="9363"/>
                      </a:cubicBezTo>
                      <a:cubicBezTo>
                        <a:pt x="29067" y="9363"/>
                        <a:pt x="8802" y="29628"/>
                        <a:pt x="8802" y="54638"/>
                      </a:cubicBezTo>
                      <a:cubicBezTo>
                        <a:pt x="8802" y="66084"/>
                        <a:pt x="13184" y="76425"/>
                        <a:pt x="20211" y="84393"/>
                      </a:cubicBezTo>
                      <a:cubicBezTo>
                        <a:pt x="7353" y="107701"/>
                        <a:pt x="0" y="134486"/>
                        <a:pt x="0" y="162991"/>
                      </a:cubicBezTo>
                      <a:cubicBezTo>
                        <a:pt x="0" y="191859"/>
                        <a:pt x="7570" y="218933"/>
                        <a:pt x="20754" y="242458"/>
                      </a:cubicBezTo>
                      <a:cubicBezTo>
                        <a:pt x="13420" y="250499"/>
                        <a:pt x="8820" y="261112"/>
                        <a:pt x="8820" y="272865"/>
                      </a:cubicBezTo>
                      <a:cubicBezTo>
                        <a:pt x="8820" y="297875"/>
                        <a:pt x="29085" y="318140"/>
                        <a:pt x="54095" y="318140"/>
                      </a:cubicBezTo>
                      <a:cubicBezTo>
                        <a:pt x="65976" y="318140"/>
                        <a:pt x="76679" y="313468"/>
                        <a:pt x="84756" y="305988"/>
                      </a:cubicBezTo>
                      <a:cubicBezTo>
                        <a:pt x="107973" y="318720"/>
                        <a:pt x="134631" y="325982"/>
                        <a:pt x="162992" y="325982"/>
                      </a:cubicBezTo>
                      <a:cubicBezTo>
                        <a:pt x="191353" y="325982"/>
                        <a:pt x="217993" y="318720"/>
                        <a:pt x="241228" y="305988"/>
                      </a:cubicBezTo>
                      <a:cubicBezTo>
                        <a:pt x="249305" y="313468"/>
                        <a:pt x="260027" y="318140"/>
                        <a:pt x="271889" y="318140"/>
                      </a:cubicBezTo>
                      <a:cubicBezTo>
                        <a:pt x="296899" y="318140"/>
                        <a:pt x="317164" y="297875"/>
                        <a:pt x="317164" y="272865"/>
                      </a:cubicBezTo>
                      <a:cubicBezTo>
                        <a:pt x="317164" y="261112"/>
                        <a:pt x="312582" y="250517"/>
                        <a:pt x="305230" y="242476"/>
                      </a:cubicBezTo>
                      <a:cubicBezTo>
                        <a:pt x="318396" y="218951"/>
                        <a:pt x="325984" y="191877"/>
                        <a:pt x="325984" y="163009"/>
                      </a:cubicBezTo>
                      <a:close/>
                      <a:moveTo>
                        <a:pt x="246589" y="44877"/>
                      </a:moveTo>
                      <a:cubicBezTo>
                        <a:pt x="248853" y="39009"/>
                        <a:pt x="253108" y="34210"/>
                        <a:pt x="258505" y="31131"/>
                      </a:cubicBezTo>
                      <a:cubicBezTo>
                        <a:pt x="262471" y="28868"/>
                        <a:pt x="266981" y="27473"/>
                        <a:pt x="271871" y="27473"/>
                      </a:cubicBezTo>
                      <a:cubicBezTo>
                        <a:pt x="286848" y="27473"/>
                        <a:pt x="299036" y="39661"/>
                        <a:pt x="299036" y="54638"/>
                      </a:cubicBezTo>
                      <a:cubicBezTo>
                        <a:pt x="299036" y="59564"/>
                        <a:pt x="297623" y="64110"/>
                        <a:pt x="295323" y="68094"/>
                      </a:cubicBezTo>
                      <a:cubicBezTo>
                        <a:pt x="292208" y="73473"/>
                        <a:pt x="287391" y="77692"/>
                        <a:pt x="281523" y="79938"/>
                      </a:cubicBezTo>
                      <a:cubicBezTo>
                        <a:pt x="278517" y="81097"/>
                        <a:pt x="275293" y="81785"/>
                        <a:pt x="271871" y="81785"/>
                      </a:cubicBezTo>
                      <a:cubicBezTo>
                        <a:pt x="256894" y="81785"/>
                        <a:pt x="244705" y="69597"/>
                        <a:pt x="244705" y="54620"/>
                      </a:cubicBezTo>
                      <a:cubicBezTo>
                        <a:pt x="244705" y="51179"/>
                        <a:pt x="245412" y="47901"/>
                        <a:pt x="246589" y="44859"/>
                      </a:cubicBezTo>
                      <a:close/>
                      <a:moveTo>
                        <a:pt x="54077" y="27473"/>
                      </a:moveTo>
                      <a:cubicBezTo>
                        <a:pt x="58949" y="27473"/>
                        <a:pt x="63476" y="28868"/>
                        <a:pt x="67442" y="31131"/>
                      </a:cubicBezTo>
                      <a:cubicBezTo>
                        <a:pt x="72839" y="34210"/>
                        <a:pt x="77095" y="39027"/>
                        <a:pt x="79359" y="44877"/>
                      </a:cubicBezTo>
                      <a:cubicBezTo>
                        <a:pt x="80536" y="47919"/>
                        <a:pt x="81242" y="51179"/>
                        <a:pt x="81242" y="54638"/>
                      </a:cubicBezTo>
                      <a:cubicBezTo>
                        <a:pt x="81242" y="69615"/>
                        <a:pt x="69054" y="81803"/>
                        <a:pt x="54077" y="81803"/>
                      </a:cubicBezTo>
                      <a:cubicBezTo>
                        <a:pt x="50672" y="81803"/>
                        <a:pt x="47449" y="81097"/>
                        <a:pt x="44442" y="79956"/>
                      </a:cubicBezTo>
                      <a:cubicBezTo>
                        <a:pt x="38575" y="77710"/>
                        <a:pt x="33739" y="73491"/>
                        <a:pt x="30642" y="68112"/>
                      </a:cubicBezTo>
                      <a:cubicBezTo>
                        <a:pt x="28342" y="64128"/>
                        <a:pt x="26930" y="59564"/>
                        <a:pt x="26930" y="54638"/>
                      </a:cubicBezTo>
                      <a:cubicBezTo>
                        <a:pt x="26930" y="39661"/>
                        <a:pt x="39118" y="27473"/>
                        <a:pt x="54095" y="27473"/>
                      </a:cubicBezTo>
                      <a:close/>
                      <a:moveTo>
                        <a:pt x="79739" y="281377"/>
                      </a:moveTo>
                      <a:cubicBezTo>
                        <a:pt x="77747" y="287353"/>
                        <a:pt x="73817" y="292388"/>
                        <a:pt x="68602" y="295720"/>
                      </a:cubicBezTo>
                      <a:cubicBezTo>
                        <a:pt x="64382" y="298400"/>
                        <a:pt x="59420" y="300012"/>
                        <a:pt x="54077" y="300012"/>
                      </a:cubicBezTo>
                      <a:cubicBezTo>
                        <a:pt x="39100" y="300012"/>
                        <a:pt x="26912" y="287824"/>
                        <a:pt x="26912" y="272847"/>
                      </a:cubicBezTo>
                      <a:cubicBezTo>
                        <a:pt x="26912" y="267577"/>
                        <a:pt x="28487" y="262687"/>
                        <a:pt x="31095" y="258504"/>
                      </a:cubicBezTo>
                      <a:cubicBezTo>
                        <a:pt x="34373" y="253252"/>
                        <a:pt x="39390" y="249286"/>
                        <a:pt x="45348" y="247239"/>
                      </a:cubicBezTo>
                      <a:cubicBezTo>
                        <a:pt x="48101" y="246298"/>
                        <a:pt x="50998" y="245682"/>
                        <a:pt x="54077" y="245682"/>
                      </a:cubicBezTo>
                      <a:cubicBezTo>
                        <a:pt x="69054" y="245682"/>
                        <a:pt x="81242" y="257870"/>
                        <a:pt x="81242" y="272847"/>
                      </a:cubicBezTo>
                      <a:cubicBezTo>
                        <a:pt x="81242" y="275835"/>
                        <a:pt x="80645" y="278678"/>
                        <a:pt x="79739" y="281377"/>
                      </a:cubicBezTo>
                      <a:close/>
                      <a:moveTo>
                        <a:pt x="271871" y="300012"/>
                      </a:moveTo>
                      <a:cubicBezTo>
                        <a:pt x="266510" y="300012"/>
                        <a:pt x="261548" y="298400"/>
                        <a:pt x="257346" y="295720"/>
                      </a:cubicBezTo>
                      <a:cubicBezTo>
                        <a:pt x="252131" y="292388"/>
                        <a:pt x="248201" y="287353"/>
                        <a:pt x="246208" y="281377"/>
                      </a:cubicBezTo>
                      <a:cubicBezTo>
                        <a:pt x="245303" y="278678"/>
                        <a:pt x="244705" y="275835"/>
                        <a:pt x="244705" y="272847"/>
                      </a:cubicBezTo>
                      <a:cubicBezTo>
                        <a:pt x="244705" y="257870"/>
                        <a:pt x="256894" y="245682"/>
                        <a:pt x="271871" y="245682"/>
                      </a:cubicBezTo>
                      <a:cubicBezTo>
                        <a:pt x="274949" y="245682"/>
                        <a:pt x="277847" y="246298"/>
                        <a:pt x="280600" y="247257"/>
                      </a:cubicBezTo>
                      <a:cubicBezTo>
                        <a:pt x="286540" y="249304"/>
                        <a:pt x="291556" y="253270"/>
                        <a:pt x="294853" y="258522"/>
                      </a:cubicBezTo>
                      <a:cubicBezTo>
                        <a:pt x="297460" y="262687"/>
                        <a:pt x="299036" y="267577"/>
                        <a:pt x="299036" y="272865"/>
                      </a:cubicBezTo>
                      <a:cubicBezTo>
                        <a:pt x="299036" y="287842"/>
                        <a:pt x="286848" y="300030"/>
                        <a:pt x="271871" y="300030"/>
                      </a:cubicBezTo>
                      <a:close/>
                      <a:moveTo>
                        <a:pt x="271871" y="227572"/>
                      </a:moveTo>
                      <a:cubicBezTo>
                        <a:pt x="246860" y="227572"/>
                        <a:pt x="226595" y="247837"/>
                        <a:pt x="226595" y="272847"/>
                      </a:cubicBezTo>
                      <a:cubicBezTo>
                        <a:pt x="226595" y="279348"/>
                        <a:pt x="228026" y="285488"/>
                        <a:pt x="230489" y="291084"/>
                      </a:cubicBezTo>
                      <a:cubicBezTo>
                        <a:pt x="210314" y="301769"/>
                        <a:pt x="187350" y="307872"/>
                        <a:pt x="162974" y="307872"/>
                      </a:cubicBezTo>
                      <a:cubicBezTo>
                        <a:pt x="138598" y="307872"/>
                        <a:pt x="115652" y="301751"/>
                        <a:pt x="95459" y="291084"/>
                      </a:cubicBezTo>
                      <a:cubicBezTo>
                        <a:pt x="97922" y="285506"/>
                        <a:pt x="99353" y="279348"/>
                        <a:pt x="99353" y="272865"/>
                      </a:cubicBezTo>
                      <a:cubicBezTo>
                        <a:pt x="99353" y="247855"/>
                        <a:pt x="79087" y="227590"/>
                        <a:pt x="54077" y="227590"/>
                      </a:cubicBezTo>
                      <a:cubicBezTo>
                        <a:pt x="47413" y="227590"/>
                        <a:pt x="41146" y="229111"/>
                        <a:pt x="35460" y="231683"/>
                      </a:cubicBezTo>
                      <a:cubicBezTo>
                        <a:pt x="24394" y="211236"/>
                        <a:pt x="18092" y="187838"/>
                        <a:pt x="18092" y="162991"/>
                      </a:cubicBezTo>
                      <a:cubicBezTo>
                        <a:pt x="18092" y="138615"/>
                        <a:pt x="24195" y="115669"/>
                        <a:pt x="34880" y="95495"/>
                      </a:cubicBezTo>
                      <a:cubicBezTo>
                        <a:pt x="40730" y="98247"/>
                        <a:pt x="47195" y="99913"/>
                        <a:pt x="54077" y="99913"/>
                      </a:cubicBezTo>
                      <a:cubicBezTo>
                        <a:pt x="79087" y="99913"/>
                        <a:pt x="99353" y="79648"/>
                        <a:pt x="99353" y="54638"/>
                      </a:cubicBezTo>
                      <a:cubicBezTo>
                        <a:pt x="99353" y="47648"/>
                        <a:pt x="97632" y="41128"/>
                        <a:pt x="94825" y="35206"/>
                      </a:cubicBezTo>
                      <a:cubicBezTo>
                        <a:pt x="115163" y="24322"/>
                        <a:pt x="138344" y="18092"/>
                        <a:pt x="162992" y="18092"/>
                      </a:cubicBezTo>
                      <a:cubicBezTo>
                        <a:pt x="187640" y="18092"/>
                        <a:pt x="210821" y="24304"/>
                        <a:pt x="231141" y="35188"/>
                      </a:cubicBezTo>
                      <a:cubicBezTo>
                        <a:pt x="228316" y="41092"/>
                        <a:pt x="226613" y="47630"/>
                        <a:pt x="226613" y="54620"/>
                      </a:cubicBezTo>
                      <a:cubicBezTo>
                        <a:pt x="226613" y="79630"/>
                        <a:pt x="246879" y="99895"/>
                        <a:pt x="271889" y="99895"/>
                      </a:cubicBezTo>
                      <a:cubicBezTo>
                        <a:pt x="278789" y="99895"/>
                        <a:pt x="285236" y="98229"/>
                        <a:pt x="291086" y="95477"/>
                      </a:cubicBezTo>
                      <a:cubicBezTo>
                        <a:pt x="301753" y="115651"/>
                        <a:pt x="307874" y="138597"/>
                        <a:pt x="307874" y="162973"/>
                      </a:cubicBezTo>
                      <a:cubicBezTo>
                        <a:pt x="307874" y="187820"/>
                        <a:pt x="301571" y="211200"/>
                        <a:pt x="290506" y="231665"/>
                      </a:cubicBezTo>
                      <a:cubicBezTo>
                        <a:pt x="284819" y="229075"/>
                        <a:pt x="278535" y="227554"/>
                        <a:pt x="271871" y="227554"/>
                      </a:cubicBezTo>
                      <a:close/>
                    </a:path>
                  </a:pathLst>
                </a:custGeom>
                <a:solidFill>
                  <a:schemeClr val="bg1"/>
                </a:solidFill>
                <a:ln w="179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nvGrpSpPr>
                <p:cNvPr id="22" name="Graphic 5">
                  <a:extLst>
                    <a:ext uri="{FF2B5EF4-FFF2-40B4-BE49-F238E27FC236}">
                      <a16:creationId xmlns:a16="http://schemas.microsoft.com/office/drawing/2014/main" id="{67914EF1-CF72-D732-168C-22A76F32DBC7}"/>
                    </a:ext>
                  </a:extLst>
                </p:cNvPr>
                <p:cNvGrpSpPr/>
                <p:nvPr/>
              </p:nvGrpSpPr>
              <p:grpSpPr>
                <a:xfrm>
                  <a:off x="1034157" y="3896647"/>
                  <a:ext cx="144827" cy="180992"/>
                  <a:chOff x="1034157" y="3896647"/>
                  <a:chExt cx="144827" cy="180992"/>
                </a:xfrm>
                <a:solidFill>
                  <a:schemeClr val="bg1"/>
                </a:solidFill>
              </p:grpSpPr>
              <p:sp>
                <p:nvSpPr>
                  <p:cNvPr id="23" name="Freeform: Shape 22">
                    <a:extLst>
                      <a:ext uri="{FF2B5EF4-FFF2-40B4-BE49-F238E27FC236}">
                        <a16:creationId xmlns:a16="http://schemas.microsoft.com/office/drawing/2014/main" id="{2FC8CF99-65E0-538B-879B-DDED94DEA21A}"/>
                      </a:ext>
                    </a:extLst>
                  </p:cNvPr>
                  <p:cNvSpPr/>
                  <p:nvPr/>
                </p:nvSpPr>
                <p:spPr>
                  <a:xfrm>
                    <a:off x="1034157" y="4005199"/>
                    <a:ext cx="144827" cy="72440"/>
                  </a:xfrm>
                  <a:custGeom>
                    <a:avLst/>
                    <a:gdLst>
                      <a:gd name="connsiteX0" fmla="*/ 124472 w 144827"/>
                      <a:gd name="connsiteY0" fmla="*/ 18 h 72440"/>
                      <a:gd name="connsiteX1" fmla="*/ 20356 w 144827"/>
                      <a:gd name="connsiteY1" fmla="*/ 18 h 72440"/>
                      <a:gd name="connsiteX2" fmla="*/ 0 w 144827"/>
                      <a:gd name="connsiteY2" fmla="*/ 20374 h 72440"/>
                      <a:gd name="connsiteX3" fmla="*/ 0 w 144827"/>
                      <a:gd name="connsiteY3" fmla="*/ 25608 h 72440"/>
                      <a:gd name="connsiteX4" fmla="*/ 8131 w 144827"/>
                      <a:gd name="connsiteY4" fmla="*/ 47648 h 72440"/>
                      <a:gd name="connsiteX5" fmla="*/ 72387 w 144827"/>
                      <a:gd name="connsiteY5" fmla="*/ 72440 h 72440"/>
                      <a:gd name="connsiteX6" fmla="*/ 136678 w 144827"/>
                      <a:gd name="connsiteY6" fmla="*/ 47648 h 72440"/>
                      <a:gd name="connsiteX7" fmla="*/ 144827 w 144827"/>
                      <a:gd name="connsiteY7" fmla="*/ 25571 h 72440"/>
                      <a:gd name="connsiteX8" fmla="*/ 144827 w 144827"/>
                      <a:gd name="connsiteY8" fmla="*/ 20356 h 72440"/>
                      <a:gd name="connsiteX9" fmla="*/ 124472 w 144827"/>
                      <a:gd name="connsiteY9" fmla="*/ 0 h 72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827" h="72440">
                        <a:moveTo>
                          <a:pt x="124472" y="18"/>
                        </a:moveTo>
                        <a:lnTo>
                          <a:pt x="20356" y="18"/>
                        </a:lnTo>
                        <a:cubicBezTo>
                          <a:pt x="9109" y="18"/>
                          <a:pt x="0" y="9127"/>
                          <a:pt x="0" y="20374"/>
                        </a:cubicBezTo>
                        <a:lnTo>
                          <a:pt x="0" y="25608"/>
                        </a:lnTo>
                        <a:cubicBezTo>
                          <a:pt x="0" y="33685"/>
                          <a:pt x="2880" y="41508"/>
                          <a:pt x="8131" y="47648"/>
                        </a:cubicBezTo>
                        <a:cubicBezTo>
                          <a:pt x="22312" y="64255"/>
                          <a:pt x="43917" y="72440"/>
                          <a:pt x="72387" y="72440"/>
                        </a:cubicBezTo>
                        <a:cubicBezTo>
                          <a:pt x="100856" y="72440"/>
                          <a:pt x="122461" y="64255"/>
                          <a:pt x="136678" y="47648"/>
                        </a:cubicBezTo>
                        <a:cubicBezTo>
                          <a:pt x="141948" y="41490"/>
                          <a:pt x="144827" y="33667"/>
                          <a:pt x="144827" y="25571"/>
                        </a:cubicBezTo>
                        <a:lnTo>
                          <a:pt x="144827" y="20356"/>
                        </a:lnTo>
                        <a:cubicBezTo>
                          <a:pt x="144827" y="9109"/>
                          <a:pt x="135718" y="0"/>
                          <a:pt x="124472" y="0"/>
                        </a:cubicBezTo>
                        <a:close/>
                      </a:path>
                    </a:pathLst>
                  </a:custGeom>
                  <a:solidFill>
                    <a:schemeClr val="bg1"/>
                  </a:solidFill>
                  <a:ln w="179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622C88DE-AAF8-593A-3E7F-EE28F9C701AC}"/>
                      </a:ext>
                    </a:extLst>
                  </p:cNvPr>
                  <p:cNvSpPr/>
                  <p:nvPr/>
                </p:nvSpPr>
                <p:spPr>
                  <a:xfrm>
                    <a:off x="1061286" y="3896647"/>
                    <a:ext cx="90514" cy="90514"/>
                  </a:xfrm>
                  <a:custGeom>
                    <a:avLst/>
                    <a:gdLst>
                      <a:gd name="connsiteX0" fmla="*/ 45257 w 90514"/>
                      <a:gd name="connsiteY0" fmla="*/ 90514 h 90514"/>
                      <a:gd name="connsiteX1" fmla="*/ 90515 w 90514"/>
                      <a:gd name="connsiteY1" fmla="*/ 45257 h 90514"/>
                      <a:gd name="connsiteX2" fmla="*/ 45257 w 90514"/>
                      <a:gd name="connsiteY2" fmla="*/ 0 h 90514"/>
                      <a:gd name="connsiteX3" fmla="*/ 0 w 90514"/>
                      <a:gd name="connsiteY3" fmla="*/ 45257 h 90514"/>
                      <a:gd name="connsiteX4" fmla="*/ 45257 w 90514"/>
                      <a:gd name="connsiteY4" fmla="*/ 90514 h 90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514" h="90514">
                        <a:moveTo>
                          <a:pt x="45257" y="90514"/>
                        </a:moveTo>
                        <a:cubicBezTo>
                          <a:pt x="70250" y="90514"/>
                          <a:pt x="90515" y="70249"/>
                          <a:pt x="90515" y="45257"/>
                        </a:cubicBezTo>
                        <a:cubicBezTo>
                          <a:pt x="90515" y="20265"/>
                          <a:pt x="70250" y="0"/>
                          <a:pt x="45257" y="0"/>
                        </a:cubicBezTo>
                        <a:cubicBezTo>
                          <a:pt x="20265" y="0"/>
                          <a:pt x="0" y="20265"/>
                          <a:pt x="0" y="45257"/>
                        </a:cubicBezTo>
                        <a:cubicBezTo>
                          <a:pt x="0" y="70249"/>
                          <a:pt x="20265" y="90514"/>
                          <a:pt x="45257" y="90514"/>
                        </a:cubicBezTo>
                        <a:close/>
                      </a:path>
                    </a:pathLst>
                  </a:custGeom>
                  <a:solidFill>
                    <a:schemeClr val="bg1"/>
                  </a:solidFill>
                  <a:ln w="179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grpSp>
      </p:grpSp>
      <p:sp>
        <p:nvSpPr>
          <p:cNvPr id="733" name="Title 10">
            <a:extLst>
              <a:ext uri="{FF2B5EF4-FFF2-40B4-BE49-F238E27FC236}">
                <a16:creationId xmlns:a16="http://schemas.microsoft.com/office/drawing/2014/main" id="{A73E3E01-0164-FD21-1263-3EDBFBB7F709}"/>
              </a:ext>
            </a:extLst>
          </p:cNvPr>
          <p:cNvSpPr txBox="1">
            <a:spLocks/>
          </p:cNvSpPr>
          <p:nvPr/>
        </p:nvSpPr>
        <p:spPr>
          <a:xfrm>
            <a:off x="589533" y="567909"/>
            <a:ext cx="11017250" cy="67710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gradFill>
                  <a:gsLst>
                    <a:gs pos="2917">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70" normalizeH="0" baseline="0" noProof="0" dirty="0">
                <a:ln w="3175">
                  <a:noFill/>
                </a:ln>
                <a:solidFill>
                  <a:schemeClr val="tx1"/>
                </a:solidFill>
                <a:effectLst/>
                <a:uLnTx/>
                <a:uFillTx/>
                <a:latin typeface="Segoe Sans Display Semibold"/>
                <a:ea typeface="+mn-ea"/>
                <a:cs typeface="Segoe UI" pitchFamily="34" charset="0"/>
              </a:rPr>
              <a:t>Microsoft Entra Suite</a:t>
            </a:r>
          </a:p>
        </p:txBody>
      </p:sp>
      <p:grpSp>
        <p:nvGrpSpPr>
          <p:cNvPr id="725" name="Group 724">
            <a:extLst>
              <a:ext uri="{FF2B5EF4-FFF2-40B4-BE49-F238E27FC236}">
                <a16:creationId xmlns:a16="http://schemas.microsoft.com/office/drawing/2014/main" id="{9AD6E172-66F4-0857-ACC8-CD26D6F169AC}"/>
              </a:ext>
            </a:extLst>
          </p:cNvPr>
          <p:cNvGrpSpPr/>
          <p:nvPr/>
        </p:nvGrpSpPr>
        <p:grpSpPr>
          <a:xfrm>
            <a:off x="1644398" y="2814638"/>
            <a:ext cx="8912451" cy="1676877"/>
            <a:chOff x="1644398" y="2406061"/>
            <a:chExt cx="8912451" cy="1676877"/>
          </a:xfrm>
        </p:grpSpPr>
        <p:cxnSp>
          <p:nvCxnSpPr>
            <p:cNvPr id="728" name="Straight Connector 727">
              <a:extLst>
                <a:ext uri="{FF2B5EF4-FFF2-40B4-BE49-F238E27FC236}">
                  <a16:creationId xmlns:a16="http://schemas.microsoft.com/office/drawing/2014/main" id="{A004A980-EF39-E0F5-2615-46BE7142F5D0}"/>
                </a:ext>
                <a:ext uri="{C183D7F6-B498-43B3-948B-1728B52AA6E4}">
                  <adec:decorative xmlns:adec="http://schemas.microsoft.com/office/drawing/2017/decorative" val="1"/>
                </a:ext>
              </a:extLst>
            </p:cNvPr>
            <p:cNvCxnSpPr>
              <a:cxnSpLocks/>
            </p:cNvCxnSpPr>
            <p:nvPr/>
          </p:nvCxnSpPr>
          <p:spPr>
            <a:xfrm>
              <a:off x="6096000" y="2406061"/>
              <a:ext cx="0" cy="1522164"/>
            </a:xfrm>
            <a:prstGeom prst="line">
              <a:avLst/>
            </a:prstGeom>
            <a:ln w="22225" cap="rnd">
              <a:solidFill>
                <a:schemeClr val="accent1"/>
              </a:solidFill>
              <a:headEnd type="arrow" w="lg" len="med"/>
              <a:tailEnd type="none" w="med" len="sm"/>
            </a:ln>
          </p:spPr>
          <p:style>
            <a:lnRef idx="1">
              <a:schemeClr val="accent1"/>
            </a:lnRef>
            <a:fillRef idx="0">
              <a:schemeClr val="accent1"/>
            </a:fillRef>
            <a:effectRef idx="0">
              <a:schemeClr val="accent1"/>
            </a:effectRef>
            <a:fontRef idx="minor">
              <a:schemeClr val="tx1"/>
            </a:fontRef>
          </p:style>
        </p:cxnSp>
        <p:sp>
          <p:nvSpPr>
            <p:cNvPr id="729" name="Arc 728">
              <a:extLst>
                <a:ext uri="{FF2B5EF4-FFF2-40B4-BE49-F238E27FC236}">
                  <a16:creationId xmlns:a16="http://schemas.microsoft.com/office/drawing/2014/main" id="{9A50798B-725F-617A-85CF-4EE789160C0B}"/>
                </a:ext>
              </a:extLst>
            </p:cNvPr>
            <p:cNvSpPr/>
            <p:nvPr/>
          </p:nvSpPr>
          <p:spPr>
            <a:xfrm rot="5400000" flipH="1">
              <a:off x="10221836" y="3747926"/>
              <a:ext cx="307835" cy="362190"/>
            </a:xfrm>
            <a:prstGeom prst="arc">
              <a:avLst/>
            </a:prstGeom>
            <a:noFill/>
            <a:ln w="22225" cap="rnd" cmpd="sng" algn="ctr">
              <a:solidFill>
                <a:schemeClr val="accent1"/>
              </a:solidFill>
              <a:prstDash val="solid"/>
              <a:headEnd type="none" w="lg" len="med"/>
              <a:tailEnd type="none" w="lg" len="med"/>
            </a:ln>
            <a:effectLst/>
          </p:spPr>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US" sz="2400" b="1" i="0" u="none" strike="noStrike" kern="1200" cap="none" spc="0" normalizeH="0" baseline="0" noProof="0">
                <a:ln>
                  <a:noFill/>
                </a:ln>
                <a:gradFill>
                  <a:gsLst>
                    <a:gs pos="41958">
                      <a:srgbClr val="FFFFFF"/>
                    </a:gs>
                    <a:gs pos="63000">
                      <a:srgbClr val="FFFFFF"/>
                    </a:gs>
                  </a:gsLst>
                  <a:lin ang="0" scaled="0"/>
                </a:gradFill>
                <a:effectLst/>
                <a:uLnTx/>
                <a:uFillTx/>
                <a:latin typeface="Segoe UI Variable Display Semibold" pitchFamily="2" charset="0"/>
                <a:ea typeface="+mn-ea"/>
                <a:cs typeface="+mn-cs"/>
              </a:endParaRPr>
            </a:p>
          </p:txBody>
        </p:sp>
        <p:sp>
          <p:nvSpPr>
            <p:cNvPr id="730" name="Arc 729">
              <a:extLst>
                <a:ext uri="{FF2B5EF4-FFF2-40B4-BE49-F238E27FC236}">
                  <a16:creationId xmlns:a16="http://schemas.microsoft.com/office/drawing/2014/main" id="{D9057B2E-ED5A-86CB-DE31-79CB0D299B06}"/>
                </a:ext>
              </a:extLst>
            </p:cNvPr>
            <p:cNvSpPr/>
            <p:nvPr/>
          </p:nvSpPr>
          <p:spPr>
            <a:xfrm rot="5400000" flipH="1" flipV="1">
              <a:off x="1671575" y="3747923"/>
              <a:ext cx="307835" cy="362190"/>
            </a:xfrm>
            <a:prstGeom prst="arc">
              <a:avLst/>
            </a:prstGeom>
            <a:noFill/>
            <a:ln w="22225" cap="rnd" cmpd="sng" algn="ctr">
              <a:solidFill>
                <a:schemeClr val="accent1"/>
              </a:solidFill>
              <a:prstDash val="solid"/>
              <a:headEnd type="none" w="lg" len="med"/>
              <a:tailEnd type="none" w="lg" len="med"/>
            </a:ln>
            <a:effectLst/>
          </p:spPr>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US" sz="2400" b="1" i="0" u="none" strike="noStrike" kern="1200" cap="none" spc="0" normalizeH="0" baseline="0" noProof="0">
                <a:ln>
                  <a:noFill/>
                </a:ln>
                <a:gradFill>
                  <a:gsLst>
                    <a:gs pos="41958">
                      <a:srgbClr val="FFFFFF"/>
                    </a:gs>
                    <a:gs pos="63000">
                      <a:srgbClr val="FFFFFF"/>
                    </a:gs>
                  </a:gsLst>
                  <a:lin ang="0" scaled="0"/>
                </a:gradFill>
                <a:effectLst/>
                <a:uLnTx/>
                <a:uFillTx/>
                <a:latin typeface="Segoe UI Variable Display Semibold" pitchFamily="2" charset="0"/>
                <a:ea typeface="+mn-ea"/>
                <a:cs typeface="+mn-cs"/>
              </a:endParaRPr>
            </a:p>
          </p:txBody>
        </p:sp>
        <p:grpSp>
          <p:nvGrpSpPr>
            <p:cNvPr id="731" name="Group 730">
              <a:extLst>
                <a:ext uri="{FF2B5EF4-FFF2-40B4-BE49-F238E27FC236}">
                  <a16:creationId xmlns:a16="http://schemas.microsoft.com/office/drawing/2014/main" id="{A7B577B9-25BD-6D9D-F4A1-5CE8328A4CA8}"/>
                </a:ext>
              </a:extLst>
            </p:cNvPr>
            <p:cNvGrpSpPr/>
            <p:nvPr/>
          </p:nvGrpSpPr>
          <p:grpSpPr>
            <a:xfrm>
              <a:off x="5733810" y="3363683"/>
              <a:ext cx="724380" cy="411419"/>
              <a:chOff x="5621174" y="3363683"/>
              <a:chExt cx="724380" cy="411419"/>
            </a:xfrm>
          </p:grpSpPr>
          <p:sp>
            <p:nvSpPr>
              <p:cNvPr id="737" name="Arc 736">
                <a:extLst>
                  <a:ext uri="{FF2B5EF4-FFF2-40B4-BE49-F238E27FC236}">
                    <a16:creationId xmlns:a16="http://schemas.microsoft.com/office/drawing/2014/main" id="{6A9321F2-8806-FE86-882F-6F9BD4D3F07F}"/>
                  </a:ext>
                </a:extLst>
              </p:cNvPr>
              <p:cNvSpPr/>
              <p:nvPr/>
            </p:nvSpPr>
            <p:spPr>
              <a:xfrm rot="16200000" flipH="1">
                <a:off x="5958749" y="3388298"/>
                <a:ext cx="411419" cy="362190"/>
              </a:xfrm>
              <a:prstGeom prst="arc">
                <a:avLst/>
              </a:prstGeom>
              <a:noFill/>
              <a:ln w="22225" cap="rnd" cmpd="sng" algn="ctr">
                <a:solidFill>
                  <a:schemeClr val="accent1"/>
                </a:solidFill>
                <a:prstDash val="solid"/>
                <a:headEnd type="none" w="lg" len="med"/>
                <a:tailEnd type="none" w="lg" len="med"/>
              </a:ln>
              <a:effectLst/>
            </p:spPr>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US" sz="2400" b="1" i="0" u="none" strike="noStrike" kern="1200" cap="none" spc="0" normalizeH="0" baseline="0" noProof="0">
                  <a:ln>
                    <a:noFill/>
                  </a:ln>
                  <a:gradFill>
                    <a:gsLst>
                      <a:gs pos="41958">
                        <a:srgbClr val="FFFFFF"/>
                      </a:gs>
                      <a:gs pos="63000">
                        <a:srgbClr val="FFFFFF"/>
                      </a:gs>
                    </a:gsLst>
                    <a:lin ang="0" scaled="0"/>
                  </a:gradFill>
                  <a:effectLst/>
                  <a:uLnTx/>
                  <a:uFillTx/>
                  <a:latin typeface="Segoe UI Variable Display Semibold" pitchFamily="2" charset="0"/>
                  <a:ea typeface="+mn-ea"/>
                  <a:cs typeface="+mn-cs"/>
                </a:endParaRPr>
              </a:p>
            </p:txBody>
          </p:sp>
          <p:sp>
            <p:nvSpPr>
              <p:cNvPr id="738" name="Arc 737">
                <a:extLst>
                  <a:ext uri="{FF2B5EF4-FFF2-40B4-BE49-F238E27FC236}">
                    <a16:creationId xmlns:a16="http://schemas.microsoft.com/office/drawing/2014/main" id="{60618102-A06A-AEF4-0F17-2350C0FAAC9F}"/>
                  </a:ext>
                </a:extLst>
              </p:cNvPr>
              <p:cNvSpPr/>
              <p:nvPr/>
            </p:nvSpPr>
            <p:spPr>
              <a:xfrm rot="16200000" flipH="1" flipV="1">
                <a:off x="5596559" y="3388298"/>
                <a:ext cx="411419" cy="362190"/>
              </a:xfrm>
              <a:prstGeom prst="arc">
                <a:avLst/>
              </a:prstGeom>
              <a:noFill/>
              <a:ln w="22225" cap="rnd" cmpd="sng" algn="ctr">
                <a:solidFill>
                  <a:schemeClr val="accent1"/>
                </a:solidFill>
                <a:prstDash val="solid"/>
                <a:headEnd type="none" w="lg" len="med"/>
                <a:tailEnd type="none" w="lg" len="med"/>
              </a:ln>
              <a:effectLst/>
            </p:spPr>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US" sz="2400" b="1" i="0" u="none" strike="noStrike" kern="1200" cap="none" spc="0" normalizeH="0" baseline="0" noProof="0">
                  <a:ln>
                    <a:noFill/>
                  </a:ln>
                  <a:gradFill>
                    <a:gsLst>
                      <a:gs pos="41958">
                        <a:srgbClr val="FFFFFF"/>
                      </a:gs>
                      <a:gs pos="63000">
                        <a:srgbClr val="FFFFFF"/>
                      </a:gs>
                    </a:gsLst>
                    <a:lin ang="0" scaled="0"/>
                  </a:gradFill>
                  <a:effectLst/>
                  <a:uLnTx/>
                  <a:uFillTx/>
                  <a:latin typeface="Segoe UI Variable Display Semibold" pitchFamily="2" charset="0"/>
                  <a:ea typeface="+mn-ea"/>
                  <a:cs typeface="+mn-cs"/>
                </a:endParaRPr>
              </a:p>
            </p:txBody>
          </p:sp>
        </p:grpSp>
        <p:cxnSp>
          <p:nvCxnSpPr>
            <p:cNvPr id="732" name="Straight Connector 731">
              <a:extLst>
                <a:ext uri="{FF2B5EF4-FFF2-40B4-BE49-F238E27FC236}">
                  <a16:creationId xmlns:a16="http://schemas.microsoft.com/office/drawing/2014/main" id="{5058B864-7645-25F3-DEAC-990E19DBF799}"/>
                </a:ext>
              </a:extLst>
            </p:cNvPr>
            <p:cNvCxnSpPr>
              <a:cxnSpLocks/>
              <a:stCxn id="738" idx="2"/>
              <a:endCxn id="730" idx="2"/>
            </p:cNvCxnSpPr>
            <p:nvPr/>
          </p:nvCxnSpPr>
          <p:spPr>
            <a:xfrm flipH="1" flipV="1">
              <a:off x="1825493" y="3775101"/>
              <a:ext cx="4089412" cy="2"/>
            </a:xfrm>
            <a:prstGeom prst="line">
              <a:avLst/>
            </a:prstGeom>
            <a:noFill/>
            <a:ln w="22225" cap="rnd" cmpd="sng" algn="ctr">
              <a:solidFill>
                <a:schemeClr val="accent1"/>
              </a:solidFill>
              <a:prstDash val="solid"/>
              <a:headEnd type="none" w="lg" len="med"/>
              <a:tailEnd type="none" w="lg" len="med"/>
            </a:ln>
            <a:effectLst/>
          </p:spPr>
        </p:cxnSp>
        <p:cxnSp>
          <p:nvCxnSpPr>
            <p:cNvPr id="734" name="Straight Connector 733">
              <a:extLst>
                <a:ext uri="{FF2B5EF4-FFF2-40B4-BE49-F238E27FC236}">
                  <a16:creationId xmlns:a16="http://schemas.microsoft.com/office/drawing/2014/main" id="{BACBCAA4-7324-1300-7DC9-18D118BC49AE}"/>
                </a:ext>
              </a:extLst>
            </p:cNvPr>
            <p:cNvCxnSpPr>
              <a:cxnSpLocks/>
              <a:stCxn id="729" idx="2"/>
              <a:endCxn id="737" idx="2"/>
            </p:cNvCxnSpPr>
            <p:nvPr/>
          </p:nvCxnSpPr>
          <p:spPr>
            <a:xfrm flipH="1" flipV="1">
              <a:off x="6277095" y="3775103"/>
              <a:ext cx="4098659" cy="1"/>
            </a:xfrm>
            <a:prstGeom prst="line">
              <a:avLst/>
            </a:prstGeom>
            <a:noFill/>
            <a:ln w="22225" cap="rnd" cmpd="sng" algn="ctr">
              <a:solidFill>
                <a:schemeClr val="accent1"/>
              </a:solidFill>
              <a:prstDash val="solid"/>
              <a:headEnd type="none" w="lg" len="med"/>
              <a:tailEnd type="none" w="lg" len="med"/>
            </a:ln>
            <a:effectLst/>
          </p:spPr>
        </p:cxnSp>
        <p:sp>
          <p:nvSpPr>
            <p:cNvPr id="735" name="Arc 734">
              <a:extLst>
                <a:ext uri="{FF2B5EF4-FFF2-40B4-BE49-F238E27FC236}">
                  <a16:creationId xmlns:a16="http://schemas.microsoft.com/office/drawing/2014/main" id="{98AF9619-2EFC-FF84-70E7-46A182875B80}"/>
                </a:ext>
              </a:extLst>
            </p:cNvPr>
            <p:cNvSpPr/>
            <p:nvPr/>
          </p:nvSpPr>
          <p:spPr>
            <a:xfrm rot="5400000" flipH="1" flipV="1">
              <a:off x="3934715" y="3747923"/>
              <a:ext cx="307835" cy="362190"/>
            </a:xfrm>
            <a:prstGeom prst="arc">
              <a:avLst/>
            </a:prstGeom>
            <a:noFill/>
            <a:ln w="22225" cap="rnd" cmpd="sng" algn="ctr">
              <a:solidFill>
                <a:schemeClr val="accent1"/>
              </a:solidFill>
              <a:prstDash val="solid"/>
              <a:headEnd type="none" w="lg" len="med"/>
              <a:tailEnd type="none" w="lg" len="med"/>
            </a:ln>
            <a:effectLst/>
          </p:spPr>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US" sz="2400" b="1" i="0" u="none" strike="noStrike" kern="1200" cap="none" spc="0" normalizeH="0" baseline="0" noProof="0">
                <a:ln>
                  <a:noFill/>
                </a:ln>
                <a:gradFill>
                  <a:gsLst>
                    <a:gs pos="41958">
                      <a:srgbClr val="FFFFFF"/>
                    </a:gs>
                    <a:gs pos="63000">
                      <a:srgbClr val="FFFFFF"/>
                    </a:gs>
                  </a:gsLst>
                  <a:lin ang="0" scaled="0"/>
                </a:gradFill>
                <a:effectLst/>
                <a:uLnTx/>
                <a:uFillTx/>
                <a:latin typeface="Segoe UI Variable Display Semibold" pitchFamily="2" charset="0"/>
                <a:ea typeface="+mn-ea"/>
                <a:cs typeface="+mn-cs"/>
              </a:endParaRPr>
            </a:p>
          </p:txBody>
        </p:sp>
        <p:sp>
          <p:nvSpPr>
            <p:cNvPr id="736" name="Arc 735">
              <a:extLst>
                <a:ext uri="{FF2B5EF4-FFF2-40B4-BE49-F238E27FC236}">
                  <a16:creationId xmlns:a16="http://schemas.microsoft.com/office/drawing/2014/main" id="{BA27BF92-78C1-2244-EF1B-A31F037864BB}"/>
                </a:ext>
              </a:extLst>
            </p:cNvPr>
            <p:cNvSpPr/>
            <p:nvPr/>
          </p:nvSpPr>
          <p:spPr>
            <a:xfrm rot="5400000" flipH="1">
              <a:off x="7949449" y="3747926"/>
              <a:ext cx="307835" cy="362190"/>
            </a:xfrm>
            <a:prstGeom prst="arc">
              <a:avLst/>
            </a:prstGeom>
            <a:noFill/>
            <a:ln w="22225" cap="rnd" cmpd="sng" algn="ctr">
              <a:solidFill>
                <a:schemeClr val="accent1"/>
              </a:solidFill>
              <a:prstDash val="solid"/>
              <a:headEnd type="none" w="lg" len="med"/>
              <a:tailEnd type="none" w="lg" len="med"/>
            </a:ln>
            <a:effectLst/>
          </p:spPr>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US" sz="2400" b="1" i="0" u="none" strike="noStrike" kern="1200" cap="none" spc="0" normalizeH="0" baseline="0" noProof="0">
                <a:ln>
                  <a:noFill/>
                </a:ln>
                <a:gradFill>
                  <a:gsLst>
                    <a:gs pos="41958">
                      <a:srgbClr val="FFFFFF"/>
                    </a:gs>
                    <a:gs pos="63000">
                      <a:srgbClr val="FFFFFF"/>
                    </a:gs>
                  </a:gsLst>
                  <a:lin ang="0" scaled="0"/>
                </a:gradFill>
                <a:effectLst/>
                <a:uLnTx/>
                <a:uFillTx/>
                <a:latin typeface="Segoe UI Variable Display Semibold" pitchFamily="2" charset="0"/>
                <a:ea typeface="+mn-ea"/>
                <a:cs typeface="+mn-cs"/>
              </a:endParaRPr>
            </a:p>
          </p:txBody>
        </p:sp>
      </p:grpSp>
      <p:sp>
        <p:nvSpPr>
          <p:cNvPr id="11" name="Title 10">
            <a:extLst>
              <a:ext uri="{FF2B5EF4-FFF2-40B4-BE49-F238E27FC236}">
                <a16:creationId xmlns:a16="http://schemas.microsoft.com/office/drawing/2014/main" id="{DD7CBA3C-C7B8-9279-14D5-941EA91E5647}"/>
              </a:ext>
            </a:extLst>
          </p:cNvPr>
          <p:cNvSpPr>
            <a:spLocks noGrp="1"/>
          </p:cNvSpPr>
          <p:nvPr>
            <p:ph type="title" idx="4294967295"/>
          </p:nvPr>
        </p:nvSpPr>
        <p:spPr>
          <a:xfrm>
            <a:off x="91538" y="3182937"/>
            <a:ext cx="11017250" cy="492125"/>
          </a:xfrm>
          <a:noFill/>
        </p:spPr>
        <p:txBody>
          <a:bodyPr bIns="91440" anchor="ctr">
            <a:noAutofit/>
          </a:bodyPr>
          <a:lstStyle/>
          <a:p>
            <a:pPr algn="ctr"/>
            <a:r>
              <a:rPr lang="en-US" sz="2800">
                <a:latin typeface="Segoe Sans Display Semibold" pitchFamily="2" charset="0"/>
                <a:cs typeface="Segoe Sans Display Semibold" pitchFamily="2" charset="0"/>
              </a:rPr>
              <a:t>Reduce your security on-premises footprint</a:t>
            </a:r>
          </a:p>
        </p:txBody>
      </p:sp>
      <p:sp>
        <p:nvSpPr>
          <p:cNvPr id="14" name="Rounded Rectangle 64">
            <a:extLst>
              <a:ext uri="{FF2B5EF4-FFF2-40B4-BE49-F238E27FC236}">
                <a16:creationId xmlns:a16="http://schemas.microsoft.com/office/drawing/2014/main" id="{D6E1184F-DEC3-75CB-C5BD-91A6AA6DA5B5}"/>
              </a:ext>
              <a:ext uri="{C183D7F6-B498-43B3-948B-1728B52AA6E4}">
                <adec:decorative xmlns:adec="http://schemas.microsoft.com/office/drawing/2017/decorative" val="1"/>
              </a:ext>
            </a:extLst>
          </p:cNvPr>
          <p:cNvSpPr/>
          <p:nvPr/>
        </p:nvSpPr>
        <p:spPr bwMode="auto">
          <a:xfrm>
            <a:off x="588263" y="4360884"/>
            <a:ext cx="2103120" cy="1828800"/>
          </a:xfrm>
          <a:prstGeom prst="roundRect">
            <a:avLst>
              <a:gd name="adj" fmla="val 3815"/>
            </a:avLst>
          </a:prstGeom>
          <a:solidFill>
            <a:schemeClr val="bg1">
              <a:lumMod val="95000"/>
            </a:schemeClr>
          </a:solidFill>
          <a:ln w="19050" cap="rnd" cmpd="sng" algn="ctr">
            <a:solidFill>
              <a:schemeClr val="bg1">
                <a:lumMod val="65000"/>
              </a:schemeClr>
            </a:solidFill>
            <a:prstDash val="solid"/>
            <a:headEnd type="none" w="lg" len="med"/>
            <a:tailEnd type="none" w="lg" len="med"/>
          </a:ln>
          <a:effectLst/>
        </p:spPr>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US" sz="2400" b="1" i="0" u="none" strike="noStrike" kern="1200" cap="none" spc="0" normalizeH="0" baseline="0" noProof="0">
              <a:ln>
                <a:noFill/>
              </a:ln>
              <a:gradFill>
                <a:gsLst>
                  <a:gs pos="41958">
                    <a:srgbClr val="FFFFFF"/>
                  </a:gs>
                  <a:gs pos="63000">
                    <a:srgbClr val="FFFFFF"/>
                  </a:gs>
                </a:gsLst>
                <a:lin ang="0" scaled="0"/>
              </a:gradFill>
              <a:effectLst/>
              <a:uLnTx/>
              <a:uFillTx/>
              <a:latin typeface="Segoe UI Variable Display Semibold" pitchFamily="2" charset="0"/>
              <a:ea typeface="+mn-ea"/>
              <a:cs typeface="+mn-cs"/>
            </a:endParaRPr>
          </a:p>
        </p:txBody>
      </p:sp>
      <p:sp>
        <p:nvSpPr>
          <p:cNvPr id="15" name="Rounded Rectangle 64">
            <a:extLst>
              <a:ext uri="{FF2B5EF4-FFF2-40B4-BE49-F238E27FC236}">
                <a16:creationId xmlns:a16="http://schemas.microsoft.com/office/drawing/2014/main" id="{5888380E-9787-E5C0-F05C-23D0AB8EF1E2}"/>
              </a:ext>
              <a:ext uri="{C183D7F6-B498-43B3-948B-1728B52AA6E4}">
                <adec:decorative xmlns:adec="http://schemas.microsoft.com/office/drawing/2017/decorative" val="1"/>
              </a:ext>
            </a:extLst>
          </p:cNvPr>
          <p:cNvSpPr/>
          <p:nvPr/>
        </p:nvSpPr>
        <p:spPr bwMode="auto">
          <a:xfrm>
            <a:off x="2817113" y="4360884"/>
            <a:ext cx="2103120" cy="1828800"/>
          </a:xfrm>
          <a:prstGeom prst="roundRect">
            <a:avLst>
              <a:gd name="adj" fmla="val 3815"/>
            </a:avLst>
          </a:prstGeom>
          <a:solidFill>
            <a:schemeClr val="bg1">
              <a:lumMod val="95000"/>
            </a:schemeClr>
          </a:solidFill>
          <a:ln w="19050" cap="rnd" cmpd="sng" algn="ctr">
            <a:solidFill>
              <a:schemeClr val="bg1">
                <a:lumMod val="75000"/>
              </a:schemeClr>
            </a:solidFill>
            <a:prstDash val="solid"/>
            <a:headEnd type="none" w="lg" len="med"/>
            <a:tailEnd type="none" w="lg" len="med"/>
          </a:ln>
          <a:effectLst/>
        </p:spPr>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US" sz="2400" b="1" i="0" u="none" strike="noStrike" kern="1200" cap="none" spc="0" normalizeH="0" baseline="0" noProof="0">
              <a:ln>
                <a:noFill/>
              </a:ln>
              <a:gradFill>
                <a:gsLst>
                  <a:gs pos="41958">
                    <a:srgbClr val="FFFFFF"/>
                  </a:gs>
                  <a:gs pos="63000">
                    <a:srgbClr val="FFFFFF"/>
                  </a:gs>
                </a:gsLst>
                <a:lin ang="0" scaled="0"/>
              </a:gradFill>
              <a:effectLst/>
              <a:uLnTx/>
              <a:uFillTx/>
              <a:latin typeface="Segoe UI Variable Display Semibold" pitchFamily="2" charset="0"/>
              <a:ea typeface="+mn-ea"/>
              <a:cs typeface="+mn-cs"/>
            </a:endParaRPr>
          </a:p>
        </p:txBody>
      </p:sp>
      <p:sp>
        <p:nvSpPr>
          <p:cNvPr id="16" name="Rounded Rectangle 64">
            <a:extLst>
              <a:ext uri="{FF2B5EF4-FFF2-40B4-BE49-F238E27FC236}">
                <a16:creationId xmlns:a16="http://schemas.microsoft.com/office/drawing/2014/main" id="{F27A8099-46C8-21D5-1F19-10FD81E04545}"/>
              </a:ext>
              <a:ext uri="{C183D7F6-B498-43B3-948B-1728B52AA6E4}">
                <adec:decorative xmlns:adec="http://schemas.microsoft.com/office/drawing/2017/decorative" val="1"/>
              </a:ext>
            </a:extLst>
          </p:cNvPr>
          <p:cNvSpPr/>
          <p:nvPr/>
        </p:nvSpPr>
        <p:spPr bwMode="auto">
          <a:xfrm>
            <a:off x="5045963" y="4360884"/>
            <a:ext cx="2103120" cy="1828800"/>
          </a:xfrm>
          <a:prstGeom prst="roundRect">
            <a:avLst>
              <a:gd name="adj" fmla="val 3815"/>
            </a:avLst>
          </a:prstGeom>
          <a:solidFill>
            <a:schemeClr val="bg1">
              <a:lumMod val="95000"/>
            </a:schemeClr>
          </a:solidFill>
          <a:ln w="19050" cap="rnd" cmpd="sng" algn="ctr">
            <a:solidFill>
              <a:schemeClr val="bg1">
                <a:lumMod val="75000"/>
              </a:schemeClr>
            </a:solidFill>
            <a:prstDash val="solid"/>
            <a:headEnd type="none" w="lg" len="med"/>
            <a:tailEnd type="none" w="lg" len="med"/>
          </a:ln>
          <a:effectLst/>
        </p:spPr>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US" sz="2400" b="1" i="0" u="none" strike="noStrike" kern="1200" cap="none" spc="0" normalizeH="0" baseline="0" noProof="0">
              <a:ln>
                <a:noFill/>
              </a:ln>
              <a:gradFill>
                <a:gsLst>
                  <a:gs pos="41958">
                    <a:srgbClr val="FFFFFF"/>
                  </a:gs>
                  <a:gs pos="63000">
                    <a:srgbClr val="FFFFFF"/>
                  </a:gs>
                </a:gsLst>
                <a:lin ang="0" scaled="0"/>
              </a:gradFill>
              <a:effectLst/>
              <a:uLnTx/>
              <a:uFillTx/>
              <a:latin typeface="Segoe UI Variable Display Semibold" pitchFamily="2" charset="0"/>
              <a:ea typeface="+mn-ea"/>
              <a:cs typeface="+mn-cs"/>
            </a:endParaRPr>
          </a:p>
        </p:txBody>
      </p:sp>
      <p:sp>
        <p:nvSpPr>
          <p:cNvPr id="17" name="Rounded Rectangle 64">
            <a:extLst>
              <a:ext uri="{FF2B5EF4-FFF2-40B4-BE49-F238E27FC236}">
                <a16:creationId xmlns:a16="http://schemas.microsoft.com/office/drawing/2014/main" id="{8618F195-5B1B-A7E7-86B0-D0B8144E6BA9}"/>
              </a:ext>
              <a:ext uri="{C183D7F6-B498-43B3-948B-1728B52AA6E4}">
                <adec:decorative xmlns:adec="http://schemas.microsoft.com/office/drawing/2017/decorative" val="1"/>
              </a:ext>
            </a:extLst>
          </p:cNvPr>
          <p:cNvSpPr/>
          <p:nvPr/>
        </p:nvSpPr>
        <p:spPr bwMode="auto">
          <a:xfrm>
            <a:off x="7274813" y="4360884"/>
            <a:ext cx="2103120" cy="1828800"/>
          </a:xfrm>
          <a:prstGeom prst="roundRect">
            <a:avLst>
              <a:gd name="adj" fmla="val 3815"/>
            </a:avLst>
          </a:prstGeom>
          <a:solidFill>
            <a:schemeClr val="bg1">
              <a:lumMod val="95000"/>
            </a:schemeClr>
          </a:solidFill>
          <a:ln w="19050" cap="rnd" cmpd="sng" algn="ctr">
            <a:solidFill>
              <a:schemeClr val="bg1">
                <a:lumMod val="75000"/>
              </a:schemeClr>
            </a:solidFill>
            <a:prstDash val="solid"/>
            <a:headEnd type="none" w="lg" len="med"/>
            <a:tailEnd type="none" w="lg" len="med"/>
          </a:ln>
          <a:effectLst/>
        </p:spPr>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US" sz="2400" b="1" i="0" u="none" strike="noStrike" kern="1200" cap="none" spc="0" normalizeH="0" baseline="0" noProof="0">
              <a:ln>
                <a:noFill/>
              </a:ln>
              <a:gradFill>
                <a:gsLst>
                  <a:gs pos="41958">
                    <a:srgbClr val="FFFFFF"/>
                  </a:gs>
                  <a:gs pos="63000">
                    <a:srgbClr val="FFFFFF"/>
                  </a:gs>
                </a:gsLst>
                <a:lin ang="0" scaled="0"/>
              </a:gradFill>
              <a:effectLst/>
              <a:uLnTx/>
              <a:uFillTx/>
              <a:latin typeface="Segoe UI Variable Display Semibold" pitchFamily="2" charset="0"/>
              <a:ea typeface="+mn-ea"/>
              <a:cs typeface="+mn-cs"/>
            </a:endParaRPr>
          </a:p>
        </p:txBody>
      </p:sp>
      <p:sp>
        <p:nvSpPr>
          <p:cNvPr id="18" name="Rounded Rectangle 64">
            <a:extLst>
              <a:ext uri="{FF2B5EF4-FFF2-40B4-BE49-F238E27FC236}">
                <a16:creationId xmlns:a16="http://schemas.microsoft.com/office/drawing/2014/main" id="{1015BEFB-3FB9-3D8C-3C57-BF95997DB147}"/>
              </a:ext>
              <a:ext uri="{C183D7F6-B498-43B3-948B-1728B52AA6E4}">
                <adec:decorative xmlns:adec="http://schemas.microsoft.com/office/drawing/2017/decorative" val="1"/>
              </a:ext>
            </a:extLst>
          </p:cNvPr>
          <p:cNvSpPr/>
          <p:nvPr/>
        </p:nvSpPr>
        <p:spPr bwMode="auto">
          <a:xfrm>
            <a:off x="9503663" y="4360884"/>
            <a:ext cx="2103120" cy="1828800"/>
          </a:xfrm>
          <a:prstGeom prst="roundRect">
            <a:avLst>
              <a:gd name="adj" fmla="val 3815"/>
            </a:avLst>
          </a:prstGeom>
          <a:solidFill>
            <a:schemeClr val="bg1">
              <a:lumMod val="95000"/>
            </a:schemeClr>
          </a:solidFill>
          <a:ln w="19050" cap="rnd" cmpd="sng" algn="ctr">
            <a:solidFill>
              <a:schemeClr val="bg1">
                <a:lumMod val="75000"/>
              </a:schemeClr>
            </a:solidFill>
            <a:prstDash val="solid"/>
            <a:headEnd type="none" w="lg" len="med"/>
            <a:tailEnd type="none" w="lg" len="med"/>
          </a:ln>
          <a:effectLst/>
        </p:spPr>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US" sz="2400" b="1" i="0" u="none" strike="noStrike" kern="1200" cap="none" spc="0" normalizeH="0" baseline="0" noProof="0">
              <a:ln>
                <a:noFill/>
              </a:ln>
              <a:gradFill>
                <a:gsLst>
                  <a:gs pos="41958">
                    <a:srgbClr val="FFFFFF"/>
                  </a:gs>
                  <a:gs pos="63000">
                    <a:srgbClr val="FFFFFF"/>
                  </a:gs>
                </a:gsLst>
                <a:lin ang="0" scaled="0"/>
              </a:gradFill>
              <a:effectLst/>
              <a:uLnTx/>
              <a:uFillTx/>
              <a:latin typeface="Segoe UI Variable Display Semibold" pitchFamily="2" charset="0"/>
              <a:ea typeface="+mn-ea"/>
              <a:cs typeface="+mn-cs"/>
            </a:endParaRPr>
          </a:p>
        </p:txBody>
      </p:sp>
      <p:sp>
        <p:nvSpPr>
          <p:cNvPr id="20" name="!!Oval SWG">
            <a:extLst>
              <a:ext uri="{FF2B5EF4-FFF2-40B4-BE49-F238E27FC236}">
                <a16:creationId xmlns:a16="http://schemas.microsoft.com/office/drawing/2014/main" id="{0B7A5D1B-D75F-66EC-E28C-B9AF7AD5808D}"/>
              </a:ext>
              <a:ext uri="{C183D7F6-B498-43B3-948B-1728B52AA6E4}">
                <adec:decorative xmlns:adec="http://schemas.microsoft.com/office/drawing/2017/decorative" val="1"/>
              </a:ext>
            </a:extLst>
          </p:cNvPr>
          <p:cNvSpPr/>
          <p:nvPr/>
        </p:nvSpPr>
        <p:spPr bwMode="auto">
          <a:xfrm>
            <a:off x="1140940" y="4540310"/>
            <a:ext cx="996696" cy="99669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mn-ea"/>
              <a:cs typeface="Segoe UI" pitchFamily="34" charset="0"/>
            </a:endParaRPr>
          </a:p>
        </p:txBody>
      </p:sp>
      <p:pic>
        <p:nvPicPr>
          <p:cNvPr id="29" name="Graphic 28">
            <a:extLst>
              <a:ext uri="{FF2B5EF4-FFF2-40B4-BE49-F238E27FC236}">
                <a16:creationId xmlns:a16="http://schemas.microsoft.com/office/drawing/2014/main" id="{27C47591-D07B-B8A2-C008-E3003FE9915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364968" y="4764338"/>
            <a:ext cx="548641" cy="548640"/>
          </a:xfrm>
          <a:prstGeom prst="rect">
            <a:avLst/>
          </a:prstGeom>
          <a:effectLst>
            <a:outerShdw blurRad="127000" dist="12700" dir="2700000" algn="tl" rotWithShape="0">
              <a:prstClr val="black">
                <a:alpha val="10000"/>
              </a:prstClr>
            </a:outerShdw>
          </a:effectLst>
        </p:spPr>
      </p:pic>
      <p:sp>
        <p:nvSpPr>
          <p:cNvPr id="30" name="!!Oval Firewall">
            <a:extLst>
              <a:ext uri="{FF2B5EF4-FFF2-40B4-BE49-F238E27FC236}">
                <a16:creationId xmlns:a16="http://schemas.microsoft.com/office/drawing/2014/main" id="{579F63A3-B7E5-1BEB-E57F-41D8C701A318}"/>
              </a:ext>
              <a:ext uri="{C183D7F6-B498-43B3-948B-1728B52AA6E4}">
                <adec:decorative xmlns:adec="http://schemas.microsoft.com/office/drawing/2017/decorative" val="1"/>
              </a:ext>
            </a:extLst>
          </p:cNvPr>
          <p:cNvSpPr/>
          <p:nvPr/>
        </p:nvSpPr>
        <p:spPr bwMode="auto">
          <a:xfrm>
            <a:off x="3379075" y="4540310"/>
            <a:ext cx="996696" cy="99669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mn-ea"/>
              <a:cs typeface="Segoe UI" pitchFamily="34" charset="0"/>
            </a:endParaRPr>
          </a:p>
        </p:txBody>
      </p:sp>
      <p:pic>
        <p:nvPicPr>
          <p:cNvPr id="31" name="Graphic 30">
            <a:extLst>
              <a:ext uri="{FF2B5EF4-FFF2-40B4-BE49-F238E27FC236}">
                <a16:creationId xmlns:a16="http://schemas.microsoft.com/office/drawing/2014/main" id="{8630D6C8-20B2-E1CC-6C94-A3168A0DEB3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648823" y="4810058"/>
            <a:ext cx="457200" cy="457200"/>
          </a:xfrm>
          <a:prstGeom prst="rect">
            <a:avLst/>
          </a:prstGeom>
          <a:effectLst>
            <a:outerShdw blurRad="127000" dist="12700" dir="2700000" algn="tl" rotWithShape="0">
              <a:prstClr val="black">
                <a:alpha val="10000"/>
              </a:prstClr>
            </a:outerShdw>
          </a:effectLst>
        </p:spPr>
      </p:pic>
      <p:sp>
        <p:nvSpPr>
          <p:cNvPr id="32" name="!!Oval VPN">
            <a:extLst>
              <a:ext uri="{FF2B5EF4-FFF2-40B4-BE49-F238E27FC236}">
                <a16:creationId xmlns:a16="http://schemas.microsoft.com/office/drawing/2014/main" id="{00627CE2-0196-F461-D060-0AC3576B4A1C}"/>
              </a:ext>
              <a:ext uri="{C183D7F6-B498-43B3-948B-1728B52AA6E4}">
                <adec:decorative xmlns:adec="http://schemas.microsoft.com/office/drawing/2017/decorative" val="1"/>
              </a:ext>
            </a:extLst>
          </p:cNvPr>
          <p:cNvSpPr/>
          <p:nvPr/>
        </p:nvSpPr>
        <p:spPr bwMode="auto">
          <a:xfrm>
            <a:off x="5600163" y="4533393"/>
            <a:ext cx="996696" cy="99669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mn-ea"/>
              <a:cs typeface="Segoe UI" pitchFamily="34" charset="0"/>
            </a:endParaRPr>
          </a:p>
        </p:txBody>
      </p:sp>
      <p:pic>
        <p:nvPicPr>
          <p:cNvPr id="36" name="Graphic 35">
            <a:extLst>
              <a:ext uri="{FF2B5EF4-FFF2-40B4-BE49-F238E27FC236}">
                <a16:creationId xmlns:a16="http://schemas.microsoft.com/office/drawing/2014/main" id="{37541BE2-CD40-4CC2-00DB-3F4D50B7687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869911" y="4803141"/>
            <a:ext cx="457200" cy="457200"/>
          </a:xfrm>
          <a:prstGeom prst="rect">
            <a:avLst/>
          </a:prstGeom>
          <a:effectLst>
            <a:outerShdw blurRad="127000" dist="12700" dir="2700000" algn="tl" rotWithShape="0">
              <a:prstClr val="black">
                <a:alpha val="10000"/>
              </a:prstClr>
            </a:outerShdw>
          </a:effectLst>
        </p:spPr>
      </p:pic>
      <p:sp>
        <p:nvSpPr>
          <p:cNvPr id="37" name="!!Oval On Prem IG">
            <a:extLst>
              <a:ext uri="{FF2B5EF4-FFF2-40B4-BE49-F238E27FC236}">
                <a16:creationId xmlns:a16="http://schemas.microsoft.com/office/drawing/2014/main" id="{CD887D32-E7FE-8023-DA69-74461E6D474B}"/>
              </a:ext>
              <a:ext uri="{C183D7F6-B498-43B3-948B-1728B52AA6E4}">
                <adec:decorative xmlns:adec="http://schemas.microsoft.com/office/drawing/2017/decorative" val="1"/>
              </a:ext>
            </a:extLst>
          </p:cNvPr>
          <p:cNvSpPr/>
          <p:nvPr/>
        </p:nvSpPr>
        <p:spPr bwMode="auto">
          <a:xfrm>
            <a:off x="7819470" y="4540310"/>
            <a:ext cx="996696" cy="99669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mn-ea"/>
              <a:cs typeface="Segoe UI" pitchFamily="34" charset="0"/>
            </a:endParaRPr>
          </a:p>
        </p:txBody>
      </p:sp>
      <p:pic>
        <p:nvPicPr>
          <p:cNvPr id="38" name="Graphic 37">
            <a:extLst>
              <a:ext uri="{FF2B5EF4-FFF2-40B4-BE49-F238E27FC236}">
                <a16:creationId xmlns:a16="http://schemas.microsoft.com/office/drawing/2014/main" id="{225993A9-5A4D-C439-7360-FE877E1CC278}"/>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997778" y="4718618"/>
            <a:ext cx="640081" cy="640080"/>
          </a:xfrm>
          <a:prstGeom prst="rect">
            <a:avLst/>
          </a:prstGeom>
          <a:effectLst>
            <a:outerShdw blurRad="127000" dist="12700" dir="2700000" algn="tl" rotWithShape="0">
              <a:prstClr val="black">
                <a:alpha val="10000"/>
              </a:prstClr>
            </a:outerShdw>
          </a:effectLst>
        </p:spPr>
      </p:pic>
      <p:sp>
        <p:nvSpPr>
          <p:cNvPr id="40" name="!!Oval ID verify">
            <a:extLst>
              <a:ext uri="{FF2B5EF4-FFF2-40B4-BE49-F238E27FC236}">
                <a16:creationId xmlns:a16="http://schemas.microsoft.com/office/drawing/2014/main" id="{52954B9D-63EC-BA04-9CCB-86155EEFD7C8}"/>
              </a:ext>
              <a:ext uri="{C183D7F6-B498-43B3-948B-1728B52AA6E4}">
                <adec:decorative xmlns:adec="http://schemas.microsoft.com/office/drawing/2017/decorative" val="1"/>
              </a:ext>
            </a:extLst>
          </p:cNvPr>
          <p:cNvSpPr/>
          <p:nvPr/>
        </p:nvSpPr>
        <p:spPr bwMode="auto">
          <a:xfrm>
            <a:off x="10054364" y="4540310"/>
            <a:ext cx="996696" cy="99669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mn-ea"/>
              <a:cs typeface="Segoe UI" pitchFamily="34" charset="0"/>
            </a:endParaRPr>
          </a:p>
        </p:txBody>
      </p:sp>
      <p:pic>
        <p:nvPicPr>
          <p:cNvPr id="41" name="Picture 40">
            <a:extLst>
              <a:ext uri="{FF2B5EF4-FFF2-40B4-BE49-F238E27FC236}">
                <a16:creationId xmlns:a16="http://schemas.microsoft.com/office/drawing/2014/main" id="{53C9AF17-0A43-861F-A48A-2439CD2C7A62}"/>
              </a:ext>
            </a:extLst>
          </p:cNvPr>
          <p:cNvPicPr>
            <a:picLocks noChangeAspect="1"/>
          </p:cNvPicPr>
          <p:nvPr/>
        </p:nvPicPr>
        <p:blipFill>
          <a:blip r:embed="rId16"/>
          <a:stretch>
            <a:fillRect/>
          </a:stretch>
        </p:blipFill>
        <p:spPr>
          <a:xfrm>
            <a:off x="10278392" y="4764338"/>
            <a:ext cx="548640" cy="548640"/>
          </a:xfrm>
          <a:prstGeom prst="rect">
            <a:avLst/>
          </a:prstGeom>
          <a:effectLst>
            <a:outerShdw blurRad="127000" dist="12700" dir="2700000" algn="tl" rotWithShape="0">
              <a:prstClr val="black">
                <a:alpha val="10000"/>
              </a:prstClr>
            </a:outerShdw>
          </a:effectLst>
        </p:spPr>
      </p:pic>
      <p:sp>
        <p:nvSpPr>
          <p:cNvPr id="42" name="Rectangle 41">
            <a:extLst>
              <a:ext uri="{FF2B5EF4-FFF2-40B4-BE49-F238E27FC236}">
                <a16:creationId xmlns:a16="http://schemas.microsoft.com/office/drawing/2014/main" id="{2659588D-F611-A8E6-0FB6-ED53EC74E363}"/>
              </a:ext>
            </a:extLst>
          </p:cNvPr>
          <p:cNvSpPr/>
          <p:nvPr/>
        </p:nvSpPr>
        <p:spPr bwMode="auto">
          <a:xfrm>
            <a:off x="835998" y="5643481"/>
            <a:ext cx="1607650" cy="430887"/>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50" normalizeH="0" baseline="0" noProof="0">
                <a:ln>
                  <a:noFill/>
                </a:ln>
                <a:solidFill>
                  <a:srgbClr val="FFFFFF">
                    <a:lumMod val="65000"/>
                  </a:srgbClr>
                </a:solidFill>
                <a:effectLst/>
                <a:uLnTx/>
                <a:uFillTx/>
                <a:latin typeface="Segoe Sans Display Semibold"/>
                <a:ea typeface="+mn-ea"/>
                <a:cs typeface="+mn-cs"/>
              </a:rPr>
              <a:t>Basic Secure Web</a:t>
            </a:r>
            <a:br>
              <a:rPr kumimoji="0" lang="en-US" sz="1400" b="0" i="0" u="none" strike="noStrike" kern="1200" cap="none" spc="-50" normalizeH="0" baseline="0" noProof="0">
                <a:ln>
                  <a:noFill/>
                </a:ln>
                <a:solidFill>
                  <a:srgbClr val="FFFFFF">
                    <a:lumMod val="65000"/>
                  </a:srgbClr>
                </a:solidFill>
                <a:effectLst/>
                <a:uLnTx/>
                <a:uFillTx/>
                <a:latin typeface="Segoe Sans Display Semibold"/>
                <a:ea typeface="+mn-ea"/>
                <a:cs typeface="+mn-cs"/>
              </a:rPr>
            </a:br>
            <a:r>
              <a:rPr kumimoji="0" lang="en-US" sz="1400" b="0" i="0" u="none" strike="noStrike" kern="1200" cap="none" spc="-50" normalizeH="0" baseline="0" noProof="0">
                <a:ln>
                  <a:noFill/>
                </a:ln>
                <a:solidFill>
                  <a:srgbClr val="FFFFFF">
                    <a:lumMod val="65000"/>
                  </a:srgbClr>
                </a:solidFill>
                <a:effectLst/>
                <a:uLnTx/>
                <a:uFillTx/>
                <a:latin typeface="Segoe Sans Display Semibold"/>
                <a:ea typeface="+mn-ea"/>
                <a:cs typeface="+mn-cs"/>
              </a:rPr>
              <a:t>Gateway (SWG)</a:t>
            </a:r>
          </a:p>
        </p:txBody>
      </p:sp>
      <p:sp>
        <p:nvSpPr>
          <p:cNvPr id="43" name="TextBox 42">
            <a:extLst>
              <a:ext uri="{FF2B5EF4-FFF2-40B4-BE49-F238E27FC236}">
                <a16:creationId xmlns:a16="http://schemas.microsoft.com/office/drawing/2014/main" id="{56A8DE8F-5126-17CE-3F35-38DEEE084B84}"/>
              </a:ext>
            </a:extLst>
          </p:cNvPr>
          <p:cNvSpPr txBox="1"/>
          <p:nvPr/>
        </p:nvSpPr>
        <p:spPr>
          <a:xfrm>
            <a:off x="3547695" y="5751202"/>
            <a:ext cx="640432" cy="215444"/>
          </a:xfrm>
          <a:prstGeom prst="rect">
            <a:avLst/>
          </a:prstGeom>
          <a:noFill/>
        </p:spPr>
        <p:txBody>
          <a:bodyPr wrap="none" lIns="0" tIns="0" rIns="0" bIns="0">
            <a:spAutoFit/>
          </a:bodyPr>
          <a:lstStyle/>
          <a:p>
            <a:pPr marL="0" marR="0" lvl="0" indent="0" algn="ctr"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50" normalizeH="0" baseline="0" noProof="0">
                <a:ln>
                  <a:noFill/>
                </a:ln>
                <a:solidFill>
                  <a:srgbClr val="FFFFFF">
                    <a:lumMod val="65000"/>
                  </a:srgbClr>
                </a:solidFill>
                <a:effectLst/>
                <a:uLnTx/>
                <a:uFillTx/>
                <a:latin typeface="Segoe Sans Display Semibold"/>
                <a:ea typeface="+mn-ea"/>
                <a:cs typeface="+mn-cs"/>
              </a:rPr>
              <a:t>Firewalls</a:t>
            </a:r>
          </a:p>
        </p:txBody>
      </p:sp>
      <p:sp>
        <p:nvSpPr>
          <p:cNvPr id="44" name="TextBox 43">
            <a:extLst>
              <a:ext uri="{FF2B5EF4-FFF2-40B4-BE49-F238E27FC236}">
                <a16:creationId xmlns:a16="http://schemas.microsoft.com/office/drawing/2014/main" id="{6C4D6464-CB0C-6A93-6E73-9059B7C0A777}"/>
              </a:ext>
            </a:extLst>
          </p:cNvPr>
          <p:cNvSpPr txBox="1"/>
          <p:nvPr/>
        </p:nvSpPr>
        <p:spPr>
          <a:xfrm>
            <a:off x="5605479" y="5751202"/>
            <a:ext cx="981038" cy="215444"/>
          </a:xfrm>
          <a:prstGeom prst="rect">
            <a:avLst/>
          </a:prstGeom>
          <a:noFill/>
        </p:spPr>
        <p:txBody>
          <a:bodyPr wrap="none" lIns="0" tIns="0" rIns="0" bIns="0">
            <a:spAutoFit/>
          </a:bodyPr>
          <a:lstStyle/>
          <a:p>
            <a:pPr marL="0" marR="0" lvl="0" indent="0" algn="ctr"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50" normalizeH="0" baseline="0" noProof="0">
                <a:ln>
                  <a:noFill/>
                </a:ln>
                <a:solidFill>
                  <a:srgbClr val="FFFFFF">
                    <a:lumMod val="65000"/>
                  </a:srgbClr>
                </a:solidFill>
                <a:effectLst/>
                <a:uLnTx/>
                <a:uFillTx/>
                <a:latin typeface="Segoe Sans Display Semibold"/>
                <a:ea typeface="+mn-ea"/>
                <a:cs typeface="+mn-cs"/>
              </a:rPr>
              <a:t>Legacy VPNs</a:t>
            </a:r>
          </a:p>
        </p:txBody>
      </p:sp>
      <p:sp>
        <p:nvSpPr>
          <p:cNvPr id="45" name="Rectangle 44">
            <a:extLst>
              <a:ext uri="{FF2B5EF4-FFF2-40B4-BE49-F238E27FC236}">
                <a16:creationId xmlns:a16="http://schemas.microsoft.com/office/drawing/2014/main" id="{2A44BB36-D01E-F59F-60DE-5E66B5BD989D}"/>
              </a:ext>
            </a:extLst>
          </p:cNvPr>
          <p:cNvSpPr/>
          <p:nvPr/>
        </p:nvSpPr>
        <p:spPr bwMode="auto">
          <a:xfrm>
            <a:off x="7272527" y="5643481"/>
            <a:ext cx="2103120" cy="430887"/>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50" normalizeH="0" baseline="0" noProof="0">
                <a:ln>
                  <a:noFill/>
                </a:ln>
                <a:solidFill>
                  <a:srgbClr val="FFFFFF">
                    <a:lumMod val="65000"/>
                  </a:srgbClr>
                </a:solidFill>
                <a:effectLst/>
                <a:uLnTx/>
                <a:uFillTx/>
                <a:latin typeface="Segoe Sans Display Semibold"/>
                <a:ea typeface="+mn-ea"/>
                <a:cs typeface="+mn-cs"/>
              </a:rPr>
              <a:t>On-premises identity governance</a:t>
            </a:r>
          </a:p>
        </p:txBody>
      </p:sp>
      <p:sp>
        <p:nvSpPr>
          <p:cNvPr id="46" name="Rectangle 45">
            <a:extLst>
              <a:ext uri="{FF2B5EF4-FFF2-40B4-BE49-F238E27FC236}">
                <a16:creationId xmlns:a16="http://schemas.microsoft.com/office/drawing/2014/main" id="{3EE0BCFD-DD0B-FD58-22B6-B7DCA0D320B7}"/>
              </a:ext>
            </a:extLst>
          </p:cNvPr>
          <p:cNvSpPr/>
          <p:nvPr/>
        </p:nvSpPr>
        <p:spPr bwMode="auto">
          <a:xfrm>
            <a:off x="9696074" y="5643481"/>
            <a:ext cx="1712206" cy="430887"/>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50" normalizeH="0" baseline="0" noProof="0">
                <a:ln>
                  <a:noFill/>
                </a:ln>
                <a:solidFill>
                  <a:srgbClr val="FFFFFF">
                    <a:lumMod val="65000"/>
                  </a:srgbClr>
                </a:solidFill>
                <a:effectLst/>
                <a:uLnTx/>
                <a:uFillTx/>
                <a:latin typeface="Segoe Sans Display Semibold"/>
                <a:ea typeface="+mn-ea"/>
                <a:cs typeface="+mn-cs"/>
              </a:rPr>
              <a:t>Paper-based</a:t>
            </a:r>
            <a:br>
              <a:rPr kumimoji="0" lang="en-US" sz="1400" b="0" i="0" u="none" strike="noStrike" kern="1200" cap="none" spc="-50" normalizeH="0" baseline="0" noProof="0">
                <a:ln>
                  <a:noFill/>
                </a:ln>
                <a:solidFill>
                  <a:srgbClr val="FFFFFF">
                    <a:lumMod val="65000"/>
                  </a:srgbClr>
                </a:solidFill>
                <a:effectLst/>
                <a:uLnTx/>
                <a:uFillTx/>
                <a:latin typeface="Segoe Sans Display Semibold"/>
                <a:ea typeface="+mn-ea"/>
                <a:cs typeface="Segoe Sans Display Semibold"/>
              </a:rPr>
            </a:br>
            <a:r>
              <a:rPr kumimoji="0" lang="en-US" sz="1400" b="0" i="0" u="none" strike="noStrike" kern="1200" cap="none" spc="-50" normalizeH="0" baseline="0" noProof="0">
                <a:ln>
                  <a:noFill/>
                </a:ln>
                <a:solidFill>
                  <a:srgbClr val="FFFFFF">
                    <a:lumMod val="65000"/>
                  </a:srgbClr>
                </a:solidFill>
                <a:effectLst/>
                <a:uLnTx/>
                <a:uFillTx/>
                <a:latin typeface="Segoe Sans Display Semibold"/>
                <a:ea typeface="+mn-ea"/>
                <a:cs typeface="+mn-cs"/>
              </a:rPr>
              <a:t>identity verification</a:t>
            </a:r>
          </a:p>
        </p:txBody>
      </p:sp>
      <p:sp>
        <p:nvSpPr>
          <p:cNvPr id="48" name="Trapezoid 47">
            <a:extLst>
              <a:ext uri="{FF2B5EF4-FFF2-40B4-BE49-F238E27FC236}">
                <a16:creationId xmlns:a16="http://schemas.microsoft.com/office/drawing/2014/main" id="{B7831B0C-F4C0-7991-FCE1-E1465EF8BED8}"/>
              </a:ext>
            </a:extLst>
          </p:cNvPr>
          <p:cNvSpPr/>
          <p:nvPr/>
        </p:nvSpPr>
        <p:spPr bwMode="auto">
          <a:xfrm rot="-2700000">
            <a:off x="285475" y="4613956"/>
            <a:ext cx="1371600" cy="274320"/>
          </a:xfrm>
          <a:prstGeom prst="trapezoid">
            <a:avLst>
              <a:gd name="adj" fmla="val 99838"/>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rPr>
              <a:t>RETIRED</a:t>
            </a:r>
          </a:p>
        </p:txBody>
      </p:sp>
      <p:sp>
        <p:nvSpPr>
          <p:cNvPr id="49" name="Trapezoid 48">
            <a:extLst>
              <a:ext uri="{FF2B5EF4-FFF2-40B4-BE49-F238E27FC236}">
                <a16:creationId xmlns:a16="http://schemas.microsoft.com/office/drawing/2014/main" id="{7C156C36-2E07-254B-E3F8-F33CA3652528}"/>
              </a:ext>
            </a:extLst>
          </p:cNvPr>
          <p:cNvSpPr/>
          <p:nvPr/>
        </p:nvSpPr>
        <p:spPr bwMode="auto">
          <a:xfrm rot="-2700000">
            <a:off x="2515552" y="4613956"/>
            <a:ext cx="1371600" cy="274320"/>
          </a:xfrm>
          <a:prstGeom prst="trapezoid">
            <a:avLst>
              <a:gd name="adj" fmla="val 99838"/>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rPr>
              <a:t>RETIRED</a:t>
            </a:r>
          </a:p>
        </p:txBody>
      </p:sp>
      <p:sp>
        <p:nvSpPr>
          <p:cNvPr id="50" name="Trapezoid 49">
            <a:extLst>
              <a:ext uri="{FF2B5EF4-FFF2-40B4-BE49-F238E27FC236}">
                <a16:creationId xmlns:a16="http://schemas.microsoft.com/office/drawing/2014/main" id="{506D7C6D-54B8-716B-EF41-CA017D50B99B}"/>
              </a:ext>
            </a:extLst>
          </p:cNvPr>
          <p:cNvSpPr/>
          <p:nvPr/>
        </p:nvSpPr>
        <p:spPr bwMode="auto">
          <a:xfrm rot="-2700000">
            <a:off x="4745629" y="4613956"/>
            <a:ext cx="1371600" cy="274320"/>
          </a:xfrm>
          <a:prstGeom prst="trapezoid">
            <a:avLst>
              <a:gd name="adj" fmla="val 99838"/>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rPr>
              <a:t>RETIRED</a:t>
            </a:r>
          </a:p>
        </p:txBody>
      </p:sp>
      <p:sp>
        <p:nvSpPr>
          <p:cNvPr id="51" name="Trapezoid 50">
            <a:extLst>
              <a:ext uri="{FF2B5EF4-FFF2-40B4-BE49-F238E27FC236}">
                <a16:creationId xmlns:a16="http://schemas.microsoft.com/office/drawing/2014/main" id="{0A482FC2-09FB-77B8-033D-DBEE6DBCEB91}"/>
              </a:ext>
            </a:extLst>
          </p:cNvPr>
          <p:cNvSpPr/>
          <p:nvPr/>
        </p:nvSpPr>
        <p:spPr bwMode="auto">
          <a:xfrm rot="-2700000">
            <a:off x="6975706" y="4613956"/>
            <a:ext cx="1371600" cy="274320"/>
          </a:xfrm>
          <a:prstGeom prst="trapezoid">
            <a:avLst>
              <a:gd name="adj" fmla="val 99838"/>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rPr>
              <a:t>RETIRED</a:t>
            </a:r>
          </a:p>
        </p:txBody>
      </p:sp>
      <p:sp>
        <p:nvSpPr>
          <p:cNvPr id="52" name="Trapezoid 51">
            <a:extLst>
              <a:ext uri="{FF2B5EF4-FFF2-40B4-BE49-F238E27FC236}">
                <a16:creationId xmlns:a16="http://schemas.microsoft.com/office/drawing/2014/main" id="{2577EECF-71B8-5618-AC6E-CE570FDEB0A7}"/>
              </a:ext>
            </a:extLst>
          </p:cNvPr>
          <p:cNvSpPr/>
          <p:nvPr/>
        </p:nvSpPr>
        <p:spPr bwMode="auto">
          <a:xfrm rot="-2700000">
            <a:off x="9205782" y="4613956"/>
            <a:ext cx="1371600" cy="274320"/>
          </a:xfrm>
          <a:prstGeom prst="trapezoid">
            <a:avLst>
              <a:gd name="adj" fmla="val 99838"/>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rPr>
              <a:t>RETIRED</a:t>
            </a:r>
          </a:p>
        </p:txBody>
      </p:sp>
    </p:spTree>
    <p:extLst>
      <p:ext uri="{BB962C8B-B14F-4D97-AF65-F5344CB8AC3E}">
        <p14:creationId xmlns:p14="http://schemas.microsoft.com/office/powerpoint/2010/main" val="21025620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725"/>
                                        </p:tgtEl>
                                        <p:attrNameLst>
                                          <p:attrName>style.visibility</p:attrName>
                                        </p:attrNameLst>
                                      </p:cBhvr>
                                      <p:to>
                                        <p:strVal val="visible"/>
                                      </p:to>
                                    </p:set>
                                    <p:animEffect transition="in" filter="fade">
                                      <p:cBhvr>
                                        <p:cTn id="7" dur="250"/>
                                        <p:tgtEl>
                                          <p:spTgt spid="725"/>
                                        </p:tgtEl>
                                      </p:cBhvr>
                                    </p:animEffect>
                                  </p:childTnLst>
                                </p:cTn>
                              </p:par>
                              <p:par>
                                <p:cTn id="8" presetID="42" presetClass="path" presetSubtype="0" decel="100000" fill="hold" nodeType="withEffect">
                                  <p:stCondLst>
                                    <p:cond delay="250"/>
                                  </p:stCondLst>
                                  <p:childTnLst>
                                    <p:animMotion origin="layout" path="M -6.25E-7 0.03889 L -6.25E-7 1.11111E-6 " pathEditMode="relative" rAng="0" ptsTypes="AA">
                                      <p:cBhvr>
                                        <p:cTn id="9" dur="500" fill="hold"/>
                                        <p:tgtEl>
                                          <p:spTgt spid="725"/>
                                        </p:tgtEl>
                                        <p:attrNameLst>
                                          <p:attrName>ppt_x</p:attrName>
                                          <p:attrName>ppt_y</p:attrName>
                                        </p:attrNameLst>
                                      </p:cBhvr>
                                      <p:rCtr x="0" y="-1944"/>
                                    </p:animMotion>
                                  </p:childTnLst>
                                </p:cTn>
                              </p:par>
                              <p:par>
                                <p:cTn id="10" presetID="16" presetClass="entr" presetSubtype="42" fill="hold" grpId="0" nodeType="withEffect">
                                  <p:stCondLst>
                                    <p:cond delay="100"/>
                                  </p:stCondLst>
                                  <p:childTnLst>
                                    <p:set>
                                      <p:cBhvr>
                                        <p:cTn id="11" dur="1" fill="hold">
                                          <p:stCondLst>
                                            <p:cond delay="0"/>
                                          </p:stCondLst>
                                        </p:cTn>
                                        <p:tgtEl>
                                          <p:spTgt spid="48"/>
                                        </p:tgtEl>
                                        <p:attrNameLst>
                                          <p:attrName>style.visibility</p:attrName>
                                        </p:attrNameLst>
                                      </p:cBhvr>
                                      <p:to>
                                        <p:strVal val="visible"/>
                                      </p:to>
                                    </p:set>
                                    <p:animEffect transition="in" filter="barn(outHorizontal)">
                                      <p:cBhvr>
                                        <p:cTn id="12" dur="350"/>
                                        <p:tgtEl>
                                          <p:spTgt spid="48"/>
                                        </p:tgtEl>
                                      </p:cBhvr>
                                    </p:animEffect>
                                  </p:childTnLst>
                                </p:cTn>
                              </p:par>
                              <p:par>
                                <p:cTn id="13" presetID="16" presetClass="entr" presetSubtype="42" fill="hold" grpId="0" nodeType="withEffect">
                                  <p:stCondLst>
                                    <p:cond delay="200"/>
                                  </p:stCondLst>
                                  <p:childTnLst>
                                    <p:set>
                                      <p:cBhvr>
                                        <p:cTn id="14" dur="1" fill="hold">
                                          <p:stCondLst>
                                            <p:cond delay="0"/>
                                          </p:stCondLst>
                                        </p:cTn>
                                        <p:tgtEl>
                                          <p:spTgt spid="49"/>
                                        </p:tgtEl>
                                        <p:attrNameLst>
                                          <p:attrName>style.visibility</p:attrName>
                                        </p:attrNameLst>
                                      </p:cBhvr>
                                      <p:to>
                                        <p:strVal val="visible"/>
                                      </p:to>
                                    </p:set>
                                    <p:animEffect transition="in" filter="barn(outHorizontal)">
                                      <p:cBhvr>
                                        <p:cTn id="15" dur="350"/>
                                        <p:tgtEl>
                                          <p:spTgt spid="49"/>
                                        </p:tgtEl>
                                      </p:cBhvr>
                                    </p:animEffect>
                                  </p:childTnLst>
                                </p:cTn>
                              </p:par>
                              <p:par>
                                <p:cTn id="16" presetID="16" presetClass="entr" presetSubtype="42" fill="hold" grpId="0" nodeType="withEffect">
                                  <p:stCondLst>
                                    <p:cond delay="300"/>
                                  </p:stCondLst>
                                  <p:childTnLst>
                                    <p:set>
                                      <p:cBhvr>
                                        <p:cTn id="17" dur="1" fill="hold">
                                          <p:stCondLst>
                                            <p:cond delay="0"/>
                                          </p:stCondLst>
                                        </p:cTn>
                                        <p:tgtEl>
                                          <p:spTgt spid="50"/>
                                        </p:tgtEl>
                                        <p:attrNameLst>
                                          <p:attrName>style.visibility</p:attrName>
                                        </p:attrNameLst>
                                      </p:cBhvr>
                                      <p:to>
                                        <p:strVal val="visible"/>
                                      </p:to>
                                    </p:set>
                                    <p:animEffect transition="in" filter="barn(outHorizontal)">
                                      <p:cBhvr>
                                        <p:cTn id="18" dur="350"/>
                                        <p:tgtEl>
                                          <p:spTgt spid="50"/>
                                        </p:tgtEl>
                                      </p:cBhvr>
                                    </p:animEffect>
                                  </p:childTnLst>
                                </p:cTn>
                              </p:par>
                              <p:par>
                                <p:cTn id="19" presetID="16" presetClass="entr" presetSubtype="42" fill="hold" grpId="0" nodeType="withEffect">
                                  <p:stCondLst>
                                    <p:cond delay="400"/>
                                  </p:stCondLst>
                                  <p:childTnLst>
                                    <p:set>
                                      <p:cBhvr>
                                        <p:cTn id="20" dur="1" fill="hold">
                                          <p:stCondLst>
                                            <p:cond delay="0"/>
                                          </p:stCondLst>
                                        </p:cTn>
                                        <p:tgtEl>
                                          <p:spTgt spid="51"/>
                                        </p:tgtEl>
                                        <p:attrNameLst>
                                          <p:attrName>style.visibility</p:attrName>
                                        </p:attrNameLst>
                                      </p:cBhvr>
                                      <p:to>
                                        <p:strVal val="visible"/>
                                      </p:to>
                                    </p:set>
                                    <p:animEffect transition="in" filter="barn(outHorizontal)">
                                      <p:cBhvr>
                                        <p:cTn id="21" dur="350"/>
                                        <p:tgtEl>
                                          <p:spTgt spid="51"/>
                                        </p:tgtEl>
                                      </p:cBhvr>
                                    </p:animEffect>
                                  </p:childTnLst>
                                </p:cTn>
                              </p:par>
                              <p:par>
                                <p:cTn id="22" presetID="16" presetClass="entr" presetSubtype="42" fill="hold" grpId="0" nodeType="withEffect">
                                  <p:stCondLst>
                                    <p:cond delay="500"/>
                                  </p:stCondLst>
                                  <p:childTnLst>
                                    <p:set>
                                      <p:cBhvr>
                                        <p:cTn id="23" dur="1" fill="hold">
                                          <p:stCondLst>
                                            <p:cond delay="0"/>
                                          </p:stCondLst>
                                        </p:cTn>
                                        <p:tgtEl>
                                          <p:spTgt spid="52"/>
                                        </p:tgtEl>
                                        <p:attrNameLst>
                                          <p:attrName>style.visibility</p:attrName>
                                        </p:attrNameLst>
                                      </p:cBhvr>
                                      <p:to>
                                        <p:strVal val="visible"/>
                                      </p:to>
                                    </p:set>
                                    <p:animEffect transition="in" filter="barn(outHorizontal)">
                                      <p:cBhvr>
                                        <p:cTn id="24" dur="35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49" grpId="0" animBg="1"/>
      <p:bldP spid="50" grpId="0" animBg="1"/>
      <p:bldP spid="51" grpId="0" animBg="1"/>
      <p:bldP spid="52"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F0E6B2-B689-03F9-77DD-CCDAB970A537}"/>
            </a:ext>
          </a:extLst>
        </p:cNvPr>
        <p:cNvGrpSpPr/>
        <p:nvPr/>
      </p:nvGrpSpPr>
      <p:grpSpPr>
        <a:xfrm>
          <a:off x="0" y="0"/>
          <a:ext cx="0" cy="0"/>
          <a:chOff x="0" y="0"/>
          <a:chExt cx="0" cy="0"/>
        </a:xfrm>
      </p:grpSpPr>
      <p:pic>
        <p:nvPicPr>
          <p:cNvPr id="16" name="Picture 15">
            <a:extLst>
              <a:ext uri="{FF2B5EF4-FFF2-40B4-BE49-F238E27FC236}">
                <a16:creationId xmlns:a16="http://schemas.microsoft.com/office/drawing/2014/main" id="{6F73155F-9166-F43B-517F-13F1664E1876}"/>
              </a:ext>
            </a:extLst>
          </p:cNvPr>
          <p:cNvPicPr>
            <a:picLocks noChangeAspect="1"/>
          </p:cNvPicPr>
          <p:nvPr/>
        </p:nvPicPr>
        <p:blipFill>
          <a:blip r:embed="rId3"/>
          <a:stretch>
            <a:fillRect/>
          </a:stretch>
        </p:blipFill>
        <p:spPr>
          <a:xfrm>
            <a:off x="-19750" y="-14095"/>
            <a:ext cx="12211749" cy="6872095"/>
          </a:xfrm>
          <a:prstGeom prst="rect">
            <a:avLst/>
          </a:prstGeom>
        </p:spPr>
      </p:pic>
      <p:sp>
        <p:nvSpPr>
          <p:cNvPr id="15" name="Rectangle 14">
            <a:extLst>
              <a:ext uri="{FF2B5EF4-FFF2-40B4-BE49-F238E27FC236}">
                <a16:creationId xmlns:a16="http://schemas.microsoft.com/office/drawing/2014/main" id="{CDC106BF-4D5F-663B-A8B9-368ED94A2591}"/>
              </a:ext>
            </a:extLst>
          </p:cNvPr>
          <p:cNvSpPr/>
          <p:nvPr/>
        </p:nvSpPr>
        <p:spPr>
          <a:xfrm>
            <a:off x="0" y="0"/>
            <a:ext cx="12192000" cy="6858000"/>
          </a:xfrm>
          <a:prstGeom prst="rect">
            <a:avLst/>
          </a:prstGeom>
          <a:solidFill>
            <a:schemeClr val="bg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 name="Picture 1">
            <a:extLst>
              <a:ext uri="{FF2B5EF4-FFF2-40B4-BE49-F238E27FC236}">
                <a16:creationId xmlns:a16="http://schemas.microsoft.com/office/drawing/2014/main" id="{EAE1A3F8-1ADE-9FEB-A3A6-F3E71FE2523A}"/>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2591868" y="0"/>
            <a:ext cx="7008263" cy="6858000"/>
          </a:xfrm>
          <a:prstGeom prst="rect">
            <a:avLst/>
          </a:prstGeom>
        </p:spPr>
      </p:pic>
      <p:pic>
        <p:nvPicPr>
          <p:cNvPr id="3" name="Picture 2">
            <a:extLst>
              <a:ext uri="{FF2B5EF4-FFF2-40B4-BE49-F238E27FC236}">
                <a16:creationId xmlns:a16="http://schemas.microsoft.com/office/drawing/2014/main" id="{12694C72-C575-676B-2F6F-9F64175D5FC1}"/>
              </a:ext>
              <a:ext uri="{C183D7F6-B498-43B3-948B-1728B52AA6E4}">
                <adec:decorative xmlns:adec="http://schemas.microsoft.com/office/drawing/2017/decorative" val="1"/>
              </a:ext>
            </a:extLst>
          </p:cNvPr>
          <p:cNvPicPr>
            <a:picLocks noChangeAspect="1"/>
          </p:cNvPicPr>
          <p:nvPr/>
        </p:nvPicPr>
        <p:blipFill>
          <a:blip r:embed="rId5">
            <a:alphaModFix amt="0"/>
          </a:blip>
          <a:stretch>
            <a:fillRect/>
          </a:stretch>
        </p:blipFill>
        <p:spPr>
          <a:xfrm>
            <a:off x="5659373" y="3031838"/>
            <a:ext cx="873254" cy="873254"/>
          </a:xfrm>
          <a:prstGeom prst="rect">
            <a:avLst/>
          </a:prstGeom>
        </p:spPr>
      </p:pic>
      <p:grpSp>
        <p:nvGrpSpPr>
          <p:cNvPr id="4" name="Group 3">
            <a:extLst>
              <a:ext uri="{FF2B5EF4-FFF2-40B4-BE49-F238E27FC236}">
                <a16:creationId xmlns:a16="http://schemas.microsoft.com/office/drawing/2014/main" id="{111B53A8-6A15-F2FE-739A-4C327D45DAC2}"/>
              </a:ext>
              <a:ext uri="{C183D7F6-B498-43B3-948B-1728B52AA6E4}">
                <adec:decorative xmlns:adec="http://schemas.microsoft.com/office/drawing/2017/decorative" val="1"/>
              </a:ext>
            </a:extLst>
          </p:cNvPr>
          <p:cNvGrpSpPr/>
          <p:nvPr/>
        </p:nvGrpSpPr>
        <p:grpSpPr>
          <a:xfrm>
            <a:off x="2560657" y="452013"/>
            <a:ext cx="7070687" cy="5953975"/>
            <a:chOff x="5267489" y="902367"/>
            <a:chExt cx="6232486" cy="5248156"/>
          </a:xfrm>
          <a:scene3d>
            <a:camera prst="perspectiveRight" fov="0">
              <a:rot lat="0" lon="0" rev="0"/>
            </a:camera>
            <a:lightRig rig="flood" dir="t"/>
          </a:scene3d>
        </p:grpSpPr>
        <p:grpSp>
          <p:nvGrpSpPr>
            <p:cNvPr id="5" name="Group 4">
              <a:extLst>
                <a:ext uri="{FF2B5EF4-FFF2-40B4-BE49-F238E27FC236}">
                  <a16:creationId xmlns:a16="http://schemas.microsoft.com/office/drawing/2014/main" id="{9BD876E6-105D-894E-5C8E-5E9C09B8FA93}"/>
                </a:ext>
              </a:extLst>
            </p:cNvPr>
            <p:cNvGrpSpPr/>
            <p:nvPr/>
          </p:nvGrpSpPr>
          <p:grpSpPr>
            <a:xfrm>
              <a:off x="5756493" y="1145957"/>
              <a:ext cx="5207912" cy="4691749"/>
              <a:chOff x="5723133" y="1035454"/>
              <a:chExt cx="5411648" cy="4875298"/>
            </a:xfrm>
          </p:grpSpPr>
          <p:sp>
            <p:nvSpPr>
              <p:cNvPr id="522" name="Oval 521">
                <a:extLst>
                  <a:ext uri="{FF2B5EF4-FFF2-40B4-BE49-F238E27FC236}">
                    <a16:creationId xmlns:a16="http://schemas.microsoft.com/office/drawing/2014/main" id="{952F103C-F7A8-D2DD-3CB8-A88EAB023C5A}"/>
                  </a:ext>
                </a:extLst>
              </p:cNvPr>
              <p:cNvSpPr>
                <a:spLocks/>
              </p:cNvSpPr>
              <p:nvPr/>
            </p:nvSpPr>
            <p:spPr bwMode="auto">
              <a:xfrm>
                <a:off x="6185168" y="4355605"/>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25" name="Oval 524">
                <a:extLst>
                  <a:ext uri="{FF2B5EF4-FFF2-40B4-BE49-F238E27FC236}">
                    <a16:creationId xmlns:a16="http://schemas.microsoft.com/office/drawing/2014/main" id="{73271ED1-B870-DF21-CA2A-E56A6CD96042}"/>
                  </a:ext>
                </a:extLst>
              </p:cNvPr>
              <p:cNvSpPr>
                <a:spLocks/>
              </p:cNvSpPr>
              <p:nvPr/>
            </p:nvSpPr>
            <p:spPr bwMode="auto">
              <a:xfrm>
                <a:off x="6299294" y="4993563"/>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44" name="Oval 543">
                <a:extLst>
                  <a:ext uri="{FF2B5EF4-FFF2-40B4-BE49-F238E27FC236}">
                    <a16:creationId xmlns:a16="http://schemas.microsoft.com/office/drawing/2014/main" id="{12F72F9A-CEAE-05FE-3D78-139F32E4E249}"/>
                  </a:ext>
                </a:extLst>
              </p:cNvPr>
              <p:cNvSpPr>
                <a:spLocks/>
              </p:cNvSpPr>
              <p:nvPr/>
            </p:nvSpPr>
            <p:spPr bwMode="auto">
              <a:xfrm>
                <a:off x="10419814" y="1882864"/>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53" name="Oval 552">
                <a:extLst>
                  <a:ext uri="{FF2B5EF4-FFF2-40B4-BE49-F238E27FC236}">
                    <a16:creationId xmlns:a16="http://schemas.microsoft.com/office/drawing/2014/main" id="{7C4A409B-DF7D-AD8B-B6ED-D63489210045}"/>
                  </a:ext>
                </a:extLst>
              </p:cNvPr>
              <p:cNvSpPr>
                <a:spLocks/>
              </p:cNvSpPr>
              <p:nvPr/>
            </p:nvSpPr>
            <p:spPr bwMode="auto">
              <a:xfrm>
                <a:off x="10636545" y="2489222"/>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54" name="Oval 553">
                <a:extLst>
                  <a:ext uri="{FF2B5EF4-FFF2-40B4-BE49-F238E27FC236}">
                    <a16:creationId xmlns:a16="http://schemas.microsoft.com/office/drawing/2014/main" id="{6798AEB6-1942-BC4D-B32C-DF957890A004}"/>
                  </a:ext>
                </a:extLst>
              </p:cNvPr>
              <p:cNvSpPr>
                <a:spLocks/>
              </p:cNvSpPr>
              <p:nvPr/>
            </p:nvSpPr>
            <p:spPr bwMode="auto">
              <a:xfrm>
                <a:off x="10850723" y="3024079"/>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59" name="Oval 558">
                <a:extLst>
                  <a:ext uri="{FF2B5EF4-FFF2-40B4-BE49-F238E27FC236}">
                    <a16:creationId xmlns:a16="http://schemas.microsoft.com/office/drawing/2014/main" id="{7B0F7B4E-393A-3156-B051-C5CB72AC3F04}"/>
                  </a:ext>
                </a:extLst>
              </p:cNvPr>
              <p:cNvSpPr>
                <a:spLocks/>
              </p:cNvSpPr>
              <p:nvPr/>
            </p:nvSpPr>
            <p:spPr bwMode="auto">
              <a:xfrm>
                <a:off x="10961349" y="2702067"/>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60" name="Oval 559">
                <a:extLst>
                  <a:ext uri="{FF2B5EF4-FFF2-40B4-BE49-F238E27FC236}">
                    <a16:creationId xmlns:a16="http://schemas.microsoft.com/office/drawing/2014/main" id="{72572BA1-95D7-FA37-8FF8-CEB4046E1FA9}"/>
                  </a:ext>
                </a:extLst>
              </p:cNvPr>
              <p:cNvSpPr>
                <a:spLocks/>
              </p:cNvSpPr>
              <p:nvPr/>
            </p:nvSpPr>
            <p:spPr bwMode="auto">
              <a:xfrm>
                <a:off x="10759073" y="3612536"/>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61" name="Oval 560">
                <a:extLst>
                  <a:ext uri="{FF2B5EF4-FFF2-40B4-BE49-F238E27FC236}">
                    <a16:creationId xmlns:a16="http://schemas.microsoft.com/office/drawing/2014/main" id="{470793C3-3F28-EEAB-77B8-59B0625952A6}"/>
                  </a:ext>
                </a:extLst>
              </p:cNvPr>
              <p:cNvSpPr>
                <a:spLocks/>
              </p:cNvSpPr>
              <p:nvPr/>
            </p:nvSpPr>
            <p:spPr bwMode="auto">
              <a:xfrm>
                <a:off x="10728195" y="4155168"/>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62" name="Oval 561">
                <a:extLst>
                  <a:ext uri="{FF2B5EF4-FFF2-40B4-BE49-F238E27FC236}">
                    <a16:creationId xmlns:a16="http://schemas.microsoft.com/office/drawing/2014/main" id="{943B60AD-A848-25BC-2383-8841240D759C}"/>
                  </a:ext>
                </a:extLst>
              </p:cNvPr>
              <p:cNvSpPr>
                <a:spLocks/>
              </p:cNvSpPr>
              <p:nvPr/>
            </p:nvSpPr>
            <p:spPr bwMode="auto">
              <a:xfrm>
                <a:off x="10282339" y="5254325"/>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63" name="Oval 562">
                <a:extLst>
                  <a:ext uri="{FF2B5EF4-FFF2-40B4-BE49-F238E27FC236}">
                    <a16:creationId xmlns:a16="http://schemas.microsoft.com/office/drawing/2014/main" id="{52BF8577-62B9-DC6C-C755-0A89084395BA}"/>
                  </a:ext>
                </a:extLst>
              </p:cNvPr>
              <p:cNvSpPr>
                <a:spLocks/>
              </p:cNvSpPr>
              <p:nvPr/>
            </p:nvSpPr>
            <p:spPr bwMode="auto">
              <a:xfrm>
                <a:off x="10392628" y="4851254"/>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64" name="Oval 563">
                <a:extLst>
                  <a:ext uri="{FF2B5EF4-FFF2-40B4-BE49-F238E27FC236}">
                    <a16:creationId xmlns:a16="http://schemas.microsoft.com/office/drawing/2014/main" id="{37E8D94B-4B06-8A59-8077-8DFF8368AA52}"/>
                  </a:ext>
                </a:extLst>
              </p:cNvPr>
              <p:cNvSpPr>
                <a:spLocks/>
              </p:cNvSpPr>
              <p:nvPr/>
            </p:nvSpPr>
            <p:spPr bwMode="auto">
              <a:xfrm>
                <a:off x="9705568" y="5346176"/>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65" name="Oval 564">
                <a:extLst>
                  <a:ext uri="{FF2B5EF4-FFF2-40B4-BE49-F238E27FC236}">
                    <a16:creationId xmlns:a16="http://schemas.microsoft.com/office/drawing/2014/main" id="{84F007E7-B748-B7C8-2831-D85815821C60}"/>
                  </a:ext>
                </a:extLst>
              </p:cNvPr>
              <p:cNvSpPr>
                <a:spLocks/>
              </p:cNvSpPr>
              <p:nvPr/>
            </p:nvSpPr>
            <p:spPr bwMode="auto">
              <a:xfrm>
                <a:off x="5931001" y="3966240"/>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66" name="Oval 565">
                <a:extLst>
                  <a:ext uri="{FF2B5EF4-FFF2-40B4-BE49-F238E27FC236}">
                    <a16:creationId xmlns:a16="http://schemas.microsoft.com/office/drawing/2014/main" id="{310C44E8-0C99-AD77-9DB2-6BDD4635819C}"/>
                  </a:ext>
                </a:extLst>
              </p:cNvPr>
              <p:cNvSpPr>
                <a:spLocks/>
              </p:cNvSpPr>
              <p:nvPr/>
            </p:nvSpPr>
            <p:spPr bwMode="auto">
              <a:xfrm>
                <a:off x="5976826" y="3062164"/>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67" name="Oval 566">
                <a:extLst>
                  <a:ext uri="{FF2B5EF4-FFF2-40B4-BE49-F238E27FC236}">
                    <a16:creationId xmlns:a16="http://schemas.microsoft.com/office/drawing/2014/main" id="{8478A8BE-18F9-95C0-C874-988D06502507}"/>
                  </a:ext>
                </a:extLst>
              </p:cNvPr>
              <p:cNvSpPr>
                <a:spLocks/>
              </p:cNvSpPr>
              <p:nvPr/>
            </p:nvSpPr>
            <p:spPr bwMode="auto">
              <a:xfrm>
                <a:off x="5893817" y="3450748"/>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68" name="Oval 567">
                <a:extLst>
                  <a:ext uri="{FF2B5EF4-FFF2-40B4-BE49-F238E27FC236}">
                    <a16:creationId xmlns:a16="http://schemas.microsoft.com/office/drawing/2014/main" id="{D4864659-E9E5-8347-23E0-0E333E816785}"/>
                  </a:ext>
                </a:extLst>
              </p:cNvPr>
              <p:cNvSpPr>
                <a:spLocks/>
              </p:cNvSpPr>
              <p:nvPr/>
            </p:nvSpPr>
            <p:spPr bwMode="auto">
              <a:xfrm>
                <a:off x="6612604" y="5176272"/>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69" name="Oval 568">
                <a:extLst>
                  <a:ext uri="{FF2B5EF4-FFF2-40B4-BE49-F238E27FC236}">
                    <a16:creationId xmlns:a16="http://schemas.microsoft.com/office/drawing/2014/main" id="{85FF041F-21AD-1016-547D-A36D03C396BE}"/>
                  </a:ext>
                </a:extLst>
              </p:cNvPr>
              <p:cNvSpPr>
                <a:spLocks/>
              </p:cNvSpPr>
              <p:nvPr/>
            </p:nvSpPr>
            <p:spPr bwMode="auto">
              <a:xfrm>
                <a:off x="6958994" y="5513753"/>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74" name="Oval 573">
                <a:extLst>
                  <a:ext uri="{FF2B5EF4-FFF2-40B4-BE49-F238E27FC236}">
                    <a16:creationId xmlns:a16="http://schemas.microsoft.com/office/drawing/2014/main" id="{4E5DD536-B8B3-570C-F606-D4ED46F62579}"/>
                  </a:ext>
                </a:extLst>
              </p:cNvPr>
              <p:cNvSpPr>
                <a:spLocks/>
              </p:cNvSpPr>
              <p:nvPr/>
            </p:nvSpPr>
            <p:spPr bwMode="auto">
              <a:xfrm>
                <a:off x="11070317" y="3358397"/>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75" name="Oval 574">
                <a:extLst>
                  <a:ext uri="{FF2B5EF4-FFF2-40B4-BE49-F238E27FC236}">
                    <a16:creationId xmlns:a16="http://schemas.microsoft.com/office/drawing/2014/main" id="{2829040F-E8C6-B95D-9184-8F0AA5303C83}"/>
                  </a:ext>
                </a:extLst>
              </p:cNvPr>
              <p:cNvSpPr>
                <a:spLocks/>
              </p:cNvSpPr>
              <p:nvPr/>
            </p:nvSpPr>
            <p:spPr bwMode="auto">
              <a:xfrm>
                <a:off x="10942681" y="3877187"/>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76" name="Oval 575">
                <a:extLst>
                  <a:ext uri="{FF2B5EF4-FFF2-40B4-BE49-F238E27FC236}">
                    <a16:creationId xmlns:a16="http://schemas.microsoft.com/office/drawing/2014/main" id="{D1DB482E-4A74-B40D-15B0-4FC2454F8357}"/>
                  </a:ext>
                </a:extLst>
              </p:cNvPr>
              <p:cNvSpPr>
                <a:spLocks/>
              </p:cNvSpPr>
              <p:nvPr/>
            </p:nvSpPr>
            <p:spPr bwMode="auto">
              <a:xfrm>
                <a:off x="10663731" y="4581463"/>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77" name="Oval 576">
                <a:extLst>
                  <a:ext uri="{FF2B5EF4-FFF2-40B4-BE49-F238E27FC236}">
                    <a16:creationId xmlns:a16="http://schemas.microsoft.com/office/drawing/2014/main" id="{DF556CFC-EEB4-CE68-C727-00CCD554FBAD}"/>
                  </a:ext>
                </a:extLst>
              </p:cNvPr>
              <p:cNvSpPr>
                <a:spLocks/>
              </p:cNvSpPr>
              <p:nvPr/>
            </p:nvSpPr>
            <p:spPr bwMode="auto">
              <a:xfrm>
                <a:off x="9288951" y="5606212"/>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78" name="Oval 577">
                <a:extLst>
                  <a:ext uri="{FF2B5EF4-FFF2-40B4-BE49-F238E27FC236}">
                    <a16:creationId xmlns:a16="http://schemas.microsoft.com/office/drawing/2014/main" id="{37A1551A-C087-678B-16D3-40ABECD48FCF}"/>
                  </a:ext>
                </a:extLst>
              </p:cNvPr>
              <p:cNvSpPr>
                <a:spLocks/>
              </p:cNvSpPr>
              <p:nvPr/>
            </p:nvSpPr>
            <p:spPr bwMode="auto">
              <a:xfrm>
                <a:off x="6275504" y="4678715"/>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79" name="Oval 578">
                <a:extLst>
                  <a:ext uri="{FF2B5EF4-FFF2-40B4-BE49-F238E27FC236}">
                    <a16:creationId xmlns:a16="http://schemas.microsoft.com/office/drawing/2014/main" id="{7F9803A7-7A00-9C09-D3CF-2309D6960C48}"/>
                  </a:ext>
                </a:extLst>
              </p:cNvPr>
              <p:cNvSpPr>
                <a:spLocks/>
              </p:cNvSpPr>
              <p:nvPr/>
            </p:nvSpPr>
            <p:spPr bwMode="auto">
              <a:xfrm>
                <a:off x="6032043" y="3758588"/>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80" name="Oval 579">
                <a:extLst>
                  <a:ext uri="{FF2B5EF4-FFF2-40B4-BE49-F238E27FC236}">
                    <a16:creationId xmlns:a16="http://schemas.microsoft.com/office/drawing/2014/main" id="{6FB35B3D-1C51-84B4-7367-655E905D0E85}"/>
                  </a:ext>
                </a:extLst>
              </p:cNvPr>
              <p:cNvSpPr>
                <a:spLocks/>
              </p:cNvSpPr>
              <p:nvPr/>
            </p:nvSpPr>
            <p:spPr bwMode="auto">
              <a:xfrm>
                <a:off x="5999811" y="2669835"/>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81" name="Oval 580">
                <a:extLst>
                  <a:ext uri="{FF2B5EF4-FFF2-40B4-BE49-F238E27FC236}">
                    <a16:creationId xmlns:a16="http://schemas.microsoft.com/office/drawing/2014/main" id="{3740B165-1585-09EF-C37E-59D1E19202CC}"/>
                  </a:ext>
                </a:extLst>
              </p:cNvPr>
              <p:cNvSpPr>
                <a:spLocks/>
              </p:cNvSpPr>
              <p:nvPr/>
            </p:nvSpPr>
            <p:spPr bwMode="auto">
              <a:xfrm>
                <a:off x="6123308" y="2197470"/>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82" name="Oval 581">
                <a:extLst>
                  <a:ext uri="{FF2B5EF4-FFF2-40B4-BE49-F238E27FC236}">
                    <a16:creationId xmlns:a16="http://schemas.microsoft.com/office/drawing/2014/main" id="{4EAF492A-D2E0-8346-4FDD-C9B49A5BFE19}"/>
                  </a:ext>
                </a:extLst>
              </p:cNvPr>
              <p:cNvSpPr>
                <a:spLocks/>
              </p:cNvSpPr>
              <p:nvPr/>
            </p:nvSpPr>
            <p:spPr bwMode="auto">
              <a:xfrm>
                <a:off x="6623670" y="1814149"/>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83" name="Oval 582">
                <a:extLst>
                  <a:ext uri="{FF2B5EF4-FFF2-40B4-BE49-F238E27FC236}">
                    <a16:creationId xmlns:a16="http://schemas.microsoft.com/office/drawing/2014/main" id="{B3764952-6312-6469-34BC-69AFF7093818}"/>
                  </a:ext>
                </a:extLst>
              </p:cNvPr>
              <p:cNvSpPr>
                <a:spLocks/>
              </p:cNvSpPr>
              <p:nvPr/>
            </p:nvSpPr>
            <p:spPr bwMode="auto">
              <a:xfrm>
                <a:off x="7147878" y="1317393"/>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84" name="Oval 583">
                <a:extLst>
                  <a:ext uri="{FF2B5EF4-FFF2-40B4-BE49-F238E27FC236}">
                    <a16:creationId xmlns:a16="http://schemas.microsoft.com/office/drawing/2014/main" id="{8EAB146D-5474-E71D-E2BA-4B170D5AD85E}"/>
                  </a:ext>
                </a:extLst>
              </p:cNvPr>
              <p:cNvSpPr>
                <a:spLocks/>
              </p:cNvSpPr>
              <p:nvPr/>
            </p:nvSpPr>
            <p:spPr bwMode="auto">
              <a:xfrm>
                <a:off x="6365375" y="1943752"/>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85" name="Oval 584">
                <a:extLst>
                  <a:ext uri="{FF2B5EF4-FFF2-40B4-BE49-F238E27FC236}">
                    <a16:creationId xmlns:a16="http://schemas.microsoft.com/office/drawing/2014/main" id="{785FBF4D-5B3C-7F21-5D0E-1120CC55E5EF}"/>
                  </a:ext>
                </a:extLst>
              </p:cNvPr>
              <p:cNvSpPr>
                <a:spLocks/>
              </p:cNvSpPr>
              <p:nvPr/>
            </p:nvSpPr>
            <p:spPr bwMode="auto">
              <a:xfrm>
                <a:off x="6847142" y="1548806"/>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86" name="Oval 585">
                <a:extLst>
                  <a:ext uri="{FF2B5EF4-FFF2-40B4-BE49-F238E27FC236}">
                    <a16:creationId xmlns:a16="http://schemas.microsoft.com/office/drawing/2014/main" id="{319266EF-6F64-5285-606B-C5068F76AC3A}"/>
                  </a:ext>
                </a:extLst>
              </p:cNvPr>
              <p:cNvSpPr>
                <a:spLocks/>
              </p:cNvSpPr>
              <p:nvPr/>
            </p:nvSpPr>
            <p:spPr bwMode="auto">
              <a:xfrm>
                <a:off x="5723133" y="2832839"/>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87" name="Oval 586">
                <a:extLst>
                  <a:ext uri="{FF2B5EF4-FFF2-40B4-BE49-F238E27FC236}">
                    <a16:creationId xmlns:a16="http://schemas.microsoft.com/office/drawing/2014/main" id="{35D80F79-E2A0-C7A2-57FC-33F3E8203C7B}"/>
                  </a:ext>
                </a:extLst>
              </p:cNvPr>
              <p:cNvSpPr>
                <a:spLocks/>
              </p:cNvSpPr>
              <p:nvPr/>
            </p:nvSpPr>
            <p:spPr bwMode="auto">
              <a:xfrm>
                <a:off x="7412507" y="5680814"/>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88" name="Oval 587">
                <a:extLst>
                  <a:ext uri="{FF2B5EF4-FFF2-40B4-BE49-F238E27FC236}">
                    <a16:creationId xmlns:a16="http://schemas.microsoft.com/office/drawing/2014/main" id="{E72011E5-033A-3ADA-EA46-B2910461384C}"/>
                  </a:ext>
                </a:extLst>
              </p:cNvPr>
              <p:cNvSpPr>
                <a:spLocks/>
              </p:cNvSpPr>
              <p:nvPr/>
            </p:nvSpPr>
            <p:spPr bwMode="auto">
              <a:xfrm>
                <a:off x="6437197" y="1605773"/>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89" name="Oval 588">
                <a:extLst>
                  <a:ext uri="{FF2B5EF4-FFF2-40B4-BE49-F238E27FC236}">
                    <a16:creationId xmlns:a16="http://schemas.microsoft.com/office/drawing/2014/main" id="{4AFAB2A5-FBB1-CBFC-D5DC-3D32C9D1D0B4}"/>
                  </a:ext>
                </a:extLst>
              </p:cNvPr>
              <p:cNvSpPr>
                <a:spLocks/>
              </p:cNvSpPr>
              <p:nvPr/>
            </p:nvSpPr>
            <p:spPr bwMode="auto">
              <a:xfrm>
                <a:off x="7468778" y="1251180"/>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90" name="Oval 589">
                <a:extLst>
                  <a:ext uri="{FF2B5EF4-FFF2-40B4-BE49-F238E27FC236}">
                    <a16:creationId xmlns:a16="http://schemas.microsoft.com/office/drawing/2014/main" id="{5057CE09-18F2-4357-9354-63241D2F8FA4}"/>
                  </a:ext>
                </a:extLst>
              </p:cNvPr>
              <p:cNvSpPr>
                <a:spLocks/>
              </p:cNvSpPr>
              <p:nvPr/>
            </p:nvSpPr>
            <p:spPr bwMode="auto">
              <a:xfrm>
                <a:off x="7733447" y="5762442"/>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91" name="Oval 590">
                <a:extLst>
                  <a:ext uri="{FF2B5EF4-FFF2-40B4-BE49-F238E27FC236}">
                    <a16:creationId xmlns:a16="http://schemas.microsoft.com/office/drawing/2014/main" id="{F3D4052A-8D42-BE00-65FE-509983AAAFFD}"/>
                  </a:ext>
                </a:extLst>
              </p:cNvPr>
              <p:cNvSpPr>
                <a:spLocks/>
              </p:cNvSpPr>
              <p:nvPr/>
            </p:nvSpPr>
            <p:spPr bwMode="auto">
              <a:xfrm>
                <a:off x="5750735" y="3694124"/>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92" name="Oval 591">
                <a:extLst>
                  <a:ext uri="{FF2B5EF4-FFF2-40B4-BE49-F238E27FC236}">
                    <a16:creationId xmlns:a16="http://schemas.microsoft.com/office/drawing/2014/main" id="{C3E2FD3A-7035-A1DE-82A8-5D053B00D85D}"/>
                  </a:ext>
                </a:extLst>
              </p:cNvPr>
              <p:cNvSpPr>
                <a:spLocks/>
              </p:cNvSpPr>
              <p:nvPr/>
            </p:nvSpPr>
            <p:spPr bwMode="auto">
              <a:xfrm>
                <a:off x="6637263" y="5462812"/>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93" name="Oval 592">
                <a:extLst>
                  <a:ext uri="{FF2B5EF4-FFF2-40B4-BE49-F238E27FC236}">
                    <a16:creationId xmlns:a16="http://schemas.microsoft.com/office/drawing/2014/main" id="{9F32B58F-3A54-FB8F-2529-F9BAA8FE4EC7}"/>
                  </a:ext>
                </a:extLst>
              </p:cNvPr>
              <p:cNvSpPr>
                <a:spLocks/>
              </p:cNvSpPr>
              <p:nvPr/>
            </p:nvSpPr>
            <p:spPr bwMode="auto">
              <a:xfrm>
                <a:off x="8504616" y="5846288"/>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94" name="Oval 593">
                <a:extLst>
                  <a:ext uri="{FF2B5EF4-FFF2-40B4-BE49-F238E27FC236}">
                    <a16:creationId xmlns:a16="http://schemas.microsoft.com/office/drawing/2014/main" id="{0C5FD1B5-A909-49F4-60ED-C2B039504F3B}"/>
                  </a:ext>
                </a:extLst>
              </p:cNvPr>
              <p:cNvSpPr>
                <a:spLocks/>
              </p:cNvSpPr>
              <p:nvPr/>
            </p:nvSpPr>
            <p:spPr bwMode="auto">
              <a:xfrm>
                <a:off x="10469630" y="2133006"/>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95" name="Oval 594">
                <a:extLst>
                  <a:ext uri="{FF2B5EF4-FFF2-40B4-BE49-F238E27FC236}">
                    <a16:creationId xmlns:a16="http://schemas.microsoft.com/office/drawing/2014/main" id="{9AF3B8BD-2AFE-5D26-A9F7-152B00CC9B39}"/>
                  </a:ext>
                </a:extLst>
              </p:cNvPr>
              <p:cNvSpPr>
                <a:spLocks/>
              </p:cNvSpPr>
              <p:nvPr/>
            </p:nvSpPr>
            <p:spPr bwMode="auto">
              <a:xfrm>
                <a:off x="9865472" y="1457705"/>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96" name="Oval 595">
                <a:extLst>
                  <a:ext uri="{FF2B5EF4-FFF2-40B4-BE49-F238E27FC236}">
                    <a16:creationId xmlns:a16="http://schemas.microsoft.com/office/drawing/2014/main" id="{3189D7E8-D622-75CD-F568-0D1FBAB63241}"/>
                  </a:ext>
                </a:extLst>
              </p:cNvPr>
              <p:cNvSpPr>
                <a:spLocks/>
              </p:cNvSpPr>
              <p:nvPr/>
            </p:nvSpPr>
            <p:spPr bwMode="auto">
              <a:xfrm>
                <a:off x="9395902" y="1206772"/>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97" name="Oval 596">
                <a:extLst>
                  <a:ext uri="{FF2B5EF4-FFF2-40B4-BE49-F238E27FC236}">
                    <a16:creationId xmlns:a16="http://schemas.microsoft.com/office/drawing/2014/main" id="{BD416A5F-5EBA-A637-F502-DB67D1EDD07E}"/>
                  </a:ext>
                </a:extLst>
              </p:cNvPr>
              <p:cNvSpPr>
                <a:spLocks/>
              </p:cNvSpPr>
              <p:nvPr/>
            </p:nvSpPr>
            <p:spPr bwMode="auto">
              <a:xfrm>
                <a:off x="7843688" y="1035454"/>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98" name="Oval 597">
                <a:extLst>
                  <a:ext uri="{FF2B5EF4-FFF2-40B4-BE49-F238E27FC236}">
                    <a16:creationId xmlns:a16="http://schemas.microsoft.com/office/drawing/2014/main" id="{95ED260B-1C9D-774A-3E7B-7C747533C9F7}"/>
                  </a:ext>
                </a:extLst>
              </p:cNvPr>
              <p:cNvSpPr>
                <a:spLocks/>
              </p:cNvSpPr>
              <p:nvPr/>
            </p:nvSpPr>
            <p:spPr bwMode="auto">
              <a:xfrm>
                <a:off x="8472984" y="1080400"/>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99" name="Oval 598">
                <a:extLst>
                  <a:ext uri="{FF2B5EF4-FFF2-40B4-BE49-F238E27FC236}">
                    <a16:creationId xmlns:a16="http://schemas.microsoft.com/office/drawing/2014/main" id="{01DCEFF4-13FE-31DC-A9DB-F836EA887AE7}"/>
                  </a:ext>
                </a:extLst>
              </p:cNvPr>
              <p:cNvSpPr>
                <a:spLocks/>
              </p:cNvSpPr>
              <p:nvPr/>
            </p:nvSpPr>
            <p:spPr bwMode="auto">
              <a:xfrm>
                <a:off x="8984512" y="1047407"/>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600" name="Oval 599">
                <a:extLst>
                  <a:ext uri="{FF2B5EF4-FFF2-40B4-BE49-F238E27FC236}">
                    <a16:creationId xmlns:a16="http://schemas.microsoft.com/office/drawing/2014/main" id="{B9E34C5E-701C-D6B0-6039-8893C8DAB230}"/>
                  </a:ext>
                </a:extLst>
              </p:cNvPr>
              <p:cNvSpPr>
                <a:spLocks/>
              </p:cNvSpPr>
              <p:nvPr/>
            </p:nvSpPr>
            <p:spPr bwMode="auto">
              <a:xfrm>
                <a:off x="5897593" y="4508918"/>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601" name="Oval 600">
                <a:extLst>
                  <a:ext uri="{FF2B5EF4-FFF2-40B4-BE49-F238E27FC236}">
                    <a16:creationId xmlns:a16="http://schemas.microsoft.com/office/drawing/2014/main" id="{BD349047-64C3-1CC5-993F-9E6EF58B1000}"/>
                  </a:ext>
                </a:extLst>
              </p:cNvPr>
              <p:cNvSpPr>
                <a:spLocks/>
              </p:cNvSpPr>
              <p:nvPr/>
            </p:nvSpPr>
            <p:spPr bwMode="auto">
              <a:xfrm>
                <a:off x="10636545" y="4866149"/>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602" name="Oval 601">
                <a:extLst>
                  <a:ext uri="{FF2B5EF4-FFF2-40B4-BE49-F238E27FC236}">
                    <a16:creationId xmlns:a16="http://schemas.microsoft.com/office/drawing/2014/main" id="{472E3C22-51D0-3776-CCEC-94F1DE4CE340}"/>
                  </a:ext>
                </a:extLst>
              </p:cNvPr>
              <p:cNvSpPr>
                <a:spLocks/>
              </p:cNvSpPr>
              <p:nvPr/>
            </p:nvSpPr>
            <p:spPr bwMode="auto">
              <a:xfrm>
                <a:off x="11070317" y="4304723"/>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603" name="Oval 602">
                <a:extLst>
                  <a:ext uri="{FF2B5EF4-FFF2-40B4-BE49-F238E27FC236}">
                    <a16:creationId xmlns:a16="http://schemas.microsoft.com/office/drawing/2014/main" id="{BF85A8F2-C4EA-E040-E11B-933743F8C2F2}"/>
                  </a:ext>
                </a:extLst>
              </p:cNvPr>
              <p:cNvSpPr>
                <a:spLocks/>
              </p:cNvSpPr>
              <p:nvPr/>
            </p:nvSpPr>
            <p:spPr bwMode="auto">
              <a:xfrm>
                <a:off x="9780906" y="1170912"/>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604" name="Oval 603">
                <a:extLst>
                  <a:ext uri="{FF2B5EF4-FFF2-40B4-BE49-F238E27FC236}">
                    <a16:creationId xmlns:a16="http://schemas.microsoft.com/office/drawing/2014/main" id="{DDD145B7-A9AB-6E0F-CED8-F6B5FA67F030}"/>
                  </a:ext>
                </a:extLst>
              </p:cNvPr>
              <p:cNvSpPr>
                <a:spLocks/>
              </p:cNvSpPr>
              <p:nvPr/>
            </p:nvSpPr>
            <p:spPr bwMode="auto">
              <a:xfrm>
                <a:off x="10263700" y="1505315"/>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grpSp>
        <p:grpSp>
          <p:nvGrpSpPr>
            <p:cNvPr id="6" name="Group 5">
              <a:extLst>
                <a:ext uri="{FF2B5EF4-FFF2-40B4-BE49-F238E27FC236}">
                  <a16:creationId xmlns:a16="http://schemas.microsoft.com/office/drawing/2014/main" id="{889AE9AC-D8B2-B253-A26E-0D3779B69D16}"/>
                </a:ext>
              </a:extLst>
            </p:cNvPr>
            <p:cNvGrpSpPr/>
            <p:nvPr/>
          </p:nvGrpSpPr>
          <p:grpSpPr>
            <a:xfrm>
              <a:off x="5267489" y="902367"/>
              <a:ext cx="6232486" cy="5248156"/>
              <a:chOff x="5267489" y="902367"/>
              <a:chExt cx="6232486" cy="5248156"/>
            </a:xfrm>
          </p:grpSpPr>
          <p:sp>
            <p:nvSpPr>
              <p:cNvPr id="7" name="Oval 6">
                <a:extLst>
                  <a:ext uri="{FF2B5EF4-FFF2-40B4-BE49-F238E27FC236}">
                    <a16:creationId xmlns:a16="http://schemas.microsoft.com/office/drawing/2014/main" id="{67577FBF-5FF2-5F8C-C806-940A639B7EE2}"/>
                  </a:ext>
                </a:extLst>
              </p:cNvPr>
              <p:cNvSpPr>
                <a:spLocks/>
              </p:cNvSpPr>
              <p:nvPr/>
            </p:nvSpPr>
            <p:spPr bwMode="auto">
              <a:xfrm rot="467850" flipV="1">
                <a:off x="6011949" y="2062864"/>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8" name="Oval 7">
                <a:extLst>
                  <a:ext uri="{FF2B5EF4-FFF2-40B4-BE49-F238E27FC236}">
                    <a16:creationId xmlns:a16="http://schemas.microsoft.com/office/drawing/2014/main" id="{C8FB686C-5908-78F0-3D37-97CC3B2FA0B3}"/>
                  </a:ext>
                </a:extLst>
              </p:cNvPr>
              <p:cNvSpPr>
                <a:spLocks/>
              </p:cNvSpPr>
              <p:nvPr/>
            </p:nvSpPr>
            <p:spPr bwMode="auto">
              <a:xfrm rot="467850" flipV="1">
                <a:off x="6237568" y="1343693"/>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9" name="Oval 8">
                <a:extLst>
                  <a:ext uri="{FF2B5EF4-FFF2-40B4-BE49-F238E27FC236}">
                    <a16:creationId xmlns:a16="http://schemas.microsoft.com/office/drawing/2014/main" id="{9BDB7115-3A52-5473-4660-A1457578E776}"/>
                  </a:ext>
                </a:extLst>
              </p:cNvPr>
              <p:cNvSpPr>
                <a:spLocks/>
              </p:cNvSpPr>
              <p:nvPr/>
            </p:nvSpPr>
            <p:spPr bwMode="auto">
              <a:xfrm rot="467850" flipV="1">
                <a:off x="10337351" y="5451911"/>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0" name="Oval 9">
                <a:extLst>
                  <a:ext uri="{FF2B5EF4-FFF2-40B4-BE49-F238E27FC236}">
                    <a16:creationId xmlns:a16="http://schemas.microsoft.com/office/drawing/2014/main" id="{33A9767B-FBEF-7C36-22CA-0048EBFAEB7E}"/>
                  </a:ext>
                </a:extLst>
              </p:cNvPr>
              <p:cNvSpPr>
                <a:spLocks/>
              </p:cNvSpPr>
              <p:nvPr/>
            </p:nvSpPr>
            <p:spPr bwMode="auto">
              <a:xfrm rot="467850" flipV="1">
                <a:off x="10672077" y="4783422"/>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1" name="Oval 10">
                <a:extLst>
                  <a:ext uri="{FF2B5EF4-FFF2-40B4-BE49-F238E27FC236}">
                    <a16:creationId xmlns:a16="http://schemas.microsoft.com/office/drawing/2014/main" id="{709EAA31-0698-D3BD-D925-DB70E8B4C1E3}"/>
                  </a:ext>
                </a:extLst>
              </p:cNvPr>
              <p:cNvSpPr>
                <a:spLocks/>
              </p:cNvSpPr>
              <p:nvPr/>
            </p:nvSpPr>
            <p:spPr bwMode="auto">
              <a:xfrm rot="467850" flipV="1">
                <a:off x="11075840" y="4101895"/>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2" name="Oval 11">
                <a:extLst>
                  <a:ext uri="{FF2B5EF4-FFF2-40B4-BE49-F238E27FC236}">
                    <a16:creationId xmlns:a16="http://schemas.microsoft.com/office/drawing/2014/main" id="{1D58278D-4E09-03D2-85DA-81D053F49CA7}"/>
                  </a:ext>
                </a:extLst>
              </p:cNvPr>
              <p:cNvSpPr>
                <a:spLocks/>
              </p:cNvSpPr>
              <p:nvPr/>
            </p:nvSpPr>
            <p:spPr bwMode="auto">
              <a:xfrm rot="467850" flipV="1">
                <a:off x="11063111" y="4624756"/>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 name="Oval 12">
                <a:extLst>
                  <a:ext uri="{FF2B5EF4-FFF2-40B4-BE49-F238E27FC236}">
                    <a16:creationId xmlns:a16="http://schemas.microsoft.com/office/drawing/2014/main" id="{02BEEDB4-E37E-0DA1-87CB-06105A915ADB}"/>
                  </a:ext>
                </a:extLst>
              </p:cNvPr>
              <p:cNvSpPr>
                <a:spLocks/>
              </p:cNvSpPr>
              <p:nvPr/>
            </p:nvSpPr>
            <p:spPr bwMode="auto">
              <a:xfrm rot="467850" flipV="1">
                <a:off x="10978887" y="3554938"/>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4" name="Oval 13">
                <a:extLst>
                  <a:ext uri="{FF2B5EF4-FFF2-40B4-BE49-F238E27FC236}">
                    <a16:creationId xmlns:a16="http://schemas.microsoft.com/office/drawing/2014/main" id="{7C7E1126-5277-BC0C-B741-CAF4C6575C7D}"/>
                  </a:ext>
                </a:extLst>
              </p:cNvPr>
              <p:cNvSpPr>
                <a:spLocks/>
              </p:cNvSpPr>
              <p:nvPr/>
            </p:nvSpPr>
            <p:spPr bwMode="auto">
              <a:xfrm rot="467850" flipV="1">
                <a:off x="11027101" y="2947810"/>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8" name="Oval 17">
                <a:extLst>
                  <a:ext uri="{FF2B5EF4-FFF2-40B4-BE49-F238E27FC236}">
                    <a16:creationId xmlns:a16="http://schemas.microsoft.com/office/drawing/2014/main" id="{F561E03B-71DC-F215-20AD-91C421BB7C85}"/>
                  </a:ext>
                </a:extLst>
              </p:cNvPr>
              <p:cNvSpPr>
                <a:spLocks/>
              </p:cNvSpPr>
              <p:nvPr/>
            </p:nvSpPr>
            <p:spPr bwMode="auto">
              <a:xfrm rot="467850" flipV="1">
                <a:off x="10699215" y="1659735"/>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9" name="Oval 18">
                <a:extLst>
                  <a:ext uri="{FF2B5EF4-FFF2-40B4-BE49-F238E27FC236}">
                    <a16:creationId xmlns:a16="http://schemas.microsoft.com/office/drawing/2014/main" id="{E63E20EE-3D50-08D3-905B-887DEEF72FB5}"/>
                  </a:ext>
                </a:extLst>
              </p:cNvPr>
              <p:cNvSpPr>
                <a:spLocks/>
              </p:cNvSpPr>
              <p:nvPr/>
            </p:nvSpPr>
            <p:spPr bwMode="auto">
              <a:xfrm rot="467850" flipV="1">
                <a:off x="10760379" y="2123995"/>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0" name="Oval 19">
                <a:extLst>
                  <a:ext uri="{FF2B5EF4-FFF2-40B4-BE49-F238E27FC236}">
                    <a16:creationId xmlns:a16="http://schemas.microsoft.com/office/drawing/2014/main" id="{F32C3F9A-BFE3-2398-3D3B-BBB8BC590033}"/>
                  </a:ext>
                </a:extLst>
              </p:cNvPr>
              <p:cNvSpPr>
                <a:spLocks/>
              </p:cNvSpPr>
              <p:nvPr/>
            </p:nvSpPr>
            <p:spPr bwMode="auto">
              <a:xfrm rot="467850" flipV="1">
                <a:off x="10318090" y="1314125"/>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 name="Oval 20">
                <a:extLst>
                  <a:ext uri="{FF2B5EF4-FFF2-40B4-BE49-F238E27FC236}">
                    <a16:creationId xmlns:a16="http://schemas.microsoft.com/office/drawing/2014/main" id="{3644B671-66AD-D38E-A4E1-0E253587FB00}"/>
                  </a:ext>
                </a:extLst>
              </p:cNvPr>
              <p:cNvSpPr>
                <a:spLocks/>
              </p:cNvSpPr>
              <p:nvPr/>
            </p:nvSpPr>
            <p:spPr bwMode="auto">
              <a:xfrm rot="467850" flipV="1">
                <a:off x="5672503" y="2428242"/>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30" name="Oval 29">
                <a:extLst>
                  <a:ext uri="{FF2B5EF4-FFF2-40B4-BE49-F238E27FC236}">
                    <a16:creationId xmlns:a16="http://schemas.microsoft.com/office/drawing/2014/main" id="{954F4AE6-60FC-69DA-43BB-38B2E90F2ED0}"/>
                  </a:ext>
                </a:extLst>
              </p:cNvPr>
              <p:cNvSpPr>
                <a:spLocks/>
              </p:cNvSpPr>
              <p:nvPr/>
            </p:nvSpPr>
            <p:spPr bwMode="auto">
              <a:xfrm rot="467850" flipV="1">
                <a:off x="5585931" y="3438921"/>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31" name="Oval 30">
                <a:extLst>
                  <a:ext uri="{FF2B5EF4-FFF2-40B4-BE49-F238E27FC236}">
                    <a16:creationId xmlns:a16="http://schemas.microsoft.com/office/drawing/2014/main" id="{C42215E5-7E28-3F43-37E6-34E00DC13561}"/>
                  </a:ext>
                </a:extLst>
              </p:cNvPr>
              <p:cNvSpPr>
                <a:spLocks/>
              </p:cNvSpPr>
              <p:nvPr/>
            </p:nvSpPr>
            <p:spPr bwMode="auto">
              <a:xfrm rot="467850" flipV="1">
                <a:off x="5550925" y="3023149"/>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32" name="Oval 31">
                <a:extLst>
                  <a:ext uri="{FF2B5EF4-FFF2-40B4-BE49-F238E27FC236}">
                    <a16:creationId xmlns:a16="http://schemas.microsoft.com/office/drawing/2014/main" id="{D680BF8E-1411-881E-1BA4-DA2D09D80C78}"/>
                  </a:ext>
                </a:extLst>
              </p:cNvPr>
              <p:cNvSpPr>
                <a:spLocks/>
              </p:cNvSpPr>
              <p:nvPr/>
            </p:nvSpPr>
            <p:spPr bwMode="auto">
              <a:xfrm rot="467850" flipV="1">
                <a:off x="6611258" y="1216737"/>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33" name="Oval 32">
                <a:extLst>
                  <a:ext uri="{FF2B5EF4-FFF2-40B4-BE49-F238E27FC236}">
                    <a16:creationId xmlns:a16="http://schemas.microsoft.com/office/drawing/2014/main" id="{9CA7EF91-7976-ED2B-2C5C-9C5E9EE29CEE}"/>
                  </a:ext>
                </a:extLst>
              </p:cNvPr>
              <p:cNvSpPr>
                <a:spLocks/>
              </p:cNvSpPr>
              <p:nvPr/>
            </p:nvSpPr>
            <p:spPr bwMode="auto">
              <a:xfrm rot="467850" flipV="1">
                <a:off x="7095623" y="1053899"/>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34" name="Oval 33">
                <a:extLst>
                  <a:ext uri="{FF2B5EF4-FFF2-40B4-BE49-F238E27FC236}">
                    <a16:creationId xmlns:a16="http://schemas.microsoft.com/office/drawing/2014/main" id="{238BFFC0-5255-04C8-6D85-EC9E9B8111F3}"/>
                  </a:ext>
                </a:extLst>
              </p:cNvPr>
              <p:cNvSpPr>
                <a:spLocks/>
              </p:cNvSpPr>
              <p:nvPr/>
            </p:nvSpPr>
            <p:spPr bwMode="auto">
              <a:xfrm rot="467850" flipV="1">
                <a:off x="11283869" y="3912661"/>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35" name="Oval 34">
                <a:extLst>
                  <a:ext uri="{FF2B5EF4-FFF2-40B4-BE49-F238E27FC236}">
                    <a16:creationId xmlns:a16="http://schemas.microsoft.com/office/drawing/2014/main" id="{2B8894D9-86BC-693E-5220-AF90C1AD5980}"/>
                  </a:ext>
                </a:extLst>
              </p:cNvPr>
              <p:cNvSpPr>
                <a:spLocks/>
              </p:cNvSpPr>
              <p:nvPr/>
            </p:nvSpPr>
            <p:spPr bwMode="auto">
              <a:xfrm rot="467850" flipV="1">
                <a:off x="11221038" y="3317292"/>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36" name="Oval 35">
                <a:extLst>
                  <a:ext uri="{FF2B5EF4-FFF2-40B4-BE49-F238E27FC236}">
                    <a16:creationId xmlns:a16="http://schemas.microsoft.com/office/drawing/2014/main" id="{DD9986EA-454A-831D-0C56-1033C538B462}"/>
                  </a:ext>
                </a:extLst>
              </p:cNvPr>
              <p:cNvSpPr>
                <a:spLocks/>
              </p:cNvSpPr>
              <p:nvPr/>
            </p:nvSpPr>
            <p:spPr bwMode="auto">
              <a:xfrm rot="467850" flipV="1">
                <a:off x="11018417" y="2492991"/>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37" name="Oval 36">
                <a:extLst>
                  <a:ext uri="{FF2B5EF4-FFF2-40B4-BE49-F238E27FC236}">
                    <a16:creationId xmlns:a16="http://schemas.microsoft.com/office/drawing/2014/main" id="{4161EE53-CD9B-E549-1439-3A289EC2C610}"/>
                  </a:ext>
                </a:extLst>
              </p:cNvPr>
              <p:cNvSpPr>
                <a:spLocks/>
              </p:cNvSpPr>
              <p:nvPr/>
            </p:nvSpPr>
            <p:spPr bwMode="auto">
              <a:xfrm rot="467850" flipV="1">
                <a:off x="9903579" y="1023309"/>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38" name="Oval 37">
                <a:extLst>
                  <a:ext uri="{FF2B5EF4-FFF2-40B4-BE49-F238E27FC236}">
                    <a16:creationId xmlns:a16="http://schemas.microsoft.com/office/drawing/2014/main" id="{81FFE6B7-4D1B-7626-D087-5AE0A59AAFED}"/>
                  </a:ext>
                </a:extLst>
              </p:cNvPr>
              <p:cNvSpPr>
                <a:spLocks/>
              </p:cNvSpPr>
              <p:nvPr/>
            </p:nvSpPr>
            <p:spPr bwMode="auto">
              <a:xfrm rot="467850" flipV="1">
                <a:off x="6161364" y="1717879"/>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40" name="Oval 39">
                <a:extLst>
                  <a:ext uri="{FF2B5EF4-FFF2-40B4-BE49-F238E27FC236}">
                    <a16:creationId xmlns:a16="http://schemas.microsoft.com/office/drawing/2014/main" id="{55534510-5503-EC2A-E222-E87304BAA83F}"/>
                  </a:ext>
                </a:extLst>
              </p:cNvPr>
              <p:cNvSpPr>
                <a:spLocks/>
              </p:cNvSpPr>
              <p:nvPr/>
            </p:nvSpPr>
            <p:spPr bwMode="auto">
              <a:xfrm rot="467850" flipV="1">
                <a:off x="5751185" y="2702396"/>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41" name="Oval 40">
                <a:extLst>
                  <a:ext uri="{FF2B5EF4-FFF2-40B4-BE49-F238E27FC236}">
                    <a16:creationId xmlns:a16="http://schemas.microsoft.com/office/drawing/2014/main" id="{A29F64B9-B606-6233-D449-601AB4B2F9B3}"/>
                  </a:ext>
                </a:extLst>
              </p:cNvPr>
              <p:cNvSpPr>
                <a:spLocks/>
              </p:cNvSpPr>
              <p:nvPr/>
            </p:nvSpPr>
            <p:spPr bwMode="auto">
              <a:xfrm rot="467850" flipV="1">
                <a:off x="5549877" y="3906237"/>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42" name="Oval 41">
                <a:extLst>
                  <a:ext uri="{FF2B5EF4-FFF2-40B4-BE49-F238E27FC236}">
                    <a16:creationId xmlns:a16="http://schemas.microsoft.com/office/drawing/2014/main" id="{41E4FC17-EB12-B9F0-7DF6-7090C08FC219}"/>
                  </a:ext>
                </a:extLst>
              </p:cNvPr>
              <p:cNvSpPr>
                <a:spLocks/>
              </p:cNvSpPr>
              <p:nvPr/>
            </p:nvSpPr>
            <p:spPr bwMode="auto">
              <a:xfrm rot="467850" flipV="1">
                <a:off x="5617097" y="4421179"/>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43" name="Oval 42">
                <a:extLst>
                  <a:ext uri="{FF2B5EF4-FFF2-40B4-BE49-F238E27FC236}">
                    <a16:creationId xmlns:a16="http://schemas.microsoft.com/office/drawing/2014/main" id="{AFAE0CA5-2F84-30A4-B6CD-E6BD476AC518}"/>
                  </a:ext>
                </a:extLst>
              </p:cNvPr>
              <p:cNvSpPr>
                <a:spLocks/>
              </p:cNvSpPr>
              <p:nvPr/>
            </p:nvSpPr>
            <p:spPr bwMode="auto">
              <a:xfrm rot="467850" flipV="1">
                <a:off x="6114325" y="4922814"/>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44" name="Oval 43">
                <a:extLst>
                  <a:ext uri="{FF2B5EF4-FFF2-40B4-BE49-F238E27FC236}">
                    <a16:creationId xmlns:a16="http://schemas.microsoft.com/office/drawing/2014/main" id="{6769B179-1011-7CE1-0928-D33EC0536ABC}"/>
                  </a:ext>
                </a:extLst>
              </p:cNvPr>
              <p:cNvSpPr>
                <a:spLocks/>
              </p:cNvSpPr>
              <p:nvPr/>
            </p:nvSpPr>
            <p:spPr bwMode="auto">
              <a:xfrm rot="467850" flipV="1">
                <a:off x="6674064" y="5775719"/>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45" name="Oval 44">
                <a:extLst>
                  <a:ext uri="{FF2B5EF4-FFF2-40B4-BE49-F238E27FC236}">
                    <a16:creationId xmlns:a16="http://schemas.microsoft.com/office/drawing/2014/main" id="{0A7E753A-0BDA-8EE4-7A9B-B0629608BABA}"/>
                  </a:ext>
                </a:extLst>
              </p:cNvPr>
              <p:cNvSpPr>
                <a:spLocks/>
              </p:cNvSpPr>
              <p:nvPr/>
            </p:nvSpPr>
            <p:spPr bwMode="auto">
              <a:xfrm rot="467850" flipV="1">
                <a:off x="5845343" y="4767916"/>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48" name="Oval 47">
                <a:extLst>
                  <a:ext uri="{FF2B5EF4-FFF2-40B4-BE49-F238E27FC236}">
                    <a16:creationId xmlns:a16="http://schemas.microsoft.com/office/drawing/2014/main" id="{C79C16E3-E1DC-2899-DDFC-1A73A43E1E30}"/>
                  </a:ext>
                </a:extLst>
              </p:cNvPr>
              <p:cNvSpPr>
                <a:spLocks/>
              </p:cNvSpPr>
              <p:nvPr/>
            </p:nvSpPr>
            <p:spPr bwMode="auto">
              <a:xfrm rot="467850" flipV="1">
                <a:off x="6320160" y="5279631"/>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0" name="Oval 49">
                <a:extLst>
                  <a:ext uri="{FF2B5EF4-FFF2-40B4-BE49-F238E27FC236}">
                    <a16:creationId xmlns:a16="http://schemas.microsoft.com/office/drawing/2014/main" id="{3C036E6D-A540-C089-026E-920A0FE5272C}"/>
                  </a:ext>
                </a:extLst>
              </p:cNvPr>
              <p:cNvSpPr>
                <a:spLocks/>
              </p:cNvSpPr>
              <p:nvPr/>
            </p:nvSpPr>
            <p:spPr bwMode="auto">
              <a:xfrm rot="467850" flipV="1">
                <a:off x="5267489" y="3683206"/>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1" name="Oval 50">
                <a:extLst>
                  <a:ext uri="{FF2B5EF4-FFF2-40B4-BE49-F238E27FC236}">
                    <a16:creationId xmlns:a16="http://schemas.microsoft.com/office/drawing/2014/main" id="{072D9755-46B6-1D44-2781-B0509EA68B75}"/>
                  </a:ext>
                </a:extLst>
              </p:cNvPr>
              <p:cNvSpPr>
                <a:spLocks/>
              </p:cNvSpPr>
              <p:nvPr/>
            </p:nvSpPr>
            <p:spPr bwMode="auto">
              <a:xfrm rot="467850" flipV="1">
                <a:off x="7588721" y="1100385"/>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2" name="Oval 51">
                <a:extLst>
                  <a:ext uri="{FF2B5EF4-FFF2-40B4-BE49-F238E27FC236}">
                    <a16:creationId xmlns:a16="http://schemas.microsoft.com/office/drawing/2014/main" id="{08B139EA-05A6-D7BE-822B-05530F8D1503}"/>
                  </a:ext>
                </a:extLst>
              </p:cNvPr>
              <p:cNvSpPr>
                <a:spLocks/>
              </p:cNvSpPr>
              <p:nvPr/>
            </p:nvSpPr>
            <p:spPr bwMode="auto">
              <a:xfrm rot="467850" flipV="1">
                <a:off x="5873696" y="5154062"/>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4" name="Oval 53">
                <a:extLst>
                  <a:ext uri="{FF2B5EF4-FFF2-40B4-BE49-F238E27FC236}">
                    <a16:creationId xmlns:a16="http://schemas.microsoft.com/office/drawing/2014/main" id="{2C342F5B-C1C4-E87C-9B27-51D41292C802}"/>
                  </a:ext>
                </a:extLst>
              </p:cNvPr>
              <p:cNvSpPr>
                <a:spLocks/>
              </p:cNvSpPr>
              <p:nvPr/>
            </p:nvSpPr>
            <p:spPr bwMode="auto">
              <a:xfrm rot="467850" flipV="1">
                <a:off x="6965056" y="5704565"/>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5" name="Oval 54">
                <a:extLst>
                  <a:ext uri="{FF2B5EF4-FFF2-40B4-BE49-F238E27FC236}">
                    <a16:creationId xmlns:a16="http://schemas.microsoft.com/office/drawing/2014/main" id="{1519FDB2-8A1B-0F52-FD20-5A60751732DE}"/>
                  </a:ext>
                </a:extLst>
              </p:cNvPr>
              <p:cNvSpPr>
                <a:spLocks/>
              </p:cNvSpPr>
              <p:nvPr/>
            </p:nvSpPr>
            <p:spPr bwMode="auto">
              <a:xfrm rot="467850" flipV="1">
                <a:off x="8028706" y="938215"/>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6" name="Oval 55">
                <a:extLst>
                  <a:ext uri="{FF2B5EF4-FFF2-40B4-BE49-F238E27FC236}">
                    <a16:creationId xmlns:a16="http://schemas.microsoft.com/office/drawing/2014/main" id="{E387D19D-15E1-0D48-CED8-6E7CC85FE93A}"/>
                  </a:ext>
                </a:extLst>
              </p:cNvPr>
              <p:cNvSpPr>
                <a:spLocks/>
              </p:cNvSpPr>
              <p:nvPr/>
            </p:nvSpPr>
            <p:spPr bwMode="auto">
              <a:xfrm rot="467850" flipV="1">
                <a:off x="5429074" y="2731198"/>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7" name="Oval 56">
                <a:extLst>
                  <a:ext uri="{FF2B5EF4-FFF2-40B4-BE49-F238E27FC236}">
                    <a16:creationId xmlns:a16="http://schemas.microsoft.com/office/drawing/2014/main" id="{1D4F0959-CB40-BC55-8E06-28C25FB401F0}"/>
                  </a:ext>
                </a:extLst>
              </p:cNvPr>
              <p:cNvSpPr>
                <a:spLocks/>
              </p:cNvSpPr>
              <p:nvPr/>
            </p:nvSpPr>
            <p:spPr bwMode="auto">
              <a:xfrm rot="467850" flipV="1">
                <a:off x="6682197" y="902367"/>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8" name="Oval 57">
                <a:extLst>
                  <a:ext uri="{FF2B5EF4-FFF2-40B4-BE49-F238E27FC236}">
                    <a16:creationId xmlns:a16="http://schemas.microsoft.com/office/drawing/2014/main" id="{F0D73ACD-DF91-B733-17EA-438B7F614052}"/>
                  </a:ext>
                </a:extLst>
              </p:cNvPr>
              <p:cNvSpPr>
                <a:spLocks/>
              </p:cNvSpPr>
              <p:nvPr/>
            </p:nvSpPr>
            <p:spPr bwMode="auto">
              <a:xfrm rot="467850" flipV="1">
                <a:off x="8585041" y="904456"/>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9" name="Oval 58">
                <a:extLst>
                  <a:ext uri="{FF2B5EF4-FFF2-40B4-BE49-F238E27FC236}">
                    <a16:creationId xmlns:a16="http://schemas.microsoft.com/office/drawing/2014/main" id="{4DC9E4EC-E619-E4F4-3A58-AAF410267A61}"/>
                  </a:ext>
                </a:extLst>
              </p:cNvPr>
              <p:cNvSpPr>
                <a:spLocks/>
              </p:cNvSpPr>
              <p:nvPr/>
            </p:nvSpPr>
            <p:spPr bwMode="auto">
              <a:xfrm rot="467850" flipV="1">
                <a:off x="10430686" y="5181776"/>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60" name="Oval 59">
                <a:extLst>
                  <a:ext uri="{FF2B5EF4-FFF2-40B4-BE49-F238E27FC236}">
                    <a16:creationId xmlns:a16="http://schemas.microsoft.com/office/drawing/2014/main" id="{E8736BFF-87CF-0E78-49DF-06639A1E62FD}"/>
                  </a:ext>
                </a:extLst>
              </p:cNvPr>
              <p:cNvSpPr>
                <a:spLocks/>
              </p:cNvSpPr>
              <p:nvPr/>
            </p:nvSpPr>
            <p:spPr bwMode="auto">
              <a:xfrm rot="467850" flipV="1">
                <a:off x="9623414" y="5733108"/>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61" name="Oval 60">
                <a:extLst>
                  <a:ext uri="{FF2B5EF4-FFF2-40B4-BE49-F238E27FC236}">
                    <a16:creationId xmlns:a16="http://schemas.microsoft.com/office/drawing/2014/main" id="{BF968704-18A3-21CC-FD5A-DA1BE33C856D}"/>
                  </a:ext>
                </a:extLst>
              </p:cNvPr>
              <p:cNvSpPr>
                <a:spLocks/>
              </p:cNvSpPr>
              <p:nvPr/>
            </p:nvSpPr>
            <p:spPr bwMode="auto">
              <a:xfrm rot="467850" flipV="1">
                <a:off x="8933162" y="5775719"/>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62" name="Oval 61">
                <a:extLst>
                  <a:ext uri="{FF2B5EF4-FFF2-40B4-BE49-F238E27FC236}">
                    <a16:creationId xmlns:a16="http://schemas.microsoft.com/office/drawing/2014/main" id="{3CD8745D-4052-326E-BB8E-99193255D3AD}"/>
                  </a:ext>
                </a:extLst>
              </p:cNvPr>
              <p:cNvSpPr>
                <a:spLocks/>
              </p:cNvSpPr>
              <p:nvPr/>
            </p:nvSpPr>
            <p:spPr bwMode="auto">
              <a:xfrm rot="467850" flipV="1">
                <a:off x="7464714" y="5958019"/>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63" name="Oval 62">
                <a:extLst>
                  <a:ext uri="{FF2B5EF4-FFF2-40B4-BE49-F238E27FC236}">
                    <a16:creationId xmlns:a16="http://schemas.microsoft.com/office/drawing/2014/main" id="{4D694E7D-413B-3748-981D-036B2B47E0D0}"/>
                  </a:ext>
                </a:extLst>
              </p:cNvPr>
              <p:cNvSpPr>
                <a:spLocks/>
              </p:cNvSpPr>
              <p:nvPr/>
            </p:nvSpPr>
            <p:spPr bwMode="auto">
              <a:xfrm rot="467850" flipV="1">
                <a:off x="8084623" y="5830936"/>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12" name="Oval 511">
                <a:extLst>
                  <a:ext uri="{FF2B5EF4-FFF2-40B4-BE49-F238E27FC236}">
                    <a16:creationId xmlns:a16="http://schemas.microsoft.com/office/drawing/2014/main" id="{8C47A74E-8423-1D89-F55B-4B7A7DB4B6AB}"/>
                  </a:ext>
                </a:extLst>
              </p:cNvPr>
              <p:cNvSpPr>
                <a:spLocks/>
              </p:cNvSpPr>
              <p:nvPr/>
            </p:nvSpPr>
            <p:spPr bwMode="auto">
              <a:xfrm rot="467850" flipV="1">
                <a:off x="8467386" y="6078287"/>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13" name="Oval 512">
                <a:extLst>
                  <a:ext uri="{FF2B5EF4-FFF2-40B4-BE49-F238E27FC236}">
                    <a16:creationId xmlns:a16="http://schemas.microsoft.com/office/drawing/2014/main" id="{0B81B8EA-A4CB-E5CF-DF46-16AFD86896A4}"/>
                  </a:ext>
                </a:extLst>
              </p:cNvPr>
              <p:cNvSpPr>
                <a:spLocks/>
              </p:cNvSpPr>
              <p:nvPr/>
            </p:nvSpPr>
            <p:spPr bwMode="auto">
              <a:xfrm rot="467850" flipV="1">
                <a:off x="5717916" y="1820678"/>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14" name="Oval 513">
                <a:extLst>
                  <a:ext uri="{FF2B5EF4-FFF2-40B4-BE49-F238E27FC236}">
                    <a16:creationId xmlns:a16="http://schemas.microsoft.com/office/drawing/2014/main" id="{249D2C80-8093-5DD3-F6F8-E8BCD264D39D}"/>
                  </a:ext>
                </a:extLst>
              </p:cNvPr>
              <p:cNvSpPr>
                <a:spLocks/>
              </p:cNvSpPr>
              <p:nvPr/>
            </p:nvSpPr>
            <p:spPr bwMode="auto">
              <a:xfrm rot="467850" flipV="1">
                <a:off x="11033442" y="2144541"/>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15" name="Oval 514">
                <a:extLst>
                  <a:ext uri="{FF2B5EF4-FFF2-40B4-BE49-F238E27FC236}">
                    <a16:creationId xmlns:a16="http://schemas.microsoft.com/office/drawing/2014/main" id="{B991B875-E45C-D7EE-6C9A-8253E0754F56}"/>
                  </a:ext>
                </a:extLst>
              </p:cNvPr>
              <p:cNvSpPr>
                <a:spLocks/>
              </p:cNvSpPr>
              <p:nvPr/>
            </p:nvSpPr>
            <p:spPr bwMode="auto">
              <a:xfrm rot="467850" flipV="1">
                <a:off x="11427739" y="2862043"/>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16" name="Oval 515">
                <a:extLst>
                  <a:ext uri="{FF2B5EF4-FFF2-40B4-BE49-F238E27FC236}">
                    <a16:creationId xmlns:a16="http://schemas.microsoft.com/office/drawing/2014/main" id="{62A8AF2F-9CF5-5593-D790-79355821C245}"/>
                  </a:ext>
                </a:extLst>
              </p:cNvPr>
              <p:cNvSpPr>
                <a:spLocks/>
              </p:cNvSpPr>
              <p:nvPr/>
            </p:nvSpPr>
            <p:spPr bwMode="auto">
              <a:xfrm rot="467850" flipV="1">
                <a:off x="9176894" y="6078287"/>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17" name="Oval 516">
                <a:extLst>
                  <a:ext uri="{FF2B5EF4-FFF2-40B4-BE49-F238E27FC236}">
                    <a16:creationId xmlns:a16="http://schemas.microsoft.com/office/drawing/2014/main" id="{9F86CD69-3DE2-1759-543B-D94101494D00}"/>
                  </a:ext>
                </a:extLst>
              </p:cNvPr>
              <p:cNvSpPr>
                <a:spLocks/>
              </p:cNvSpPr>
              <p:nvPr/>
            </p:nvSpPr>
            <p:spPr bwMode="auto">
              <a:xfrm rot="467850" flipV="1">
                <a:off x="9947691" y="5660034"/>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19" name="Oval 518">
                <a:extLst>
                  <a:ext uri="{FF2B5EF4-FFF2-40B4-BE49-F238E27FC236}">
                    <a16:creationId xmlns:a16="http://schemas.microsoft.com/office/drawing/2014/main" id="{6A71E491-D019-36B3-3C56-D0FC7B1E1EAC}"/>
                  </a:ext>
                </a:extLst>
              </p:cNvPr>
              <p:cNvSpPr>
                <a:spLocks/>
              </p:cNvSpPr>
              <p:nvPr/>
            </p:nvSpPr>
            <p:spPr bwMode="auto">
              <a:xfrm rot="4295831" flipV="1">
                <a:off x="9268579" y="1011289"/>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grpSp>
      </p:grpSp>
      <p:sp>
        <p:nvSpPr>
          <p:cNvPr id="792" name="Oval 791">
            <a:extLst>
              <a:ext uri="{FF2B5EF4-FFF2-40B4-BE49-F238E27FC236}">
                <a16:creationId xmlns:a16="http://schemas.microsoft.com/office/drawing/2014/main" id="{57E70AA0-4001-B07E-1163-FE80DD907671}"/>
              </a:ext>
              <a:ext uri="{C183D7F6-B498-43B3-948B-1728B52AA6E4}">
                <adec:decorative xmlns:adec="http://schemas.microsoft.com/office/drawing/2017/decorative" val="1"/>
              </a:ext>
            </a:extLst>
          </p:cNvPr>
          <p:cNvSpPr/>
          <p:nvPr/>
        </p:nvSpPr>
        <p:spPr bwMode="auto">
          <a:xfrm>
            <a:off x="4119751" y="1452751"/>
            <a:ext cx="3952498" cy="3952498"/>
          </a:xfrm>
          <a:prstGeom prst="ellipse">
            <a:avLst/>
          </a:prstGeom>
          <a:gradFill flip="none" rotWithShape="1">
            <a:gsLst>
              <a:gs pos="93000">
                <a:schemeClr val="bg1">
                  <a:alpha val="0"/>
                </a:schemeClr>
              </a:gs>
              <a:gs pos="55000">
                <a:schemeClr val="bg1"/>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91F2C"/>
              </a:solidFill>
              <a:effectLst/>
              <a:uLnTx/>
              <a:uFillTx/>
              <a:latin typeface="Segoe Sans Display"/>
              <a:ea typeface="+mn-ea"/>
              <a:cs typeface="Segoe UI" pitchFamily="34" charset="0"/>
            </a:endParaRPr>
          </a:p>
        </p:txBody>
      </p:sp>
      <p:sp>
        <p:nvSpPr>
          <p:cNvPr id="793" name="!!Title: Microsoft Entra Suite">
            <a:extLst>
              <a:ext uri="{FF2B5EF4-FFF2-40B4-BE49-F238E27FC236}">
                <a16:creationId xmlns:a16="http://schemas.microsoft.com/office/drawing/2014/main" id="{44368458-69E0-13D4-8A31-C4773EC27865}"/>
              </a:ext>
            </a:extLst>
          </p:cNvPr>
          <p:cNvSpPr txBox="1">
            <a:spLocks noGrp="1"/>
          </p:cNvSpPr>
          <p:nvPr>
            <p:ph type="title"/>
          </p:nvPr>
        </p:nvSpPr>
        <p:spPr>
          <a:xfrm>
            <a:off x="3341791" y="2885253"/>
            <a:ext cx="5508419" cy="372410"/>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ctr" defTabSz="932742" rtl="0" eaLnBrk="1" latinLnBrk="0" hangingPunct="1">
              <a:lnSpc>
                <a:spcPct val="100000"/>
              </a:lnSpc>
              <a:spcBef>
                <a:spcPct val="0"/>
              </a:spcBef>
              <a:buNone/>
              <a:defRPr lang="en-US" sz="3200" b="0" i="0" kern="1200" cap="none" spc="-50" baseline="0" dirty="0" smtClean="0">
                <a:ln w="3175">
                  <a:noFill/>
                </a:ln>
                <a:solidFill>
                  <a:schemeClr val="bg1"/>
                </a:solidFill>
                <a:effectLst/>
                <a:latin typeface="+mj-lt"/>
                <a:ea typeface="+mn-ea"/>
                <a:cs typeface="Segoe UI" pitchFamily="34" charset="0"/>
              </a:defRPr>
            </a:lvl1pPr>
          </a:lstStyle>
          <a:p>
            <a:pPr marL="0" marR="0" lvl="0" indent="0" algn="ctr" defTabSz="932472" rtl="0" eaLnBrk="1" fontAlgn="base" latinLnBrk="0" hangingPunct="1">
              <a:lnSpc>
                <a:spcPct val="76518"/>
              </a:lnSpc>
              <a:spcBef>
                <a:spcPts val="1200"/>
              </a:spcBef>
              <a:spcAft>
                <a:spcPct val="0"/>
              </a:spcAft>
              <a:buClrTx/>
              <a:buSzTx/>
              <a:buFontTx/>
              <a:buNone/>
              <a:tabLst/>
              <a:defRPr/>
            </a:pPr>
            <a:r>
              <a:rPr kumimoji="0" lang="en-US" sz="3600" b="0" i="0" u="none" strike="noStrike" kern="1200" cap="none" spc="-50" normalizeH="0" baseline="0" noProof="0">
                <a:ln w="3175">
                  <a:noFill/>
                </a:ln>
                <a:solidFill>
                  <a:schemeClr val="tx1"/>
                </a:solidFill>
                <a:effectLst/>
                <a:uLnTx/>
                <a:uFillTx/>
                <a:latin typeface="Segoe Sans Display Semibold"/>
                <a:ea typeface="+mn-ea"/>
                <a:cs typeface="Segoe UI" pitchFamily="34" charset="0"/>
              </a:rPr>
              <a:t>Microsoft </a:t>
            </a:r>
            <a:br>
              <a:rPr kumimoji="0" lang="en-US" sz="3600" b="0" i="0" u="none" strike="noStrike" kern="1200" cap="none" spc="-50" normalizeH="0" baseline="0" noProof="0">
                <a:ln w="3175">
                  <a:noFill/>
                </a:ln>
                <a:solidFill>
                  <a:schemeClr val="tx1"/>
                </a:solidFill>
                <a:effectLst/>
                <a:uLnTx/>
                <a:uFillTx/>
                <a:latin typeface="Segoe Sans Display Semibold"/>
                <a:ea typeface="+mn-ea"/>
                <a:cs typeface="Segoe UI" pitchFamily="34" charset="0"/>
              </a:rPr>
            </a:br>
            <a:r>
              <a:rPr kumimoji="0" lang="en-US" sz="3600" b="0" i="0" u="none" strike="noStrike" kern="1200" cap="none" spc="-50" normalizeH="0" baseline="0" noProof="0">
                <a:ln w="3175">
                  <a:noFill/>
                </a:ln>
                <a:solidFill>
                  <a:schemeClr val="tx1"/>
                </a:solidFill>
                <a:effectLst/>
                <a:uLnTx/>
                <a:uFillTx/>
                <a:latin typeface="Segoe Sans Display Semibold"/>
                <a:ea typeface="+mn-ea"/>
                <a:cs typeface="Segoe UI" pitchFamily="34" charset="0"/>
              </a:rPr>
              <a:t>Entra Suite  </a:t>
            </a:r>
          </a:p>
        </p:txBody>
      </p:sp>
      <p:sp>
        <p:nvSpPr>
          <p:cNvPr id="794" name="TextBox 793">
            <a:extLst>
              <a:ext uri="{FF2B5EF4-FFF2-40B4-BE49-F238E27FC236}">
                <a16:creationId xmlns:a16="http://schemas.microsoft.com/office/drawing/2014/main" id="{F3DB262B-6927-8C8B-1702-CF079C115C75}"/>
              </a:ext>
              <a:ext uri="{C183D7F6-B498-43B3-948B-1728B52AA6E4}">
                <adec:decorative xmlns:adec="http://schemas.microsoft.com/office/drawing/2017/decorative" val="1"/>
              </a:ext>
            </a:extLst>
          </p:cNvPr>
          <p:cNvSpPr txBox="1"/>
          <p:nvPr/>
        </p:nvSpPr>
        <p:spPr>
          <a:xfrm>
            <a:off x="4414354" y="3634933"/>
            <a:ext cx="3363293" cy="73866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50" normalizeH="0" baseline="0" noProof="0">
                <a:ln w="3175">
                  <a:noFill/>
                </a:ln>
                <a:gradFill>
                  <a:gsLst>
                    <a:gs pos="0">
                      <a:srgbClr val="0360DB"/>
                    </a:gs>
                    <a:gs pos="100000">
                      <a:srgbClr val="207EFC"/>
                    </a:gs>
                  </a:gsLst>
                  <a:path path="circle">
                    <a:fillToRect t="100000" r="100000"/>
                  </a:path>
                </a:gradFill>
                <a:effectLst/>
                <a:uLnTx/>
                <a:uFillTx/>
                <a:latin typeface="Segoe Sans Display Semibold"/>
                <a:ea typeface="+mn-ea"/>
                <a:cs typeface="Segoe Sans Display" pitchFamily="2" charset="0"/>
              </a:rPr>
              <a:t>Secure Zero Trust acces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50" normalizeH="0" baseline="0" noProof="0">
                <a:ln w="3175">
                  <a:noFill/>
                </a:ln>
                <a:gradFill>
                  <a:gsLst>
                    <a:gs pos="0">
                      <a:srgbClr val="0360DB"/>
                    </a:gs>
                    <a:gs pos="100000">
                      <a:srgbClr val="207EFC"/>
                    </a:gs>
                  </a:gsLst>
                  <a:path path="circle">
                    <a:fillToRect t="100000" r="100000"/>
                  </a:path>
                </a:gradFill>
                <a:effectLst/>
                <a:uLnTx/>
                <a:uFillTx/>
                <a:latin typeface="Segoe Sans Display Semibold"/>
                <a:ea typeface="+mn-ea"/>
                <a:cs typeface="Segoe Sans Display" pitchFamily="2" charset="0"/>
              </a:rPr>
              <a:t>for your workforce</a:t>
            </a:r>
          </a:p>
        </p:txBody>
      </p:sp>
      <p:sp>
        <p:nvSpPr>
          <p:cNvPr id="22" name="Rectangle: Rounded Corners 21">
            <a:extLst>
              <a:ext uri="{FF2B5EF4-FFF2-40B4-BE49-F238E27FC236}">
                <a16:creationId xmlns:a16="http://schemas.microsoft.com/office/drawing/2014/main" id="{04251397-44EF-DBBA-21A1-3EEED32F829D}"/>
              </a:ext>
              <a:ext uri="{C183D7F6-B498-43B3-948B-1728B52AA6E4}">
                <adec:decorative xmlns:adec="http://schemas.microsoft.com/office/drawing/2017/decorative" val="1"/>
              </a:ext>
            </a:extLst>
          </p:cNvPr>
          <p:cNvSpPr>
            <a:spLocks/>
          </p:cNvSpPr>
          <p:nvPr/>
        </p:nvSpPr>
        <p:spPr bwMode="auto">
          <a:xfrm rot="16200000">
            <a:off x="-997323" y="2171374"/>
            <a:ext cx="5705522" cy="2534350"/>
          </a:xfrm>
          <a:prstGeom prst="roundRect">
            <a:avLst>
              <a:gd name="adj" fmla="val 6281"/>
            </a:avLst>
          </a:prstGeom>
          <a:solidFill>
            <a:schemeClr val="bg1"/>
          </a:solidFill>
          <a:ln>
            <a:noFill/>
            <a:headEnd type="none" w="med" len="med"/>
            <a:tailEnd type="none" w="med" len="med"/>
          </a:ln>
          <a:effectLst>
            <a:innerShdw blurRad="508000" dist="63500" dir="16200000">
              <a:srgbClr val="B1B3B3">
                <a:alpha val="25000"/>
              </a:srgb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20040" rIns="91440" bIns="91440" numCol="1" spcCol="0" rtlCol="0" fromWordArt="0" anchor="t" anchorCtr="0" forceAA="0" compatLnSpc="1">
            <a:prstTxWarp prst="textNoShape">
              <a:avLst/>
            </a:prstTxWarp>
            <a:noAutofit/>
          </a:bodyPr>
          <a:lstStyle/>
          <a:p>
            <a:pPr marL="0" marR="0" lvl="0" indent="0" algn="ctr" defTabSz="932754" rtl="0" eaLnBrk="1" fontAlgn="auto" latinLnBrk="0" hangingPunct="1">
              <a:lnSpc>
                <a:spcPct val="100000"/>
              </a:lnSpc>
              <a:spcBef>
                <a:spcPts val="0"/>
              </a:spcBef>
              <a:spcAft>
                <a:spcPts val="300"/>
              </a:spcAft>
              <a:buClrTx/>
              <a:buSzTx/>
              <a:buFontTx/>
              <a:buNone/>
              <a:tabLst/>
              <a:defRPr/>
            </a:pPr>
            <a:endParaRPr kumimoji="0" lang="en-US" sz="1400" b="0" i="0" u="none" strike="noStrike" kern="0" cap="none" spc="-10" normalizeH="0" baseline="0" noProof="0">
              <a:ln>
                <a:noFill/>
              </a:ln>
              <a:solidFill>
                <a:srgbClr val="8DC8E8"/>
              </a:solidFill>
              <a:effectLst/>
              <a:uLnTx/>
              <a:uFillTx/>
              <a:latin typeface="Segoe Sans Display Semibold" pitchFamily="2" charset="0"/>
              <a:ea typeface="+mn-ea"/>
              <a:cs typeface="Segoe Sans Display Semibold" pitchFamily="2" charset="0"/>
            </a:endParaRPr>
          </a:p>
        </p:txBody>
      </p:sp>
      <p:sp>
        <p:nvSpPr>
          <p:cNvPr id="26" name="TextBox 25">
            <a:extLst>
              <a:ext uri="{FF2B5EF4-FFF2-40B4-BE49-F238E27FC236}">
                <a16:creationId xmlns:a16="http://schemas.microsoft.com/office/drawing/2014/main" id="{C978A259-10C7-BC10-EC68-F075581906D0}"/>
              </a:ext>
            </a:extLst>
          </p:cNvPr>
          <p:cNvSpPr txBox="1"/>
          <p:nvPr/>
        </p:nvSpPr>
        <p:spPr>
          <a:xfrm>
            <a:off x="1011141" y="1453523"/>
            <a:ext cx="168859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Sans Display Semibold"/>
                <a:ea typeface="+mn-ea"/>
                <a:cs typeface="+mn-cs"/>
              </a:rPr>
              <a:t>Any employee</a:t>
            </a:r>
          </a:p>
        </p:txBody>
      </p:sp>
      <p:sp>
        <p:nvSpPr>
          <p:cNvPr id="27" name="TextBox 26">
            <a:extLst>
              <a:ext uri="{FF2B5EF4-FFF2-40B4-BE49-F238E27FC236}">
                <a16:creationId xmlns:a16="http://schemas.microsoft.com/office/drawing/2014/main" id="{F04C3D09-E404-759B-A722-1317A628538C}"/>
              </a:ext>
            </a:extLst>
          </p:cNvPr>
          <p:cNvSpPr txBox="1"/>
          <p:nvPr/>
        </p:nvSpPr>
        <p:spPr>
          <a:xfrm>
            <a:off x="920051" y="1713873"/>
            <a:ext cx="1870774" cy="33855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30" normalizeH="0" baseline="0" noProof="0">
                <a:ln>
                  <a:noFill/>
                </a:ln>
                <a:solidFill>
                  <a:prstClr val="black"/>
                </a:solidFill>
                <a:effectLst/>
                <a:uLnTx/>
                <a:uFillTx/>
                <a:latin typeface="Segoe Sans Display"/>
                <a:ea typeface="+mn-ea"/>
                <a:cs typeface="+mn-cs"/>
              </a:rPr>
              <a:t>Cloud-based &amp; on-premises identities, groups &amp; roles</a:t>
            </a:r>
          </a:p>
        </p:txBody>
      </p:sp>
      <p:sp>
        <p:nvSpPr>
          <p:cNvPr id="28" name="TextBox 27">
            <a:extLst>
              <a:ext uri="{FF2B5EF4-FFF2-40B4-BE49-F238E27FC236}">
                <a16:creationId xmlns:a16="http://schemas.microsoft.com/office/drawing/2014/main" id="{0EB2464B-1A40-4206-440D-22AE5FA97E08}"/>
              </a:ext>
            </a:extLst>
          </p:cNvPr>
          <p:cNvSpPr txBox="1"/>
          <p:nvPr/>
        </p:nvSpPr>
        <p:spPr>
          <a:xfrm>
            <a:off x="1011141" y="2924116"/>
            <a:ext cx="168859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Sans Display Semibold"/>
                <a:ea typeface="+mn-ea"/>
                <a:cs typeface="+mn-cs"/>
              </a:rPr>
              <a:t>Any location</a:t>
            </a:r>
          </a:p>
        </p:txBody>
      </p:sp>
      <p:sp>
        <p:nvSpPr>
          <p:cNvPr id="29" name="TextBox 28">
            <a:extLst>
              <a:ext uri="{FF2B5EF4-FFF2-40B4-BE49-F238E27FC236}">
                <a16:creationId xmlns:a16="http://schemas.microsoft.com/office/drawing/2014/main" id="{495BDA70-56D8-3393-3C9C-45F6F3073930}"/>
              </a:ext>
            </a:extLst>
          </p:cNvPr>
          <p:cNvSpPr txBox="1"/>
          <p:nvPr/>
        </p:nvSpPr>
        <p:spPr>
          <a:xfrm>
            <a:off x="672401" y="3184466"/>
            <a:ext cx="2366074"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Segoe Sans Display"/>
                <a:ea typeface="+mn-ea"/>
                <a:cs typeface="+mn-cs"/>
              </a:rPr>
              <a:t>HQ, branch office, home, remote</a:t>
            </a:r>
          </a:p>
        </p:txBody>
      </p:sp>
      <p:sp>
        <p:nvSpPr>
          <p:cNvPr id="39" name="TextBox 38">
            <a:extLst>
              <a:ext uri="{FF2B5EF4-FFF2-40B4-BE49-F238E27FC236}">
                <a16:creationId xmlns:a16="http://schemas.microsoft.com/office/drawing/2014/main" id="{24B37157-8347-A695-7FFD-AF05000CA36F}"/>
              </a:ext>
            </a:extLst>
          </p:cNvPr>
          <p:cNvSpPr txBox="1"/>
          <p:nvPr/>
        </p:nvSpPr>
        <p:spPr>
          <a:xfrm>
            <a:off x="1011141" y="4240820"/>
            <a:ext cx="168859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Sans Display Semibold"/>
                <a:ea typeface="+mn-ea"/>
                <a:cs typeface="+mn-cs"/>
              </a:rPr>
              <a:t>Any platform</a:t>
            </a:r>
          </a:p>
        </p:txBody>
      </p:sp>
      <p:sp>
        <p:nvSpPr>
          <p:cNvPr id="46" name="TextBox 45">
            <a:extLst>
              <a:ext uri="{FF2B5EF4-FFF2-40B4-BE49-F238E27FC236}">
                <a16:creationId xmlns:a16="http://schemas.microsoft.com/office/drawing/2014/main" id="{47E485A9-202B-E9A0-2453-658202EEC4CF}"/>
              </a:ext>
            </a:extLst>
          </p:cNvPr>
          <p:cNvSpPr txBox="1"/>
          <p:nvPr/>
        </p:nvSpPr>
        <p:spPr>
          <a:xfrm>
            <a:off x="672401" y="4501170"/>
            <a:ext cx="2366074"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Segoe Sans Display"/>
                <a:ea typeface="+mn-ea"/>
                <a:cs typeface="+mn-cs"/>
              </a:rPr>
              <a:t>Android, iOS, Linux, MacOS, Windows</a:t>
            </a:r>
          </a:p>
        </p:txBody>
      </p:sp>
      <p:sp>
        <p:nvSpPr>
          <p:cNvPr id="47" name="TextBox 46">
            <a:extLst>
              <a:ext uri="{FF2B5EF4-FFF2-40B4-BE49-F238E27FC236}">
                <a16:creationId xmlns:a16="http://schemas.microsoft.com/office/drawing/2014/main" id="{B087EF1F-91BC-E83B-1496-0CEC91BD8A67}"/>
              </a:ext>
            </a:extLst>
          </p:cNvPr>
          <p:cNvSpPr txBox="1"/>
          <p:nvPr/>
        </p:nvSpPr>
        <p:spPr>
          <a:xfrm>
            <a:off x="1011141" y="5557525"/>
            <a:ext cx="168859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Sans Display Semibold"/>
                <a:ea typeface="+mn-ea"/>
                <a:cs typeface="+mn-cs"/>
              </a:rPr>
              <a:t>Any device</a:t>
            </a:r>
          </a:p>
        </p:txBody>
      </p:sp>
      <p:sp>
        <p:nvSpPr>
          <p:cNvPr id="49" name="TextBox 48">
            <a:extLst>
              <a:ext uri="{FF2B5EF4-FFF2-40B4-BE49-F238E27FC236}">
                <a16:creationId xmlns:a16="http://schemas.microsoft.com/office/drawing/2014/main" id="{D3DCC1A1-D333-A38B-EE40-270168EDC9E3}"/>
              </a:ext>
            </a:extLst>
          </p:cNvPr>
          <p:cNvSpPr txBox="1"/>
          <p:nvPr/>
        </p:nvSpPr>
        <p:spPr>
          <a:xfrm>
            <a:off x="672401" y="5817875"/>
            <a:ext cx="2366074"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Segoe Sans Display"/>
                <a:ea typeface="+mn-ea"/>
                <a:cs typeface="+mn-cs"/>
              </a:rPr>
              <a:t>Corporate &amp; personal</a:t>
            </a:r>
          </a:p>
        </p:txBody>
      </p:sp>
      <p:grpSp>
        <p:nvGrpSpPr>
          <p:cNvPr id="529" name="Group 528">
            <a:extLst>
              <a:ext uri="{FF2B5EF4-FFF2-40B4-BE49-F238E27FC236}">
                <a16:creationId xmlns:a16="http://schemas.microsoft.com/office/drawing/2014/main" id="{9CE2E2A7-3868-4914-B242-F82BE8B1F242}"/>
              </a:ext>
              <a:ext uri="{C183D7F6-B498-43B3-948B-1728B52AA6E4}">
                <adec:decorative xmlns:adec="http://schemas.microsoft.com/office/drawing/2017/decorative" val="1"/>
              </a:ext>
            </a:extLst>
          </p:cNvPr>
          <p:cNvGrpSpPr/>
          <p:nvPr/>
        </p:nvGrpSpPr>
        <p:grpSpPr>
          <a:xfrm>
            <a:off x="1581118" y="856241"/>
            <a:ext cx="548640" cy="548640"/>
            <a:chOff x="1303496" y="2241231"/>
            <a:chExt cx="1233888" cy="1233888"/>
          </a:xfrm>
          <a:solidFill>
            <a:srgbClr val="052252"/>
          </a:solidFill>
        </p:grpSpPr>
        <p:sp>
          <p:nvSpPr>
            <p:cNvPr id="530" name="Oval 529">
              <a:extLst>
                <a:ext uri="{FF2B5EF4-FFF2-40B4-BE49-F238E27FC236}">
                  <a16:creationId xmlns:a16="http://schemas.microsoft.com/office/drawing/2014/main" id="{BA5A3472-5AEB-37A2-0BA0-3E5AB392335F}"/>
                </a:ext>
              </a:extLst>
            </p:cNvPr>
            <p:cNvSpPr/>
            <p:nvPr/>
          </p:nvSpPr>
          <p:spPr bwMode="auto">
            <a:xfrm>
              <a:off x="1303496" y="2241231"/>
              <a:ext cx="1233888" cy="1233888"/>
            </a:xfrm>
            <a:prstGeom prst="ellipse">
              <a:avLst/>
            </a:prstGeom>
            <a:gradFill>
              <a:gsLst>
                <a:gs pos="0">
                  <a:srgbClr val="0360DB">
                    <a:alpha val="50000"/>
                  </a:srgbClr>
                </a:gs>
                <a:gs pos="85000">
                  <a:srgbClr val="FADC14">
                    <a:alpha val="50000"/>
                  </a:srgbClr>
                </a:gs>
              </a:gsLst>
              <a:lin ang="2700000" scaled="1"/>
            </a:gradFill>
            <a:ln w="19050" cap="flat" cmpd="sng" algn="ctr">
              <a:noFill/>
              <a:prstDash val="solid"/>
              <a:headEnd type="none" w="med" len="sm"/>
              <a:tailEnd type="arrow" w="lg" len="med"/>
            </a:ln>
            <a:effectLst/>
          </p:spPr>
          <p:txBody>
            <a:bodyPr rot="0" spcFirstLastPara="0" vertOverflow="overflow" horzOverflow="overflow" vert="horz" wrap="square" lIns="137160" tIns="91440" rIns="137160" bIns="137160" numCol="1" spcCol="0" rtlCol="0" fromWordArt="0" anchor="ctr" anchorCtr="0" forceAA="0" compatLnSpc="1">
              <a:prstTxWarp prst="textNoShape">
                <a:avLst/>
              </a:prstTxWarp>
              <a:noAutofit/>
            </a:bodyPr>
            <a:lstStyle/>
            <a:p>
              <a:pPr marL="0" marR="0" lvl="0" indent="0" algn="l" defTabSz="932754" rtl="0" eaLnBrk="1" fontAlgn="auto" latinLnBrk="0" hangingPunct="1">
                <a:lnSpc>
                  <a:spcPct val="100000"/>
                </a:lnSpc>
                <a:spcBef>
                  <a:spcPts val="0"/>
                </a:spcBef>
                <a:spcAft>
                  <a:spcPts val="600"/>
                </a:spcAft>
                <a:buClrTx/>
                <a:buSzPct val="90000"/>
                <a:buFontTx/>
                <a:buNone/>
                <a:tabLst/>
                <a:defRPr/>
              </a:pPr>
              <a:endParaRPr kumimoji="0" lang="en-US" sz="1900" b="0" i="0" u="none" strike="noStrike" kern="0" cap="none" spc="0" normalizeH="0" baseline="0" noProof="0">
                <a:ln>
                  <a:noFill/>
                </a:ln>
                <a:solidFill>
                  <a:srgbClr val="FFFFFF"/>
                </a:solidFill>
                <a:effectLst/>
                <a:uLnTx/>
                <a:uFillTx/>
                <a:latin typeface="Segoe Sans Display"/>
                <a:ea typeface="+mn-ea"/>
                <a:cs typeface="Segoe Sans Display Semilight" pitchFamily="2" charset="0"/>
              </a:endParaRPr>
            </a:p>
          </p:txBody>
        </p:sp>
        <p:sp>
          <p:nvSpPr>
            <p:cNvPr id="531" name="Oval 530">
              <a:extLst>
                <a:ext uri="{FF2B5EF4-FFF2-40B4-BE49-F238E27FC236}">
                  <a16:creationId xmlns:a16="http://schemas.microsoft.com/office/drawing/2014/main" id="{4BB8A45B-9EFE-ACCC-1F12-679B06DC6390}"/>
                </a:ext>
              </a:extLst>
            </p:cNvPr>
            <p:cNvSpPr/>
            <p:nvPr/>
          </p:nvSpPr>
          <p:spPr bwMode="auto">
            <a:xfrm>
              <a:off x="1457488" y="2395223"/>
              <a:ext cx="925905" cy="925905"/>
            </a:xfrm>
            <a:prstGeom prst="ellipse">
              <a:avLst/>
            </a:prstGeom>
            <a:solidFill>
              <a:srgbClr val="FFFFFF"/>
            </a:solidFill>
            <a:ln w="19050" cap="flat" cmpd="sng" algn="ctr">
              <a:gradFill>
                <a:gsLst>
                  <a:gs pos="0">
                    <a:srgbClr val="599FFD"/>
                  </a:gs>
                  <a:gs pos="100000">
                    <a:srgbClr val="FADC14"/>
                  </a:gs>
                </a:gsLst>
                <a:lin ang="5400000" scaled="1"/>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Variable Display"/>
                <a:ea typeface="+mn-ea"/>
                <a:cs typeface="Segoe UI" pitchFamily="34" charset="0"/>
              </a:endParaRPr>
            </a:p>
          </p:txBody>
        </p:sp>
      </p:grpSp>
      <p:pic>
        <p:nvPicPr>
          <p:cNvPr id="532" name="Graphic 531">
            <a:extLst>
              <a:ext uri="{FF2B5EF4-FFF2-40B4-BE49-F238E27FC236}">
                <a16:creationId xmlns:a16="http://schemas.microsoft.com/office/drawing/2014/main" id="{E5A9F61D-3756-5865-561F-D5C09E77D21C}"/>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713187" y="988310"/>
            <a:ext cx="284502" cy="284502"/>
          </a:xfrm>
          <a:prstGeom prst="rect">
            <a:avLst/>
          </a:prstGeom>
        </p:spPr>
      </p:pic>
      <p:grpSp>
        <p:nvGrpSpPr>
          <p:cNvPr id="533" name="Group 532">
            <a:extLst>
              <a:ext uri="{FF2B5EF4-FFF2-40B4-BE49-F238E27FC236}">
                <a16:creationId xmlns:a16="http://schemas.microsoft.com/office/drawing/2014/main" id="{C80A1BE6-4434-7281-56D3-3B51B5A10D19}"/>
              </a:ext>
              <a:ext uri="{C183D7F6-B498-43B3-948B-1728B52AA6E4}">
                <adec:decorative xmlns:adec="http://schemas.microsoft.com/office/drawing/2017/decorative" val="1"/>
              </a:ext>
            </a:extLst>
          </p:cNvPr>
          <p:cNvGrpSpPr/>
          <p:nvPr/>
        </p:nvGrpSpPr>
        <p:grpSpPr>
          <a:xfrm>
            <a:off x="1581118" y="2326834"/>
            <a:ext cx="548640" cy="548640"/>
            <a:chOff x="1303496" y="2241231"/>
            <a:chExt cx="1233888" cy="1233888"/>
          </a:xfrm>
          <a:solidFill>
            <a:srgbClr val="052252"/>
          </a:solidFill>
        </p:grpSpPr>
        <p:sp>
          <p:nvSpPr>
            <p:cNvPr id="534" name="Oval 533">
              <a:extLst>
                <a:ext uri="{FF2B5EF4-FFF2-40B4-BE49-F238E27FC236}">
                  <a16:creationId xmlns:a16="http://schemas.microsoft.com/office/drawing/2014/main" id="{7F5514F0-6DE3-5431-B4F6-A10A60FFFAF3}"/>
                </a:ext>
              </a:extLst>
            </p:cNvPr>
            <p:cNvSpPr/>
            <p:nvPr/>
          </p:nvSpPr>
          <p:spPr bwMode="auto">
            <a:xfrm>
              <a:off x="1303496" y="2241231"/>
              <a:ext cx="1233888" cy="1233888"/>
            </a:xfrm>
            <a:prstGeom prst="ellipse">
              <a:avLst/>
            </a:prstGeom>
            <a:gradFill>
              <a:gsLst>
                <a:gs pos="0">
                  <a:srgbClr val="0360DB">
                    <a:alpha val="50000"/>
                  </a:srgbClr>
                </a:gs>
                <a:gs pos="85000">
                  <a:srgbClr val="FADC14">
                    <a:alpha val="50000"/>
                  </a:srgbClr>
                </a:gs>
              </a:gsLst>
              <a:lin ang="2700000" scaled="1"/>
            </a:gradFill>
            <a:ln w="19050" cap="flat" cmpd="sng" algn="ctr">
              <a:noFill/>
              <a:prstDash val="solid"/>
              <a:headEnd type="none" w="med" len="sm"/>
              <a:tailEnd type="arrow" w="lg" len="med"/>
            </a:ln>
            <a:effectLst/>
          </p:spPr>
          <p:txBody>
            <a:bodyPr rot="0" spcFirstLastPara="0" vertOverflow="overflow" horzOverflow="overflow" vert="horz" wrap="square" lIns="137160" tIns="91440" rIns="137160" bIns="137160" numCol="1" spcCol="0" rtlCol="0" fromWordArt="0" anchor="ctr" anchorCtr="0" forceAA="0" compatLnSpc="1">
              <a:prstTxWarp prst="textNoShape">
                <a:avLst/>
              </a:prstTxWarp>
              <a:noAutofit/>
            </a:bodyPr>
            <a:lstStyle/>
            <a:p>
              <a:pPr marL="0" marR="0" lvl="0" indent="0" algn="l" defTabSz="932754" rtl="0" eaLnBrk="1" fontAlgn="auto" latinLnBrk="0" hangingPunct="1">
                <a:lnSpc>
                  <a:spcPct val="100000"/>
                </a:lnSpc>
                <a:spcBef>
                  <a:spcPts val="0"/>
                </a:spcBef>
                <a:spcAft>
                  <a:spcPts val="600"/>
                </a:spcAft>
                <a:buClrTx/>
                <a:buSzPct val="90000"/>
                <a:buFontTx/>
                <a:buNone/>
                <a:tabLst/>
                <a:defRPr/>
              </a:pPr>
              <a:endParaRPr kumimoji="0" lang="en-US" sz="1900" b="0" i="0" u="none" strike="noStrike" kern="0" cap="none" spc="0" normalizeH="0" baseline="0" noProof="0">
                <a:ln>
                  <a:noFill/>
                </a:ln>
                <a:solidFill>
                  <a:srgbClr val="FFFFFF"/>
                </a:solidFill>
                <a:effectLst/>
                <a:uLnTx/>
                <a:uFillTx/>
                <a:latin typeface="Segoe Sans Display"/>
                <a:ea typeface="+mn-ea"/>
                <a:cs typeface="Segoe Sans Display Semilight" pitchFamily="2" charset="0"/>
              </a:endParaRPr>
            </a:p>
          </p:txBody>
        </p:sp>
        <p:sp>
          <p:nvSpPr>
            <p:cNvPr id="535" name="Oval 534">
              <a:extLst>
                <a:ext uri="{FF2B5EF4-FFF2-40B4-BE49-F238E27FC236}">
                  <a16:creationId xmlns:a16="http://schemas.microsoft.com/office/drawing/2014/main" id="{9FB89846-3148-20ED-11BB-DAFF8DC4DD64}"/>
                </a:ext>
              </a:extLst>
            </p:cNvPr>
            <p:cNvSpPr/>
            <p:nvPr/>
          </p:nvSpPr>
          <p:spPr bwMode="auto">
            <a:xfrm>
              <a:off x="1457488" y="2395223"/>
              <a:ext cx="925905" cy="925905"/>
            </a:xfrm>
            <a:prstGeom prst="ellipse">
              <a:avLst/>
            </a:prstGeom>
            <a:solidFill>
              <a:srgbClr val="FFFFFF"/>
            </a:solidFill>
            <a:ln w="19050" cap="flat" cmpd="sng" algn="ctr">
              <a:gradFill>
                <a:gsLst>
                  <a:gs pos="0">
                    <a:srgbClr val="599FFD"/>
                  </a:gs>
                  <a:gs pos="100000">
                    <a:srgbClr val="FADC14"/>
                  </a:gs>
                </a:gsLst>
                <a:lin ang="5400000" scaled="1"/>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Variable Display"/>
                <a:ea typeface="+mn-ea"/>
                <a:cs typeface="Segoe UI" pitchFamily="34" charset="0"/>
              </a:endParaRPr>
            </a:p>
          </p:txBody>
        </p:sp>
      </p:grpSp>
      <p:pic>
        <p:nvPicPr>
          <p:cNvPr id="536" name="Graphic 535">
            <a:extLst>
              <a:ext uri="{FF2B5EF4-FFF2-40B4-BE49-F238E27FC236}">
                <a16:creationId xmlns:a16="http://schemas.microsoft.com/office/drawing/2014/main" id="{21B60FBC-FA02-CB9F-6B19-9695CBB34AFA}"/>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728757" y="2474473"/>
            <a:ext cx="253363" cy="253363"/>
          </a:xfrm>
          <a:prstGeom prst="rect">
            <a:avLst/>
          </a:prstGeom>
        </p:spPr>
      </p:pic>
      <p:grpSp>
        <p:nvGrpSpPr>
          <p:cNvPr id="537" name="Group 536">
            <a:extLst>
              <a:ext uri="{FF2B5EF4-FFF2-40B4-BE49-F238E27FC236}">
                <a16:creationId xmlns:a16="http://schemas.microsoft.com/office/drawing/2014/main" id="{0EB60A7B-09F7-524C-1A2F-CE711A87F9F5}"/>
              </a:ext>
              <a:ext uri="{C183D7F6-B498-43B3-948B-1728B52AA6E4}">
                <adec:decorative xmlns:adec="http://schemas.microsoft.com/office/drawing/2017/decorative" val="1"/>
              </a:ext>
            </a:extLst>
          </p:cNvPr>
          <p:cNvGrpSpPr/>
          <p:nvPr/>
        </p:nvGrpSpPr>
        <p:grpSpPr>
          <a:xfrm>
            <a:off x="1581118" y="3643538"/>
            <a:ext cx="548640" cy="548640"/>
            <a:chOff x="1303496" y="2241231"/>
            <a:chExt cx="1233888" cy="1233888"/>
          </a:xfrm>
          <a:solidFill>
            <a:srgbClr val="052252"/>
          </a:solidFill>
        </p:grpSpPr>
        <p:sp>
          <p:nvSpPr>
            <p:cNvPr id="538" name="Oval 537">
              <a:extLst>
                <a:ext uri="{FF2B5EF4-FFF2-40B4-BE49-F238E27FC236}">
                  <a16:creationId xmlns:a16="http://schemas.microsoft.com/office/drawing/2014/main" id="{22B5E503-A465-27EA-3B1D-102568E67F1E}"/>
                </a:ext>
              </a:extLst>
            </p:cNvPr>
            <p:cNvSpPr/>
            <p:nvPr/>
          </p:nvSpPr>
          <p:spPr bwMode="auto">
            <a:xfrm>
              <a:off x="1303496" y="2241231"/>
              <a:ext cx="1233888" cy="1233888"/>
            </a:xfrm>
            <a:prstGeom prst="ellipse">
              <a:avLst/>
            </a:prstGeom>
            <a:gradFill>
              <a:gsLst>
                <a:gs pos="0">
                  <a:srgbClr val="0360DB">
                    <a:alpha val="50000"/>
                  </a:srgbClr>
                </a:gs>
                <a:gs pos="85000">
                  <a:srgbClr val="FADC14">
                    <a:alpha val="50000"/>
                  </a:srgbClr>
                </a:gs>
              </a:gsLst>
              <a:lin ang="2700000" scaled="1"/>
            </a:gradFill>
            <a:ln w="19050" cap="flat" cmpd="sng" algn="ctr">
              <a:noFill/>
              <a:prstDash val="solid"/>
              <a:headEnd type="none" w="med" len="sm"/>
              <a:tailEnd type="arrow" w="lg" len="med"/>
            </a:ln>
            <a:effectLst/>
          </p:spPr>
          <p:txBody>
            <a:bodyPr rot="0" spcFirstLastPara="0" vertOverflow="overflow" horzOverflow="overflow" vert="horz" wrap="square" lIns="137160" tIns="91440" rIns="137160" bIns="137160" numCol="1" spcCol="0" rtlCol="0" fromWordArt="0" anchor="ctr" anchorCtr="0" forceAA="0" compatLnSpc="1">
              <a:prstTxWarp prst="textNoShape">
                <a:avLst/>
              </a:prstTxWarp>
              <a:noAutofit/>
            </a:bodyPr>
            <a:lstStyle/>
            <a:p>
              <a:pPr marL="0" marR="0" lvl="0" indent="0" algn="l" defTabSz="932754" rtl="0" eaLnBrk="1" fontAlgn="auto" latinLnBrk="0" hangingPunct="1">
                <a:lnSpc>
                  <a:spcPct val="100000"/>
                </a:lnSpc>
                <a:spcBef>
                  <a:spcPts val="0"/>
                </a:spcBef>
                <a:spcAft>
                  <a:spcPts val="600"/>
                </a:spcAft>
                <a:buClrTx/>
                <a:buSzPct val="90000"/>
                <a:buFontTx/>
                <a:buNone/>
                <a:tabLst/>
                <a:defRPr/>
              </a:pPr>
              <a:endParaRPr kumimoji="0" lang="en-US" sz="1900" b="0" i="0" u="none" strike="noStrike" kern="0" cap="none" spc="0" normalizeH="0" baseline="0" noProof="0">
                <a:ln>
                  <a:noFill/>
                </a:ln>
                <a:solidFill>
                  <a:srgbClr val="FFFFFF"/>
                </a:solidFill>
                <a:effectLst/>
                <a:uLnTx/>
                <a:uFillTx/>
                <a:latin typeface="Segoe Sans Display"/>
                <a:ea typeface="+mn-ea"/>
                <a:cs typeface="Segoe Sans Display Semilight" pitchFamily="2" charset="0"/>
              </a:endParaRPr>
            </a:p>
          </p:txBody>
        </p:sp>
        <p:sp>
          <p:nvSpPr>
            <p:cNvPr id="539" name="Oval 538">
              <a:extLst>
                <a:ext uri="{FF2B5EF4-FFF2-40B4-BE49-F238E27FC236}">
                  <a16:creationId xmlns:a16="http://schemas.microsoft.com/office/drawing/2014/main" id="{E1B77FBC-140E-FB29-3992-6A1B24736137}"/>
                </a:ext>
              </a:extLst>
            </p:cNvPr>
            <p:cNvSpPr/>
            <p:nvPr/>
          </p:nvSpPr>
          <p:spPr bwMode="auto">
            <a:xfrm>
              <a:off x="1457488" y="2395223"/>
              <a:ext cx="925905" cy="925905"/>
            </a:xfrm>
            <a:prstGeom prst="ellipse">
              <a:avLst/>
            </a:prstGeom>
            <a:solidFill>
              <a:srgbClr val="FFFFFF"/>
            </a:solidFill>
            <a:ln w="19050" cap="flat" cmpd="sng" algn="ctr">
              <a:gradFill>
                <a:gsLst>
                  <a:gs pos="0">
                    <a:srgbClr val="599FFD"/>
                  </a:gs>
                  <a:gs pos="100000">
                    <a:srgbClr val="FADC14"/>
                  </a:gs>
                </a:gsLst>
                <a:lin ang="5400000" scaled="1"/>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Variable Display"/>
                <a:ea typeface="+mn-ea"/>
                <a:cs typeface="Segoe UI" pitchFamily="34" charset="0"/>
              </a:endParaRPr>
            </a:p>
          </p:txBody>
        </p:sp>
      </p:grpSp>
      <p:pic>
        <p:nvPicPr>
          <p:cNvPr id="540" name="Graphic 539">
            <a:extLst>
              <a:ext uri="{FF2B5EF4-FFF2-40B4-BE49-F238E27FC236}">
                <a16:creationId xmlns:a16="http://schemas.microsoft.com/office/drawing/2014/main" id="{900E4F50-84F6-4058-3F64-B96A27544A77}"/>
              </a:ext>
              <a:ext uri="{C183D7F6-B498-43B3-948B-1728B52AA6E4}">
                <adec:decorative xmlns:adec="http://schemas.microsoft.com/office/drawing/2017/decorative" val="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709328" y="3771748"/>
            <a:ext cx="292220" cy="292220"/>
          </a:xfrm>
          <a:prstGeom prst="rect">
            <a:avLst/>
          </a:prstGeom>
        </p:spPr>
      </p:pic>
      <p:grpSp>
        <p:nvGrpSpPr>
          <p:cNvPr id="541" name="Group 540">
            <a:extLst>
              <a:ext uri="{FF2B5EF4-FFF2-40B4-BE49-F238E27FC236}">
                <a16:creationId xmlns:a16="http://schemas.microsoft.com/office/drawing/2014/main" id="{9A06C8A3-5DBF-A0E3-6CE3-72EAF877EF96}"/>
              </a:ext>
              <a:ext uri="{C183D7F6-B498-43B3-948B-1728B52AA6E4}">
                <adec:decorative xmlns:adec="http://schemas.microsoft.com/office/drawing/2017/decorative" val="1"/>
              </a:ext>
            </a:extLst>
          </p:cNvPr>
          <p:cNvGrpSpPr/>
          <p:nvPr/>
        </p:nvGrpSpPr>
        <p:grpSpPr>
          <a:xfrm>
            <a:off x="1581118" y="4960243"/>
            <a:ext cx="548640" cy="548640"/>
            <a:chOff x="1303496" y="2241231"/>
            <a:chExt cx="1233888" cy="1233888"/>
          </a:xfrm>
          <a:solidFill>
            <a:srgbClr val="052252"/>
          </a:solidFill>
        </p:grpSpPr>
        <p:sp>
          <p:nvSpPr>
            <p:cNvPr id="542" name="Oval 541">
              <a:extLst>
                <a:ext uri="{FF2B5EF4-FFF2-40B4-BE49-F238E27FC236}">
                  <a16:creationId xmlns:a16="http://schemas.microsoft.com/office/drawing/2014/main" id="{488325B4-CFF3-297D-33FA-F5FAD7D01AB0}"/>
                </a:ext>
              </a:extLst>
            </p:cNvPr>
            <p:cNvSpPr/>
            <p:nvPr/>
          </p:nvSpPr>
          <p:spPr bwMode="auto">
            <a:xfrm>
              <a:off x="1303496" y="2241231"/>
              <a:ext cx="1233888" cy="1233888"/>
            </a:xfrm>
            <a:prstGeom prst="ellipse">
              <a:avLst/>
            </a:prstGeom>
            <a:gradFill>
              <a:gsLst>
                <a:gs pos="0">
                  <a:srgbClr val="0360DB">
                    <a:alpha val="50000"/>
                  </a:srgbClr>
                </a:gs>
                <a:gs pos="85000">
                  <a:srgbClr val="FADC14">
                    <a:alpha val="50000"/>
                  </a:srgbClr>
                </a:gs>
              </a:gsLst>
              <a:lin ang="2700000" scaled="1"/>
            </a:gradFill>
            <a:ln w="19050" cap="flat" cmpd="sng" algn="ctr">
              <a:noFill/>
              <a:prstDash val="solid"/>
              <a:headEnd type="none" w="med" len="sm"/>
              <a:tailEnd type="arrow" w="lg" len="med"/>
            </a:ln>
            <a:effectLst/>
          </p:spPr>
          <p:txBody>
            <a:bodyPr rot="0" spcFirstLastPara="0" vertOverflow="overflow" horzOverflow="overflow" vert="horz" wrap="square" lIns="137160" tIns="91440" rIns="137160" bIns="137160" numCol="1" spcCol="0" rtlCol="0" fromWordArt="0" anchor="ctr" anchorCtr="0" forceAA="0" compatLnSpc="1">
              <a:prstTxWarp prst="textNoShape">
                <a:avLst/>
              </a:prstTxWarp>
              <a:noAutofit/>
            </a:bodyPr>
            <a:lstStyle/>
            <a:p>
              <a:pPr marL="0" marR="0" lvl="0" indent="0" algn="l" defTabSz="932754" rtl="0" eaLnBrk="1" fontAlgn="auto" latinLnBrk="0" hangingPunct="1">
                <a:lnSpc>
                  <a:spcPct val="100000"/>
                </a:lnSpc>
                <a:spcBef>
                  <a:spcPts val="0"/>
                </a:spcBef>
                <a:spcAft>
                  <a:spcPts val="600"/>
                </a:spcAft>
                <a:buClrTx/>
                <a:buSzPct val="90000"/>
                <a:buFontTx/>
                <a:buNone/>
                <a:tabLst/>
                <a:defRPr/>
              </a:pPr>
              <a:endParaRPr kumimoji="0" lang="en-US" sz="1900" b="0" i="0" u="none" strike="noStrike" kern="0" cap="none" spc="0" normalizeH="0" baseline="0" noProof="0">
                <a:ln>
                  <a:noFill/>
                </a:ln>
                <a:solidFill>
                  <a:srgbClr val="FFFFFF"/>
                </a:solidFill>
                <a:effectLst/>
                <a:uLnTx/>
                <a:uFillTx/>
                <a:latin typeface="Segoe Sans Display"/>
                <a:ea typeface="+mn-ea"/>
                <a:cs typeface="Segoe Sans Display Semilight" pitchFamily="2" charset="0"/>
              </a:endParaRPr>
            </a:p>
          </p:txBody>
        </p:sp>
        <p:sp>
          <p:nvSpPr>
            <p:cNvPr id="543" name="Oval 542">
              <a:extLst>
                <a:ext uri="{FF2B5EF4-FFF2-40B4-BE49-F238E27FC236}">
                  <a16:creationId xmlns:a16="http://schemas.microsoft.com/office/drawing/2014/main" id="{A65D83FB-CEA1-D558-0D54-B9FBA23296B5}"/>
                </a:ext>
              </a:extLst>
            </p:cNvPr>
            <p:cNvSpPr/>
            <p:nvPr/>
          </p:nvSpPr>
          <p:spPr bwMode="auto">
            <a:xfrm>
              <a:off x="1457488" y="2395223"/>
              <a:ext cx="925905" cy="925905"/>
            </a:xfrm>
            <a:prstGeom prst="ellipse">
              <a:avLst/>
            </a:prstGeom>
            <a:solidFill>
              <a:srgbClr val="FFFFFF"/>
            </a:solidFill>
            <a:ln w="19050" cap="flat" cmpd="sng" algn="ctr">
              <a:gradFill>
                <a:gsLst>
                  <a:gs pos="0">
                    <a:srgbClr val="599FFD"/>
                  </a:gs>
                  <a:gs pos="100000">
                    <a:srgbClr val="FADC14"/>
                  </a:gs>
                </a:gsLst>
                <a:lin ang="5400000" scaled="1"/>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Variable Display"/>
                <a:ea typeface="+mn-ea"/>
                <a:cs typeface="Segoe UI" pitchFamily="34" charset="0"/>
              </a:endParaRPr>
            </a:p>
          </p:txBody>
        </p:sp>
      </p:grpSp>
      <p:pic>
        <p:nvPicPr>
          <p:cNvPr id="545" name="Graphic 544">
            <a:extLst>
              <a:ext uri="{FF2B5EF4-FFF2-40B4-BE49-F238E27FC236}">
                <a16:creationId xmlns:a16="http://schemas.microsoft.com/office/drawing/2014/main" id="{6F6157C7-7955-5637-5E32-4589653BFA0E}"/>
              </a:ext>
              <a:ext uri="{C183D7F6-B498-43B3-948B-1728B52AA6E4}">
                <adec:decorative xmlns:adec="http://schemas.microsoft.com/office/drawing/2017/decorative" val="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709886" y="5089011"/>
            <a:ext cx="291105" cy="291105"/>
          </a:xfrm>
          <a:prstGeom prst="rect">
            <a:avLst/>
          </a:prstGeom>
        </p:spPr>
      </p:pic>
      <p:grpSp>
        <p:nvGrpSpPr>
          <p:cNvPr id="1424" name="Group 1423">
            <a:extLst>
              <a:ext uri="{FF2B5EF4-FFF2-40B4-BE49-F238E27FC236}">
                <a16:creationId xmlns:a16="http://schemas.microsoft.com/office/drawing/2014/main" id="{E5C7E5D1-6EF7-4AF9-E9F1-23E27A7814E2}"/>
              </a:ext>
              <a:ext uri="{C183D7F6-B498-43B3-948B-1728B52AA6E4}">
                <adec:decorative xmlns:adec="http://schemas.microsoft.com/office/drawing/2017/decorative" val="1"/>
              </a:ext>
            </a:extLst>
          </p:cNvPr>
          <p:cNvGrpSpPr/>
          <p:nvPr/>
        </p:nvGrpSpPr>
        <p:grpSpPr>
          <a:xfrm>
            <a:off x="9070975" y="585788"/>
            <a:ext cx="2535808" cy="5705522"/>
            <a:chOff x="9070975" y="585788"/>
            <a:chExt cx="2535808" cy="5705522"/>
          </a:xfrm>
        </p:grpSpPr>
        <p:sp>
          <p:nvSpPr>
            <p:cNvPr id="25" name="Rectangle: Rounded Corners 24">
              <a:extLst>
                <a:ext uri="{FF2B5EF4-FFF2-40B4-BE49-F238E27FC236}">
                  <a16:creationId xmlns:a16="http://schemas.microsoft.com/office/drawing/2014/main" id="{05100910-2DE8-0A0B-CEC3-780D29988D51}"/>
                </a:ext>
                <a:ext uri="{C183D7F6-B498-43B3-948B-1728B52AA6E4}">
                  <adec:decorative xmlns:adec="http://schemas.microsoft.com/office/drawing/2017/decorative" val="1"/>
                </a:ext>
              </a:extLst>
            </p:cNvPr>
            <p:cNvSpPr>
              <a:spLocks/>
            </p:cNvSpPr>
            <p:nvPr/>
          </p:nvSpPr>
          <p:spPr bwMode="auto">
            <a:xfrm rot="16200000">
              <a:off x="7486118" y="2170645"/>
              <a:ext cx="5705522" cy="2535808"/>
            </a:xfrm>
            <a:prstGeom prst="roundRect">
              <a:avLst>
                <a:gd name="adj" fmla="val 4646"/>
              </a:avLst>
            </a:prstGeom>
            <a:solidFill>
              <a:schemeClr val="bg1"/>
            </a:solidFill>
            <a:ln>
              <a:noFill/>
              <a:headEnd type="none" w="med" len="med"/>
              <a:tailEnd type="none" w="med" len="med"/>
            </a:ln>
            <a:effectLst>
              <a:innerShdw blurRad="508000" dist="63500" dir="16200000">
                <a:srgbClr val="B1B3B3">
                  <a:alpha val="25000"/>
                </a:srgb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20040" rIns="91440" bIns="91440" numCol="1" spcCol="0" rtlCol="0" fromWordArt="0" anchor="t" anchorCtr="0" forceAA="0" compatLnSpc="1">
              <a:prstTxWarp prst="textNoShape">
                <a:avLst/>
              </a:prstTxWarp>
              <a:noAutofit/>
            </a:bodyPr>
            <a:lstStyle/>
            <a:p>
              <a:pPr marL="0" marR="0" lvl="0" indent="0" algn="ctr" defTabSz="932754" rtl="0" eaLnBrk="1" fontAlgn="auto" latinLnBrk="0" hangingPunct="1">
                <a:lnSpc>
                  <a:spcPct val="100000"/>
                </a:lnSpc>
                <a:spcBef>
                  <a:spcPts val="0"/>
                </a:spcBef>
                <a:spcAft>
                  <a:spcPts val="300"/>
                </a:spcAft>
                <a:buClrTx/>
                <a:buSzTx/>
                <a:buFontTx/>
                <a:buNone/>
                <a:tabLst/>
                <a:defRPr/>
              </a:pPr>
              <a:endParaRPr kumimoji="0" lang="en-US" sz="1400" b="0" i="0" u="none" strike="noStrike" kern="0" cap="none" spc="-10" normalizeH="0" baseline="0" noProof="0">
                <a:ln>
                  <a:noFill/>
                </a:ln>
                <a:solidFill>
                  <a:srgbClr val="8DC8E8"/>
                </a:solidFill>
                <a:effectLst/>
                <a:uLnTx/>
                <a:uFillTx/>
                <a:latin typeface="Segoe Sans Display Semibold" pitchFamily="2" charset="0"/>
                <a:ea typeface="+mn-ea"/>
                <a:cs typeface="Segoe Sans Display Semibold" pitchFamily="2" charset="0"/>
              </a:endParaRPr>
            </a:p>
          </p:txBody>
        </p:sp>
        <p:sp>
          <p:nvSpPr>
            <p:cNvPr id="53" name="TextBox 52">
              <a:extLst>
                <a:ext uri="{FF2B5EF4-FFF2-40B4-BE49-F238E27FC236}">
                  <a16:creationId xmlns:a16="http://schemas.microsoft.com/office/drawing/2014/main" id="{6CD6A7A0-E7E9-830A-DA17-AA8C4DC18B3B}"/>
                </a:ext>
              </a:extLst>
            </p:cNvPr>
            <p:cNvSpPr txBox="1"/>
            <p:nvPr/>
          </p:nvSpPr>
          <p:spPr>
            <a:xfrm>
              <a:off x="9522717" y="826465"/>
              <a:ext cx="1632324"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40" normalizeH="0" baseline="0" noProof="0">
                  <a:ln>
                    <a:noFill/>
                  </a:ln>
                  <a:solidFill>
                    <a:prstClr val="black"/>
                  </a:solidFill>
                  <a:effectLst/>
                  <a:uLnTx/>
                  <a:uFillTx/>
                  <a:latin typeface="Segoe Sans Display"/>
                  <a:ea typeface="+mn-ea"/>
                  <a:cs typeface="+mn-cs"/>
                </a:rPr>
                <a:t>Access to all </a:t>
              </a:r>
              <a:br>
                <a:rPr kumimoji="0" lang="en-US" sz="1600" b="0" i="0" u="none" strike="noStrike" kern="0" cap="none" spc="-40" normalizeH="0" baseline="0" noProof="0">
                  <a:ln>
                    <a:noFill/>
                  </a:ln>
                  <a:solidFill>
                    <a:prstClr val="black"/>
                  </a:solidFill>
                  <a:effectLst/>
                  <a:uLnTx/>
                  <a:uFillTx/>
                  <a:latin typeface="Segoe Sans Display"/>
                  <a:ea typeface="+mn-ea"/>
                  <a:cs typeface="+mn-cs"/>
                </a:rPr>
              </a:br>
              <a:r>
                <a:rPr kumimoji="0" lang="en-US" sz="1600" b="0" i="0" u="none" strike="noStrike" kern="0" cap="none" spc="-60" normalizeH="0" baseline="0" noProof="0">
                  <a:ln>
                    <a:noFill/>
                  </a:ln>
                  <a:solidFill>
                    <a:prstClr val="black"/>
                  </a:solidFill>
                  <a:effectLst/>
                  <a:uLnTx/>
                  <a:uFillTx/>
                  <a:latin typeface="Segoe Sans Display"/>
                  <a:ea typeface="+mn-ea"/>
                  <a:cs typeface="+mn-cs"/>
                </a:rPr>
                <a:t>apps &amp; resources</a:t>
              </a:r>
            </a:p>
          </p:txBody>
        </p:sp>
        <p:grpSp>
          <p:nvGrpSpPr>
            <p:cNvPr id="1416" name="Group 1415">
              <a:extLst>
                <a:ext uri="{FF2B5EF4-FFF2-40B4-BE49-F238E27FC236}">
                  <a16:creationId xmlns:a16="http://schemas.microsoft.com/office/drawing/2014/main" id="{8F0584CC-D783-1226-277F-D0CE8B873A2C}"/>
                </a:ext>
              </a:extLst>
            </p:cNvPr>
            <p:cNvGrpSpPr/>
            <p:nvPr/>
          </p:nvGrpSpPr>
          <p:grpSpPr>
            <a:xfrm>
              <a:off x="9336658" y="2922561"/>
              <a:ext cx="2004442" cy="628893"/>
              <a:chOff x="9336658" y="3218006"/>
              <a:chExt cx="2004442" cy="628893"/>
            </a:xfrm>
          </p:grpSpPr>
          <p:sp>
            <p:nvSpPr>
              <p:cNvPr id="520" name="TextBox 519">
                <a:extLst>
                  <a:ext uri="{FF2B5EF4-FFF2-40B4-BE49-F238E27FC236}">
                    <a16:creationId xmlns:a16="http://schemas.microsoft.com/office/drawing/2014/main" id="{7A070DCB-9CF1-8FBA-A06A-7C2E86A98F04}"/>
                  </a:ext>
                </a:extLst>
              </p:cNvPr>
              <p:cNvSpPr txBox="1"/>
              <p:nvPr/>
            </p:nvSpPr>
            <p:spPr>
              <a:xfrm>
                <a:off x="9336658" y="3631455"/>
                <a:ext cx="200444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40" normalizeH="0" baseline="0" noProof="0">
                    <a:ln w="3175">
                      <a:noFill/>
                    </a:ln>
                    <a:gradFill>
                      <a:gsLst>
                        <a:gs pos="0">
                          <a:srgbClr val="0360DB"/>
                        </a:gs>
                        <a:gs pos="80000">
                          <a:srgbClr val="207EFC"/>
                        </a:gs>
                      </a:gsLst>
                      <a:path path="circle">
                        <a:fillToRect l="100000" t="100000"/>
                      </a:path>
                    </a:gradFill>
                    <a:effectLst/>
                    <a:uLnTx/>
                    <a:uFillTx/>
                    <a:latin typeface="Segoe Sans Display Semibold"/>
                    <a:ea typeface="+mn-ea"/>
                    <a:cs typeface="Segoe UI" panose="020B0502040204020203" pitchFamily="34" charset="0"/>
                  </a:rPr>
                  <a:t>IaaS, PaaS, Datacenter</a:t>
                </a:r>
              </a:p>
            </p:txBody>
          </p:sp>
          <p:grpSp>
            <p:nvGrpSpPr>
              <p:cNvPr id="548" name="Group 547">
                <a:extLst>
                  <a:ext uri="{FF2B5EF4-FFF2-40B4-BE49-F238E27FC236}">
                    <a16:creationId xmlns:a16="http://schemas.microsoft.com/office/drawing/2014/main" id="{8A30E075-7B05-F245-0DF9-A0A66460A205}"/>
                  </a:ext>
                  <a:ext uri="{C183D7F6-B498-43B3-948B-1728B52AA6E4}">
                    <adec:decorative xmlns:adec="http://schemas.microsoft.com/office/drawing/2017/decorative" val="1"/>
                  </a:ext>
                </a:extLst>
              </p:cNvPr>
              <p:cNvGrpSpPr/>
              <p:nvPr/>
            </p:nvGrpSpPr>
            <p:grpSpPr>
              <a:xfrm>
                <a:off x="9567777" y="3218006"/>
                <a:ext cx="1542204" cy="269375"/>
                <a:chOff x="10340855" y="2520231"/>
                <a:chExt cx="1589888" cy="277704"/>
              </a:xfrm>
            </p:grpSpPr>
            <p:grpSp>
              <p:nvGrpSpPr>
                <p:cNvPr id="549" name="Group 548">
                  <a:extLst>
                    <a:ext uri="{FF2B5EF4-FFF2-40B4-BE49-F238E27FC236}">
                      <a16:creationId xmlns:a16="http://schemas.microsoft.com/office/drawing/2014/main" id="{8CEC8C75-D54D-18A6-1C35-F099058AE52E}"/>
                    </a:ext>
                  </a:extLst>
                </p:cNvPr>
                <p:cNvGrpSpPr/>
                <p:nvPr/>
              </p:nvGrpSpPr>
              <p:grpSpPr>
                <a:xfrm>
                  <a:off x="11327047" y="2543699"/>
                  <a:ext cx="297309" cy="230769"/>
                  <a:chOff x="10687515" y="2757597"/>
                  <a:chExt cx="220210" cy="177220"/>
                </a:xfrm>
              </p:grpSpPr>
              <p:sp>
                <p:nvSpPr>
                  <p:cNvPr id="555" name="Freeform: Shape 400">
                    <a:extLst>
                      <a:ext uri="{FF2B5EF4-FFF2-40B4-BE49-F238E27FC236}">
                        <a16:creationId xmlns:a16="http://schemas.microsoft.com/office/drawing/2014/main" id="{0EAA4E1D-527F-0405-09FD-B217DD15C586}"/>
                      </a:ext>
                    </a:extLst>
                  </p:cNvPr>
                  <p:cNvSpPr/>
                  <p:nvPr/>
                </p:nvSpPr>
                <p:spPr>
                  <a:xfrm>
                    <a:off x="10714077" y="2757597"/>
                    <a:ext cx="139971" cy="63510"/>
                  </a:xfrm>
                  <a:custGeom>
                    <a:avLst/>
                    <a:gdLst>
                      <a:gd name="connsiteX0" fmla="*/ 160496 w 198501"/>
                      <a:gd name="connsiteY0" fmla="*/ 69209 h 90069"/>
                      <a:gd name="connsiteX1" fmla="*/ 170021 w 198501"/>
                      <a:gd name="connsiteY1" fmla="*/ 69209 h 90069"/>
                      <a:gd name="connsiteX2" fmla="*/ 197168 w 198501"/>
                      <a:gd name="connsiteY2" fmla="*/ 42063 h 90069"/>
                      <a:gd name="connsiteX3" fmla="*/ 198501 w 198501"/>
                      <a:gd name="connsiteY3" fmla="*/ 30538 h 90069"/>
                      <a:gd name="connsiteX4" fmla="*/ 26280 w 198501"/>
                      <a:gd name="connsiteY4" fmla="*/ 41274 h 90069"/>
                      <a:gd name="connsiteX5" fmla="*/ 0 w 198501"/>
                      <a:gd name="connsiteY5" fmla="*/ 90069 h 90069"/>
                      <a:gd name="connsiteX6" fmla="*/ 9525 w 198501"/>
                      <a:gd name="connsiteY6" fmla="*/ 89498 h 90069"/>
                      <a:gd name="connsiteX7" fmla="*/ 63818 w 198501"/>
                      <a:gd name="connsiteY7" fmla="*/ 80544 h 90069"/>
                      <a:gd name="connsiteX8" fmla="*/ 68009 w 198501"/>
                      <a:gd name="connsiteY8" fmla="*/ 76258 h 90069"/>
                      <a:gd name="connsiteX9" fmla="*/ 160687 w 198501"/>
                      <a:gd name="connsiteY9" fmla="*/ 69209 h 90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501" h="90069">
                        <a:moveTo>
                          <a:pt x="160496" y="69209"/>
                        </a:moveTo>
                        <a:lnTo>
                          <a:pt x="170021" y="69209"/>
                        </a:lnTo>
                        <a:lnTo>
                          <a:pt x="197168" y="42063"/>
                        </a:lnTo>
                        <a:lnTo>
                          <a:pt x="198501" y="30538"/>
                        </a:lnTo>
                        <a:cubicBezTo>
                          <a:pt x="147979" y="-14055"/>
                          <a:pt x="70873" y="-9248"/>
                          <a:pt x="26280" y="41274"/>
                        </a:cubicBezTo>
                        <a:cubicBezTo>
                          <a:pt x="13893" y="55308"/>
                          <a:pt x="4901" y="72004"/>
                          <a:pt x="0" y="90069"/>
                        </a:cubicBezTo>
                        <a:cubicBezTo>
                          <a:pt x="3024" y="88830"/>
                          <a:pt x="6374" y="88629"/>
                          <a:pt x="9525" y="89498"/>
                        </a:cubicBezTo>
                        <a:lnTo>
                          <a:pt x="63818" y="80544"/>
                        </a:lnTo>
                        <a:cubicBezTo>
                          <a:pt x="63818" y="80544"/>
                          <a:pt x="66580" y="75972"/>
                          <a:pt x="68009" y="76258"/>
                        </a:cubicBezTo>
                        <a:cubicBezTo>
                          <a:pt x="92159" y="49734"/>
                          <a:pt x="132802" y="46643"/>
                          <a:pt x="160687" y="69209"/>
                        </a:cubicBezTo>
                        <a:close/>
                      </a:path>
                    </a:pathLst>
                  </a:custGeom>
                  <a:solidFill>
                    <a:srgbClr val="EA4335"/>
                  </a:solidFill>
                  <a:ln w="9525" cap="flat">
                    <a:noFill/>
                    <a:prstDash val="solid"/>
                    <a:miter/>
                  </a:ln>
                </p:spPr>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gradFill>
                        <a:gsLst>
                          <a:gs pos="8621">
                            <a:srgbClr val="000000"/>
                          </a:gs>
                          <a:gs pos="20225">
                            <a:srgbClr val="000000"/>
                          </a:gs>
                        </a:gsLst>
                        <a:lin ang="5400000" scaled="1"/>
                      </a:gradFill>
                      <a:effectLst/>
                      <a:uLnTx/>
                      <a:uFillTx/>
                      <a:latin typeface="Segoe Sans Display Semibold"/>
                      <a:ea typeface="+mn-ea"/>
                      <a:cs typeface="+mn-cs"/>
                    </a:endParaRPr>
                  </a:p>
                </p:txBody>
              </p:sp>
              <p:sp>
                <p:nvSpPr>
                  <p:cNvPr id="556" name="Freeform: Shape 401">
                    <a:extLst>
                      <a:ext uri="{FF2B5EF4-FFF2-40B4-BE49-F238E27FC236}">
                        <a16:creationId xmlns:a16="http://schemas.microsoft.com/office/drawing/2014/main" id="{C1294707-5D21-6898-6F17-5ECAB262CFCB}"/>
                      </a:ext>
                    </a:extLst>
                  </p:cNvPr>
                  <p:cNvSpPr/>
                  <p:nvPr/>
                </p:nvSpPr>
                <p:spPr>
                  <a:xfrm>
                    <a:off x="10792457" y="2779197"/>
                    <a:ext cx="115268" cy="155620"/>
                  </a:xfrm>
                  <a:custGeom>
                    <a:avLst/>
                    <a:gdLst>
                      <a:gd name="connsiteX0" fmla="*/ 124682 w 163468"/>
                      <a:gd name="connsiteY0" fmla="*/ 59436 h 220696"/>
                      <a:gd name="connsiteX1" fmla="*/ 87820 w 163468"/>
                      <a:gd name="connsiteY1" fmla="*/ 0 h 220696"/>
                      <a:gd name="connsiteX2" fmla="*/ 49720 w 163468"/>
                      <a:gd name="connsiteY2" fmla="*/ 38100 h 220696"/>
                      <a:gd name="connsiteX3" fmla="*/ 74581 w 163468"/>
                      <a:gd name="connsiteY3" fmla="*/ 91821 h 220696"/>
                      <a:gd name="connsiteX4" fmla="*/ 74581 w 163468"/>
                      <a:gd name="connsiteY4" fmla="*/ 98584 h 220696"/>
                      <a:gd name="connsiteX5" fmla="*/ 108490 w 163468"/>
                      <a:gd name="connsiteY5" fmla="*/ 132493 h 220696"/>
                      <a:gd name="connsiteX6" fmla="*/ 74581 w 163468"/>
                      <a:gd name="connsiteY6" fmla="*/ 166402 h 220696"/>
                      <a:gd name="connsiteX7" fmla="*/ 6763 w 163468"/>
                      <a:gd name="connsiteY7" fmla="*/ 166402 h 220696"/>
                      <a:gd name="connsiteX8" fmla="*/ 0 w 163468"/>
                      <a:gd name="connsiteY8" fmla="*/ 173260 h 220696"/>
                      <a:gd name="connsiteX9" fmla="*/ 0 w 163468"/>
                      <a:gd name="connsiteY9" fmla="*/ 213932 h 220696"/>
                      <a:gd name="connsiteX10" fmla="*/ 6763 w 163468"/>
                      <a:gd name="connsiteY10" fmla="*/ 220694 h 220696"/>
                      <a:gd name="connsiteX11" fmla="*/ 74581 w 163468"/>
                      <a:gd name="connsiteY11" fmla="*/ 220694 h 220696"/>
                      <a:gd name="connsiteX12" fmla="*/ 163466 w 163468"/>
                      <a:gd name="connsiteY12" fmla="*/ 133182 h 220696"/>
                      <a:gd name="connsiteX13" fmla="*/ 124682 w 163468"/>
                      <a:gd name="connsiteY13" fmla="*/ 59436 h 220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3468" h="220696">
                        <a:moveTo>
                          <a:pt x="124682" y="59436"/>
                        </a:moveTo>
                        <a:cubicBezTo>
                          <a:pt x="118442" y="36458"/>
                          <a:pt x="105631" y="15801"/>
                          <a:pt x="87820" y="0"/>
                        </a:cubicBezTo>
                        <a:lnTo>
                          <a:pt x="49720" y="38100"/>
                        </a:lnTo>
                        <a:cubicBezTo>
                          <a:pt x="65809" y="51246"/>
                          <a:pt x="74973" y="71049"/>
                          <a:pt x="74581" y="91821"/>
                        </a:cubicBezTo>
                        <a:lnTo>
                          <a:pt x="74581" y="98584"/>
                        </a:lnTo>
                        <a:cubicBezTo>
                          <a:pt x="93308" y="98584"/>
                          <a:pt x="108490" y="113766"/>
                          <a:pt x="108490" y="132493"/>
                        </a:cubicBezTo>
                        <a:cubicBezTo>
                          <a:pt x="108490" y="151220"/>
                          <a:pt x="93308" y="166402"/>
                          <a:pt x="74581" y="166402"/>
                        </a:cubicBezTo>
                        <a:lnTo>
                          <a:pt x="6763" y="166402"/>
                        </a:lnTo>
                        <a:lnTo>
                          <a:pt x="0" y="173260"/>
                        </a:lnTo>
                        <a:lnTo>
                          <a:pt x="0" y="213932"/>
                        </a:lnTo>
                        <a:lnTo>
                          <a:pt x="6763" y="220694"/>
                        </a:lnTo>
                        <a:lnTo>
                          <a:pt x="74581" y="220694"/>
                        </a:lnTo>
                        <a:cubicBezTo>
                          <a:pt x="123292" y="221073"/>
                          <a:pt x="163087" y="181893"/>
                          <a:pt x="163466" y="133182"/>
                        </a:cubicBezTo>
                        <a:cubicBezTo>
                          <a:pt x="163696" y="103658"/>
                          <a:pt x="149139" y="75977"/>
                          <a:pt x="124682" y="59436"/>
                        </a:cubicBezTo>
                        <a:close/>
                      </a:path>
                    </a:pathLst>
                  </a:custGeom>
                  <a:solidFill>
                    <a:srgbClr val="4285F4"/>
                  </a:solidFill>
                  <a:ln w="9525" cap="flat">
                    <a:noFill/>
                    <a:prstDash val="solid"/>
                    <a:miter/>
                  </a:ln>
                </p:spPr>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gradFill>
                        <a:gsLst>
                          <a:gs pos="8621">
                            <a:srgbClr val="000000"/>
                          </a:gs>
                          <a:gs pos="20225">
                            <a:srgbClr val="000000"/>
                          </a:gs>
                        </a:gsLst>
                        <a:lin ang="5400000" scaled="1"/>
                      </a:gradFill>
                      <a:effectLst/>
                      <a:uLnTx/>
                      <a:uFillTx/>
                      <a:latin typeface="Segoe Sans Display Semibold"/>
                      <a:ea typeface="+mn-ea"/>
                      <a:cs typeface="+mn-cs"/>
                    </a:endParaRPr>
                  </a:p>
                </p:txBody>
              </p:sp>
              <p:sp>
                <p:nvSpPr>
                  <p:cNvPr id="557" name="Freeform: Shape 402">
                    <a:extLst>
                      <a:ext uri="{FF2B5EF4-FFF2-40B4-BE49-F238E27FC236}">
                        <a16:creationId xmlns:a16="http://schemas.microsoft.com/office/drawing/2014/main" id="{E7B4DA43-AE3B-0AB2-F6DE-B570F32AAB89}"/>
                      </a:ext>
                    </a:extLst>
                  </p:cNvPr>
                  <p:cNvSpPr/>
                  <p:nvPr/>
                </p:nvSpPr>
                <p:spPr>
                  <a:xfrm>
                    <a:off x="10711793" y="2894115"/>
                    <a:ext cx="85366" cy="40433"/>
                  </a:xfrm>
                  <a:custGeom>
                    <a:avLst/>
                    <a:gdLst>
                      <a:gd name="connsiteX0" fmla="*/ 53245 w 121062"/>
                      <a:gd name="connsiteY0" fmla="*/ 57341 h 57341"/>
                      <a:gd name="connsiteX1" fmla="*/ 121063 w 121062"/>
                      <a:gd name="connsiteY1" fmla="*/ 57341 h 57341"/>
                      <a:gd name="connsiteX2" fmla="*/ 121063 w 121062"/>
                      <a:gd name="connsiteY2" fmla="*/ 3048 h 57341"/>
                      <a:gd name="connsiteX3" fmla="*/ 53245 w 121062"/>
                      <a:gd name="connsiteY3" fmla="*/ 3048 h 57341"/>
                      <a:gd name="connsiteX4" fmla="*/ 39243 w 121062"/>
                      <a:gd name="connsiteY4" fmla="*/ 0 h 57341"/>
                      <a:gd name="connsiteX5" fmla="*/ 29718 w 121062"/>
                      <a:gd name="connsiteY5" fmla="*/ 2953 h 57341"/>
                      <a:gd name="connsiteX6" fmla="*/ 2381 w 121062"/>
                      <a:gd name="connsiteY6" fmla="*/ 30099 h 57341"/>
                      <a:gd name="connsiteX7" fmla="*/ 0 w 121062"/>
                      <a:gd name="connsiteY7" fmla="*/ 39624 h 57341"/>
                      <a:gd name="connsiteX8" fmla="*/ 53245 w 121062"/>
                      <a:gd name="connsiteY8" fmla="*/ 57341 h 57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062" h="57341">
                        <a:moveTo>
                          <a:pt x="53245" y="57341"/>
                        </a:moveTo>
                        <a:lnTo>
                          <a:pt x="121063" y="57341"/>
                        </a:lnTo>
                        <a:lnTo>
                          <a:pt x="121063" y="3048"/>
                        </a:lnTo>
                        <a:lnTo>
                          <a:pt x="53245" y="3048"/>
                        </a:lnTo>
                        <a:cubicBezTo>
                          <a:pt x="48413" y="3047"/>
                          <a:pt x="43638" y="2008"/>
                          <a:pt x="39243" y="0"/>
                        </a:cubicBezTo>
                        <a:lnTo>
                          <a:pt x="29718" y="2953"/>
                        </a:lnTo>
                        <a:lnTo>
                          <a:pt x="2381" y="30099"/>
                        </a:lnTo>
                        <a:lnTo>
                          <a:pt x="0" y="39624"/>
                        </a:lnTo>
                        <a:cubicBezTo>
                          <a:pt x="15330" y="51200"/>
                          <a:pt x="34035" y="57424"/>
                          <a:pt x="53245" y="57341"/>
                        </a:cubicBezTo>
                        <a:close/>
                      </a:path>
                    </a:pathLst>
                  </a:custGeom>
                  <a:solidFill>
                    <a:srgbClr val="34A853"/>
                  </a:solidFill>
                  <a:ln w="9525" cap="flat">
                    <a:noFill/>
                    <a:prstDash val="solid"/>
                    <a:miter/>
                  </a:ln>
                </p:spPr>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gradFill>
                        <a:gsLst>
                          <a:gs pos="8621">
                            <a:srgbClr val="000000"/>
                          </a:gs>
                          <a:gs pos="20225">
                            <a:srgbClr val="000000"/>
                          </a:gs>
                        </a:gsLst>
                        <a:lin ang="5400000" scaled="1"/>
                      </a:gradFill>
                      <a:effectLst/>
                      <a:uLnTx/>
                      <a:uFillTx/>
                      <a:latin typeface="Segoe Sans Display Semibold"/>
                      <a:ea typeface="+mn-ea"/>
                      <a:cs typeface="+mn-cs"/>
                    </a:endParaRPr>
                  </a:p>
                </p:txBody>
              </p:sp>
              <p:sp>
                <p:nvSpPr>
                  <p:cNvPr id="558" name="Freeform: Shape 403">
                    <a:extLst>
                      <a:ext uri="{FF2B5EF4-FFF2-40B4-BE49-F238E27FC236}">
                        <a16:creationId xmlns:a16="http://schemas.microsoft.com/office/drawing/2014/main" id="{5177702F-BB96-FD31-62B5-2ED0F1BDD684}"/>
                      </a:ext>
                    </a:extLst>
                  </p:cNvPr>
                  <p:cNvSpPr/>
                  <p:nvPr/>
                </p:nvSpPr>
                <p:spPr>
                  <a:xfrm>
                    <a:off x="10687515" y="2810361"/>
                    <a:ext cx="111390" cy="111492"/>
                  </a:xfrm>
                  <a:custGeom>
                    <a:avLst/>
                    <a:gdLst>
                      <a:gd name="connsiteX0" fmla="*/ 87675 w 157969"/>
                      <a:gd name="connsiteY0" fmla="*/ 1 h 158115"/>
                      <a:gd name="connsiteX1" fmla="*/ 2 w 157969"/>
                      <a:gd name="connsiteY1" fmla="*/ 88727 h 158115"/>
                      <a:gd name="connsiteX2" fmla="*/ 34430 w 157969"/>
                      <a:gd name="connsiteY2" fmla="*/ 158116 h 158115"/>
                      <a:gd name="connsiteX3" fmla="*/ 73768 w 157969"/>
                      <a:gd name="connsiteY3" fmla="*/ 118777 h 158115"/>
                      <a:gd name="connsiteX4" fmla="*/ 56828 w 157969"/>
                      <a:gd name="connsiteY4" fmla="*/ 73915 h 158115"/>
                      <a:gd name="connsiteX5" fmla="*/ 101691 w 157969"/>
                      <a:gd name="connsiteY5" fmla="*/ 56974 h 158115"/>
                      <a:gd name="connsiteX6" fmla="*/ 118631 w 157969"/>
                      <a:gd name="connsiteY6" fmla="*/ 73915 h 158115"/>
                      <a:gd name="connsiteX7" fmla="*/ 157969 w 157969"/>
                      <a:gd name="connsiteY7" fmla="*/ 34576 h 158115"/>
                      <a:gd name="connsiteX8" fmla="*/ 87675 w 157969"/>
                      <a:gd name="connsiteY8" fmla="*/ 1 h 158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969" h="158115">
                        <a:moveTo>
                          <a:pt x="87675" y="1"/>
                        </a:moveTo>
                        <a:cubicBezTo>
                          <a:pt x="38963" y="292"/>
                          <a:pt x="-289" y="40016"/>
                          <a:pt x="2" y="88727"/>
                        </a:cubicBezTo>
                        <a:cubicBezTo>
                          <a:pt x="164" y="115928"/>
                          <a:pt x="12868" y="141533"/>
                          <a:pt x="34430" y="158116"/>
                        </a:cubicBezTo>
                        <a:lnTo>
                          <a:pt x="73768" y="118777"/>
                        </a:lnTo>
                        <a:cubicBezTo>
                          <a:pt x="56702" y="111067"/>
                          <a:pt x="49117" y="90981"/>
                          <a:pt x="56828" y="73915"/>
                        </a:cubicBezTo>
                        <a:cubicBezTo>
                          <a:pt x="64538" y="56848"/>
                          <a:pt x="84624" y="49264"/>
                          <a:pt x="101691" y="56974"/>
                        </a:cubicBezTo>
                        <a:cubicBezTo>
                          <a:pt x="109211" y="60372"/>
                          <a:pt x="115233" y="66395"/>
                          <a:pt x="118631" y="73915"/>
                        </a:cubicBezTo>
                        <a:lnTo>
                          <a:pt x="157969" y="34576"/>
                        </a:lnTo>
                        <a:cubicBezTo>
                          <a:pt x="141232" y="12695"/>
                          <a:pt x="115223" y="-98"/>
                          <a:pt x="87675" y="1"/>
                        </a:cubicBezTo>
                        <a:close/>
                      </a:path>
                    </a:pathLst>
                  </a:custGeom>
                  <a:solidFill>
                    <a:srgbClr val="FBBC05"/>
                  </a:solidFill>
                  <a:ln w="9525" cap="flat">
                    <a:noFill/>
                    <a:prstDash val="solid"/>
                    <a:miter/>
                  </a:ln>
                </p:spPr>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gradFill>
                        <a:gsLst>
                          <a:gs pos="8621">
                            <a:srgbClr val="000000"/>
                          </a:gs>
                          <a:gs pos="20225">
                            <a:srgbClr val="000000"/>
                          </a:gs>
                        </a:gsLst>
                        <a:lin ang="5400000" scaled="1"/>
                      </a:gradFill>
                      <a:effectLst/>
                      <a:uLnTx/>
                      <a:uFillTx/>
                      <a:latin typeface="Segoe Sans Display Semibold"/>
                      <a:ea typeface="+mn-ea"/>
                      <a:cs typeface="+mn-cs"/>
                    </a:endParaRPr>
                  </a:p>
                </p:txBody>
              </p:sp>
            </p:grpSp>
            <p:pic>
              <p:nvPicPr>
                <p:cNvPr id="550" name="Graphic 198">
                  <a:extLst>
                    <a:ext uri="{FF2B5EF4-FFF2-40B4-BE49-F238E27FC236}">
                      <a16:creationId xmlns:a16="http://schemas.microsoft.com/office/drawing/2014/main" id="{BA34C3B3-5DA7-5E72-33CB-AAA6F887AEA2}"/>
                    </a:ext>
                  </a:extLst>
                </p:cNvPr>
                <p:cNvPicPr>
                  <a:picLocks noChangeAspect="1"/>
                </p:cNvPicPr>
                <p:nvPr/>
              </p:nvPicPr>
              <p:blipFill>
                <a:blip r:embed="rId14">
                  <a:lum bright="-100000"/>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10795607" y="2549936"/>
                  <a:ext cx="364622" cy="218295"/>
                </a:xfrm>
                <a:prstGeom prst="rect">
                  <a:avLst/>
                </a:prstGeom>
              </p:spPr>
            </p:pic>
            <p:pic>
              <p:nvPicPr>
                <p:cNvPr id="551" name="Graphic 550">
                  <a:extLst>
                    <a:ext uri="{FF2B5EF4-FFF2-40B4-BE49-F238E27FC236}">
                      <a16:creationId xmlns:a16="http://schemas.microsoft.com/office/drawing/2014/main" id="{5335A40D-95A2-8F9D-A754-334DD740C415}"/>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340855" y="2520231"/>
                  <a:ext cx="287934" cy="277704"/>
                </a:xfrm>
                <a:prstGeom prst="rect">
                  <a:avLst/>
                </a:prstGeom>
              </p:spPr>
            </p:pic>
            <p:sp>
              <p:nvSpPr>
                <p:cNvPr id="552" name="Graphic 44">
                  <a:extLst>
                    <a:ext uri="{FF2B5EF4-FFF2-40B4-BE49-F238E27FC236}">
                      <a16:creationId xmlns:a16="http://schemas.microsoft.com/office/drawing/2014/main" id="{23BE5F30-0A1F-A7AE-D7FD-0744C25AACE0}"/>
                    </a:ext>
                  </a:extLst>
                </p:cNvPr>
                <p:cNvSpPr/>
                <p:nvPr/>
              </p:nvSpPr>
              <p:spPr>
                <a:xfrm>
                  <a:off x="11791175" y="2542777"/>
                  <a:ext cx="139568" cy="232613"/>
                </a:xfrm>
                <a:custGeom>
                  <a:avLst/>
                  <a:gdLst>
                    <a:gd name="connsiteX0" fmla="*/ 49530 w 182880"/>
                    <a:gd name="connsiteY0" fmla="*/ 60960 h 304800"/>
                    <a:gd name="connsiteX1" fmla="*/ 38100 w 182880"/>
                    <a:gd name="connsiteY1" fmla="*/ 72390 h 304800"/>
                    <a:gd name="connsiteX2" fmla="*/ 49530 w 182880"/>
                    <a:gd name="connsiteY2" fmla="*/ 83820 h 304800"/>
                    <a:gd name="connsiteX3" fmla="*/ 133350 w 182880"/>
                    <a:gd name="connsiteY3" fmla="*/ 83820 h 304800"/>
                    <a:gd name="connsiteX4" fmla="*/ 144780 w 182880"/>
                    <a:gd name="connsiteY4" fmla="*/ 72390 h 304800"/>
                    <a:gd name="connsiteX5" fmla="*/ 133350 w 182880"/>
                    <a:gd name="connsiteY5" fmla="*/ 60960 h 304800"/>
                    <a:gd name="connsiteX6" fmla="*/ 49530 w 182880"/>
                    <a:gd name="connsiteY6" fmla="*/ 60960 h 304800"/>
                    <a:gd name="connsiteX7" fmla="*/ 38100 w 182880"/>
                    <a:gd name="connsiteY7" fmla="*/ 240030 h 304800"/>
                    <a:gd name="connsiteX8" fmla="*/ 49530 w 182880"/>
                    <a:gd name="connsiteY8" fmla="*/ 228600 h 304800"/>
                    <a:gd name="connsiteX9" fmla="*/ 133350 w 182880"/>
                    <a:gd name="connsiteY9" fmla="*/ 228600 h 304800"/>
                    <a:gd name="connsiteX10" fmla="*/ 144780 w 182880"/>
                    <a:gd name="connsiteY10" fmla="*/ 240030 h 304800"/>
                    <a:gd name="connsiteX11" fmla="*/ 133350 w 182880"/>
                    <a:gd name="connsiteY11" fmla="*/ 251460 h 304800"/>
                    <a:gd name="connsiteX12" fmla="*/ 49530 w 182880"/>
                    <a:gd name="connsiteY12" fmla="*/ 251460 h 304800"/>
                    <a:gd name="connsiteX13" fmla="*/ 38100 w 182880"/>
                    <a:gd name="connsiteY13" fmla="*/ 240030 h 304800"/>
                    <a:gd name="connsiteX14" fmla="*/ 49530 w 182880"/>
                    <a:gd name="connsiteY14" fmla="*/ 182880 h 304800"/>
                    <a:gd name="connsiteX15" fmla="*/ 38100 w 182880"/>
                    <a:gd name="connsiteY15" fmla="*/ 194310 h 304800"/>
                    <a:gd name="connsiteX16" fmla="*/ 49530 w 182880"/>
                    <a:gd name="connsiteY16" fmla="*/ 205740 h 304800"/>
                    <a:gd name="connsiteX17" fmla="*/ 133350 w 182880"/>
                    <a:gd name="connsiteY17" fmla="*/ 205740 h 304800"/>
                    <a:gd name="connsiteX18" fmla="*/ 144780 w 182880"/>
                    <a:gd name="connsiteY18" fmla="*/ 194310 h 304800"/>
                    <a:gd name="connsiteX19" fmla="*/ 133350 w 182880"/>
                    <a:gd name="connsiteY19" fmla="*/ 182880 h 304800"/>
                    <a:gd name="connsiteX20" fmla="*/ 49530 w 182880"/>
                    <a:gd name="connsiteY20" fmla="*/ 182880 h 304800"/>
                    <a:gd name="connsiteX21" fmla="*/ 0 w 182880"/>
                    <a:gd name="connsiteY21" fmla="*/ 45720 h 304800"/>
                    <a:gd name="connsiteX22" fmla="*/ 45720 w 182880"/>
                    <a:gd name="connsiteY22" fmla="*/ 0 h 304800"/>
                    <a:gd name="connsiteX23" fmla="*/ 137160 w 182880"/>
                    <a:gd name="connsiteY23" fmla="*/ 0 h 304800"/>
                    <a:gd name="connsiteX24" fmla="*/ 182880 w 182880"/>
                    <a:gd name="connsiteY24" fmla="*/ 45720 h 304800"/>
                    <a:gd name="connsiteX25" fmla="*/ 182880 w 182880"/>
                    <a:gd name="connsiteY25" fmla="*/ 259080 h 304800"/>
                    <a:gd name="connsiteX26" fmla="*/ 137160 w 182880"/>
                    <a:gd name="connsiteY26" fmla="*/ 304800 h 304800"/>
                    <a:gd name="connsiteX27" fmla="*/ 45720 w 182880"/>
                    <a:gd name="connsiteY27" fmla="*/ 304800 h 304800"/>
                    <a:gd name="connsiteX28" fmla="*/ 0 w 182880"/>
                    <a:gd name="connsiteY28" fmla="*/ 259080 h 304800"/>
                    <a:gd name="connsiteX29" fmla="*/ 0 w 182880"/>
                    <a:gd name="connsiteY29" fmla="*/ 45720 h 304800"/>
                    <a:gd name="connsiteX30" fmla="*/ 45720 w 182880"/>
                    <a:gd name="connsiteY30" fmla="*/ 22860 h 304800"/>
                    <a:gd name="connsiteX31" fmla="*/ 22860 w 182880"/>
                    <a:gd name="connsiteY31" fmla="*/ 45720 h 304800"/>
                    <a:gd name="connsiteX32" fmla="*/ 22860 w 182880"/>
                    <a:gd name="connsiteY32" fmla="*/ 259080 h 304800"/>
                    <a:gd name="connsiteX33" fmla="*/ 45720 w 182880"/>
                    <a:gd name="connsiteY33" fmla="*/ 281940 h 304800"/>
                    <a:gd name="connsiteX34" fmla="*/ 137160 w 182880"/>
                    <a:gd name="connsiteY34" fmla="*/ 281940 h 304800"/>
                    <a:gd name="connsiteX35" fmla="*/ 160020 w 182880"/>
                    <a:gd name="connsiteY35" fmla="*/ 259080 h 304800"/>
                    <a:gd name="connsiteX36" fmla="*/ 160020 w 182880"/>
                    <a:gd name="connsiteY36" fmla="*/ 45720 h 304800"/>
                    <a:gd name="connsiteX37" fmla="*/ 137160 w 182880"/>
                    <a:gd name="connsiteY37" fmla="*/ 22860 h 304800"/>
                    <a:gd name="connsiteX38" fmla="*/ 45720 w 182880"/>
                    <a:gd name="connsiteY38" fmla="*/ 2286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82880" h="304800">
                      <a:moveTo>
                        <a:pt x="49530" y="60960"/>
                      </a:moveTo>
                      <a:cubicBezTo>
                        <a:pt x="43217" y="60960"/>
                        <a:pt x="38100" y="66077"/>
                        <a:pt x="38100" y="72390"/>
                      </a:cubicBezTo>
                      <a:cubicBezTo>
                        <a:pt x="38100" y="78703"/>
                        <a:pt x="43217" y="83820"/>
                        <a:pt x="49530" y="83820"/>
                      </a:cubicBezTo>
                      <a:lnTo>
                        <a:pt x="133350" y="83820"/>
                      </a:lnTo>
                      <a:cubicBezTo>
                        <a:pt x="139662" y="83820"/>
                        <a:pt x="144780" y="78703"/>
                        <a:pt x="144780" y="72390"/>
                      </a:cubicBezTo>
                      <a:cubicBezTo>
                        <a:pt x="144780" y="66077"/>
                        <a:pt x="139662" y="60960"/>
                        <a:pt x="133350" y="60960"/>
                      </a:cubicBezTo>
                      <a:lnTo>
                        <a:pt x="49530" y="60960"/>
                      </a:lnTo>
                      <a:close/>
                      <a:moveTo>
                        <a:pt x="38100" y="240030"/>
                      </a:moveTo>
                      <a:cubicBezTo>
                        <a:pt x="38100" y="233718"/>
                        <a:pt x="43217" y="228600"/>
                        <a:pt x="49530" y="228600"/>
                      </a:cubicBezTo>
                      <a:lnTo>
                        <a:pt x="133350" y="228600"/>
                      </a:lnTo>
                      <a:cubicBezTo>
                        <a:pt x="139662" y="228600"/>
                        <a:pt x="144780" y="233718"/>
                        <a:pt x="144780" y="240030"/>
                      </a:cubicBezTo>
                      <a:cubicBezTo>
                        <a:pt x="144780" y="246342"/>
                        <a:pt x="139662" y="251460"/>
                        <a:pt x="133350" y="251460"/>
                      </a:cubicBezTo>
                      <a:lnTo>
                        <a:pt x="49530" y="251460"/>
                      </a:lnTo>
                      <a:cubicBezTo>
                        <a:pt x="43217" y="251460"/>
                        <a:pt x="38100" y="246342"/>
                        <a:pt x="38100" y="240030"/>
                      </a:cubicBezTo>
                      <a:close/>
                      <a:moveTo>
                        <a:pt x="49530" y="182880"/>
                      </a:moveTo>
                      <a:cubicBezTo>
                        <a:pt x="43217" y="182880"/>
                        <a:pt x="38100" y="187998"/>
                        <a:pt x="38100" y="194310"/>
                      </a:cubicBezTo>
                      <a:cubicBezTo>
                        <a:pt x="38100" y="200622"/>
                        <a:pt x="43217" y="205740"/>
                        <a:pt x="49530" y="205740"/>
                      </a:cubicBezTo>
                      <a:lnTo>
                        <a:pt x="133350" y="205740"/>
                      </a:lnTo>
                      <a:cubicBezTo>
                        <a:pt x="139662" y="205740"/>
                        <a:pt x="144780" y="200622"/>
                        <a:pt x="144780" y="194310"/>
                      </a:cubicBezTo>
                      <a:cubicBezTo>
                        <a:pt x="144780" y="187998"/>
                        <a:pt x="139662" y="182880"/>
                        <a:pt x="133350" y="182880"/>
                      </a:cubicBezTo>
                      <a:lnTo>
                        <a:pt x="49530" y="182880"/>
                      </a:lnTo>
                      <a:close/>
                      <a:moveTo>
                        <a:pt x="0" y="45720"/>
                      </a:moveTo>
                      <a:cubicBezTo>
                        <a:pt x="0" y="20470"/>
                        <a:pt x="20470" y="0"/>
                        <a:pt x="45720" y="0"/>
                      </a:cubicBezTo>
                      <a:lnTo>
                        <a:pt x="137160" y="0"/>
                      </a:lnTo>
                      <a:cubicBezTo>
                        <a:pt x="162411" y="0"/>
                        <a:pt x="182880" y="20470"/>
                        <a:pt x="182880" y="45720"/>
                      </a:cubicBezTo>
                      <a:lnTo>
                        <a:pt x="182880" y="259080"/>
                      </a:lnTo>
                      <a:cubicBezTo>
                        <a:pt x="182880" y="284331"/>
                        <a:pt x="162411" y="304800"/>
                        <a:pt x="137160" y="304800"/>
                      </a:cubicBezTo>
                      <a:lnTo>
                        <a:pt x="45720" y="304800"/>
                      </a:lnTo>
                      <a:cubicBezTo>
                        <a:pt x="20470" y="304800"/>
                        <a:pt x="0" y="284331"/>
                        <a:pt x="0" y="259080"/>
                      </a:cubicBezTo>
                      <a:lnTo>
                        <a:pt x="0" y="45720"/>
                      </a:lnTo>
                      <a:close/>
                      <a:moveTo>
                        <a:pt x="45720" y="22860"/>
                      </a:moveTo>
                      <a:cubicBezTo>
                        <a:pt x="33095" y="22860"/>
                        <a:pt x="22860" y="33095"/>
                        <a:pt x="22860" y="45720"/>
                      </a:cubicBezTo>
                      <a:lnTo>
                        <a:pt x="22860" y="259080"/>
                      </a:lnTo>
                      <a:cubicBezTo>
                        <a:pt x="22860" y="271705"/>
                        <a:pt x="33095" y="281940"/>
                        <a:pt x="45720" y="281940"/>
                      </a:cubicBezTo>
                      <a:lnTo>
                        <a:pt x="137160" y="281940"/>
                      </a:lnTo>
                      <a:cubicBezTo>
                        <a:pt x="149785" y="281940"/>
                        <a:pt x="160020" y="271705"/>
                        <a:pt x="160020" y="259080"/>
                      </a:cubicBezTo>
                      <a:lnTo>
                        <a:pt x="160020" y="45720"/>
                      </a:lnTo>
                      <a:cubicBezTo>
                        <a:pt x="160020" y="33095"/>
                        <a:pt x="149785" y="22860"/>
                        <a:pt x="137160" y="22860"/>
                      </a:cubicBezTo>
                      <a:lnTo>
                        <a:pt x="45720" y="22860"/>
                      </a:lnTo>
                      <a:close/>
                    </a:path>
                  </a:pathLst>
                </a:custGeom>
                <a:solidFill>
                  <a:schemeClr val="tx1"/>
                </a:solid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Display"/>
                    <a:ea typeface="+mn-ea"/>
                    <a:cs typeface="+mn-cs"/>
                  </a:endParaRPr>
                </a:p>
              </p:txBody>
            </p:sp>
          </p:grpSp>
        </p:grpSp>
        <p:grpSp>
          <p:nvGrpSpPr>
            <p:cNvPr id="1422" name="Group 1421">
              <a:extLst>
                <a:ext uri="{FF2B5EF4-FFF2-40B4-BE49-F238E27FC236}">
                  <a16:creationId xmlns:a16="http://schemas.microsoft.com/office/drawing/2014/main" id="{C49C14E5-5F42-3CFE-8DE3-34C2C1D5BCE3}"/>
                </a:ext>
              </a:extLst>
            </p:cNvPr>
            <p:cNvGrpSpPr/>
            <p:nvPr/>
          </p:nvGrpSpPr>
          <p:grpSpPr>
            <a:xfrm>
              <a:off x="9333039" y="2533048"/>
              <a:ext cx="2011680" cy="2312579"/>
              <a:chOff x="9333039" y="2533048"/>
              <a:chExt cx="2011680" cy="2312579"/>
            </a:xfrm>
          </p:grpSpPr>
          <p:cxnSp>
            <p:nvCxnSpPr>
              <p:cNvPr id="526" name="Straight Connector 525">
                <a:extLst>
                  <a:ext uri="{FF2B5EF4-FFF2-40B4-BE49-F238E27FC236}">
                    <a16:creationId xmlns:a16="http://schemas.microsoft.com/office/drawing/2014/main" id="{BEAE911C-F5B3-3533-029B-D1FDCD17B86B}"/>
                  </a:ext>
                  <a:ext uri="{C183D7F6-B498-43B3-948B-1728B52AA6E4}">
                    <adec:decorative xmlns:adec="http://schemas.microsoft.com/office/drawing/2017/decorative" val="1"/>
                  </a:ext>
                </a:extLst>
              </p:cNvPr>
              <p:cNvCxnSpPr>
                <a:cxnSpLocks/>
              </p:cNvCxnSpPr>
              <p:nvPr/>
            </p:nvCxnSpPr>
            <p:spPr>
              <a:xfrm>
                <a:off x="9333039" y="3731417"/>
                <a:ext cx="2011680" cy="0"/>
              </a:xfrm>
              <a:prstGeom prst="line">
                <a:avLst/>
              </a:prstGeom>
              <a:solidFill>
                <a:srgbClr val="091F2C">
                  <a:lumMod val="90000"/>
                  <a:lumOff val="10000"/>
                </a:srgbClr>
              </a:solidFill>
              <a:ln w="12700" cap="flat">
                <a:solidFill>
                  <a:schemeClr val="bg1">
                    <a:lumMod val="50000"/>
                  </a:schemeClr>
                </a:solidFill>
                <a:prstDash val="solid"/>
                <a:miter/>
              </a:ln>
              <a:scene3d>
                <a:camera prst="isometricOffAxis1Right">
                  <a:rot lat="0" lon="0" rev="0"/>
                </a:camera>
                <a:lightRig rig="flood" dir="t"/>
              </a:scene3d>
            </p:spPr>
          </p:cxnSp>
          <p:cxnSp>
            <p:nvCxnSpPr>
              <p:cNvPr id="528" name="Straight Connector 527">
                <a:extLst>
                  <a:ext uri="{FF2B5EF4-FFF2-40B4-BE49-F238E27FC236}">
                    <a16:creationId xmlns:a16="http://schemas.microsoft.com/office/drawing/2014/main" id="{03A4C0F9-6990-2293-051D-3714800E4014}"/>
                  </a:ext>
                  <a:ext uri="{C183D7F6-B498-43B3-948B-1728B52AA6E4}">
                    <adec:decorative xmlns:adec="http://schemas.microsoft.com/office/drawing/2017/decorative" val="1"/>
                  </a:ext>
                </a:extLst>
              </p:cNvPr>
              <p:cNvCxnSpPr>
                <a:cxnSpLocks/>
              </p:cNvCxnSpPr>
              <p:nvPr/>
            </p:nvCxnSpPr>
            <p:spPr>
              <a:xfrm>
                <a:off x="9333039" y="4845627"/>
                <a:ext cx="2011680" cy="0"/>
              </a:xfrm>
              <a:prstGeom prst="line">
                <a:avLst/>
              </a:prstGeom>
              <a:solidFill>
                <a:srgbClr val="091F2C">
                  <a:lumMod val="90000"/>
                  <a:lumOff val="10000"/>
                </a:srgbClr>
              </a:solidFill>
              <a:ln w="12700" cap="flat">
                <a:solidFill>
                  <a:schemeClr val="bg1">
                    <a:lumMod val="50000"/>
                  </a:schemeClr>
                </a:solidFill>
                <a:prstDash val="solid"/>
                <a:miter/>
              </a:ln>
              <a:scene3d>
                <a:camera prst="isometricOffAxis1Right">
                  <a:rot lat="0" lon="0" rev="0"/>
                </a:camera>
                <a:lightRig rig="flood" dir="t"/>
              </a:scene3d>
            </p:spPr>
          </p:cxnSp>
          <p:cxnSp>
            <p:nvCxnSpPr>
              <p:cNvPr id="524" name="Straight Connector 523">
                <a:extLst>
                  <a:ext uri="{FF2B5EF4-FFF2-40B4-BE49-F238E27FC236}">
                    <a16:creationId xmlns:a16="http://schemas.microsoft.com/office/drawing/2014/main" id="{5EBCC1D0-8B1D-ABC8-9331-C131DD113136}"/>
                  </a:ext>
                  <a:ext uri="{C183D7F6-B498-43B3-948B-1728B52AA6E4}">
                    <adec:decorative xmlns:adec="http://schemas.microsoft.com/office/drawing/2017/decorative" val="1"/>
                  </a:ext>
                </a:extLst>
              </p:cNvPr>
              <p:cNvCxnSpPr>
                <a:cxnSpLocks/>
              </p:cNvCxnSpPr>
              <p:nvPr/>
            </p:nvCxnSpPr>
            <p:spPr>
              <a:xfrm>
                <a:off x="9333039" y="2533048"/>
                <a:ext cx="2011680" cy="0"/>
              </a:xfrm>
              <a:prstGeom prst="line">
                <a:avLst/>
              </a:prstGeom>
              <a:solidFill>
                <a:srgbClr val="091F2C">
                  <a:lumMod val="90000"/>
                  <a:lumOff val="10000"/>
                </a:srgbClr>
              </a:solidFill>
              <a:ln w="12700" cap="flat">
                <a:solidFill>
                  <a:schemeClr val="bg1">
                    <a:lumMod val="50000"/>
                  </a:schemeClr>
                </a:solidFill>
                <a:prstDash val="solid"/>
                <a:miter/>
              </a:ln>
              <a:scene3d>
                <a:camera prst="isometricOffAxis1Right">
                  <a:rot lat="0" lon="0" rev="0"/>
                </a:camera>
                <a:lightRig rig="flood" dir="t"/>
              </a:scene3d>
            </p:spPr>
          </p:cxnSp>
        </p:grpSp>
        <p:grpSp>
          <p:nvGrpSpPr>
            <p:cNvPr id="1417" name="Group 1416">
              <a:extLst>
                <a:ext uri="{FF2B5EF4-FFF2-40B4-BE49-F238E27FC236}">
                  <a16:creationId xmlns:a16="http://schemas.microsoft.com/office/drawing/2014/main" id="{B7403191-624F-0571-514D-D1EE0ACE14FE}"/>
                </a:ext>
              </a:extLst>
            </p:cNvPr>
            <p:cNvGrpSpPr/>
            <p:nvPr/>
          </p:nvGrpSpPr>
          <p:grpSpPr>
            <a:xfrm>
              <a:off x="9564497" y="1811664"/>
              <a:ext cx="1548764" cy="541421"/>
              <a:chOff x="9564497" y="1845154"/>
              <a:chExt cx="1548764" cy="541421"/>
            </a:xfrm>
          </p:grpSpPr>
          <p:sp>
            <p:nvSpPr>
              <p:cNvPr id="518" name="TextBox 517">
                <a:extLst>
                  <a:ext uri="{FF2B5EF4-FFF2-40B4-BE49-F238E27FC236}">
                    <a16:creationId xmlns:a16="http://schemas.microsoft.com/office/drawing/2014/main" id="{2A9B1937-088E-AFA0-6F0E-5F031CDE3C83}"/>
                  </a:ext>
                </a:extLst>
              </p:cNvPr>
              <p:cNvSpPr txBox="1"/>
              <p:nvPr/>
            </p:nvSpPr>
            <p:spPr>
              <a:xfrm>
                <a:off x="9692701" y="2171131"/>
                <a:ext cx="129235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40" normalizeH="0" baseline="0" noProof="0">
                    <a:ln w="3175">
                      <a:noFill/>
                    </a:ln>
                    <a:gradFill>
                      <a:gsLst>
                        <a:gs pos="0">
                          <a:srgbClr val="0360DB"/>
                        </a:gs>
                        <a:gs pos="80000">
                          <a:srgbClr val="207EFC"/>
                        </a:gs>
                      </a:gsLst>
                      <a:path path="circle">
                        <a:fillToRect l="100000" t="100000"/>
                      </a:path>
                    </a:gradFill>
                    <a:effectLst/>
                    <a:uLnTx/>
                    <a:uFillTx/>
                    <a:latin typeface="Segoe Sans Display Semibold"/>
                    <a:ea typeface="+mn-ea"/>
                    <a:cs typeface="Segoe UI" panose="020B0502040204020203" pitchFamily="34" charset="0"/>
                  </a:rPr>
                  <a:t>AI</a:t>
                </a:r>
              </a:p>
            </p:txBody>
          </p:sp>
          <p:grpSp>
            <p:nvGrpSpPr>
              <p:cNvPr id="1444" name="Group 1443">
                <a:extLst>
                  <a:ext uri="{FF2B5EF4-FFF2-40B4-BE49-F238E27FC236}">
                    <a16:creationId xmlns:a16="http://schemas.microsoft.com/office/drawing/2014/main" id="{019BD3CD-6634-57E3-235F-F029D652F0C6}"/>
                  </a:ext>
                </a:extLst>
              </p:cNvPr>
              <p:cNvGrpSpPr/>
              <p:nvPr/>
            </p:nvGrpSpPr>
            <p:grpSpPr>
              <a:xfrm>
                <a:off x="9564497" y="1845154"/>
                <a:ext cx="1548764" cy="273470"/>
                <a:chOff x="10204011" y="1536537"/>
                <a:chExt cx="1548764" cy="273470"/>
              </a:xfrm>
            </p:grpSpPr>
            <p:pic>
              <p:nvPicPr>
                <p:cNvPr id="546" name="Picture 545">
                  <a:extLst>
                    <a:ext uri="{FF2B5EF4-FFF2-40B4-BE49-F238E27FC236}">
                      <a16:creationId xmlns:a16="http://schemas.microsoft.com/office/drawing/2014/main" id="{BE26E03A-15EF-3750-4053-7635EA1E3142}"/>
                    </a:ext>
                    <a:ext uri="{C183D7F6-B498-43B3-948B-1728B52AA6E4}">
                      <adec:decorative xmlns:adec="http://schemas.microsoft.com/office/drawing/2017/decorative" val="1"/>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l="19219" r="20127"/>
                <a:stretch/>
              </p:blipFill>
              <p:spPr bwMode="auto">
                <a:xfrm>
                  <a:off x="10204011" y="1548197"/>
                  <a:ext cx="269736" cy="250151"/>
                </a:xfrm>
                <a:prstGeom prst="rect">
                  <a:avLst/>
                </a:prstGeom>
                <a:noFill/>
                <a:extLst>
                  <a:ext uri="{909E8E84-426E-40DD-AFC4-6F175D3DCCD1}">
                    <a14:hiddenFill xmlns:a14="http://schemas.microsoft.com/office/drawing/2010/main">
                      <a:solidFill>
                        <a:srgbClr val="FFFFFF"/>
                      </a:solidFill>
                    </a14:hiddenFill>
                  </a:ext>
                </a:extLst>
              </p:spPr>
            </p:pic>
            <p:grpSp>
              <p:nvGrpSpPr>
                <p:cNvPr id="1443" name="Group 1442">
                  <a:extLst>
                    <a:ext uri="{FF2B5EF4-FFF2-40B4-BE49-F238E27FC236}">
                      <a16:creationId xmlns:a16="http://schemas.microsoft.com/office/drawing/2014/main" id="{5D50CD80-B772-2F3E-1FE8-BA06A1E04F27}"/>
                    </a:ext>
                  </a:extLst>
                </p:cNvPr>
                <p:cNvGrpSpPr/>
                <p:nvPr/>
              </p:nvGrpSpPr>
              <p:grpSpPr>
                <a:xfrm>
                  <a:off x="10592008" y="1536537"/>
                  <a:ext cx="1160767" cy="273470"/>
                  <a:chOff x="13692816" y="1980829"/>
                  <a:chExt cx="1160767" cy="273470"/>
                </a:xfrm>
              </p:grpSpPr>
              <p:pic>
                <p:nvPicPr>
                  <p:cNvPr id="1441" name="Picture 2" descr="Chatgpt Logo Transparent Background 22841111 Png - vrogue.co">
                    <a:extLst>
                      <a:ext uri="{FF2B5EF4-FFF2-40B4-BE49-F238E27FC236}">
                        <a16:creationId xmlns:a16="http://schemas.microsoft.com/office/drawing/2014/main" id="{4828C6A9-63FE-4D32-6216-7E92512BE020}"/>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3692816" y="1980829"/>
                    <a:ext cx="269735" cy="273470"/>
                  </a:xfrm>
                  <a:prstGeom prst="rect">
                    <a:avLst/>
                  </a:prstGeom>
                  <a:noFill/>
                  <a:extLst>
                    <a:ext uri="{909E8E84-426E-40DD-AFC4-6F175D3DCCD1}">
                      <a14:hiddenFill xmlns:a14="http://schemas.microsoft.com/office/drawing/2010/main">
                        <a:solidFill>
                          <a:srgbClr val="FFFFFF"/>
                        </a:solidFill>
                      </a14:hiddenFill>
                    </a:ext>
                  </a:extLst>
                </p:spPr>
              </p:pic>
              <p:pic>
                <p:nvPicPr>
                  <p:cNvPr id="1442" name="Picture 6" descr="DeepSeek-V2 - Intelligence, Performance &amp; Price Analysis | Artificial Analysis">
                    <a:extLst>
                      <a:ext uri="{FF2B5EF4-FFF2-40B4-BE49-F238E27FC236}">
                        <a16:creationId xmlns:a16="http://schemas.microsoft.com/office/drawing/2014/main" id="{8BEA98D3-A9A3-3E0D-414E-8352771D100F}"/>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4055657" y="2041347"/>
                    <a:ext cx="797926" cy="168792"/>
                  </a:xfrm>
                  <a:prstGeom prst="rect">
                    <a:avLst/>
                  </a:prstGeom>
                  <a:noFill/>
                  <a:extLst>
                    <a:ext uri="{909E8E84-426E-40DD-AFC4-6F175D3DCCD1}">
                      <a14:hiddenFill xmlns:a14="http://schemas.microsoft.com/office/drawing/2010/main">
                        <a:solidFill>
                          <a:srgbClr val="FFFFFF"/>
                        </a:solidFill>
                      </a14:hiddenFill>
                    </a:ext>
                  </a:extLst>
                </p:spPr>
              </p:pic>
            </p:grpSp>
          </p:grpSp>
        </p:grpSp>
        <p:grpSp>
          <p:nvGrpSpPr>
            <p:cNvPr id="1415" name="Group 1414">
              <a:extLst>
                <a:ext uri="{FF2B5EF4-FFF2-40B4-BE49-F238E27FC236}">
                  <a16:creationId xmlns:a16="http://schemas.microsoft.com/office/drawing/2014/main" id="{2E3BB0BE-222E-D5D1-0DB1-2C24BF44A112}"/>
                </a:ext>
              </a:extLst>
            </p:cNvPr>
            <p:cNvGrpSpPr/>
            <p:nvPr/>
          </p:nvGrpSpPr>
          <p:grpSpPr>
            <a:xfrm>
              <a:off x="9316116" y="4120930"/>
              <a:ext cx="2045527" cy="544734"/>
              <a:chOff x="9316116" y="4670447"/>
              <a:chExt cx="2045527" cy="544734"/>
            </a:xfrm>
          </p:grpSpPr>
          <p:sp>
            <p:nvSpPr>
              <p:cNvPr id="521" name="TextBox 520">
                <a:extLst>
                  <a:ext uri="{FF2B5EF4-FFF2-40B4-BE49-F238E27FC236}">
                    <a16:creationId xmlns:a16="http://schemas.microsoft.com/office/drawing/2014/main" id="{A871A9AE-C41C-22B4-A245-4D8AB52B2392}"/>
                  </a:ext>
                </a:extLst>
              </p:cNvPr>
              <p:cNvSpPr txBox="1"/>
              <p:nvPr/>
            </p:nvSpPr>
            <p:spPr>
              <a:xfrm>
                <a:off x="9336658" y="4999737"/>
                <a:ext cx="200444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40" normalizeH="0" baseline="0" noProof="0">
                    <a:ln w="3175">
                      <a:noFill/>
                    </a:ln>
                    <a:gradFill>
                      <a:gsLst>
                        <a:gs pos="0">
                          <a:srgbClr val="0360DB"/>
                        </a:gs>
                        <a:gs pos="80000">
                          <a:srgbClr val="207EFC"/>
                        </a:gs>
                      </a:gsLst>
                      <a:path path="circle">
                        <a:fillToRect l="100000" t="100000"/>
                      </a:path>
                    </a:gradFill>
                    <a:effectLst/>
                    <a:uLnTx/>
                    <a:uFillTx/>
                    <a:latin typeface="Segoe Sans Display Semibold"/>
                    <a:ea typeface="+mn-ea"/>
                    <a:cs typeface="Segoe UI" panose="020B0502040204020203" pitchFamily="34" charset="0"/>
                  </a:rPr>
                  <a:t>SaaS, websites</a:t>
                </a:r>
              </a:p>
            </p:txBody>
          </p:sp>
          <p:grpSp>
            <p:nvGrpSpPr>
              <p:cNvPr id="1414" name="Group 1413">
                <a:extLst>
                  <a:ext uri="{FF2B5EF4-FFF2-40B4-BE49-F238E27FC236}">
                    <a16:creationId xmlns:a16="http://schemas.microsoft.com/office/drawing/2014/main" id="{B6033E81-E516-700E-1A37-D1AE30BAB761}"/>
                  </a:ext>
                </a:extLst>
              </p:cNvPr>
              <p:cNvGrpSpPr/>
              <p:nvPr/>
            </p:nvGrpSpPr>
            <p:grpSpPr>
              <a:xfrm>
                <a:off x="9316116" y="4670447"/>
                <a:ext cx="2045527" cy="242893"/>
                <a:chOff x="9346317" y="4670447"/>
                <a:chExt cx="2045527" cy="242893"/>
              </a:xfrm>
            </p:grpSpPr>
            <p:pic>
              <p:nvPicPr>
                <p:cNvPr id="571" name="Graphic 570">
                  <a:extLst>
                    <a:ext uri="{FF2B5EF4-FFF2-40B4-BE49-F238E27FC236}">
                      <a16:creationId xmlns:a16="http://schemas.microsoft.com/office/drawing/2014/main" id="{9330B57B-98F9-2FA7-65E1-5CB3F252AB56}"/>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rcRect/>
                <a:stretch/>
              </p:blipFill>
              <p:spPr>
                <a:xfrm>
                  <a:off x="9346317" y="4670448"/>
                  <a:ext cx="220810" cy="242891"/>
                </a:xfrm>
                <a:prstGeom prst="rect">
                  <a:avLst/>
                </a:prstGeom>
              </p:spPr>
            </p:pic>
            <p:pic>
              <p:nvPicPr>
                <p:cNvPr id="572" name="Picture 571">
                  <a:extLst>
                    <a:ext uri="{FF2B5EF4-FFF2-40B4-BE49-F238E27FC236}">
                      <a16:creationId xmlns:a16="http://schemas.microsoft.com/office/drawing/2014/main" id="{02545B88-7653-B84F-984D-6AAAE742EBD5}"/>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9659351" y="4670447"/>
                  <a:ext cx="346819" cy="242893"/>
                </a:xfrm>
                <a:prstGeom prst="rect">
                  <a:avLst/>
                </a:prstGeom>
              </p:spPr>
            </p:pic>
            <p:pic>
              <p:nvPicPr>
                <p:cNvPr id="573" name="Picture 4" descr="Zoom Video Conferencing - Shining Waters">
                  <a:extLst>
                    <a:ext uri="{FF2B5EF4-FFF2-40B4-BE49-F238E27FC236}">
                      <a16:creationId xmlns:a16="http://schemas.microsoft.com/office/drawing/2014/main" id="{D5B98F9E-5622-F2F6-B9FC-7797FBD97352}"/>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l="4259" t="4259" r="4259" b="4259"/>
                <a:stretch/>
              </p:blipFill>
              <p:spPr bwMode="auto">
                <a:xfrm>
                  <a:off x="11169641" y="4680793"/>
                  <a:ext cx="222203" cy="222201"/>
                </a:xfrm>
                <a:prstGeom prst="rect">
                  <a:avLst/>
                </a:prstGeom>
                <a:noFill/>
                <a:extLst>
                  <a:ext uri="{909E8E84-426E-40DD-AFC4-6F175D3DCCD1}">
                    <a14:hiddenFill xmlns:a14="http://schemas.microsoft.com/office/drawing/2010/main">
                      <a:solidFill>
                        <a:srgbClr val="FFFFFF"/>
                      </a:solidFill>
                    </a14:hiddenFill>
                  </a:ext>
                </a:extLst>
              </p:spPr>
            </p:pic>
            <p:pic>
              <p:nvPicPr>
                <p:cNvPr id="1439" name="Picture 2" descr="ServiceNow Logo, symbol, meaning, history, PNG, brand">
                  <a:extLst>
                    <a:ext uri="{FF2B5EF4-FFF2-40B4-BE49-F238E27FC236}">
                      <a16:creationId xmlns:a16="http://schemas.microsoft.com/office/drawing/2014/main" id="{B7E95F26-53EC-65FF-6C75-70F80186D344}"/>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l="17855" r="17855"/>
                <a:stretch/>
              </p:blipFill>
              <p:spPr bwMode="auto">
                <a:xfrm>
                  <a:off x="10524685" y="4670447"/>
                  <a:ext cx="277611" cy="242893"/>
                </a:xfrm>
                <a:prstGeom prst="rect">
                  <a:avLst/>
                </a:prstGeom>
                <a:noFill/>
                <a:extLst>
                  <a:ext uri="{909E8E84-426E-40DD-AFC4-6F175D3DCCD1}">
                    <a14:hiddenFill xmlns:a14="http://schemas.microsoft.com/office/drawing/2010/main">
                      <a:solidFill>
                        <a:srgbClr val="FFFFFF"/>
                      </a:solidFill>
                    </a14:hiddenFill>
                  </a:ext>
                </a:extLst>
              </p:spPr>
            </p:pic>
            <p:pic>
              <p:nvPicPr>
                <p:cNvPr id="1440" name="Picture 1439">
                  <a:extLst>
                    <a:ext uri="{FF2B5EF4-FFF2-40B4-BE49-F238E27FC236}">
                      <a16:creationId xmlns:a16="http://schemas.microsoft.com/office/drawing/2014/main" id="{7328339B-A298-3856-5215-44A7BE0F07E6}"/>
                    </a:ext>
                  </a:extLst>
                </p:cNvPr>
                <p:cNvPicPr>
                  <a:picLocks noChangeAspect="1"/>
                </p:cNvPicPr>
                <p:nvPr/>
              </p:nvPicPr>
              <p:blipFill>
                <a:blip r:embed="rId26">
                  <a:extLst>
                    <a:ext uri="{BEBA8EAE-BF5A-486C-A8C5-ECC9F3942E4B}">
                      <a14:imgProps xmlns:a14="http://schemas.microsoft.com/office/drawing/2010/main">
                        <a14:imgLayer r:embed="rId27">
                          <a14:imgEffect>
                            <a14:brightnessContrast bright="-100000"/>
                          </a14:imgEffect>
                        </a14:imgLayer>
                      </a14:imgProps>
                    </a:ext>
                  </a:extLst>
                </a:blip>
                <a:srcRect l="3279" t="3279" r="3279" b="3279"/>
                <a:stretch/>
              </p:blipFill>
              <p:spPr>
                <a:xfrm>
                  <a:off x="10872486" y="4678411"/>
                  <a:ext cx="226964" cy="226964"/>
                </a:xfrm>
                <a:prstGeom prst="rect">
                  <a:avLst/>
                </a:prstGeom>
              </p:spPr>
            </p:pic>
            <p:pic>
              <p:nvPicPr>
                <p:cNvPr id="17" name="Graphic 16">
                  <a:extLst>
                    <a:ext uri="{FF2B5EF4-FFF2-40B4-BE49-F238E27FC236}">
                      <a16:creationId xmlns:a16="http://schemas.microsoft.com/office/drawing/2014/main" id="{DAC710C0-F69E-0F82-F1DA-92F5DBE5BD7D}"/>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10109411" y="4692950"/>
                  <a:ext cx="400169" cy="197886"/>
                </a:xfrm>
                <a:prstGeom prst="rect">
                  <a:avLst/>
                </a:prstGeom>
              </p:spPr>
            </p:pic>
          </p:grpSp>
        </p:grpSp>
        <p:grpSp>
          <p:nvGrpSpPr>
            <p:cNvPr id="1423" name="Group 1422">
              <a:extLst>
                <a:ext uri="{FF2B5EF4-FFF2-40B4-BE49-F238E27FC236}">
                  <a16:creationId xmlns:a16="http://schemas.microsoft.com/office/drawing/2014/main" id="{71EA5C5E-C510-9AC0-F536-C32B0B3798D5}"/>
                </a:ext>
              </a:extLst>
            </p:cNvPr>
            <p:cNvGrpSpPr/>
            <p:nvPr/>
          </p:nvGrpSpPr>
          <p:grpSpPr>
            <a:xfrm>
              <a:off x="9488113" y="5162555"/>
              <a:ext cx="1701533" cy="816865"/>
              <a:chOff x="9488113" y="5162555"/>
              <a:chExt cx="1701533" cy="816865"/>
            </a:xfrm>
          </p:grpSpPr>
          <p:sp>
            <p:nvSpPr>
              <p:cNvPr id="523" name="TextBox 522">
                <a:extLst>
                  <a:ext uri="{FF2B5EF4-FFF2-40B4-BE49-F238E27FC236}">
                    <a16:creationId xmlns:a16="http://schemas.microsoft.com/office/drawing/2014/main" id="{F73B6696-1079-2690-8378-2F121FEBA7B5}"/>
                  </a:ext>
                </a:extLst>
              </p:cNvPr>
              <p:cNvSpPr txBox="1"/>
              <p:nvPr/>
            </p:nvSpPr>
            <p:spPr>
              <a:xfrm>
                <a:off x="9692701" y="5763976"/>
                <a:ext cx="129235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40" normalizeH="0" baseline="0" noProof="0">
                    <a:ln w="3175">
                      <a:noFill/>
                    </a:ln>
                    <a:gradFill>
                      <a:gsLst>
                        <a:gs pos="0">
                          <a:srgbClr val="0360DB"/>
                        </a:gs>
                        <a:gs pos="80000">
                          <a:srgbClr val="207EFC"/>
                        </a:gs>
                      </a:gsLst>
                      <a:path path="circle">
                        <a:fillToRect l="100000" t="100000"/>
                      </a:path>
                    </a:gradFill>
                    <a:effectLst/>
                    <a:uLnTx/>
                    <a:uFillTx/>
                    <a:latin typeface="Segoe Sans Display Semibold"/>
                    <a:ea typeface="+mn-ea"/>
                    <a:cs typeface="Segoe UI" panose="020B0502040204020203" pitchFamily="34" charset="0"/>
                  </a:rPr>
                  <a:t>On-premises</a:t>
                </a:r>
              </a:p>
            </p:txBody>
          </p:sp>
          <p:grpSp>
            <p:nvGrpSpPr>
              <p:cNvPr id="1420" name="Group 1419">
                <a:extLst>
                  <a:ext uri="{FF2B5EF4-FFF2-40B4-BE49-F238E27FC236}">
                    <a16:creationId xmlns:a16="http://schemas.microsoft.com/office/drawing/2014/main" id="{54BC222A-1488-58DE-01CD-B84511DE071A}"/>
                  </a:ext>
                </a:extLst>
              </p:cNvPr>
              <p:cNvGrpSpPr/>
              <p:nvPr/>
            </p:nvGrpSpPr>
            <p:grpSpPr>
              <a:xfrm>
                <a:off x="9488113" y="5162555"/>
                <a:ext cx="1701533" cy="542429"/>
                <a:chOff x="9263706" y="5104061"/>
                <a:chExt cx="1473849" cy="469846"/>
              </a:xfrm>
            </p:grpSpPr>
            <p:grpSp>
              <p:nvGrpSpPr>
                <p:cNvPr id="1419" name="Group 1418">
                  <a:extLst>
                    <a:ext uri="{FF2B5EF4-FFF2-40B4-BE49-F238E27FC236}">
                      <a16:creationId xmlns:a16="http://schemas.microsoft.com/office/drawing/2014/main" id="{01CC743A-02D1-19BB-BC63-8AAA7AFEEF1C}"/>
                    </a:ext>
                  </a:extLst>
                </p:cNvPr>
                <p:cNvGrpSpPr/>
                <p:nvPr/>
              </p:nvGrpSpPr>
              <p:grpSpPr>
                <a:xfrm>
                  <a:off x="9263706" y="5104061"/>
                  <a:ext cx="1473849" cy="253346"/>
                  <a:chOff x="9263706" y="5104061"/>
                  <a:chExt cx="1473849" cy="253346"/>
                </a:xfrm>
              </p:grpSpPr>
              <p:pic>
                <p:nvPicPr>
                  <p:cNvPr id="547" name="Graphic 546">
                    <a:extLst>
                      <a:ext uri="{FF2B5EF4-FFF2-40B4-BE49-F238E27FC236}">
                        <a16:creationId xmlns:a16="http://schemas.microsoft.com/office/drawing/2014/main" id="{CB829D91-1E3E-D6B0-9252-D459C90B8BA7}"/>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9263706" y="5157222"/>
                    <a:ext cx="1042344" cy="147024"/>
                  </a:xfrm>
                  <a:prstGeom prst="rect">
                    <a:avLst/>
                  </a:prstGeom>
                </p:spPr>
              </p:pic>
              <p:pic>
                <p:nvPicPr>
                  <p:cNvPr id="1411" name="Picture 1410" descr="A blue square with white arrow&#10;&#10;AI-generated content may be incorrect.">
                    <a:extLst>
                      <a:ext uri="{FF2B5EF4-FFF2-40B4-BE49-F238E27FC236}">
                        <a16:creationId xmlns:a16="http://schemas.microsoft.com/office/drawing/2014/main" id="{8F6B9987-C2F0-2DDB-052F-6871AE4F8FFF}"/>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10484209" y="5104061"/>
                    <a:ext cx="253346" cy="253346"/>
                  </a:xfrm>
                  <a:prstGeom prst="rect">
                    <a:avLst/>
                  </a:prstGeom>
                </p:spPr>
              </p:pic>
            </p:grpSp>
            <p:grpSp>
              <p:nvGrpSpPr>
                <p:cNvPr id="1418" name="Group 1417">
                  <a:extLst>
                    <a:ext uri="{FF2B5EF4-FFF2-40B4-BE49-F238E27FC236}">
                      <a16:creationId xmlns:a16="http://schemas.microsoft.com/office/drawing/2014/main" id="{E053D249-6ABA-4851-A0C4-17C5871A0612}"/>
                    </a:ext>
                  </a:extLst>
                </p:cNvPr>
                <p:cNvGrpSpPr/>
                <p:nvPr/>
              </p:nvGrpSpPr>
              <p:grpSpPr>
                <a:xfrm>
                  <a:off x="9266905" y="5391027"/>
                  <a:ext cx="1467450" cy="182880"/>
                  <a:chOff x="9270105" y="5391027"/>
                  <a:chExt cx="1467450" cy="182880"/>
                </a:xfrm>
              </p:grpSpPr>
              <p:pic>
                <p:nvPicPr>
                  <p:cNvPr id="24" name="Graphic 23">
                    <a:extLst>
                      <a:ext uri="{FF2B5EF4-FFF2-40B4-BE49-F238E27FC236}">
                        <a16:creationId xmlns:a16="http://schemas.microsoft.com/office/drawing/2014/main" id="{09CF92AA-EF93-6074-9F82-42437CBD6D9D}"/>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9270105" y="5441069"/>
                    <a:ext cx="637532" cy="82797"/>
                  </a:xfrm>
                  <a:prstGeom prst="rect">
                    <a:avLst/>
                  </a:prstGeom>
                </p:spPr>
              </p:pic>
              <p:pic>
                <p:nvPicPr>
                  <p:cNvPr id="1409" name="Picture 1408" descr="A cartoon penguin with yellow feet&#10;&#10;AI-generated content may be incorrect.">
                    <a:extLst>
                      <a:ext uri="{FF2B5EF4-FFF2-40B4-BE49-F238E27FC236}">
                        <a16:creationId xmlns:a16="http://schemas.microsoft.com/office/drawing/2014/main" id="{E2F37CFE-52BE-3E93-0969-69BE3C6A7888}"/>
                      </a:ext>
                    </a:extLst>
                  </p:cNvPr>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10059474" y="5391027"/>
                    <a:ext cx="154329" cy="182880"/>
                  </a:xfrm>
                  <a:prstGeom prst="rect">
                    <a:avLst/>
                  </a:prstGeom>
                </p:spPr>
              </p:pic>
              <p:pic>
                <p:nvPicPr>
                  <p:cNvPr id="1413" name="Graphic 1412">
                    <a:extLst>
                      <a:ext uri="{FF2B5EF4-FFF2-40B4-BE49-F238E27FC236}">
                        <a16:creationId xmlns:a16="http://schemas.microsoft.com/office/drawing/2014/main" id="{CFD3AB5D-7A2F-1515-F321-6F25AAFC8AA6}"/>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10365639" y="5412690"/>
                    <a:ext cx="371916" cy="139554"/>
                  </a:xfrm>
                  <a:prstGeom prst="rect">
                    <a:avLst/>
                  </a:prstGeom>
                </p:spPr>
              </p:pic>
            </p:grpSp>
          </p:grpSp>
        </p:grpSp>
      </p:grpSp>
    </p:spTree>
    <p:extLst>
      <p:ext uri="{BB962C8B-B14F-4D97-AF65-F5344CB8AC3E}">
        <p14:creationId xmlns:p14="http://schemas.microsoft.com/office/powerpoint/2010/main" val="119551937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93"/>
                                        </p:tgtEl>
                                        <p:attrNameLst>
                                          <p:attrName>style.visibility</p:attrName>
                                        </p:attrNameLst>
                                      </p:cBhvr>
                                      <p:to>
                                        <p:strVal val="visible"/>
                                      </p:to>
                                    </p:set>
                                    <p:animEffect transition="in" filter="fade">
                                      <p:cBhvr>
                                        <p:cTn id="7" dur="500"/>
                                        <p:tgtEl>
                                          <p:spTgt spid="793"/>
                                        </p:tgtEl>
                                      </p:cBhvr>
                                    </p:animEffect>
                                  </p:childTnLst>
                                </p:cTn>
                              </p:par>
                              <p:par>
                                <p:cTn id="8" presetID="42" presetClass="path" presetSubtype="0" decel="100000" fill="hold" grpId="1" nodeType="withEffect">
                                  <p:stCondLst>
                                    <p:cond delay="0"/>
                                  </p:stCondLst>
                                  <p:childTnLst>
                                    <p:animMotion origin="layout" path="M 0 4.81481E-6 L 0 -0.03288 " pathEditMode="relative" rAng="0" ptsTypes="AA">
                                      <p:cBhvr>
                                        <p:cTn id="9" dur="700" spd="-100000" fill="hold"/>
                                        <p:tgtEl>
                                          <p:spTgt spid="793"/>
                                        </p:tgtEl>
                                        <p:attrNameLst>
                                          <p:attrName>ppt_x</p:attrName>
                                          <p:attrName>ppt_y</p:attrName>
                                        </p:attrNameLst>
                                      </p:cBhvr>
                                      <p:rCtr x="0" y="-1644"/>
                                    </p:animMotion>
                                  </p:childTnLst>
                                </p:cTn>
                              </p:par>
                              <p:par>
                                <p:cTn id="10" presetID="10" presetClass="entr" presetSubtype="0" fill="hold" grpId="0" nodeType="withEffect">
                                  <p:stCondLst>
                                    <p:cond delay="0"/>
                                  </p:stCondLst>
                                  <p:childTnLst>
                                    <p:set>
                                      <p:cBhvr>
                                        <p:cTn id="11" dur="1" fill="hold">
                                          <p:stCondLst>
                                            <p:cond delay="0"/>
                                          </p:stCondLst>
                                        </p:cTn>
                                        <p:tgtEl>
                                          <p:spTgt spid="794"/>
                                        </p:tgtEl>
                                        <p:attrNameLst>
                                          <p:attrName>style.visibility</p:attrName>
                                        </p:attrNameLst>
                                      </p:cBhvr>
                                      <p:to>
                                        <p:strVal val="visible"/>
                                      </p:to>
                                    </p:set>
                                    <p:animEffect transition="in" filter="fade">
                                      <p:cBhvr>
                                        <p:cTn id="12" dur="500"/>
                                        <p:tgtEl>
                                          <p:spTgt spid="794"/>
                                        </p:tgtEl>
                                      </p:cBhvr>
                                    </p:animEffect>
                                  </p:childTnLst>
                                </p:cTn>
                              </p:par>
                              <p:par>
                                <p:cTn id="13" presetID="42" presetClass="path" presetSubtype="0" decel="100000" fill="hold" grpId="1" nodeType="withEffect">
                                  <p:stCondLst>
                                    <p:cond delay="0"/>
                                  </p:stCondLst>
                                  <p:childTnLst>
                                    <p:animMotion origin="layout" path="M 0 3.7037E-6 L 0 -0.03287 " pathEditMode="relative" rAng="0" ptsTypes="AA">
                                      <p:cBhvr>
                                        <p:cTn id="14" dur="700" spd="-100000" fill="hold"/>
                                        <p:tgtEl>
                                          <p:spTgt spid="794"/>
                                        </p:tgtEl>
                                        <p:attrNameLst>
                                          <p:attrName>ppt_x</p:attrName>
                                          <p:attrName>ppt_y</p:attrName>
                                        </p:attrNameLst>
                                      </p:cBhvr>
                                      <p:rCtr x="0" y="-1644"/>
                                    </p:animMotion>
                                  </p:childTnLst>
                                </p:cTn>
                              </p:par>
                              <p:par>
                                <p:cTn id="15" presetID="10" presetClass="entr" presetSubtype="0" fill="hold" grpId="0" nodeType="withEffect">
                                  <p:stCondLst>
                                    <p:cond delay="0"/>
                                  </p:stCondLst>
                                  <p:childTnLst>
                                    <p:set>
                                      <p:cBhvr>
                                        <p:cTn id="16" dur="1" fill="hold">
                                          <p:stCondLst>
                                            <p:cond delay="0"/>
                                          </p:stCondLst>
                                        </p:cTn>
                                        <p:tgtEl>
                                          <p:spTgt spid="792"/>
                                        </p:tgtEl>
                                        <p:attrNameLst>
                                          <p:attrName>style.visibility</p:attrName>
                                        </p:attrNameLst>
                                      </p:cBhvr>
                                      <p:to>
                                        <p:strVal val="visible"/>
                                      </p:to>
                                    </p:set>
                                    <p:animEffect transition="in" filter="fade">
                                      <p:cBhvr>
                                        <p:cTn id="17" dur="500"/>
                                        <p:tgtEl>
                                          <p:spTgt spid="792"/>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27"/>
                                        </p:tgtEl>
                                        <p:attrNameLst>
                                          <p:attrName>style.visibility</p:attrName>
                                        </p:attrNameLst>
                                      </p:cBhvr>
                                      <p:to>
                                        <p:strVal val="visible"/>
                                      </p:to>
                                    </p:set>
                                    <p:animEffect transition="in" filter="fade">
                                      <p:cBhvr>
                                        <p:cTn id="20" dur="500"/>
                                        <p:tgtEl>
                                          <p:spTgt spid="27"/>
                                        </p:tgtEl>
                                      </p:cBhvr>
                                    </p:animEffect>
                                  </p:childTnLst>
                                </p:cTn>
                              </p:par>
                              <p:par>
                                <p:cTn id="21" presetID="10" presetClass="entr" presetSubtype="0" fill="hold" grpId="0" nodeType="withEffect">
                                  <p:stCondLst>
                                    <p:cond delay="750"/>
                                  </p:stCondLst>
                                  <p:childTnLst>
                                    <p:set>
                                      <p:cBhvr>
                                        <p:cTn id="22" dur="1" fill="hold">
                                          <p:stCondLst>
                                            <p:cond delay="0"/>
                                          </p:stCondLst>
                                        </p:cTn>
                                        <p:tgtEl>
                                          <p:spTgt spid="29"/>
                                        </p:tgtEl>
                                        <p:attrNameLst>
                                          <p:attrName>style.visibility</p:attrName>
                                        </p:attrNameLst>
                                      </p:cBhvr>
                                      <p:to>
                                        <p:strVal val="visible"/>
                                      </p:to>
                                    </p:set>
                                    <p:animEffect transition="in" filter="fade">
                                      <p:cBhvr>
                                        <p:cTn id="23" dur="500"/>
                                        <p:tgtEl>
                                          <p:spTgt spid="29"/>
                                        </p:tgtEl>
                                      </p:cBhvr>
                                    </p:animEffect>
                                  </p:childTnLst>
                                </p:cTn>
                              </p:par>
                              <p:par>
                                <p:cTn id="24" presetID="10" presetClass="entr" presetSubtype="0" fill="hold" grpId="0" nodeType="withEffect">
                                  <p:stCondLst>
                                    <p:cond delay="1000"/>
                                  </p:stCondLst>
                                  <p:childTnLst>
                                    <p:set>
                                      <p:cBhvr>
                                        <p:cTn id="25" dur="1" fill="hold">
                                          <p:stCondLst>
                                            <p:cond delay="0"/>
                                          </p:stCondLst>
                                        </p:cTn>
                                        <p:tgtEl>
                                          <p:spTgt spid="46"/>
                                        </p:tgtEl>
                                        <p:attrNameLst>
                                          <p:attrName>style.visibility</p:attrName>
                                        </p:attrNameLst>
                                      </p:cBhvr>
                                      <p:to>
                                        <p:strVal val="visible"/>
                                      </p:to>
                                    </p:set>
                                    <p:animEffect transition="in" filter="fade">
                                      <p:cBhvr>
                                        <p:cTn id="26" dur="500"/>
                                        <p:tgtEl>
                                          <p:spTgt spid="46"/>
                                        </p:tgtEl>
                                      </p:cBhvr>
                                    </p:animEffect>
                                  </p:childTnLst>
                                </p:cTn>
                              </p:par>
                              <p:par>
                                <p:cTn id="27" presetID="10" presetClass="entr" presetSubtype="0" fill="hold" grpId="0" nodeType="withEffect">
                                  <p:stCondLst>
                                    <p:cond delay="1250"/>
                                  </p:stCondLst>
                                  <p:childTnLst>
                                    <p:set>
                                      <p:cBhvr>
                                        <p:cTn id="28" dur="1" fill="hold">
                                          <p:stCondLst>
                                            <p:cond delay="0"/>
                                          </p:stCondLst>
                                        </p:cTn>
                                        <p:tgtEl>
                                          <p:spTgt spid="49"/>
                                        </p:tgtEl>
                                        <p:attrNameLst>
                                          <p:attrName>style.visibility</p:attrName>
                                        </p:attrNameLst>
                                      </p:cBhvr>
                                      <p:to>
                                        <p:strVal val="visible"/>
                                      </p:to>
                                    </p:set>
                                    <p:animEffect transition="in" filter="fade">
                                      <p:cBhvr>
                                        <p:cTn id="29"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2" grpId="0" animBg="1"/>
      <p:bldP spid="793" grpId="0"/>
      <p:bldP spid="793" grpId="1"/>
      <p:bldP spid="794" grpId="0"/>
      <p:bldP spid="794" grpId="1"/>
      <p:bldP spid="27" grpId="0"/>
      <p:bldP spid="29" grpId="0"/>
      <p:bldP spid="46" grpId="0"/>
      <p:bldP spid="49"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Rounded Corners 20">
            <a:extLst>
              <a:ext uri="{FF2B5EF4-FFF2-40B4-BE49-F238E27FC236}">
                <a16:creationId xmlns:a16="http://schemas.microsoft.com/office/drawing/2014/main" id="{19C0CD77-9668-2403-7F47-1FED46FD1AFC}"/>
              </a:ext>
              <a:ext uri="{C183D7F6-B498-43B3-948B-1728B52AA6E4}">
                <adec:decorative xmlns:adec="http://schemas.microsoft.com/office/drawing/2017/decorative" val="1"/>
              </a:ext>
            </a:extLst>
          </p:cNvPr>
          <p:cNvSpPr>
            <a:spLocks/>
          </p:cNvSpPr>
          <p:nvPr/>
        </p:nvSpPr>
        <p:spPr bwMode="auto">
          <a:xfrm>
            <a:off x="560716" y="1299403"/>
            <a:ext cx="11070568" cy="5143342"/>
          </a:xfrm>
          <a:prstGeom prst="roundRect">
            <a:avLst>
              <a:gd name="adj" fmla="val 1798"/>
            </a:avLst>
          </a:prstGeom>
          <a:solidFill>
            <a:schemeClr val="bg1"/>
          </a:solidFill>
          <a:ln>
            <a:noFill/>
            <a:headEnd type="none" w="med" len="med"/>
            <a:tailEnd type="none" w="med" len="med"/>
          </a:ln>
          <a:effectLst>
            <a:innerShdw blurRad="508000" dist="63500" dir="16200000">
              <a:srgbClr val="B1B3B3">
                <a:alpha val="25000"/>
              </a:srgb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20040" rIns="91440" bIns="91440" numCol="1" spcCol="0" rtlCol="0" fromWordArt="0" anchor="t" anchorCtr="0" forceAA="0" compatLnSpc="1">
            <a:prstTxWarp prst="textNoShape">
              <a:avLst/>
            </a:prstTxWarp>
            <a:noAutofit/>
          </a:bodyPr>
          <a:lstStyle/>
          <a:p>
            <a:pPr algn="ctr" defTabSz="932754">
              <a:spcAft>
                <a:spcPts val="300"/>
              </a:spcAft>
            </a:pPr>
            <a:endParaRPr lang="en-US" sz="1400" kern="0" spc="-10">
              <a:solidFill>
                <a:srgbClr val="8DC8E8"/>
              </a:solidFill>
              <a:latin typeface="Segoe Sans Display Semibold" pitchFamily="2" charset="0"/>
              <a:cs typeface="Segoe Sans Display Semibold" pitchFamily="2" charset="0"/>
            </a:endParaRPr>
          </a:p>
        </p:txBody>
      </p:sp>
      <p:sp>
        <p:nvSpPr>
          <p:cNvPr id="2" name="Title 1">
            <a:extLst>
              <a:ext uri="{FF2B5EF4-FFF2-40B4-BE49-F238E27FC236}">
                <a16:creationId xmlns:a16="http://schemas.microsoft.com/office/drawing/2014/main" id="{23675067-CF0D-E9AE-5BA4-858ABB336A66}"/>
              </a:ext>
            </a:extLst>
          </p:cNvPr>
          <p:cNvSpPr>
            <a:spLocks noGrp="1"/>
          </p:cNvSpPr>
          <p:nvPr>
            <p:ph type="title" idx="4294967295"/>
          </p:nvPr>
        </p:nvSpPr>
        <p:spPr>
          <a:xfrm>
            <a:off x="0" y="454025"/>
            <a:ext cx="11017250" cy="557213"/>
          </a:xfrm>
        </p:spPr>
        <p:txBody>
          <a:bodyPr>
            <a:noAutofit/>
          </a:bodyPr>
          <a:lstStyle/>
          <a:p>
            <a:r>
              <a:rPr lang="en-US" sz="3200">
                <a:latin typeface="Segoe Sans Display Semibold" pitchFamily="2" charset="0"/>
                <a:cs typeface="Segoe Sans Display Semibold" pitchFamily="2" charset="0"/>
              </a:rPr>
              <a:t>Microsoft Entra Suite Partner Ecosystem</a:t>
            </a:r>
          </a:p>
        </p:txBody>
      </p:sp>
      <p:pic>
        <p:nvPicPr>
          <p:cNvPr id="1028" name="Picture 4" descr="Explore Tata Consultancy Services Ltd ESG score, report and breaking news">
            <a:extLst>
              <a:ext uri="{FF2B5EF4-FFF2-40B4-BE49-F238E27FC236}">
                <a16:creationId xmlns:a16="http://schemas.microsoft.com/office/drawing/2014/main" id="{95860895-F640-9312-0D96-19372D95C6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874785" y="9339479"/>
            <a:ext cx="57371" cy="57371"/>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a:extLst>
              <a:ext uri="{FF2B5EF4-FFF2-40B4-BE49-F238E27FC236}">
                <a16:creationId xmlns:a16="http://schemas.microsoft.com/office/drawing/2014/main" id="{F6A15689-7705-632A-E770-08CEADE3105C}"/>
              </a:ext>
            </a:extLst>
          </p:cNvPr>
          <p:cNvGrpSpPr/>
          <p:nvPr/>
        </p:nvGrpSpPr>
        <p:grpSpPr>
          <a:xfrm>
            <a:off x="1295853" y="1475877"/>
            <a:ext cx="9600293" cy="4750792"/>
            <a:chOff x="1295853" y="1475877"/>
            <a:chExt cx="9600293" cy="4750792"/>
          </a:xfrm>
        </p:grpSpPr>
        <p:grpSp>
          <p:nvGrpSpPr>
            <p:cNvPr id="22" name="Group 21">
              <a:extLst>
                <a:ext uri="{FF2B5EF4-FFF2-40B4-BE49-F238E27FC236}">
                  <a16:creationId xmlns:a16="http://schemas.microsoft.com/office/drawing/2014/main" id="{5D2B60DB-74A4-9477-3863-6BEB79E05B85}"/>
                </a:ext>
                <a:ext uri="{C183D7F6-B498-43B3-948B-1728B52AA6E4}">
                  <adec:decorative xmlns:adec="http://schemas.microsoft.com/office/drawing/2017/decorative" val="1"/>
                </a:ext>
              </a:extLst>
            </p:cNvPr>
            <p:cNvGrpSpPr/>
            <p:nvPr/>
          </p:nvGrpSpPr>
          <p:grpSpPr>
            <a:xfrm>
              <a:off x="1295853" y="1475877"/>
              <a:ext cx="9600293" cy="4750792"/>
              <a:chOff x="1326867" y="1803353"/>
              <a:chExt cx="9600293" cy="4750792"/>
            </a:xfrm>
          </p:grpSpPr>
          <p:pic>
            <p:nvPicPr>
              <p:cNvPr id="23" name="Graphic 22">
                <a:extLst>
                  <a:ext uri="{FF2B5EF4-FFF2-40B4-BE49-F238E27FC236}">
                    <a16:creationId xmlns:a16="http://schemas.microsoft.com/office/drawing/2014/main" id="{E73D7088-B36E-6968-5712-C7DB2B3CA85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26867" y="1953651"/>
                <a:ext cx="1172102" cy="309205"/>
              </a:xfrm>
              <a:prstGeom prst="rect">
                <a:avLst/>
              </a:prstGeom>
            </p:spPr>
          </p:pic>
          <p:pic>
            <p:nvPicPr>
              <p:cNvPr id="24" name="Graphic 23">
                <a:extLst>
                  <a:ext uri="{FF2B5EF4-FFF2-40B4-BE49-F238E27FC236}">
                    <a16:creationId xmlns:a16="http://schemas.microsoft.com/office/drawing/2014/main" id="{E580B2C8-2D26-EEC6-A277-DF5102EBECE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281250" y="1803353"/>
                <a:ext cx="609800" cy="609800"/>
              </a:xfrm>
              <a:prstGeom prst="rect">
                <a:avLst/>
              </a:prstGeom>
            </p:spPr>
          </p:pic>
          <p:pic>
            <p:nvPicPr>
              <p:cNvPr id="25" name="Picture 24">
                <a:extLst>
                  <a:ext uri="{FF2B5EF4-FFF2-40B4-BE49-F238E27FC236}">
                    <a16:creationId xmlns:a16="http://schemas.microsoft.com/office/drawing/2014/main" id="{D4F422B3-79BF-2E9E-693B-77F470A9A16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745675" y="2031197"/>
                <a:ext cx="1027416" cy="154112"/>
              </a:xfrm>
              <a:prstGeom prst="rect">
                <a:avLst/>
              </a:prstGeom>
            </p:spPr>
          </p:pic>
          <p:pic>
            <p:nvPicPr>
              <p:cNvPr id="26" name="Picture 2" descr="Sustainable, AI &amp; Cloud Business Services | Avanade">
                <a:extLst>
                  <a:ext uri="{FF2B5EF4-FFF2-40B4-BE49-F238E27FC236}">
                    <a16:creationId xmlns:a16="http://schemas.microsoft.com/office/drawing/2014/main" id="{C623E3EB-FC04-CB36-6BA3-1523B7BD1DC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819143" y="1819486"/>
                <a:ext cx="1573414" cy="577534"/>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4" descr="Secure and Modern Endpoint Management">
                <a:extLst>
                  <a:ext uri="{FF2B5EF4-FFF2-40B4-BE49-F238E27FC236}">
                    <a16:creationId xmlns:a16="http://schemas.microsoft.com/office/drawing/2014/main" id="{49D1ADC4-5B37-1572-1DB2-8D918273394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631005" y="1966149"/>
                <a:ext cx="1296155" cy="284209"/>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a:extLst>
                  <a:ext uri="{FF2B5EF4-FFF2-40B4-BE49-F238E27FC236}">
                    <a16:creationId xmlns:a16="http://schemas.microsoft.com/office/drawing/2014/main" id="{F01C770F-D4D9-ECB6-4ADA-0FA7131559F5}"/>
                  </a:ext>
                </a:extLst>
              </p:cNvPr>
              <p:cNvPicPr>
                <a:picLocks noChangeAspect="1"/>
              </p:cNvPicPr>
              <p:nvPr/>
            </p:nvPicPr>
            <p:blipFill>
              <a:blip r:embed="rId11"/>
              <a:stretch>
                <a:fillRect/>
              </a:stretch>
            </p:blipFill>
            <p:spPr>
              <a:xfrm>
                <a:off x="1483182" y="2646579"/>
                <a:ext cx="859473" cy="331395"/>
              </a:xfrm>
              <a:prstGeom prst="rect">
                <a:avLst/>
              </a:prstGeom>
            </p:spPr>
          </p:pic>
          <p:pic>
            <p:nvPicPr>
              <p:cNvPr id="29" name="Picture 8" descr="Campana &amp; Schott USA | LinkedIn">
                <a:extLst>
                  <a:ext uri="{FF2B5EF4-FFF2-40B4-BE49-F238E27FC236}">
                    <a16:creationId xmlns:a16="http://schemas.microsoft.com/office/drawing/2014/main" id="{F91F0338-02B4-5CAE-287B-1F4CCA197B2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354829" y="2557361"/>
                <a:ext cx="462643" cy="462643"/>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0" descr="Condatis Archives - HackerX">
                <a:extLst>
                  <a:ext uri="{FF2B5EF4-FFF2-40B4-BE49-F238E27FC236}">
                    <a16:creationId xmlns:a16="http://schemas.microsoft.com/office/drawing/2014/main" id="{7A9259C6-DA0B-0FD5-414A-3FD1858E0F89}"/>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590592" y="2641916"/>
                <a:ext cx="1337582" cy="293534"/>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0" descr="A green and grey logo&#10;&#10;AI-generated content may be incorrect.">
                <a:extLst>
                  <a:ext uri="{FF2B5EF4-FFF2-40B4-BE49-F238E27FC236}">
                    <a16:creationId xmlns:a16="http://schemas.microsoft.com/office/drawing/2014/main" id="{9E47D4D1-F773-CF2C-22CA-CC0224FF5C04}"/>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452217" y="1980976"/>
                <a:ext cx="960799" cy="254554"/>
              </a:xfrm>
              <a:prstGeom prst="rect">
                <a:avLst/>
              </a:prstGeom>
            </p:spPr>
          </p:pic>
          <p:pic>
            <p:nvPicPr>
              <p:cNvPr id="32" name="Picture 12" descr="Cyclotron, Inc. Reports Substantial YoY Growth in Revenue, Notching A Win  for Its Phenomenal Security Services">
                <a:extLst>
                  <a:ext uri="{FF2B5EF4-FFF2-40B4-BE49-F238E27FC236}">
                    <a16:creationId xmlns:a16="http://schemas.microsoft.com/office/drawing/2014/main" id="{26A38465-660E-AA08-9836-66396228B52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428701" y="2673268"/>
                <a:ext cx="1007830" cy="230830"/>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a:extLst>
                  <a:ext uri="{FF2B5EF4-FFF2-40B4-BE49-F238E27FC236}">
                    <a16:creationId xmlns:a16="http://schemas.microsoft.com/office/drawing/2014/main" id="{598D66C7-A926-C511-0B70-1AE5B6E84805}"/>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229477" y="2583442"/>
                <a:ext cx="752746" cy="410482"/>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16" descr="Ernst &amp; Young - Wikipedia">
                <a:extLst>
                  <a:ext uri="{FF2B5EF4-FFF2-40B4-BE49-F238E27FC236}">
                    <a16:creationId xmlns:a16="http://schemas.microsoft.com/office/drawing/2014/main" id="{79AE0297-7E3B-E32C-042D-75DCE298C542}"/>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0026466" y="2535878"/>
                <a:ext cx="505233" cy="510313"/>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18" descr="glueckkanja AG - CyberCompare">
                <a:extLst>
                  <a:ext uri="{FF2B5EF4-FFF2-40B4-BE49-F238E27FC236}">
                    <a16:creationId xmlns:a16="http://schemas.microsoft.com/office/drawing/2014/main" id="{FE3788CE-810E-C64E-0063-2CF25CDE1B9A}"/>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335068" y="3414568"/>
                <a:ext cx="1155700" cy="208026"/>
              </a:xfrm>
              <a:prstGeom prst="rect">
                <a:avLst/>
              </a:prstGeom>
              <a:noFill/>
              <a:extLst>
                <a:ext uri="{909E8E84-426E-40DD-AFC4-6F175D3DCCD1}">
                  <a14:hiddenFill xmlns:a14="http://schemas.microsoft.com/office/drawing/2010/main">
                    <a:solidFill>
                      <a:srgbClr val="FFFFFF"/>
                    </a:solidFill>
                  </a14:hiddenFill>
                </a:ext>
              </a:extLst>
            </p:spPr>
          </p:pic>
          <p:pic>
            <p:nvPicPr>
              <p:cNvPr id="36" name="Graphic 35">
                <a:extLst>
                  <a:ext uri="{FF2B5EF4-FFF2-40B4-BE49-F238E27FC236}">
                    <a16:creationId xmlns:a16="http://schemas.microsoft.com/office/drawing/2014/main" id="{EB254588-FB46-2960-8BF8-17C2487BA1B9}"/>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3215923" y="3356040"/>
                <a:ext cx="740455" cy="277842"/>
              </a:xfrm>
              <a:prstGeom prst="rect">
                <a:avLst/>
              </a:prstGeom>
            </p:spPr>
          </p:pic>
          <p:pic>
            <p:nvPicPr>
              <p:cNvPr id="37" name="Picture 36">
                <a:extLst>
                  <a:ext uri="{FF2B5EF4-FFF2-40B4-BE49-F238E27FC236}">
                    <a16:creationId xmlns:a16="http://schemas.microsoft.com/office/drawing/2014/main" id="{CFEE9CF0-4E30-B3EC-F079-20A92B7642B8}"/>
                  </a:ext>
                </a:extLst>
              </p:cNvPr>
              <p:cNvPicPr>
                <a:picLocks noChangeAspect="1"/>
              </p:cNvPicPr>
              <p:nvPr/>
            </p:nvPicPr>
            <p:blipFill>
              <a:blip r:embed="rId21"/>
              <a:stretch>
                <a:fillRect/>
              </a:stretch>
            </p:blipFill>
            <p:spPr>
              <a:xfrm>
                <a:off x="4633994" y="3191640"/>
                <a:ext cx="1250778" cy="553998"/>
              </a:xfrm>
              <a:prstGeom prst="rect">
                <a:avLst/>
              </a:prstGeom>
            </p:spPr>
          </p:pic>
          <p:pic>
            <p:nvPicPr>
              <p:cNvPr id="38" name="Picture 20" descr="InSpark - Cognni">
                <a:extLst>
                  <a:ext uri="{FF2B5EF4-FFF2-40B4-BE49-F238E27FC236}">
                    <a16:creationId xmlns:a16="http://schemas.microsoft.com/office/drawing/2014/main" id="{FA7702E7-5F3C-B9F3-5FC7-36EBC5912ED8}"/>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386196" y="3277933"/>
                <a:ext cx="1092841" cy="382361"/>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4" descr="Invoke, LLC">
                <a:extLst>
                  <a:ext uri="{FF2B5EF4-FFF2-40B4-BE49-F238E27FC236}">
                    <a16:creationId xmlns:a16="http://schemas.microsoft.com/office/drawing/2014/main" id="{BA2FC80A-86CD-C340-6277-178BE5F1DEDF}"/>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8146216" y="3322347"/>
                <a:ext cx="919268" cy="352006"/>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6" descr="Japan Business Systems Asia Pacific">
                <a:extLst>
                  <a:ext uri="{FF2B5EF4-FFF2-40B4-BE49-F238E27FC236}">
                    <a16:creationId xmlns:a16="http://schemas.microsoft.com/office/drawing/2014/main" id="{311D5EB9-0DFA-ACB9-3228-6133F2217033}"/>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9941686" y="3337751"/>
                <a:ext cx="674793" cy="293535"/>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0">
                <a:extLst>
                  <a:ext uri="{FF2B5EF4-FFF2-40B4-BE49-F238E27FC236}">
                    <a16:creationId xmlns:a16="http://schemas.microsoft.com/office/drawing/2014/main" id="{E6201FB8-2462-7C02-12A5-579B6C0A5994}"/>
                  </a:ext>
                </a:extLst>
              </p:cNvPr>
              <p:cNvPicPr>
                <a:picLocks noChangeAspect="1"/>
              </p:cNvPicPr>
              <p:nvPr/>
            </p:nvPicPr>
            <p:blipFill>
              <a:blip r:embed="rId25"/>
              <a:stretch>
                <a:fillRect/>
              </a:stretch>
            </p:blipFill>
            <p:spPr>
              <a:xfrm>
                <a:off x="1502684" y="3876336"/>
                <a:ext cx="820468" cy="571046"/>
              </a:xfrm>
              <a:prstGeom prst="rect">
                <a:avLst/>
              </a:prstGeom>
            </p:spPr>
          </p:pic>
          <p:pic>
            <p:nvPicPr>
              <p:cNvPr id="42" name="Picture 28" descr="Kocho – Microsoft Identity, Security &amp; Cloud Experts">
                <a:extLst>
                  <a:ext uri="{FF2B5EF4-FFF2-40B4-BE49-F238E27FC236}">
                    <a16:creationId xmlns:a16="http://schemas.microsoft.com/office/drawing/2014/main" id="{AEADBD71-3229-ADF4-2388-18BDE2C809E0}"/>
                  </a:ext>
                </a:extLst>
              </p:cNvPr>
              <p:cNvPicPr>
                <a:picLocks noChangeAspect="1" noChangeArrowheads="1"/>
              </p:cNvPicPr>
              <p:nvPr/>
            </p:nvPicPr>
            <p:blipFill rotWithShape="1">
              <a:blip r:embed="rId26">
                <a:extLst>
                  <a:ext uri="{28A0092B-C50C-407E-A947-70E740481C1C}">
                    <a14:useLocalDpi xmlns:a14="http://schemas.microsoft.com/office/drawing/2010/main" val="0"/>
                  </a:ext>
                </a:extLst>
              </a:blip>
              <a:srcRect l="12270" t="24034" r="13215" b="29941"/>
              <a:stretch/>
            </p:blipFill>
            <p:spPr bwMode="auto">
              <a:xfrm>
                <a:off x="3028457" y="4009340"/>
                <a:ext cx="1115386" cy="285891"/>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30" descr="Objektkultur Software GmbH | KuppingerCole">
                <a:extLst>
                  <a:ext uri="{FF2B5EF4-FFF2-40B4-BE49-F238E27FC236}">
                    <a16:creationId xmlns:a16="http://schemas.microsoft.com/office/drawing/2014/main" id="{96CD0F9A-5C29-E4E9-47B2-75DA92CC2A0A}"/>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4543408" y="3937330"/>
                <a:ext cx="1431950" cy="453223"/>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34" descr="Logo">
                <a:extLst>
                  <a:ext uri="{FF2B5EF4-FFF2-40B4-BE49-F238E27FC236}">
                    <a16:creationId xmlns:a16="http://schemas.microsoft.com/office/drawing/2014/main" id="{F004014D-2E17-29DF-4CA5-0D6269E401D8}"/>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8092142" y="3899719"/>
                <a:ext cx="1027417" cy="420990"/>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36" descr="Protiviti United States | Business Consulting Firm">
                <a:extLst>
                  <a:ext uri="{FF2B5EF4-FFF2-40B4-BE49-F238E27FC236}">
                    <a16:creationId xmlns:a16="http://schemas.microsoft.com/office/drawing/2014/main" id="{BD68BC64-DCCD-6F92-E312-B283F4B9F147}"/>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9868848" y="4023326"/>
                <a:ext cx="820468" cy="301932"/>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5">
                <a:extLst>
                  <a:ext uri="{FF2B5EF4-FFF2-40B4-BE49-F238E27FC236}">
                    <a16:creationId xmlns:a16="http://schemas.microsoft.com/office/drawing/2014/main" id="{5A9421D4-076C-A39F-E0F8-44A264258400}"/>
                  </a:ext>
                </a:extLst>
              </p:cNvPr>
              <p:cNvPicPr>
                <a:picLocks noChangeAspect="1"/>
              </p:cNvPicPr>
              <p:nvPr/>
            </p:nvPicPr>
            <p:blipFill>
              <a:blip r:embed="rId30"/>
              <a:stretch>
                <a:fillRect/>
              </a:stretch>
            </p:blipFill>
            <p:spPr>
              <a:xfrm>
                <a:off x="1628816" y="4654259"/>
                <a:ext cx="568204" cy="431154"/>
              </a:xfrm>
              <a:prstGeom prst="rect">
                <a:avLst/>
              </a:prstGeom>
            </p:spPr>
          </p:pic>
          <p:pic>
            <p:nvPicPr>
              <p:cNvPr id="47" name="Picture 40" descr="☑️Quorum Systems Pty Ltd — Consulting Organization from Australia,  experience with DFAT Australia — Information &amp; Communication Technology  sector — DevelopmentAid">
                <a:extLst>
                  <a:ext uri="{FF2B5EF4-FFF2-40B4-BE49-F238E27FC236}">
                    <a16:creationId xmlns:a16="http://schemas.microsoft.com/office/drawing/2014/main" id="{B0F08DA8-FA82-4443-DCDD-48791127E555}"/>
                  </a:ext>
                </a:extLst>
              </p:cNvPr>
              <p:cNvPicPr>
                <a:picLocks noChangeAspect="1" noChangeArrowheads="1"/>
              </p:cNvPicPr>
              <p:nvPr/>
            </p:nvPicPr>
            <p:blipFill rotWithShape="1">
              <a:blip r:embed="rId31">
                <a:extLst>
                  <a:ext uri="{28A0092B-C50C-407E-A947-70E740481C1C}">
                    <a14:useLocalDpi xmlns:a14="http://schemas.microsoft.com/office/drawing/2010/main" val="0"/>
                  </a:ext>
                </a:extLst>
              </a:blip>
              <a:srcRect t="35750" b="35880"/>
              <a:stretch/>
            </p:blipFill>
            <p:spPr bwMode="auto">
              <a:xfrm>
                <a:off x="2986820" y="4662095"/>
                <a:ext cx="1198661" cy="340069"/>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2">
                <a:extLst>
                  <a:ext uri="{FF2B5EF4-FFF2-40B4-BE49-F238E27FC236}">
                    <a16:creationId xmlns:a16="http://schemas.microsoft.com/office/drawing/2014/main" id="{7BF31C67-032B-E740-A3F0-A8E1C5F19210}"/>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4734280" y="4670728"/>
                <a:ext cx="1050207" cy="304601"/>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46" descr="SB Technology (SBT)">
                <a:extLst>
                  <a:ext uri="{FF2B5EF4-FFF2-40B4-BE49-F238E27FC236}">
                    <a16:creationId xmlns:a16="http://schemas.microsoft.com/office/drawing/2014/main" id="{3B1AAFE0-2A9C-4725-4E9E-BBBD33A3E1D5}"/>
                  </a:ext>
                </a:extLst>
              </p:cNvPr>
              <p:cNvPicPr>
                <a:picLocks noChangeAspect="1" noChangeArrowheads="1"/>
              </p:cNvPicPr>
              <p:nvPr/>
            </p:nvPicPr>
            <p:blipFill rotWithShape="1">
              <a:blip r:embed="rId33">
                <a:extLst>
                  <a:ext uri="{28A0092B-C50C-407E-A947-70E740481C1C}">
                    <a14:useLocalDpi xmlns:a14="http://schemas.microsoft.com/office/drawing/2010/main" val="0"/>
                  </a:ext>
                </a:extLst>
              </a:blip>
              <a:srcRect r="24787"/>
              <a:stretch/>
            </p:blipFill>
            <p:spPr bwMode="auto">
              <a:xfrm>
                <a:off x="6198885" y="4712135"/>
                <a:ext cx="1467463" cy="240634"/>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8" descr="SHI International Corp - Wikipedia">
                <a:extLst>
                  <a:ext uri="{FF2B5EF4-FFF2-40B4-BE49-F238E27FC236}">
                    <a16:creationId xmlns:a16="http://schemas.microsoft.com/office/drawing/2014/main" id="{6E1E8509-1C28-772A-C0BC-A58B22620348}"/>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8217882" y="4597342"/>
                <a:ext cx="775937" cy="359518"/>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52" descr="SITS Deutschland GmbH">
                <a:extLst>
                  <a:ext uri="{FF2B5EF4-FFF2-40B4-BE49-F238E27FC236}">
                    <a16:creationId xmlns:a16="http://schemas.microsoft.com/office/drawing/2014/main" id="{37C0F34F-E33E-D375-A05F-BA69BD14AD63}"/>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9956668" y="4653577"/>
                <a:ext cx="644828" cy="352110"/>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4">
                <a:extLst>
                  <a:ext uri="{FF2B5EF4-FFF2-40B4-BE49-F238E27FC236}">
                    <a16:creationId xmlns:a16="http://schemas.microsoft.com/office/drawing/2014/main" id="{9CF95F9D-904B-CEA0-7BFD-F6225CB0F75D}"/>
                  </a:ext>
                </a:extLst>
              </p:cNvPr>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468967" y="5369986"/>
                <a:ext cx="887903" cy="22952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8" descr="ＴＯＳＹＳの転職・採用情報｜社員口コミでわかる【転職会議】">
                <a:extLst>
                  <a:ext uri="{FF2B5EF4-FFF2-40B4-BE49-F238E27FC236}">
                    <a16:creationId xmlns:a16="http://schemas.microsoft.com/office/drawing/2014/main" id="{F42FC6A0-2E57-B61D-1D6D-DE7F292E3ABD}"/>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4744171" y="5357010"/>
                <a:ext cx="1030424" cy="315279"/>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60" descr="Automated Cloud Assessments for Consultants • ARGOS Cloud Security">
                <a:extLst>
                  <a:ext uri="{FF2B5EF4-FFF2-40B4-BE49-F238E27FC236}">
                    <a16:creationId xmlns:a16="http://schemas.microsoft.com/office/drawing/2014/main" id="{3F945AEE-7DE7-2DE7-4FA3-612A0D65AF65}"/>
                  </a:ext>
                </a:extLst>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3156681" y="5963298"/>
                <a:ext cx="987162" cy="400445"/>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55">
                <a:extLst>
                  <a:ext uri="{FF2B5EF4-FFF2-40B4-BE49-F238E27FC236}">
                    <a16:creationId xmlns:a16="http://schemas.microsoft.com/office/drawing/2014/main" id="{BC04814E-088C-FBD9-92D5-02567AFC065F}"/>
                  </a:ext>
                </a:extLst>
              </p:cNvPr>
              <p:cNvPicPr>
                <a:picLocks noChangeAspect="1"/>
              </p:cNvPicPr>
              <p:nvPr/>
            </p:nvPicPr>
            <p:blipFill>
              <a:blip r:embed="rId39"/>
              <a:stretch>
                <a:fillRect/>
              </a:stretch>
            </p:blipFill>
            <p:spPr>
              <a:xfrm>
                <a:off x="4622487" y="5963298"/>
                <a:ext cx="1179592" cy="453517"/>
              </a:xfrm>
              <a:prstGeom prst="rect">
                <a:avLst/>
              </a:prstGeom>
            </p:spPr>
          </p:pic>
          <p:pic>
            <p:nvPicPr>
              <p:cNvPr id="57" name="Picture 64" descr="zerosit">
                <a:extLst>
                  <a:ext uri="{FF2B5EF4-FFF2-40B4-BE49-F238E27FC236}">
                    <a16:creationId xmlns:a16="http://schemas.microsoft.com/office/drawing/2014/main" id="{DFDBD130-C402-0DBB-DB92-03879D5A2086}"/>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6610695" y="5822140"/>
                <a:ext cx="732005" cy="732005"/>
              </a:xfrm>
              <a:prstGeom prst="rect">
                <a:avLst/>
              </a:prstGeom>
              <a:noFill/>
              <a:extLst>
                <a:ext uri="{909E8E84-426E-40DD-AFC4-6F175D3DCCD1}">
                  <a14:hiddenFill xmlns:a14="http://schemas.microsoft.com/office/drawing/2010/main">
                    <a:solidFill>
                      <a:srgbClr val="FFFFFF"/>
                    </a:solidFill>
                  </a14:hiddenFill>
                </a:ext>
              </a:extLst>
            </p:spPr>
          </p:pic>
        </p:grpSp>
        <p:pic>
          <p:nvPicPr>
            <p:cNvPr id="1026" name="Picture 2" descr="KPMG Logo - PNG y Vector">
              <a:extLst>
                <a:ext uri="{FF2B5EF4-FFF2-40B4-BE49-F238E27FC236}">
                  <a16:creationId xmlns:a16="http://schemas.microsoft.com/office/drawing/2014/main" id="{7E18CB2C-0FCB-4CA8-6EB9-DE22D100933D}"/>
                </a:ext>
              </a:extLst>
            </p:cNvPr>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6497095" y="4920916"/>
              <a:ext cx="897178" cy="360273"/>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Wortell | AvePoint NL">
              <a:extLst>
                <a:ext uri="{FF2B5EF4-FFF2-40B4-BE49-F238E27FC236}">
                  <a16:creationId xmlns:a16="http://schemas.microsoft.com/office/drawing/2014/main" id="{C6183910-3AE3-6D45-A603-CB10604D3B7F}"/>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8093774" y="5679925"/>
              <a:ext cx="997087" cy="332363"/>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EB34056F-D50A-4212-6C22-EC762169567F}"/>
                </a:ext>
              </a:extLst>
            </p:cNvPr>
            <p:cNvPicPr>
              <a:picLocks noChangeAspect="1"/>
            </p:cNvPicPr>
            <p:nvPr/>
          </p:nvPicPr>
          <p:blipFill>
            <a:blip r:embed="rId43">
              <a:extLst>
                <a:ext uri="{28A0092B-C50C-407E-A947-70E740481C1C}">
                  <a14:useLocalDpi xmlns:a14="http://schemas.microsoft.com/office/drawing/2010/main" val="0"/>
                </a:ext>
              </a:extLst>
            </a:blip>
            <a:stretch>
              <a:fillRect/>
            </a:stretch>
          </p:blipFill>
          <p:spPr>
            <a:xfrm>
              <a:off x="2940487" y="5108629"/>
              <a:ext cx="1214418" cy="205361"/>
            </a:xfrm>
            <a:prstGeom prst="rect">
              <a:avLst/>
            </a:prstGeom>
          </p:spPr>
        </p:pic>
        <p:pic>
          <p:nvPicPr>
            <p:cNvPr id="6" name="Picture 5">
              <a:extLst>
                <a:ext uri="{FF2B5EF4-FFF2-40B4-BE49-F238E27FC236}">
                  <a16:creationId xmlns:a16="http://schemas.microsoft.com/office/drawing/2014/main" id="{60FAEBF3-5C8D-B7EA-FF82-C9DDC729E7DB}"/>
                </a:ext>
              </a:extLst>
            </p:cNvPr>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8069517" y="5017108"/>
              <a:ext cx="1152830" cy="289248"/>
            </a:xfrm>
            <a:prstGeom prst="rect">
              <a:avLst/>
            </a:prstGeom>
          </p:spPr>
        </p:pic>
        <p:pic>
          <p:nvPicPr>
            <p:cNvPr id="8" name="Picture 7">
              <a:extLst>
                <a:ext uri="{FF2B5EF4-FFF2-40B4-BE49-F238E27FC236}">
                  <a16:creationId xmlns:a16="http://schemas.microsoft.com/office/drawing/2014/main" id="{18DFCC81-BC1B-EDCB-37C5-AF3C035F61A2}"/>
                </a:ext>
              </a:extLst>
            </p:cNvPr>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6479917" y="3799206"/>
              <a:ext cx="1112154" cy="323637"/>
            </a:xfrm>
            <a:prstGeom prst="rect">
              <a:avLst/>
            </a:prstGeom>
          </p:spPr>
        </p:pic>
        <p:pic>
          <p:nvPicPr>
            <p:cNvPr id="1032" name="Picture 8" descr="Explore Tata Consultancy Services Ltd ESG score, report and breaking news">
              <a:extLst>
                <a:ext uri="{FF2B5EF4-FFF2-40B4-BE49-F238E27FC236}">
                  <a16:creationId xmlns:a16="http://schemas.microsoft.com/office/drawing/2014/main" id="{1F483644-565A-ED7B-3E33-9A00BE12906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42144" y="4766463"/>
              <a:ext cx="687829" cy="68782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3174262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42" presetClass="path" presetSubtype="0" decel="100000" fill="hold" grpId="1" nodeType="withEffect">
                                  <p:stCondLst>
                                    <p:cond delay="0"/>
                                  </p:stCondLst>
                                  <p:childTnLst>
                                    <p:animMotion origin="layout" path="M 0 -4.07407E-6 L 0 -0.03287 " pathEditMode="relative" rAng="0" ptsTypes="AA">
                                      <p:cBhvr>
                                        <p:cTn id="9" dur="500" spd="-100000" fill="hold"/>
                                        <p:tgtEl>
                                          <p:spTgt spid="21"/>
                                        </p:tgtEl>
                                        <p:attrNameLst>
                                          <p:attrName>ppt_x</p:attrName>
                                          <p:attrName>ppt_y</p:attrName>
                                        </p:attrNameLst>
                                      </p:cBhvr>
                                      <p:rCtr x="0" y="-16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1" grpId="1"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5268BB-2973-CC5B-3348-E98D61126948}"/>
            </a:ext>
          </a:extLst>
        </p:cNvPr>
        <p:cNvGrpSpPr/>
        <p:nvPr/>
      </p:nvGrpSpPr>
      <p:grpSpPr>
        <a:xfrm>
          <a:off x="0" y="0"/>
          <a:ext cx="0" cy="0"/>
          <a:chOff x="0" y="0"/>
          <a:chExt cx="0" cy="0"/>
        </a:xfrm>
      </p:grpSpPr>
      <p:pic>
        <p:nvPicPr>
          <p:cNvPr id="25" name="Picture 24">
            <a:extLst>
              <a:ext uri="{FF2B5EF4-FFF2-40B4-BE49-F238E27FC236}">
                <a16:creationId xmlns:a16="http://schemas.microsoft.com/office/drawing/2014/main" id="{87D085A4-E9B6-1F88-9E6A-33D4FB64E86D}"/>
              </a:ext>
            </a:extLst>
          </p:cNvPr>
          <p:cNvPicPr>
            <a:picLocks noChangeAspect="1"/>
          </p:cNvPicPr>
          <p:nvPr/>
        </p:nvPicPr>
        <p:blipFill>
          <a:blip r:embed="rId4"/>
          <a:stretch>
            <a:fillRect/>
          </a:stretch>
        </p:blipFill>
        <p:spPr>
          <a:xfrm>
            <a:off x="-19750" y="-14095"/>
            <a:ext cx="12211749" cy="6872095"/>
          </a:xfrm>
          <a:prstGeom prst="rect">
            <a:avLst/>
          </a:prstGeom>
        </p:spPr>
      </p:pic>
      <p:sp>
        <p:nvSpPr>
          <p:cNvPr id="3" name="Rectangle 2">
            <a:extLst>
              <a:ext uri="{FF2B5EF4-FFF2-40B4-BE49-F238E27FC236}">
                <a16:creationId xmlns:a16="http://schemas.microsoft.com/office/drawing/2014/main" id="{8D8CC377-07BE-D505-9187-DBE85355EDBF}"/>
              </a:ext>
            </a:extLst>
          </p:cNvPr>
          <p:cNvSpPr/>
          <p:nvPr/>
        </p:nvSpPr>
        <p:spPr>
          <a:xfrm>
            <a:off x="0" y="0"/>
            <a:ext cx="12192000" cy="6858000"/>
          </a:xfrm>
          <a:prstGeom prst="rect">
            <a:avLst/>
          </a:prstGeom>
          <a:solidFill>
            <a:schemeClr val="bg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1">
            <a:extLst>
              <a:ext uri="{FF2B5EF4-FFF2-40B4-BE49-F238E27FC236}">
                <a16:creationId xmlns:a16="http://schemas.microsoft.com/office/drawing/2014/main" id="{1DABB0AE-96BA-A999-D39F-9DC0BF3E24BA}"/>
              </a:ext>
            </a:extLst>
          </p:cNvPr>
          <p:cNvSpPr txBox="1">
            <a:spLocks noGrp="1"/>
          </p:cNvSpPr>
          <p:nvPr>
            <p:ph type="title"/>
          </p:nvPr>
        </p:nvSpPr>
        <p:spPr>
          <a:xfrm>
            <a:off x="588263" y="1664364"/>
            <a:ext cx="1101852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200" b="0" kern="1200" cap="none" spc="-50" baseline="0">
                <a:ln w="3175">
                  <a:noFill/>
                </a:ln>
                <a:gradFill>
                  <a:gsLst>
                    <a:gs pos="2917">
                      <a:srgbClr val="282828"/>
                    </a:gs>
                    <a:gs pos="100000">
                      <a:srgbClr val="282828"/>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dirty="0">
                <a:ln w="3175">
                  <a:noFill/>
                </a:ln>
                <a:solidFill>
                  <a:schemeClr val="tx1"/>
                </a:solidFill>
                <a:effectLst/>
                <a:uLnTx/>
                <a:uFillTx/>
                <a:latin typeface="Segoe Sans Display Semibold"/>
                <a:ea typeface="+mn-ea"/>
                <a:cs typeface="Segoe UI" pitchFamily="34" charset="0"/>
              </a:rPr>
              <a:t>Your first 90 days </a:t>
            </a:r>
            <a:br>
              <a:rPr kumimoji="0" lang="en-US" sz="3200" b="0" i="0" u="none" strike="noStrike" kern="1200" cap="none" spc="-50" normalizeH="0" baseline="0" noProof="0" dirty="0">
                <a:ln w="3175">
                  <a:noFill/>
                </a:ln>
                <a:solidFill>
                  <a:schemeClr val="tx1"/>
                </a:solidFill>
                <a:effectLst/>
                <a:uLnTx/>
                <a:uFillTx/>
                <a:latin typeface="Segoe UI Semibold"/>
                <a:ea typeface="+mn-ea"/>
                <a:cs typeface="Segoe UI" pitchFamily="34" charset="0"/>
              </a:rPr>
            </a:br>
            <a:r>
              <a:rPr kumimoji="0" lang="en-US" sz="2400" b="0" i="0" u="none" strike="noStrike" kern="1200" cap="none" spc="-50" normalizeH="0" baseline="0" noProof="0" dirty="0">
                <a:ln w="3175">
                  <a:noFill/>
                </a:ln>
                <a:gradFill flip="none" rotWithShape="1">
                  <a:gsLst>
                    <a:gs pos="43000">
                      <a:srgbClr val="0360DB"/>
                    </a:gs>
                    <a:gs pos="0">
                      <a:srgbClr val="207EFC"/>
                    </a:gs>
                  </a:gsLst>
                  <a:lin ang="2700000" scaled="1"/>
                  <a:tileRect/>
                </a:gradFill>
                <a:effectLst/>
                <a:uLnTx/>
                <a:uFillTx/>
                <a:latin typeface="Segoe Sans Display Semibold"/>
                <a:ea typeface="+mn-ea"/>
                <a:cs typeface="Segoe Sans Display" pitchFamily="2" charset="0"/>
              </a:rPr>
              <a:t>Accelerating your Zero Trust strategy with the Microsoft Entra Suite</a:t>
            </a:r>
            <a:endParaRPr kumimoji="0" lang="en-US" sz="4000" b="0" i="0" u="none" strike="noStrike" kern="1200" cap="none" spc="-50" normalizeH="0" baseline="0" noProof="0" dirty="0">
              <a:ln w="3175">
                <a:noFill/>
              </a:ln>
              <a:gradFill flip="none" rotWithShape="1">
                <a:gsLst>
                  <a:gs pos="43000">
                    <a:srgbClr val="0360DB"/>
                  </a:gs>
                  <a:gs pos="0">
                    <a:srgbClr val="207EFC"/>
                  </a:gs>
                </a:gsLst>
                <a:lin ang="2700000" scaled="1"/>
                <a:tileRect/>
              </a:gradFill>
              <a:effectLst/>
              <a:uLnTx/>
              <a:uFillTx/>
              <a:latin typeface="Segoe Sans Display Semibold"/>
              <a:ea typeface="+mn-ea"/>
              <a:cs typeface="Segoe Sans Display" pitchFamily="2" charset="0"/>
            </a:endParaRPr>
          </a:p>
        </p:txBody>
      </p:sp>
      <p:sp>
        <p:nvSpPr>
          <p:cNvPr id="5" name="Rectangle 4">
            <a:extLst>
              <a:ext uri="{FF2B5EF4-FFF2-40B4-BE49-F238E27FC236}">
                <a16:creationId xmlns:a16="http://schemas.microsoft.com/office/drawing/2014/main" id="{D36358E7-4FE8-F469-1082-6AC6840EA122}"/>
              </a:ext>
            </a:extLst>
          </p:cNvPr>
          <p:cNvSpPr/>
          <p:nvPr/>
        </p:nvSpPr>
        <p:spPr bwMode="auto">
          <a:xfrm>
            <a:off x="586740" y="4177156"/>
            <a:ext cx="2011680" cy="457563"/>
          </a:xfrm>
          <a:prstGeom prst="rect">
            <a:avLst/>
          </a:prstGeom>
          <a:noFill/>
          <a:ln w="34925" cap="flat" cmpd="sng" algn="ctr">
            <a:noFill/>
            <a:prstDash val="solid"/>
            <a:headEnd type="none" w="med" len="med"/>
            <a:tailEnd type="none" w="med" len="med"/>
          </a:ln>
          <a:effectLst/>
        </p:spPr>
        <p:txBody>
          <a:bodyPr rot="0" spcFirstLastPara="0" vertOverflow="overflow" horzOverflow="overflow" vert="horz" wrap="square" lIns="0" tIns="0" rIns="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w="3175">
                  <a:noFill/>
                </a:ln>
                <a:gradFill flip="none" rotWithShape="1">
                  <a:gsLst>
                    <a:gs pos="43000">
                      <a:srgbClr val="0360DB"/>
                    </a:gs>
                    <a:gs pos="0">
                      <a:srgbClr val="207EFC"/>
                    </a:gs>
                  </a:gsLst>
                  <a:lin ang="2700000" scaled="1"/>
                  <a:tileRect/>
                </a:gradFill>
                <a:effectLst/>
                <a:uLnTx/>
                <a:uFillTx/>
                <a:latin typeface="Segoe Sans Display Semibold"/>
                <a:ea typeface="+mn-ea"/>
                <a:cs typeface="Segoe Sans Display" pitchFamily="2" charset="0"/>
              </a:rPr>
              <a:t>Deploy</a:t>
            </a:r>
            <a:r>
              <a:rPr kumimoji="0" lang="en-US" sz="1600" b="0" i="0" u="none" strike="noStrike" kern="0" cap="none" spc="0" normalizeH="0" baseline="0" noProof="0" dirty="0">
                <a:ln>
                  <a:noFill/>
                </a:ln>
                <a:solidFill>
                  <a:srgbClr val="000000"/>
                </a:solidFill>
                <a:effectLst/>
                <a:uLnTx/>
                <a:uFillTx/>
                <a:latin typeface="Segoe Sans Display"/>
                <a:ea typeface="+mn-ea"/>
                <a:cs typeface="Segoe UI" pitchFamily="34" charset="0"/>
              </a:rPr>
              <a:t> risk-based</a:t>
            </a:r>
            <a:r>
              <a:rPr kumimoji="0" lang="en-US" sz="1600" b="0" i="0" u="none" strike="noStrike" kern="0" cap="none" spc="0" normalizeH="0" noProof="0" dirty="0">
                <a:ln>
                  <a:noFill/>
                </a:ln>
                <a:solidFill>
                  <a:srgbClr val="000000"/>
                </a:solidFill>
                <a:effectLst/>
                <a:uLnTx/>
                <a:uFillTx/>
                <a:latin typeface="Segoe Sans Display"/>
                <a:ea typeface="+mn-ea"/>
                <a:cs typeface="Segoe UI" pitchFamily="34" charset="0"/>
              </a:rPr>
              <a:t> Conditional Access</a:t>
            </a:r>
            <a:endParaRPr kumimoji="0" lang="en-US" sz="1600" b="0" i="0" u="none" strike="noStrike" kern="0" cap="none" spc="0" normalizeH="0" baseline="0" noProof="0" dirty="0">
              <a:ln>
                <a:noFill/>
              </a:ln>
              <a:solidFill>
                <a:srgbClr val="000000"/>
              </a:solidFill>
              <a:effectLst/>
              <a:uLnTx/>
              <a:uFillTx/>
              <a:latin typeface="Segoe Sans Display"/>
              <a:ea typeface="+mn-ea"/>
              <a:cs typeface="Segoe UI" pitchFamily="34" charset="0"/>
            </a:endParaRPr>
          </a:p>
        </p:txBody>
      </p:sp>
      <p:sp>
        <p:nvSpPr>
          <p:cNvPr id="6" name="Rectangle 5">
            <a:extLst>
              <a:ext uri="{FF2B5EF4-FFF2-40B4-BE49-F238E27FC236}">
                <a16:creationId xmlns:a16="http://schemas.microsoft.com/office/drawing/2014/main" id="{46BF1C30-8E00-0DA9-429E-8FC62B732E7A}"/>
              </a:ext>
            </a:extLst>
          </p:cNvPr>
          <p:cNvSpPr/>
          <p:nvPr/>
        </p:nvSpPr>
        <p:spPr bwMode="auto">
          <a:xfrm>
            <a:off x="2705335" y="4136632"/>
            <a:ext cx="2277909" cy="457563"/>
          </a:xfrm>
          <a:prstGeom prst="rect">
            <a:avLst/>
          </a:prstGeom>
          <a:noFill/>
          <a:ln w="34925" cap="flat" cmpd="sng" algn="ctr">
            <a:noFill/>
            <a:prstDash val="solid"/>
            <a:headEnd type="none" w="med" len="med"/>
            <a:tailEnd type="none" w="med" len="med"/>
          </a:ln>
          <a:effectLst/>
        </p:spPr>
        <p:txBody>
          <a:bodyPr rot="0" spcFirstLastPara="0" vertOverflow="overflow" horzOverflow="overflow" vert="horz" wrap="square" lIns="0" tIns="0" rIns="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w="3175">
                  <a:noFill/>
                </a:ln>
                <a:gradFill flip="none" rotWithShape="1">
                  <a:gsLst>
                    <a:gs pos="43000">
                      <a:srgbClr val="0360DB"/>
                    </a:gs>
                    <a:gs pos="0">
                      <a:srgbClr val="207EFC"/>
                    </a:gs>
                  </a:gsLst>
                  <a:lin ang="2700000" scaled="1"/>
                  <a:tileRect/>
                </a:gradFill>
                <a:effectLst/>
                <a:uLnTx/>
                <a:uFillTx/>
                <a:latin typeface="Segoe Sans Display Semibold"/>
                <a:ea typeface="+mn-ea"/>
                <a:cs typeface="Segoe Sans Display" pitchFamily="2" charset="0"/>
              </a:rPr>
              <a:t>Conduct</a:t>
            </a:r>
            <a:r>
              <a:rPr kumimoji="0" lang="en-US" sz="1600" b="0" i="0" u="none" strike="noStrike" kern="1200" cap="none" spc="0" normalizeH="0" baseline="0" noProof="0" dirty="0">
                <a:ln w="3175">
                  <a:noFill/>
                </a:ln>
                <a:solidFill>
                  <a:srgbClr val="000000"/>
                </a:solidFill>
                <a:effectLst/>
                <a:uLnTx/>
                <a:uFillTx/>
                <a:latin typeface="Segoe Sans Display Semibold"/>
                <a:ea typeface="+mn-ea"/>
                <a:cs typeface="Segoe UI" pitchFamily="34" charset="0"/>
              </a:rPr>
              <a:t> </a:t>
            </a:r>
            <a:r>
              <a:rPr kumimoji="0" lang="en-US" sz="1600" b="0" i="0" u="none" strike="noStrike" kern="0" cap="none" spc="0" normalizeH="0" baseline="0" noProof="0" dirty="0">
                <a:ln>
                  <a:noFill/>
                </a:ln>
                <a:solidFill>
                  <a:srgbClr val="000000"/>
                </a:solidFill>
                <a:effectLst/>
                <a:uLnTx/>
                <a:uFillTx/>
                <a:latin typeface="Segoe Sans Display"/>
                <a:ea typeface="+mn-ea"/>
                <a:cs typeface="Segoe UI" pitchFamily="34" charset="0"/>
              </a:rPr>
              <a:t>an </a:t>
            </a:r>
            <a:br>
              <a:rPr kumimoji="0" lang="en-US" sz="1600" b="0" i="0" u="none" strike="noStrike" kern="0" cap="none" spc="0" normalizeH="0" baseline="0" noProof="0" dirty="0">
                <a:ln>
                  <a:noFill/>
                </a:ln>
                <a:solidFill>
                  <a:srgbClr val="000000"/>
                </a:solidFill>
                <a:effectLst/>
                <a:uLnTx/>
                <a:uFillTx/>
                <a:latin typeface="Segoe Sans Display"/>
                <a:ea typeface="+mn-ea"/>
                <a:cs typeface="Segoe UI" pitchFamily="34" charset="0"/>
              </a:rPr>
            </a:br>
            <a:r>
              <a:rPr kumimoji="0" lang="en-US" sz="1600" b="0" i="0" u="none" strike="noStrike" kern="0" cap="none" spc="0" normalizeH="0" baseline="0" noProof="0" dirty="0">
                <a:ln>
                  <a:noFill/>
                </a:ln>
                <a:solidFill>
                  <a:srgbClr val="000000"/>
                </a:solidFill>
                <a:effectLst/>
                <a:uLnTx/>
                <a:uFillTx/>
                <a:latin typeface="Segoe Sans Display"/>
                <a:ea typeface="+mn-ea"/>
                <a:cs typeface="Segoe UI" pitchFamily="34" charset="0"/>
              </a:rPr>
              <a:t>access review to remove</a:t>
            </a:r>
            <a:r>
              <a:rPr kumimoji="0" lang="en-US" sz="1600" b="0" i="0" u="none" strike="noStrike" kern="0" cap="none" spc="0" normalizeH="0" noProof="0" dirty="0">
                <a:ln>
                  <a:noFill/>
                </a:ln>
                <a:solidFill>
                  <a:srgbClr val="000000"/>
                </a:solidFill>
                <a:effectLst/>
                <a:uLnTx/>
                <a:uFillTx/>
                <a:latin typeface="Segoe Sans Display"/>
                <a:ea typeface="+mn-ea"/>
                <a:cs typeface="Segoe UI" pitchFamily="34" charset="0"/>
              </a:rPr>
              <a:t> unnecessary access</a:t>
            </a:r>
            <a:endParaRPr kumimoji="0" lang="en-US" sz="1600" b="0" i="0" u="none" strike="noStrike" kern="0" cap="none" spc="0" normalizeH="0" baseline="0" noProof="0" dirty="0">
              <a:ln>
                <a:noFill/>
              </a:ln>
              <a:solidFill>
                <a:srgbClr val="000000"/>
              </a:solidFill>
              <a:effectLst/>
              <a:uLnTx/>
              <a:uFillTx/>
              <a:latin typeface="Segoe Sans Display"/>
              <a:ea typeface="+mn-ea"/>
              <a:cs typeface="Segoe UI" pitchFamily="34" charset="0"/>
            </a:endParaRPr>
          </a:p>
        </p:txBody>
      </p:sp>
      <p:sp>
        <p:nvSpPr>
          <p:cNvPr id="7" name="Rectangle 6">
            <a:extLst>
              <a:ext uri="{FF2B5EF4-FFF2-40B4-BE49-F238E27FC236}">
                <a16:creationId xmlns:a16="http://schemas.microsoft.com/office/drawing/2014/main" id="{5AA34889-2E60-8F82-EFE1-2A15BECD89FC}"/>
              </a:ext>
            </a:extLst>
          </p:cNvPr>
          <p:cNvSpPr/>
          <p:nvPr/>
        </p:nvSpPr>
        <p:spPr bwMode="auto">
          <a:xfrm>
            <a:off x="5090160" y="4138416"/>
            <a:ext cx="2011680" cy="457563"/>
          </a:xfrm>
          <a:prstGeom prst="rect">
            <a:avLst/>
          </a:prstGeom>
          <a:noFill/>
          <a:ln w="34925" cap="flat" cmpd="sng" algn="ctr">
            <a:noFill/>
            <a:prstDash val="solid"/>
            <a:headEnd type="none" w="med" len="med"/>
            <a:tailEnd type="none" w="med" len="med"/>
          </a:ln>
          <a:effectLst/>
        </p:spPr>
        <p:txBody>
          <a:bodyPr rot="0" spcFirstLastPara="0" vertOverflow="overflow" horzOverflow="overflow" vert="horz" wrap="square" lIns="0" tIns="0" rIns="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w="3175">
                  <a:noFill/>
                </a:ln>
                <a:gradFill flip="none" rotWithShape="1">
                  <a:gsLst>
                    <a:gs pos="43000">
                      <a:srgbClr val="0360DB"/>
                    </a:gs>
                    <a:gs pos="0">
                      <a:srgbClr val="207EFC"/>
                    </a:gs>
                  </a:gsLst>
                  <a:lin ang="2700000" scaled="1"/>
                  <a:tileRect/>
                </a:gradFill>
                <a:effectLst/>
                <a:uLnTx/>
                <a:uFillTx/>
                <a:latin typeface="Segoe Sans Display Semibold"/>
                <a:ea typeface="+mn-ea"/>
                <a:cs typeface="Segoe Sans Display" pitchFamily="2" charset="0"/>
              </a:rPr>
              <a:t>Try out</a:t>
            </a:r>
            <a:r>
              <a:rPr kumimoji="0" lang="en-US" sz="1600" b="0" i="0" u="none" strike="noStrike" kern="0" cap="none" spc="0" normalizeH="0" baseline="0" noProof="0" dirty="0">
                <a:ln>
                  <a:noFill/>
                </a:ln>
                <a:solidFill>
                  <a:srgbClr val="000000"/>
                </a:solidFill>
                <a:effectLst/>
                <a:uLnTx/>
                <a:uFillTx/>
                <a:latin typeface="Segoe Sans Display"/>
                <a:ea typeface="+mn-ea"/>
                <a:cs typeface="Segoe UI" pitchFamily="34" charset="0"/>
              </a:rPr>
              <a:t> internet traffic filtering policies </a:t>
            </a:r>
          </a:p>
        </p:txBody>
      </p:sp>
      <p:sp>
        <p:nvSpPr>
          <p:cNvPr id="8" name="Rectangle 7">
            <a:extLst>
              <a:ext uri="{FF2B5EF4-FFF2-40B4-BE49-F238E27FC236}">
                <a16:creationId xmlns:a16="http://schemas.microsoft.com/office/drawing/2014/main" id="{C0D56982-0E8D-7E2E-FEE7-6F1E39C79E0F}"/>
              </a:ext>
            </a:extLst>
          </p:cNvPr>
          <p:cNvSpPr/>
          <p:nvPr/>
        </p:nvSpPr>
        <p:spPr bwMode="auto">
          <a:xfrm>
            <a:off x="7341870" y="4138416"/>
            <a:ext cx="2011680" cy="457563"/>
          </a:xfrm>
          <a:prstGeom prst="rect">
            <a:avLst/>
          </a:prstGeom>
          <a:noFill/>
          <a:ln w="34925" cap="flat" cmpd="sng" algn="ctr">
            <a:noFill/>
            <a:prstDash val="solid"/>
            <a:headEnd type="none" w="med" len="med"/>
            <a:tailEnd type="none" w="med" len="med"/>
          </a:ln>
          <a:effectLst/>
        </p:spPr>
        <p:txBody>
          <a:bodyPr rot="0" spcFirstLastPara="0" vertOverflow="overflow" horzOverflow="overflow" vert="horz" wrap="square" lIns="0" tIns="0" rIns="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w="3175">
                  <a:noFill/>
                </a:ln>
                <a:gradFill flip="none" rotWithShape="1">
                  <a:gsLst>
                    <a:gs pos="43000">
                      <a:srgbClr val="0360DB"/>
                    </a:gs>
                    <a:gs pos="0">
                      <a:srgbClr val="207EFC"/>
                    </a:gs>
                  </a:gsLst>
                  <a:lin ang="2700000" scaled="1"/>
                  <a:tileRect/>
                </a:gradFill>
                <a:effectLst/>
                <a:uLnTx/>
                <a:uFillTx/>
                <a:latin typeface="Segoe Sans Display Semibold"/>
                <a:ea typeface="+mn-ea"/>
                <a:cs typeface="Segoe Sans Display" pitchFamily="2" charset="0"/>
              </a:rPr>
              <a:t>Discover</a:t>
            </a:r>
            <a:r>
              <a:rPr kumimoji="0" lang="en-US" sz="1600" b="0" i="0" u="none" strike="noStrike" kern="0" cap="none" spc="0" normalizeH="0" baseline="0" noProof="0" dirty="0">
                <a:ln>
                  <a:noFill/>
                </a:ln>
                <a:solidFill>
                  <a:srgbClr val="000000"/>
                </a:solidFill>
                <a:effectLst/>
                <a:uLnTx/>
                <a:uFillTx/>
                <a:latin typeface="Segoe Sans Display"/>
                <a:ea typeface="+mn-ea"/>
                <a:cs typeface="Segoe UI" pitchFamily="34" charset="0"/>
              </a:rPr>
              <a:t> on-premises apps and</a:t>
            </a:r>
            <a:r>
              <a:rPr kumimoji="0" lang="en-US" sz="1600" b="0" i="0" u="none" strike="noStrike" kern="0" cap="none" spc="0" normalizeH="0" noProof="0" dirty="0">
                <a:ln>
                  <a:noFill/>
                </a:ln>
                <a:solidFill>
                  <a:srgbClr val="000000"/>
                </a:solidFill>
                <a:effectLst/>
                <a:uLnTx/>
                <a:uFillTx/>
                <a:latin typeface="Segoe Sans Display"/>
                <a:ea typeface="+mn-ea"/>
                <a:cs typeface="Segoe UI" pitchFamily="34" charset="0"/>
              </a:rPr>
              <a:t> add them to Microsoft Entra</a:t>
            </a:r>
            <a:endParaRPr kumimoji="0" lang="en-US" sz="1600" b="0" i="0" u="none" strike="noStrike" kern="0" cap="none" spc="0" normalizeH="0" baseline="0" noProof="0" dirty="0">
              <a:ln>
                <a:noFill/>
              </a:ln>
              <a:solidFill>
                <a:srgbClr val="000000"/>
              </a:solidFill>
              <a:effectLst/>
              <a:uLnTx/>
              <a:uFillTx/>
              <a:latin typeface="Segoe Sans Display"/>
              <a:ea typeface="+mn-ea"/>
              <a:cs typeface="Segoe UI" pitchFamily="34" charset="0"/>
            </a:endParaRPr>
          </a:p>
        </p:txBody>
      </p:sp>
      <p:sp>
        <p:nvSpPr>
          <p:cNvPr id="9" name="Rectangle 8">
            <a:extLst>
              <a:ext uri="{FF2B5EF4-FFF2-40B4-BE49-F238E27FC236}">
                <a16:creationId xmlns:a16="http://schemas.microsoft.com/office/drawing/2014/main" id="{48D4ABE2-207B-D0DB-CB78-13B38BCBB748}"/>
              </a:ext>
            </a:extLst>
          </p:cNvPr>
          <p:cNvSpPr/>
          <p:nvPr/>
        </p:nvSpPr>
        <p:spPr bwMode="auto">
          <a:xfrm>
            <a:off x="9593580" y="4138416"/>
            <a:ext cx="2011680" cy="457563"/>
          </a:xfrm>
          <a:prstGeom prst="rect">
            <a:avLst/>
          </a:prstGeom>
          <a:noFill/>
          <a:ln w="34925" cap="flat" cmpd="sng" algn="ctr">
            <a:noFill/>
            <a:prstDash val="solid"/>
            <a:headEnd type="none" w="med" len="med"/>
            <a:tailEnd type="none" w="med" len="med"/>
          </a:ln>
          <a:effectLst/>
        </p:spPr>
        <p:txBody>
          <a:bodyPr rot="0" spcFirstLastPara="0" vertOverflow="overflow" horzOverflow="overflow" vert="horz" wrap="square" lIns="0" tIns="0" rIns="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w="3175">
                  <a:noFill/>
                </a:ln>
                <a:gradFill flip="none" rotWithShape="1">
                  <a:gsLst>
                    <a:gs pos="43000">
                      <a:srgbClr val="0360DB"/>
                    </a:gs>
                    <a:gs pos="0">
                      <a:srgbClr val="207EFC"/>
                    </a:gs>
                  </a:gsLst>
                  <a:lin ang="2700000" scaled="1"/>
                  <a:tileRect/>
                </a:gradFill>
                <a:effectLst/>
                <a:uLnTx/>
                <a:uFillTx/>
                <a:latin typeface="Segoe Sans Display Semibold"/>
                <a:ea typeface="+mn-ea"/>
                <a:cs typeface="Segoe Sans Display" pitchFamily="2" charset="0"/>
              </a:rPr>
              <a:t>Automate</a:t>
            </a:r>
            <a:r>
              <a:rPr kumimoji="0" lang="en-US" sz="1600" b="0" i="0" u="none" strike="noStrike" kern="0" cap="none" spc="0" normalizeH="0" baseline="0" noProof="0">
                <a:ln>
                  <a:noFill/>
                </a:ln>
                <a:solidFill>
                  <a:srgbClr val="000000"/>
                </a:solidFill>
                <a:effectLst/>
                <a:uLnTx/>
                <a:uFillTx/>
                <a:latin typeface="Segoe Sans Display"/>
                <a:ea typeface="+mn-ea"/>
                <a:cs typeface="Segoe UI" pitchFamily="34" charset="0"/>
              </a:rPr>
              <a:t> employee onboarding with lifecycle workflows</a:t>
            </a:r>
          </a:p>
        </p:txBody>
      </p:sp>
      <p:grpSp>
        <p:nvGrpSpPr>
          <p:cNvPr id="10" name="Group 9">
            <a:extLst>
              <a:ext uri="{FF2B5EF4-FFF2-40B4-BE49-F238E27FC236}">
                <a16:creationId xmlns:a16="http://schemas.microsoft.com/office/drawing/2014/main" id="{DFD68C0F-63F4-3BEC-A825-EFC99A9A5386}"/>
              </a:ext>
              <a:ext uri="{C183D7F6-B498-43B3-948B-1728B52AA6E4}">
                <adec:decorative xmlns:adec="http://schemas.microsoft.com/office/drawing/2017/decorative" val="1"/>
              </a:ext>
            </a:extLst>
          </p:cNvPr>
          <p:cNvGrpSpPr/>
          <p:nvPr/>
        </p:nvGrpSpPr>
        <p:grpSpPr>
          <a:xfrm>
            <a:off x="1032583" y="2845602"/>
            <a:ext cx="1119995" cy="1119995"/>
            <a:chOff x="1032583" y="2845602"/>
            <a:chExt cx="1119995" cy="1119995"/>
          </a:xfrm>
        </p:grpSpPr>
        <p:sp>
          <p:nvSpPr>
            <p:cNvPr id="11" name="Oval 10">
              <a:extLst>
                <a:ext uri="{FF2B5EF4-FFF2-40B4-BE49-F238E27FC236}">
                  <a16:creationId xmlns:a16="http://schemas.microsoft.com/office/drawing/2014/main" id="{F8B7CB8B-BA45-A8F3-A9BC-388787733977}"/>
                </a:ext>
              </a:extLst>
            </p:cNvPr>
            <p:cNvSpPr/>
            <p:nvPr/>
          </p:nvSpPr>
          <p:spPr>
            <a:xfrm>
              <a:off x="1032583" y="2845602"/>
              <a:ext cx="1119995" cy="1119995"/>
            </a:xfrm>
            <a:prstGeom prst="ellipse">
              <a:avLst/>
            </a:prstGeom>
            <a:solidFill>
              <a:schemeClr val="bg1"/>
            </a:solidFill>
            <a:ln w="34925" cap="flat" cmpd="sng" algn="ctr">
              <a:gradFill flip="none" rotWithShape="1">
                <a:gsLst>
                  <a:gs pos="79000">
                    <a:srgbClr val="599FFD"/>
                  </a:gs>
                  <a:gs pos="42000">
                    <a:srgbClr val="A5B8EE"/>
                  </a:gs>
                  <a:gs pos="0">
                    <a:srgbClr val="FADC14"/>
                  </a:gs>
                </a:gsLst>
                <a:lin ang="2700000" scaled="1"/>
                <a:tileRect/>
              </a:gradFill>
              <a:prstDash val="solid"/>
              <a:headEnd type="none" w="med" len="sm"/>
              <a:tailEnd type="arrow" w="lg" len="med"/>
            </a:ln>
            <a:effectLst/>
          </p:spPr>
          <p:txBody>
            <a:bodyPr rot="0" spcFirstLastPara="0" vertOverflow="overflow" horzOverflow="overflow" vert="horz" wrap="square" lIns="137160" tIns="91440" rIns="137160" bIns="137160" numCol="1" spcCol="0" rtlCol="0" fromWordArt="0" anchor="ctr" anchorCtr="0" forceAA="0" compatLnSpc="1">
              <a:prstTxWarp prst="textNoShape">
                <a:avLst/>
              </a:prstTxWarp>
              <a:noAutofit/>
            </a:bodyPr>
            <a:lstStyle/>
            <a:p>
              <a:pPr marL="0" marR="0" lvl="0" indent="0" algn="l" defTabSz="932754" rtl="0" eaLnBrk="1" fontAlgn="auto" latinLnBrk="0" hangingPunct="1">
                <a:lnSpc>
                  <a:spcPct val="100000"/>
                </a:lnSpc>
                <a:spcBef>
                  <a:spcPts val="0"/>
                </a:spcBef>
                <a:spcAft>
                  <a:spcPts val="600"/>
                </a:spcAft>
                <a:buClrTx/>
                <a:buSzPct val="90000"/>
                <a:buFontTx/>
                <a:buNone/>
                <a:tabLst/>
                <a:defRPr/>
              </a:pPr>
              <a:endParaRPr kumimoji="0" lang="en-US" sz="1900" b="0" i="0" u="none" strike="noStrike" kern="0" cap="none" spc="0" normalizeH="0" baseline="0" noProof="0">
                <a:ln>
                  <a:noFill/>
                </a:ln>
                <a:solidFill>
                  <a:srgbClr val="FFFFFF"/>
                </a:solidFill>
                <a:effectLst/>
                <a:uLnTx/>
                <a:uFillTx/>
                <a:latin typeface="Segoe Sans Display"/>
                <a:ea typeface="+mn-ea"/>
                <a:cs typeface="Segoe Sans Display Semilight" pitchFamily="2" charset="0"/>
              </a:endParaRPr>
            </a:p>
          </p:txBody>
        </p:sp>
        <p:pic>
          <p:nvPicPr>
            <p:cNvPr id="12" name="Graphic 11">
              <a:extLst>
                <a:ext uri="{FF2B5EF4-FFF2-40B4-BE49-F238E27FC236}">
                  <a16:creationId xmlns:a16="http://schemas.microsoft.com/office/drawing/2014/main" id="{E077136A-7594-2F88-A4F7-8CC02EF016E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13193" y="3026212"/>
              <a:ext cx="758775" cy="758775"/>
            </a:xfrm>
            <a:prstGeom prst="rect">
              <a:avLst/>
            </a:prstGeom>
          </p:spPr>
        </p:pic>
      </p:grpSp>
      <p:sp>
        <p:nvSpPr>
          <p:cNvPr id="13" name="Oval 12">
            <a:extLst>
              <a:ext uri="{FF2B5EF4-FFF2-40B4-BE49-F238E27FC236}">
                <a16:creationId xmlns:a16="http://schemas.microsoft.com/office/drawing/2014/main" id="{6530A716-0794-772E-2E5A-7F0A14A42322}"/>
              </a:ext>
              <a:ext uri="{C183D7F6-B498-43B3-948B-1728B52AA6E4}">
                <adec:decorative xmlns:adec="http://schemas.microsoft.com/office/drawing/2017/decorative" val="1"/>
              </a:ext>
            </a:extLst>
          </p:cNvPr>
          <p:cNvSpPr/>
          <p:nvPr/>
        </p:nvSpPr>
        <p:spPr>
          <a:xfrm>
            <a:off x="5536003" y="2845602"/>
            <a:ext cx="1119995" cy="1119995"/>
          </a:xfrm>
          <a:prstGeom prst="ellipse">
            <a:avLst/>
          </a:prstGeom>
          <a:solidFill>
            <a:schemeClr val="bg1"/>
          </a:solidFill>
          <a:ln w="34925" cap="flat" cmpd="sng" algn="ctr">
            <a:gradFill flip="none" rotWithShape="1">
              <a:gsLst>
                <a:gs pos="79000">
                  <a:srgbClr val="599FFD"/>
                </a:gs>
                <a:gs pos="42000">
                  <a:srgbClr val="A5B8EE"/>
                </a:gs>
                <a:gs pos="0">
                  <a:srgbClr val="FADC14"/>
                </a:gs>
              </a:gsLst>
              <a:lin ang="2700000" scaled="1"/>
              <a:tileRect/>
            </a:gradFill>
            <a:prstDash val="solid"/>
            <a:headEnd type="none" w="med" len="sm"/>
            <a:tailEnd type="arrow" w="lg" len="med"/>
          </a:ln>
          <a:effectLst/>
        </p:spPr>
        <p:txBody>
          <a:bodyPr rot="0" spcFirstLastPara="0" vertOverflow="overflow" horzOverflow="overflow" vert="horz" wrap="square" lIns="137160" tIns="91440" rIns="137160" bIns="137160" numCol="1" spcCol="0" rtlCol="0" fromWordArt="0" anchor="ctr" anchorCtr="0" forceAA="0" compatLnSpc="1">
            <a:prstTxWarp prst="textNoShape">
              <a:avLst/>
            </a:prstTxWarp>
            <a:noAutofit/>
          </a:bodyPr>
          <a:lstStyle/>
          <a:p>
            <a:pPr marL="0" marR="0" lvl="0" indent="0" algn="l" defTabSz="932754" rtl="0" eaLnBrk="1" fontAlgn="auto" latinLnBrk="0" hangingPunct="1">
              <a:lnSpc>
                <a:spcPct val="100000"/>
              </a:lnSpc>
              <a:spcBef>
                <a:spcPts val="0"/>
              </a:spcBef>
              <a:spcAft>
                <a:spcPts val="600"/>
              </a:spcAft>
              <a:buClrTx/>
              <a:buSzPct val="90000"/>
              <a:buFontTx/>
              <a:buNone/>
              <a:tabLst/>
              <a:defRPr/>
            </a:pPr>
            <a:endParaRPr kumimoji="0" lang="en-US" sz="1900" b="0" i="0" u="none" strike="noStrike" kern="0" cap="none" spc="0" normalizeH="0" baseline="0" noProof="0">
              <a:ln>
                <a:noFill/>
              </a:ln>
              <a:solidFill>
                <a:srgbClr val="FFFFFF"/>
              </a:solidFill>
              <a:effectLst/>
              <a:uLnTx/>
              <a:uFillTx/>
              <a:latin typeface="Segoe Sans Display"/>
              <a:ea typeface="+mn-ea"/>
              <a:cs typeface="Segoe Sans Display Semilight" pitchFamily="2" charset="0"/>
            </a:endParaRPr>
          </a:p>
        </p:txBody>
      </p:sp>
      <p:pic>
        <p:nvPicPr>
          <p:cNvPr id="14" name="Graphic 13">
            <a:extLst>
              <a:ext uri="{FF2B5EF4-FFF2-40B4-BE49-F238E27FC236}">
                <a16:creationId xmlns:a16="http://schemas.microsoft.com/office/drawing/2014/main" id="{A5C7FC3A-E5B9-174E-B1A5-19043E3427EF}"/>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739743" y="3049342"/>
            <a:ext cx="712514" cy="712514"/>
          </a:xfrm>
          <a:prstGeom prst="rect">
            <a:avLst/>
          </a:prstGeom>
        </p:spPr>
      </p:pic>
      <p:grpSp>
        <p:nvGrpSpPr>
          <p:cNvPr id="15" name="Group 14">
            <a:extLst>
              <a:ext uri="{FF2B5EF4-FFF2-40B4-BE49-F238E27FC236}">
                <a16:creationId xmlns:a16="http://schemas.microsoft.com/office/drawing/2014/main" id="{4CCFA178-9547-5B0B-4886-45707479FF98}"/>
              </a:ext>
              <a:ext uri="{C183D7F6-B498-43B3-948B-1728B52AA6E4}">
                <adec:decorative xmlns:adec="http://schemas.microsoft.com/office/drawing/2017/decorative" val="1"/>
              </a:ext>
            </a:extLst>
          </p:cNvPr>
          <p:cNvGrpSpPr/>
          <p:nvPr/>
        </p:nvGrpSpPr>
        <p:grpSpPr>
          <a:xfrm>
            <a:off x="7787713" y="2845602"/>
            <a:ext cx="1119995" cy="1119995"/>
            <a:chOff x="7787713" y="2845602"/>
            <a:chExt cx="1119995" cy="1119995"/>
          </a:xfrm>
        </p:grpSpPr>
        <p:sp>
          <p:nvSpPr>
            <p:cNvPr id="16" name="Oval 15">
              <a:extLst>
                <a:ext uri="{FF2B5EF4-FFF2-40B4-BE49-F238E27FC236}">
                  <a16:creationId xmlns:a16="http://schemas.microsoft.com/office/drawing/2014/main" id="{CEFCD99A-0772-1BD9-7B5C-2DC062296D42}"/>
                </a:ext>
              </a:extLst>
            </p:cNvPr>
            <p:cNvSpPr/>
            <p:nvPr/>
          </p:nvSpPr>
          <p:spPr>
            <a:xfrm>
              <a:off x="7787713" y="2845602"/>
              <a:ext cx="1119995" cy="1119995"/>
            </a:xfrm>
            <a:prstGeom prst="ellipse">
              <a:avLst/>
            </a:prstGeom>
            <a:solidFill>
              <a:schemeClr val="bg1"/>
            </a:solidFill>
            <a:ln w="34925" cap="flat" cmpd="sng" algn="ctr">
              <a:gradFill flip="none" rotWithShape="1">
                <a:gsLst>
                  <a:gs pos="79000">
                    <a:srgbClr val="599FFD"/>
                  </a:gs>
                  <a:gs pos="42000">
                    <a:srgbClr val="A5B8EE"/>
                  </a:gs>
                  <a:gs pos="0">
                    <a:srgbClr val="FADC14"/>
                  </a:gs>
                </a:gsLst>
                <a:lin ang="2700000" scaled="1"/>
                <a:tileRect/>
              </a:gradFill>
              <a:prstDash val="solid"/>
              <a:headEnd type="none" w="med" len="sm"/>
              <a:tailEnd type="arrow" w="lg" len="med"/>
            </a:ln>
            <a:effectLst/>
          </p:spPr>
          <p:txBody>
            <a:bodyPr rot="0" spcFirstLastPara="0" vertOverflow="overflow" horzOverflow="overflow" vert="horz" wrap="square" lIns="137160" tIns="91440" rIns="137160" bIns="137160" numCol="1" spcCol="0" rtlCol="0" fromWordArt="0" anchor="ctr" anchorCtr="0" forceAA="0" compatLnSpc="1">
              <a:prstTxWarp prst="textNoShape">
                <a:avLst/>
              </a:prstTxWarp>
              <a:noAutofit/>
            </a:bodyPr>
            <a:lstStyle/>
            <a:p>
              <a:pPr marL="0" marR="0" lvl="0" indent="0" algn="l" defTabSz="932754" rtl="0" eaLnBrk="1" fontAlgn="auto" latinLnBrk="0" hangingPunct="1">
                <a:lnSpc>
                  <a:spcPct val="100000"/>
                </a:lnSpc>
                <a:spcBef>
                  <a:spcPts val="0"/>
                </a:spcBef>
                <a:spcAft>
                  <a:spcPts val="600"/>
                </a:spcAft>
                <a:buClrTx/>
                <a:buSzPct val="90000"/>
                <a:buFontTx/>
                <a:buNone/>
                <a:tabLst/>
                <a:defRPr/>
              </a:pPr>
              <a:endParaRPr kumimoji="0" lang="en-US" sz="1900" b="0" i="0" u="none" strike="noStrike" kern="0" cap="none" spc="0" normalizeH="0" baseline="0" noProof="0">
                <a:ln>
                  <a:noFill/>
                </a:ln>
                <a:solidFill>
                  <a:srgbClr val="FFFFFF"/>
                </a:solidFill>
                <a:effectLst/>
                <a:uLnTx/>
                <a:uFillTx/>
                <a:latin typeface="Segoe Sans Display"/>
                <a:ea typeface="+mn-ea"/>
                <a:cs typeface="Segoe Sans Display Semilight" pitchFamily="2" charset="0"/>
              </a:endParaRPr>
            </a:p>
          </p:txBody>
        </p:sp>
        <p:sp>
          <p:nvSpPr>
            <p:cNvPr id="17" name="Graphic 17">
              <a:extLst>
                <a:ext uri="{FF2B5EF4-FFF2-40B4-BE49-F238E27FC236}">
                  <a16:creationId xmlns:a16="http://schemas.microsoft.com/office/drawing/2014/main" id="{6A5AA678-F1D4-1C94-39E0-F3B019B7FCD3}"/>
                </a:ext>
              </a:extLst>
            </p:cNvPr>
            <p:cNvSpPr/>
            <p:nvPr/>
          </p:nvSpPr>
          <p:spPr>
            <a:xfrm>
              <a:off x="8218085" y="3100674"/>
              <a:ext cx="259251" cy="609850"/>
            </a:xfrm>
            <a:custGeom>
              <a:avLst/>
              <a:gdLst>
                <a:gd name="connsiteX0" fmla="*/ 64800 w 304863"/>
                <a:gd name="connsiteY0" fmla="*/ 0 h 304723"/>
                <a:gd name="connsiteX1" fmla="*/ 53370 w 304863"/>
                <a:gd name="connsiteY1" fmla="*/ 11430 h 304723"/>
                <a:gd name="connsiteX2" fmla="*/ 53370 w 304863"/>
                <a:gd name="connsiteY2" fmla="*/ 16200 h 304723"/>
                <a:gd name="connsiteX3" fmla="*/ 0 w 304863"/>
                <a:gd name="connsiteY3" fmla="*/ 79980 h 304723"/>
                <a:gd name="connsiteX4" fmla="*/ 0 w 304863"/>
                <a:gd name="connsiteY4" fmla="*/ 88240 h 304723"/>
                <a:gd name="connsiteX5" fmla="*/ 40660 w 304863"/>
                <a:gd name="connsiteY5" fmla="*/ 153314 h 304723"/>
                <a:gd name="connsiteX6" fmla="*/ 53370 w 304863"/>
                <a:gd name="connsiteY6" fmla="*/ 159502 h 304723"/>
                <a:gd name="connsiteX7" fmla="*/ 53370 w 304863"/>
                <a:gd name="connsiteY7" fmla="*/ 264780 h 304723"/>
                <a:gd name="connsiteX8" fmla="*/ 22860 w 304863"/>
                <a:gd name="connsiteY8" fmla="*/ 224424 h 304723"/>
                <a:gd name="connsiteX9" fmla="*/ 22860 w 304863"/>
                <a:gd name="connsiteY9" fmla="*/ 209489 h 304723"/>
                <a:gd name="connsiteX10" fmla="*/ 11430 w 304863"/>
                <a:gd name="connsiteY10" fmla="*/ 198059 h 304723"/>
                <a:gd name="connsiteX11" fmla="*/ 0 w 304863"/>
                <a:gd name="connsiteY11" fmla="*/ 209489 h 304723"/>
                <a:gd name="connsiteX12" fmla="*/ 0 w 304863"/>
                <a:gd name="connsiteY12" fmla="*/ 224424 h 304723"/>
                <a:gd name="connsiteX13" fmla="*/ 53370 w 304863"/>
                <a:gd name="connsiteY13" fmla="*/ 288188 h 304723"/>
                <a:gd name="connsiteX14" fmla="*/ 53370 w 304863"/>
                <a:gd name="connsiteY14" fmla="*/ 293294 h 304723"/>
                <a:gd name="connsiteX15" fmla="*/ 64800 w 304863"/>
                <a:gd name="connsiteY15" fmla="*/ 304724 h 304723"/>
                <a:gd name="connsiteX16" fmla="*/ 76230 w 304863"/>
                <a:gd name="connsiteY16" fmla="*/ 293294 h 304723"/>
                <a:gd name="connsiteX17" fmla="*/ 76230 w 304863"/>
                <a:gd name="connsiteY17" fmla="*/ 288188 h 304723"/>
                <a:gd name="connsiteX18" fmla="*/ 129540 w 304863"/>
                <a:gd name="connsiteY18" fmla="*/ 224424 h 304723"/>
                <a:gd name="connsiteX19" fmla="*/ 129540 w 304863"/>
                <a:gd name="connsiteY19" fmla="*/ 216438 h 304723"/>
                <a:gd name="connsiteX20" fmla="*/ 88880 w 304863"/>
                <a:gd name="connsiteY20" fmla="*/ 151364 h 304723"/>
                <a:gd name="connsiteX21" fmla="*/ 76230 w 304863"/>
                <a:gd name="connsiteY21" fmla="*/ 145207 h 304723"/>
                <a:gd name="connsiteX22" fmla="*/ 76230 w 304863"/>
                <a:gd name="connsiteY22" fmla="*/ 39654 h 304723"/>
                <a:gd name="connsiteX23" fmla="*/ 106680 w 304863"/>
                <a:gd name="connsiteY23" fmla="*/ 79980 h 304723"/>
                <a:gd name="connsiteX24" fmla="*/ 106680 w 304863"/>
                <a:gd name="connsiteY24" fmla="*/ 95220 h 304723"/>
                <a:gd name="connsiteX25" fmla="*/ 118110 w 304863"/>
                <a:gd name="connsiteY25" fmla="*/ 106650 h 304723"/>
                <a:gd name="connsiteX26" fmla="*/ 129540 w 304863"/>
                <a:gd name="connsiteY26" fmla="*/ 95220 h 304723"/>
                <a:gd name="connsiteX27" fmla="*/ 129540 w 304863"/>
                <a:gd name="connsiteY27" fmla="*/ 79980 h 304723"/>
                <a:gd name="connsiteX28" fmla="*/ 76230 w 304863"/>
                <a:gd name="connsiteY28" fmla="*/ 16215 h 304723"/>
                <a:gd name="connsiteX29" fmla="*/ 76230 w 304863"/>
                <a:gd name="connsiteY29" fmla="*/ 11430 h 304723"/>
                <a:gd name="connsiteX30" fmla="*/ 64800 w 304863"/>
                <a:gd name="connsiteY30" fmla="*/ 0 h 304723"/>
                <a:gd name="connsiteX31" fmla="*/ 22860 w 304863"/>
                <a:gd name="connsiteY31" fmla="*/ 79980 h 304723"/>
                <a:gd name="connsiteX32" fmla="*/ 53370 w 304863"/>
                <a:gd name="connsiteY32" fmla="*/ 39624 h 304723"/>
                <a:gd name="connsiteX33" fmla="*/ 53370 w 304863"/>
                <a:gd name="connsiteY33" fmla="*/ 134051 h 304723"/>
                <a:gd name="connsiteX34" fmla="*/ 50688 w 304863"/>
                <a:gd name="connsiteY34" fmla="*/ 132740 h 304723"/>
                <a:gd name="connsiteX35" fmla="*/ 22860 w 304863"/>
                <a:gd name="connsiteY35" fmla="*/ 88240 h 304723"/>
                <a:gd name="connsiteX36" fmla="*/ 22860 w 304863"/>
                <a:gd name="connsiteY36" fmla="*/ 79980 h 304723"/>
                <a:gd name="connsiteX37" fmla="*/ 76230 w 304863"/>
                <a:gd name="connsiteY37" fmla="*/ 264749 h 304723"/>
                <a:gd name="connsiteX38" fmla="*/ 76230 w 304863"/>
                <a:gd name="connsiteY38" fmla="*/ 170642 h 304723"/>
                <a:gd name="connsiteX39" fmla="*/ 78852 w 304863"/>
                <a:gd name="connsiteY39" fmla="*/ 171922 h 304723"/>
                <a:gd name="connsiteX40" fmla="*/ 106680 w 304863"/>
                <a:gd name="connsiteY40" fmla="*/ 216423 h 304723"/>
                <a:gd name="connsiteX41" fmla="*/ 106680 w 304863"/>
                <a:gd name="connsiteY41" fmla="*/ 224424 h 304723"/>
                <a:gd name="connsiteX42" fmla="*/ 76230 w 304863"/>
                <a:gd name="connsiteY42" fmla="*/ 264749 h 304723"/>
                <a:gd name="connsiteX43" fmla="*/ 190500 w 304863"/>
                <a:gd name="connsiteY43" fmla="*/ 152370 h 304723"/>
                <a:gd name="connsiteX44" fmla="*/ 190668 w 304863"/>
                <a:gd name="connsiteY44" fmla="*/ 144734 h 304723"/>
                <a:gd name="connsiteX45" fmla="*/ 217140 w 304863"/>
                <a:gd name="connsiteY45" fmla="*/ 144734 h 304723"/>
                <a:gd name="connsiteX46" fmla="*/ 228577 w 304863"/>
                <a:gd name="connsiteY46" fmla="*/ 133312 h 304723"/>
                <a:gd name="connsiteX47" fmla="*/ 217155 w 304863"/>
                <a:gd name="connsiteY47" fmla="*/ 121874 h 304723"/>
                <a:gd name="connsiteX48" fmla="*/ 193274 w 304863"/>
                <a:gd name="connsiteY48" fmla="*/ 121874 h 304723"/>
                <a:gd name="connsiteX49" fmla="*/ 214107 w 304863"/>
                <a:gd name="connsiteY49" fmla="*/ 69997 h 304723"/>
                <a:gd name="connsiteX50" fmla="*/ 266700 w 304863"/>
                <a:gd name="connsiteY50" fmla="*/ 38070 h 304723"/>
                <a:gd name="connsiteX51" fmla="*/ 287076 w 304863"/>
                <a:gd name="connsiteY51" fmla="*/ 43800 h 304723"/>
                <a:gd name="connsiteX52" fmla="*/ 302918 w 304863"/>
                <a:gd name="connsiteY52" fmla="*/ 40546 h 304723"/>
                <a:gd name="connsiteX53" fmla="*/ 299664 w 304863"/>
                <a:gd name="connsiteY53" fmla="*/ 24704 h 304723"/>
                <a:gd name="connsiteX54" fmla="*/ 266700 w 304863"/>
                <a:gd name="connsiteY54" fmla="*/ 15210 h 304723"/>
                <a:gd name="connsiteX55" fmla="*/ 195362 w 304863"/>
                <a:gd name="connsiteY55" fmla="*/ 56921 h 304723"/>
                <a:gd name="connsiteX56" fmla="*/ 170063 w 304863"/>
                <a:gd name="connsiteY56" fmla="*/ 121844 h 304723"/>
                <a:gd name="connsiteX57" fmla="*/ 148605 w 304863"/>
                <a:gd name="connsiteY57" fmla="*/ 121844 h 304723"/>
                <a:gd name="connsiteX58" fmla="*/ 137168 w 304863"/>
                <a:gd name="connsiteY58" fmla="*/ 133266 h 304723"/>
                <a:gd name="connsiteX59" fmla="*/ 148590 w 304863"/>
                <a:gd name="connsiteY59" fmla="*/ 144704 h 304723"/>
                <a:gd name="connsiteX60" fmla="*/ 167792 w 304863"/>
                <a:gd name="connsiteY60" fmla="*/ 144704 h 304723"/>
                <a:gd name="connsiteX61" fmla="*/ 167792 w 304863"/>
                <a:gd name="connsiteY61" fmla="*/ 159990 h 304723"/>
                <a:gd name="connsiteX62" fmla="*/ 148590 w 304863"/>
                <a:gd name="connsiteY62" fmla="*/ 159990 h 304723"/>
                <a:gd name="connsiteX63" fmla="*/ 137160 w 304863"/>
                <a:gd name="connsiteY63" fmla="*/ 171420 h 304723"/>
                <a:gd name="connsiteX64" fmla="*/ 148590 w 304863"/>
                <a:gd name="connsiteY64" fmla="*/ 182850 h 304723"/>
                <a:gd name="connsiteX65" fmla="*/ 170078 w 304863"/>
                <a:gd name="connsiteY65" fmla="*/ 182850 h 304723"/>
                <a:gd name="connsiteX66" fmla="*/ 195362 w 304863"/>
                <a:gd name="connsiteY66" fmla="*/ 247802 h 304723"/>
                <a:gd name="connsiteX67" fmla="*/ 266700 w 304863"/>
                <a:gd name="connsiteY67" fmla="*/ 289530 h 304723"/>
                <a:gd name="connsiteX68" fmla="*/ 299954 w 304863"/>
                <a:gd name="connsiteY68" fmla="*/ 279928 h 304723"/>
                <a:gd name="connsiteX69" fmla="*/ 302819 w 304863"/>
                <a:gd name="connsiteY69" fmla="*/ 264018 h 304723"/>
                <a:gd name="connsiteX70" fmla="*/ 286908 w 304863"/>
                <a:gd name="connsiteY70" fmla="*/ 261153 h 304723"/>
                <a:gd name="connsiteX71" fmla="*/ 266700 w 304863"/>
                <a:gd name="connsiteY71" fmla="*/ 266654 h 304723"/>
                <a:gd name="connsiteX72" fmla="*/ 214122 w 304863"/>
                <a:gd name="connsiteY72" fmla="*/ 234726 h 304723"/>
                <a:gd name="connsiteX73" fmla="*/ 193274 w 304863"/>
                <a:gd name="connsiteY73" fmla="*/ 182850 h 304723"/>
                <a:gd name="connsiteX74" fmla="*/ 217155 w 304863"/>
                <a:gd name="connsiteY74" fmla="*/ 182850 h 304723"/>
                <a:gd name="connsiteX75" fmla="*/ 228585 w 304863"/>
                <a:gd name="connsiteY75" fmla="*/ 171420 h 304723"/>
                <a:gd name="connsiteX76" fmla="*/ 217155 w 304863"/>
                <a:gd name="connsiteY76" fmla="*/ 159990 h 304723"/>
                <a:gd name="connsiteX77" fmla="*/ 190652 w 304863"/>
                <a:gd name="connsiteY77" fmla="*/ 159990 h 304723"/>
                <a:gd name="connsiteX78" fmla="*/ 190485 w 304863"/>
                <a:gd name="connsiteY78" fmla="*/ 152370 h 304723"/>
                <a:gd name="connsiteX0" fmla="*/ 64800 w 304863"/>
                <a:gd name="connsiteY0" fmla="*/ 0 h 304724"/>
                <a:gd name="connsiteX1" fmla="*/ 53370 w 304863"/>
                <a:gd name="connsiteY1" fmla="*/ 11430 h 304724"/>
                <a:gd name="connsiteX2" fmla="*/ 53370 w 304863"/>
                <a:gd name="connsiteY2" fmla="*/ 16200 h 304724"/>
                <a:gd name="connsiteX3" fmla="*/ 0 w 304863"/>
                <a:gd name="connsiteY3" fmla="*/ 79980 h 304724"/>
                <a:gd name="connsiteX4" fmla="*/ 0 w 304863"/>
                <a:gd name="connsiteY4" fmla="*/ 88240 h 304724"/>
                <a:gd name="connsiteX5" fmla="*/ 40660 w 304863"/>
                <a:gd name="connsiteY5" fmla="*/ 153314 h 304724"/>
                <a:gd name="connsiteX6" fmla="*/ 53370 w 304863"/>
                <a:gd name="connsiteY6" fmla="*/ 159502 h 304724"/>
                <a:gd name="connsiteX7" fmla="*/ 53370 w 304863"/>
                <a:gd name="connsiteY7" fmla="*/ 264780 h 304724"/>
                <a:gd name="connsiteX8" fmla="*/ 22860 w 304863"/>
                <a:gd name="connsiteY8" fmla="*/ 224424 h 304724"/>
                <a:gd name="connsiteX9" fmla="*/ 22860 w 304863"/>
                <a:gd name="connsiteY9" fmla="*/ 209489 h 304724"/>
                <a:gd name="connsiteX10" fmla="*/ 11430 w 304863"/>
                <a:gd name="connsiteY10" fmla="*/ 198059 h 304724"/>
                <a:gd name="connsiteX11" fmla="*/ 0 w 304863"/>
                <a:gd name="connsiteY11" fmla="*/ 209489 h 304724"/>
                <a:gd name="connsiteX12" fmla="*/ 0 w 304863"/>
                <a:gd name="connsiteY12" fmla="*/ 224424 h 304724"/>
                <a:gd name="connsiteX13" fmla="*/ 53370 w 304863"/>
                <a:gd name="connsiteY13" fmla="*/ 288188 h 304724"/>
                <a:gd name="connsiteX14" fmla="*/ 53370 w 304863"/>
                <a:gd name="connsiteY14" fmla="*/ 293294 h 304724"/>
                <a:gd name="connsiteX15" fmla="*/ 64800 w 304863"/>
                <a:gd name="connsiteY15" fmla="*/ 304724 h 304724"/>
                <a:gd name="connsiteX16" fmla="*/ 76230 w 304863"/>
                <a:gd name="connsiteY16" fmla="*/ 293294 h 304724"/>
                <a:gd name="connsiteX17" fmla="*/ 76230 w 304863"/>
                <a:gd name="connsiteY17" fmla="*/ 288188 h 304724"/>
                <a:gd name="connsiteX18" fmla="*/ 129540 w 304863"/>
                <a:gd name="connsiteY18" fmla="*/ 224424 h 304724"/>
                <a:gd name="connsiteX19" fmla="*/ 129540 w 304863"/>
                <a:gd name="connsiteY19" fmla="*/ 216438 h 304724"/>
                <a:gd name="connsiteX20" fmla="*/ 88880 w 304863"/>
                <a:gd name="connsiteY20" fmla="*/ 151364 h 304724"/>
                <a:gd name="connsiteX21" fmla="*/ 76230 w 304863"/>
                <a:gd name="connsiteY21" fmla="*/ 145207 h 304724"/>
                <a:gd name="connsiteX22" fmla="*/ 76230 w 304863"/>
                <a:gd name="connsiteY22" fmla="*/ 39654 h 304724"/>
                <a:gd name="connsiteX23" fmla="*/ 106680 w 304863"/>
                <a:gd name="connsiteY23" fmla="*/ 79980 h 304724"/>
                <a:gd name="connsiteX24" fmla="*/ 106680 w 304863"/>
                <a:gd name="connsiteY24" fmla="*/ 95220 h 304724"/>
                <a:gd name="connsiteX25" fmla="*/ 118110 w 304863"/>
                <a:gd name="connsiteY25" fmla="*/ 106650 h 304724"/>
                <a:gd name="connsiteX26" fmla="*/ 129540 w 304863"/>
                <a:gd name="connsiteY26" fmla="*/ 95220 h 304724"/>
                <a:gd name="connsiteX27" fmla="*/ 129540 w 304863"/>
                <a:gd name="connsiteY27" fmla="*/ 79980 h 304724"/>
                <a:gd name="connsiteX28" fmla="*/ 76230 w 304863"/>
                <a:gd name="connsiteY28" fmla="*/ 16215 h 304724"/>
                <a:gd name="connsiteX29" fmla="*/ 76230 w 304863"/>
                <a:gd name="connsiteY29" fmla="*/ 11430 h 304724"/>
                <a:gd name="connsiteX30" fmla="*/ 64800 w 304863"/>
                <a:gd name="connsiteY30" fmla="*/ 0 h 304724"/>
                <a:gd name="connsiteX31" fmla="*/ 22860 w 304863"/>
                <a:gd name="connsiteY31" fmla="*/ 79980 h 304724"/>
                <a:gd name="connsiteX32" fmla="*/ 53370 w 304863"/>
                <a:gd name="connsiteY32" fmla="*/ 39624 h 304724"/>
                <a:gd name="connsiteX33" fmla="*/ 53370 w 304863"/>
                <a:gd name="connsiteY33" fmla="*/ 134051 h 304724"/>
                <a:gd name="connsiteX34" fmla="*/ 50688 w 304863"/>
                <a:gd name="connsiteY34" fmla="*/ 132740 h 304724"/>
                <a:gd name="connsiteX35" fmla="*/ 22860 w 304863"/>
                <a:gd name="connsiteY35" fmla="*/ 88240 h 304724"/>
                <a:gd name="connsiteX36" fmla="*/ 22860 w 304863"/>
                <a:gd name="connsiteY36" fmla="*/ 79980 h 304724"/>
                <a:gd name="connsiteX37" fmla="*/ 76230 w 304863"/>
                <a:gd name="connsiteY37" fmla="*/ 264749 h 304724"/>
                <a:gd name="connsiteX38" fmla="*/ 76230 w 304863"/>
                <a:gd name="connsiteY38" fmla="*/ 170642 h 304724"/>
                <a:gd name="connsiteX39" fmla="*/ 78852 w 304863"/>
                <a:gd name="connsiteY39" fmla="*/ 171922 h 304724"/>
                <a:gd name="connsiteX40" fmla="*/ 106680 w 304863"/>
                <a:gd name="connsiteY40" fmla="*/ 216423 h 304724"/>
                <a:gd name="connsiteX41" fmla="*/ 106680 w 304863"/>
                <a:gd name="connsiteY41" fmla="*/ 224424 h 304724"/>
                <a:gd name="connsiteX42" fmla="*/ 76230 w 304863"/>
                <a:gd name="connsiteY42" fmla="*/ 264749 h 304724"/>
                <a:gd name="connsiteX43" fmla="*/ 190500 w 304863"/>
                <a:gd name="connsiteY43" fmla="*/ 152370 h 304724"/>
                <a:gd name="connsiteX44" fmla="*/ 190668 w 304863"/>
                <a:gd name="connsiteY44" fmla="*/ 144734 h 304724"/>
                <a:gd name="connsiteX45" fmla="*/ 217140 w 304863"/>
                <a:gd name="connsiteY45" fmla="*/ 144734 h 304724"/>
                <a:gd name="connsiteX46" fmla="*/ 228577 w 304863"/>
                <a:gd name="connsiteY46" fmla="*/ 133312 h 304724"/>
                <a:gd name="connsiteX47" fmla="*/ 217155 w 304863"/>
                <a:gd name="connsiteY47" fmla="*/ 121874 h 304724"/>
                <a:gd name="connsiteX48" fmla="*/ 193274 w 304863"/>
                <a:gd name="connsiteY48" fmla="*/ 121874 h 304724"/>
                <a:gd name="connsiteX49" fmla="*/ 214107 w 304863"/>
                <a:gd name="connsiteY49" fmla="*/ 69997 h 304724"/>
                <a:gd name="connsiteX50" fmla="*/ 266700 w 304863"/>
                <a:gd name="connsiteY50" fmla="*/ 38070 h 304724"/>
                <a:gd name="connsiteX51" fmla="*/ 287076 w 304863"/>
                <a:gd name="connsiteY51" fmla="*/ 43800 h 304724"/>
                <a:gd name="connsiteX52" fmla="*/ 302918 w 304863"/>
                <a:gd name="connsiteY52" fmla="*/ 40546 h 304724"/>
                <a:gd name="connsiteX53" fmla="*/ 266700 w 304863"/>
                <a:gd name="connsiteY53" fmla="*/ 15210 h 304724"/>
                <a:gd name="connsiteX54" fmla="*/ 195362 w 304863"/>
                <a:gd name="connsiteY54" fmla="*/ 56921 h 304724"/>
                <a:gd name="connsiteX55" fmla="*/ 170063 w 304863"/>
                <a:gd name="connsiteY55" fmla="*/ 121844 h 304724"/>
                <a:gd name="connsiteX56" fmla="*/ 148605 w 304863"/>
                <a:gd name="connsiteY56" fmla="*/ 121844 h 304724"/>
                <a:gd name="connsiteX57" fmla="*/ 137168 w 304863"/>
                <a:gd name="connsiteY57" fmla="*/ 133266 h 304724"/>
                <a:gd name="connsiteX58" fmla="*/ 148590 w 304863"/>
                <a:gd name="connsiteY58" fmla="*/ 144704 h 304724"/>
                <a:gd name="connsiteX59" fmla="*/ 167792 w 304863"/>
                <a:gd name="connsiteY59" fmla="*/ 144704 h 304724"/>
                <a:gd name="connsiteX60" fmla="*/ 167792 w 304863"/>
                <a:gd name="connsiteY60" fmla="*/ 159990 h 304724"/>
                <a:gd name="connsiteX61" fmla="*/ 148590 w 304863"/>
                <a:gd name="connsiteY61" fmla="*/ 159990 h 304724"/>
                <a:gd name="connsiteX62" fmla="*/ 137160 w 304863"/>
                <a:gd name="connsiteY62" fmla="*/ 171420 h 304724"/>
                <a:gd name="connsiteX63" fmla="*/ 148590 w 304863"/>
                <a:gd name="connsiteY63" fmla="*/ 182850 h 304724"/>
                <a:gd name="connsiteX64" fmla="*/ 170078 w 304863"/>
                <a:gd name="connsiteY64" fmla="*/ 182850 h 304724"/>
                <a:gd name="connsiteX65" fmla="*/ 195362 w 304863"/>
                <a:gd name="connsiteY65" fmla="*/ 247802 h 304724"/>
                <a:gd name="connsiteX66" fmla="*/ 266700 w 304863"/>
                <a:gd name="connsiteY66" fmla="*/ 289530 h 304724"/>
                <a:gd name="connsiteX67" fmla="*/ 299954 w 304863"/>
                <a:gd name="connsiteY67" fmla="*/ 279928 h 304724"/>
                <a:gd name="connsiteX68" fmla="*/ 302819 w 304863"/>
                <a:gd name="connsiteY68" fmla="*/ 264018 h 304724"/>
                <a:gd name="connsiteX69" fmla="*/ 286908 w 304863"/>
                <a:gd name="connsiteY69" fmla="*/ 261153 h 304724"/>
                <a:gd name="connsiteX70" fmla="*/ 266700 w 304863"/>
                <a:gd name="connsiteY70" fmla="*/ 266654 h 304724"/>
                <a:gd name="connsiteX71" fmla="*/ 214122 w 304863"/>
                <a:gd name="connsiteY71" fmla="*/ 234726 h 304724"/>
                <a:gd name="connsiteX72" fmla="*/ 193274 w 304863"/>
                <a:gd name="connsiteY72" fmla="*/ 182850 h 304724"/>
                <a:gd name="connsiteX73" fmla="*/ 217155 w 304863"/>
                <a:gd name="connsiteY73" fmla="*/ 182850 h 304724"/>
                <a:gd name="connsiteX74" fmla="*/ 228585 w 304863"/>
                <a:gd name="connsiteY74" fmla="*/ 171420 h 304724"/>
                <a:gd name="connsiteX75" fmla="*/ 217155 w 304863"/>
                <a:gd name="connsiteY75" fmla="*/ 159990 h 304724"/>
                <a:gd name="connsiteX76" fmla="*/ 190652 w 304863"/>
                <a:gd name="connsiteY76" fmla="*/ 159990 h 304724"/>
                <a:gd name="connsiteX77" fmla="*/ 190485 w 304863"/>
                <a:gd name="connsiteY77" fmla="*/ 152370 h 304724"/>
                <a:gd name="connsiteX78" fmla="*/ 190500 w 304863"/>
                <a:gd name="connsiteY78" fmla="*/ 152370 h 304724"/>
                <a:gd name="connsiteX0" fmla="*/ 64800 w 304863"/>
                <a:gd name="connsiteY0" fmla="*/ 0 h 304724"/>
                <a:gd name="connsiteX1" fmla="*/ 53370 w 304863"/>
                <a:gd name="connsiteY1" fmla="*/ 11430 h 304724"/>
                <a:gd name="connsiteX2" fmla="*/ 53370 w 304863"/>
                <a:gd name="connsiteY2" fmla="*/ 16200 h 304724"/>
                <a:gd name="connsiteX3" fmla="*/ 0 w 304863"/>
                <a:gd name="connsiteY3" fmla="*/ 79980 h 304724"/>
                <a:gd name="connsiteX4" fmla="*/ 0 w 304863"/>
                <a:gd name="connsiteY4" fmla="*/ 88240 h 304724"/>
                <a:gd name="connsiteX5" fmla="*/ 40660 w 304863"/>
                <a:gd name="connsiteY5" fmla="*/ 153314 h 304724"/>
                <a:gd name="connsiteX6" fmla="*/ 53370 w 304863"/>
                <a:gd name="connsiteY6" fmla="*/ 159502 h 304724"/>
                <a:gd name="connsiteX7" fmla="*/ 53370 w 304863"/>
                <a:gd name="connsiteY7" fmla="*/ 264780 h 304724"/>
                <a:gd name="connsiteX8" fmla="*/ 22860 w 304863"/>
                <a:gd name="connsiteY8" fmla="*/ 224424 h 304724"/>
                <a:gd name="connsiteX9" fmla="*/ 22860 w 304863"/>
                <a:gd name="connsiteY9" fmla="*/ 209489 h 304724"/>
                <a:gd name="connsiteX10" fmla="*/ 11430 w 304863"/>
                <a:gd name="connsiteY10" fmla="*/ 198059 h 304724"/>
                <a:gd name="connsiteX11" fmla="*/ 0 w 304863"/>
                <a:gd name="connsiteY11" fmla="*/ 209489 h 304724"/>
                <a:gd name="connsiteX12" fmla="*/ 0 w 304863"/>
                <a:gd name="connsiteY12" fmla="*/ 224424 h 304724"/>
                <a:gd name="connsiteX13" fmla="*/ 53370 w 304863"/>
                <a:gd name="connsiteY13" fmla="*/ 288188 h 304724"/>
                <a:gd name="connsiteX14" fmla="*/ 53370 w 304863"/>
                <a:gd name="connsiteY14" fmla="*/ 293294 h 304724"/>
                <a:gd name="connsiteX15" fmla="*/ 64800 w 304863"/>
                <a:gd name="connsiteY15" fmla="*/ 304724 h 304724"/>
                <a:gd name="connsiteX16" fmla="*/ 76230 w 304863"/>
                <a:gd name="connsiteY16" fmla="*/ 293294 h 304724"/>
                <a:gd name="connsiteX17" fmla="*/ 76230 w 304863"/>
                <a:gd name="connsiteY17" fmla="*/ 288188 h 304724"/>
                <a:gd name="connsiteX18" fmla="*/ 129540 w 304863"/>
                <a:gd name="connsiteY18" fmla="*/ 224424 h 304724"/>
                <a:gd name="connsiteX19" fmla="*/ 129540 w 304863"/>
                <a:gd name="connsiteY19" fmla="*/ 216438 h 304724"/>
                <a:gd name="connsiteX20" fmla="*/ 88880 w 304863"/>
                <a:gd name="connsiteY20" fmla="*/ 151364 h 304724"/>
                <a:gd name="connsiteX21" fmla="*/ 76230 w 304863"/>
                <a:gd name="connsiteY21" fmla="*/ 145207 h 304724"/>
                <a:gd name="connsiteX22" fmla="*/ 76230 w 304863"/>
                <a:gd name="connsiteY22" fmla="*/ 39654 h 304724"/>
                <a:gd name="connsiteX23" fmla="*/ 106680 w 304863"/>
                <a:gd name="connsiteY23" fmla="*/ 79980 h 304724"/>
                <a:gd name="connsiteX24" fmla="*/ 106680 w 304863"/>
                <a:gd name="connsiteY24" fmla="*/ 95220 h 304724"/>
                <a:gd name="connsiteX25" fmla="*/ 118110 w 304863"/>
                <a:gd name="connsiteY25" fmla="*/ 106650 h 304724"/>
                <a:gd name="connsiteX26" fmla="*/ 129540 w 304863"/>
                <a:gd name="connsiteY26" fmla="*/ 95220 h 304724"/>
                <a:gd name="connsiteX27" fmla="*/ 129540 w 304863"/>
                <a:gd name="connsiteY27" fmla="*/ 79980 h 304724"/>
                <a:gd name="connsiteX28" fmla="*/ 76230 w 304863"/>
                <a:gd name="connsiteY28" fmla="*/ 16215 h 304724"/>
                <a:gd name="connsiteX29" fmla="*/ 76230 w 304863"/>
                <a:gd name="connsiteY29" fmla="*/ 11430 h 304724"/>
                <a:gd name="connsiteX30" fmla="*/ 64800 w 304863"/>
                <a:gd name="connsiteY30" fmla="*/ 0 h 304724"/>
                <a:gd name="connsiteX31" fmla="*/ 22860 w 304863"/>
                <a:gd name="connsiteY31" fmla="*/ 79980 h 304724"/>
                <a:gd name="connsiteX32" fmla="*/ 53370 w 304863"/>
                <a:gd name="connsiteY32" fmla="*/ 39624 h 304724"/>
                <a:gd name="connsiteX33" fmla="*/ 53370 w 304863"/>
                <a:gd name="connsiteY33" fmla="*/ 134051 h 304724"/>
                <a:gd name="connsiteX34" fmla="*/ 50688 w 304863"/>
                <a:gd name="connsiteY34" fmla="*/ 132740 h 304724"/>
                <a:gd name="connsiteX35" fmla="*/ 22860 w 304863"/>
                <a:gd name="connsiteY35" fmla="*/ 88240 h 304724"/>
                <a:gd name="connsiteX36" fmla="*/ 22860 w 304863"/>
                <a:gd name="connsiteY36" fmla="*/ 79980 h 304724"/>
                <a:gd name="connsiteX37" fmla="*/ 76230 w 304863"/>
                <a:gd name="connsiteY37" fmla="*/ 264749 h 304724"/>
                <a:gd name="connsiteX38" fmla="*/ 76230 w 304863"/>
                <a:gd name="connsiteY38" fmla="*/ 170642 h 304724"/>
                <a:gd name="connsiteX39" fmla="*/ 78852 w 304863"/>
                <a:gd name="connsiteY39" fmla="*/ 171922 h 304724"/>
                <a:gd name="connsiteX40" fmla="*/ 106680 w 304863"/>
                <a:gd name="connsiteY40" fmla="*/ 216423 h 304724"/>
                <a:gd name="connsiteX41" fmla="*/ 106680 w 304863"/>
                <a:gd name="connsiteY41" fmla="*/ 224424 h 304724"/>
                <a:gd name="connsiteX42" fmla="*/ 76230 w 304863"/>
                <a:gd name="connsiteY42" fmla="*/ 264749 h 304724"/>
                <a:gd name="connsiteX43" fmla="*/ 190500 w 304863"/>
                <a:gd name="connsiteY43" fmla="*/ 152370 h 304724"/>
                <a:gd name="connsiteX44" fmla="*/ 190668 w 304863"/>
                <a:gd name="connsiteY44" fmla="*/ 144734 h 304724"/>
                <a:gd name="connsiteX45" fmla="*/ 217140 w 304863"/>
                <a:gd name="connsiteY45" fmla="*/ 144734 h 304724"/>
                <a:gd name="connsiteX46" fmla="*/ 228577 w 304863"/>
                <a:gd name="connsiteY46" fmla="*/ 133312 h 304724"/>
                <a:gd name="connsiteX47" fmla="*/ 217155 w 304863"/>
                <a:gd name="connsiteY47" fmla="*/ 121874 h 304724"/>
                <a:gd name="connsiteX48" fmla="*/ 193274 w 304863"/>
                <a:gd name="connsiteY48" fmla="*/ 121874 h 304724"/>
                <a:gd name="connsiteX49" fmla="*/ 214107 w 304863"/>
                <a:gd name="connsiteY49" fmla="*/ 69997 h 304724"/>
                <a:gd name="connsiteX50" fmla="*/ 266700 w 304863"/>
                <a:gd name="connsiteY50" fmla="*/ 38070 h 304724"/>
                <a:gd name="connsiteX51" fmla="*/ 287076 w 304863"/>
                <a:gd name="connsiteY51" fmla="*/ 43800 h 304724"/>
                <a:gd name="connsiteX52" fmla="*/ 266700 w 304863"/>
                <a:gd name="connsiteY52" fmla="*/ 15210 h 304724"/>
                <a:gd name="connsiteX53" fmla="*/ 195362 w 304863"/>
                <a:gd name="connsiteY53" fmla="*/ 56921 h 304724"/>
                <a:gd name="connsiteX54" fmla="*/ 170063 w 304863"/>
                <a:gd name="connsiteY54" fmla="*/ 121844 h 304724"/>
                <a:gd name="connsiteX55" fmla="*/ 148605 w 304863"/>
                <a:gd name="connsiteY55" fmla="*/ 121844 h 304724"/>
                <a:gd name="connsiteX56" fmla="*/ 137168 w 304863"/>
                <a:gd name="connsiteY56" fmla="*/ 133266 h 304724"/>
                <a:gd name="connsiteX57" fmla="*/ 148590 w 304863"/>
                <a:gd name="connsiteY57" fmla="*/ 144704 h 304724"/>
                <a:gd name="connsiteX58" fmla="*/ 167792 w 304863"/>
                <a:gd name="connsiteY58" fmla="*/ 144704 h 304724"/>
                <a:gd name="connsiteX59" fmla="*/ 167792 w 304863"/>
                <a:gd name="connsiteY59" fmla="*/ 159990 h 304724"/>
                <a:gd name="connsiteX60" fmla="*/ 148590 w 304863"/>
                <a:gd name="connsiteY60" fmla="*/ 159990 h 304724"/>
                <a:gd name="connsiteX61" fmla="*/ 137160 w 304863"/>
                <a:gd name="connsiteY61" fmla="*/ 171420 h 304724"/>
                <a:gd name="connsiteX62" fmla="*/ 148590 w 304863"/>
                <a:gd name="connsiteY62" fmla="*/ 182850 h 304724"/>
                <a:gd name="connsiteX63" fmla="*/ 170078 w 304863"/>
                <a:gd name="connsiteY63" fmla="*/ 182850 h 304724"/>
                <a:gd name="connsiteX64" fmla="*/ 195362 w 304863"/>
                <a:gd name="connsiteY64" fmla="*/ 247802 h 304724"/>
                <a:gd name="connsiteX65" fmla="*/ 266700 w 304863"/>
                <a:gd name="connsiteY65" fmla="*/ 289530 h 304724"/>
                <a:gd name="connsiteX66" fmla="*/ 299954 w 304863"/>
                <a:gd name="connsiteY66" fmla="*/ 279928 h 304724"/>
                <a:gd name="connsiteX67" fmla="*/ 302819 w 304863"/>
                <a:gd name="connsiteY67" fmla="*/ 264018 h 304724"/>
                <a:gd name="connsiteX68" fmla="*/ 286908 w 304863"/>
                <a:gd name="connsiteY68" fmla="*/ 261153 h 304724"/>
                <a:gd name="connsiteX69" fmla="*/ 266700 w 304863"/>
                <a:gd name="connsiteY69" fmla="*/ 266654 h 304724"/>
                <a:gd name="connsiteX70" fmla="*/ 214122 w 304863"/>
                <a:gd name="connsiteY70" fmla="*/ 234726 h 304724"/>
                <a:gd name="connsiteX71" fmla="*/ 193274 w 304863"/>
                <a:gd name="connsiteY71" fmla="*/ 182850 h 304724"/>
                <a:gd name="connsiteX72" fmla="*/ 217155 w 304863"/>
                <a:gd name="connsiteY72" fmla="*/ 182850 h 304724"/>
                <a:gd name="connsiteX73" fmla="*/ 228585 w 304863"/>
                <a:gd name="connsiteY73" fmla="*/ 171420 h 304724"/>
                <a:gd name="connsiteX74" fmla="*/ 217155 w 304863"/>
                <a:gd name="connsiteY74" fmla="*/ 159990 h 304724"/>
                <a:gd name="connsiteX75" fmla="*/ 190652 w 304863"/>
                <a:gd name="connsiteY75" fmla="*/ 159990 h 304724"/>
                <a:gd name="connsiteX76" fmla="*/ 190485 w 304863"/>
                <a:gd name="connsiteY76" fmla="*/ 152370 h 304724"/>
                <a:gd name="connsiteX77" fmla="*/ 190500 w 304863"/>
                <a:gd name="connsiteY77" fmla="*/ 152370 h 304724"/>
                <a:gd name="connsiteX0" fmla="*/ 64800 w 304863"/>
                <a:gd name="connsiteY0" fmla="*/ 0 h 304724"/>
                <a:gd name="connsiteX1" fmla="*/ 53370 w 304863"/>
                <a:gd name="connsiteY1" fmla="*/ 11430 h 304724"/>
                <a:gd name="connsiteX2" fmla="*/ 53370 w 304863"/>
                <a:gd name="connsiteY2" fmla="*/ 16200 h 304724"/>
                <a:gd name="connsiteX3" fmla="*/ 0 w 304863"/>
                <a:gd name="connsiteY3" fmla="*/ 79980 h 304724"/>
                <a:gd name="connsiteX4" fmla="*/ 0 w 304863"/>
                <a:gd name="connsiteY4" fmla="*/ 88240 h 304724"/>
                <a:gd name="connsiteX5" fmla="*/ 40660 w 304863"/>
                <a:gd name="connsiteY5" fmla="*/ 153314 h 304724"/>
                <a:gd name="connsiteX6" fmla="*/ 53370 w 304863"/>
                <a:gd name="connsiteY6" fmla="*/ 159502 h 304724"/>
                <a:gd name="connsiteX7" fmla="*/ 53370 w 304863"/>
                <a:gd name="connsiteY7" fmla="*/ 264780 h 304724"/>
                <a:gd name="connsiteX8" fmla="*/ 22860 w 304863"/>
                <a:gd name="connsiteY8" fmla="*/ 224424 h 304724"/>
                <a:gd name="connsiteX9" fmla="*/ 22860 w 304863"/>
                <a:gd name="connsiteY9" fmla="*/ 209489 h 304724"/>
                <a:gd name="connsiteX10" fmla="*/ 11430 w 304863"/>
                <a:gd name="connsiteY10" fmla="*/ 198059 h 304724"/>
                <a:gd name="connsiteX11" fmla="*/ 0 w 304863"/>
                <a:gd name="connsiteY11" fmla="*/ 209489 h 304724"/>
                <a:gd name="connsiteX12" fmla="*/ 0 w 304863"/>
                <a:gd name="connsiteY12" fmla="*/ 224424 h 304724"/>
                <a:gd name="connsiteX13" fmla="*/ 53370 w 304863"/>
                <a:gd name="connsiteY13" fmla="*/ 288188 h 304724"/>
                <a:gd name="connsiteX14" fmla="*/ 53370 w 304863"/>
                <a:gd name="connsiteY14" fmla="*/ 293294 h 304724"/>
                <a:gd name="connsiteX15" fmla="*/ 64800 w 304863"/>
                <a:gd name="connsiteY15" fmla="*/ 304724 h 304724"/>
                <a:gd name="connsiteX16" fmla="*/ 76230 w 304863"/>
                <a:gd name="connsiteY16" fmla="*/ 293294 h 304724"/>
                <a:gd name="connsiteX17" fmla="*/ 76230 w 304863"/>
                <a:gd name="connsiteY17" fmla="*/ 288188 h 304724"/>
                <a:gd name="connsiteX18" fmla="*/ 129540 w 304863"/>
                <a:gd name="connsiteY18" fmla="*/ 224424 h 304724"/>
                <a:gd name="connsiteX19" fmla="*/ 129540 w 304863"/>
                <a:gd name="connsiteY19" fmla="*/ 216438 h 304724"/>
                <a:gd name="connsiteX20" fmla="*/ 88880 w 304863"/>
                <a:gd name="connsiteY20" fmla="*/ 151364 h 304724"/>
                <a:gd name="connsiteX21" fmla="*/ 76230 w 304863"/>
                <a:gd name="connsiteY21" fmla="*/ 145207 h 304724"/>
                <a:gd name="connsiteX22" fmla="*/ 76230 w 304863"/>
                <a:gd name="connsiteY22" fmla="*/ 39654 h 304724"/>
                <a:gd name="connsiteX23" fmla="*/ 106680 w 304863"/>
                <a:gd name="connsiteY23" fmla="*/ 79980 h 304724"/>
                <a:gd name="connsiteX24" fmla="*/ 106680 w 304863"/>
                <a:gd name="connsiteY24" fmla="*/ 95220 h 304724"/>
                <a:gd name="connsiteX25" fmla="*/ 118110 w 304863"/>
                <a:gd name="connsiteY25" fmla="*/ 106650 h 304724"/>
                <a:gd name="connsiteX26" fmla="*/ 129540 w 304863"/>
                <a:gd name="connsiteY26" fmla="*/ 95220 h 304724"/>
                <a:gd name="connsiteX27" fmla="*/ 129540 w 304863"/>
                <a:gd name="connsiteY27" fmla="*/ 79980 h 304724"/>
                <a:gd name="connsiteX28" fmla="*/ 76230 w 304863"/>
                <a:gd name="connsiteY28" fmla="*/ 16215 h 304724"/>
                <a:gd name="connsiteX29" fmla="*/ 76230 w 304863"/>
                <a:gd name="connsiteY29" fmla="*/ 11430 h 304724"/>
                <a:gd name="connsiteX30" fmla="*/ 64800 w 304863"/>
                <a:gd name="connsiteY30" fmla="*/ 0 h 304724"/>
                <a:gd name="connsiteX31" fmla="*/ 22860 w 304863"/>
                <a:gd name="connsiteY31" fmla="*/ 79980 h 304724"/>
                <a:gd name="connsiteX32" fmla="*/ 53370 w 304863"/>
                <a:gd name="connsiteY32" fmla="*/ 39624 h 304724"/>
                <a:gd name="connsiteX33" fmla="*/ 53370 w 304863"/>
                <a:gd name="connsiteY33" fmla="*/ 134051 h 304724"/>
                <a:gd name="connsiteX34" fmla="*/ 50688 w 304863"/>
                <a:gd name="connsiteY34" fmla="*/ 132740 h 304724"/>
                <a:gd name="connsiteX35" fmla="*/ 22860 w 304863"/>
                <a:gd name="connsiteY35" fmla="*/ 88240 h 304724"/>
                <a:gd name="connsiteX36" fmla="*/ 22860 w 304863"/>
                <a:gd name="connsiteY36" fmla="*/ 79980 h 304724"/>
                <a:gd name="connsiteX37" fmla="*/ 76230 w 304863"/>
                <a:gd name="connsiteY37" fmla="*/ 264749 h 304724"/>
                <a:gd name="connsiteX38" fmla="*/ 76230 w 304863"/>
                <a:gd name="connsiteY38" fmla="*/ 170642 h 304724"/>
                <a:gd name="connsiteX39" fmla="*/ 78852 w 304863"/>
                <a:gd name="connsiteY39" fmla="*/ 171922 h 304724"/>
                <a:gd name="connsiteX40" fmla="*/ 106680 w 304863"/>
                <a:gd name="connsiteY40" fmla="*/ 216423 h 304724"/>
                <a:gd name="connsiteX41" fmla="*/ 106680 w 304863"/>
                <a:gd name="connsiteY41" fmla="*/ 224424 h 304724"/>
                <a:gd name="connsiteX42" fmla="*/ 76230 w 304863"/>
                <a:gd name="connsiteY42" fmla="*/ 264749 h 304724"/>
                <a:gd name="connsiteX43" fmla="*/ 190500 w 304863"/>
                <a:gd name="connsiteY43" fmla="*/ 152370 h 304724"/>
                <a:gd name="connsiteX44" fmla="*/ 190668 w 304863"/>
                <a:gd name="connsiteY44" fmla="*/ 144734 h 304724"/>
                <a:gd name="connsiteX45" fmla="*/ 217140 w 304863"/>
                <a:gd name="connsiteY45" fmla="*/ 144734 h 304724"/>
                <a:gd name="connsiteX46" fmla="*/ 228577 w 304863"/>
                <a:gd name="connsiteY46" fmla="*/ 133312 h 304724"/>
                <a:gd name="connsiteX47" fmla="*/ 217155 w 304863"/>
                <a:gd name="connsiteY47" fmla="*/ 121874 h 304724"/>
                <a:gd name="connsiteX48" fmla="*/ 193274 w 304863"/>
                <a:gd name="connsiteY48" fmla="*/ 121874 h 304724"/>
                <a:gd name="connsiteX49" fmla="*/ 214107 w 304863"/>
                <a:gd name="connsiteY49" fmla="*/ 69997 h 304724"/>
                <a:gd name="connsiteX50" fmla="*/ 266700 w 304863"/>
                <a:gd name="connsiteY50" fmla="*/ 38070 h 304724"/>
                <a:gd name="connsiteX51" fmla="*/ 266700 w 304863"/>
                <a:gd name="connsiteY51" fmla="*/ 15210 h 304724"/>
                <a:gd name="connsiteX52" fmla="*/ 195362 w 304863"/>
                <a:gd name="connsiteY52" fmla="*/ 56921 h 304724"/>
                <a:gd name="connsiteX53" fmla="*/ 170063 w 304863"/>
                <a:gd name="connsiteY53" fmla="*/ 121844 h 304724"/>
                <a:gd name="connsiteX54" fmla="*/ 148605 w 304863"/>
                <a:gd name="connsiteY54" fmla="*/ 121844 h 304724"/>
                <a:gd name="connsiteX55" fmla="*/ 137168 w 304863"/>
                <a:gd name="connsiteY55" fmla="*/ 133266 h 304724"/>
                <a:gd name="connsiteX56" fmla="*/ 148590 w 304863"/>
                <a:gd name="connsiteY56" fmla="*/ 144704 h 304724"/>
                <a:gd name="connsiteX57" fmla="*/ 167792 w 304863"/>
                <a:gd name="connsiteY57" fmla="*/ 144704 h 304724"/>
                <a:gd name="connsiteX58" fmla="*/ 167792 w 304863"/>
                <a:gd name="connsiteY58" fmla="*/ 159990 h 304724"/>
                <a:gd name="connsiteX59" fmla="*/ 148590 w 304863"/>
                <a:gd name="connsiteY59" fmla="*/ 159990 h 304724"/>
                <a:gd name="connsiteX60" fmla="*/ 137160 w 304863"/>
                <a:gd name="connsiteY60" fmla="*/ 171420 h 304724"/>
                <a:gd name="connsiteX61" fmla="*/ 148590 w 304863"/>
                <a:gd name="connsiteY61" fmla="*/ 182850 h 304724"/>
                <a:gd name="connsiteX62" fmla="*/ 170078 w 304863"/>
                <a:gd name="connsiteY62" fmla="*/ 182850 h 304724"/>
                <a:gd name="connsiteX63" fmla="*/ 195362 w 304863"/>
                <a:gd name="connsiteY63" fmla="*/ 247802 h 304724"/>
                <a:gd name="connsiteX64" fmla="*/ 266700 w 304863"/>
                <a:gd name="connsiteY64" fmla="*/ 289530 h 304724"/>
                <a:gd name="connsiteX65" fmla="*/ 299954 w 304863"/>
                <a:gd name="connsiteY65" fmla="*/ 279928 h 304724"/>
                <a:gd name="connsiteX66" fmla="*/ 302819 w 304863"/>
                <a:gd name="connsiteY66" fmla="*/ 264018 h 304724"/>
                <a:gd name="connsiteX67" fmla="*/ 286908 w 304863"/>
                <a:gd name="connsiteY67" fmla="*/ 261153 h 304724"/>
                <a:gd name="connsiteX68" fmla="*/ 266700 w 304863"/>
                <a:gd name="connsiteY68" fmla="*/ 266654 h 304724"/>
                <a:gd name="connsiteX69" fmla="*/ 214122 w 304863"/>
                <a:gd name="connsiteY69" fmla="*/ 234726 h 304724"/>
                <a:gd name="connsiteX70" fmla="*/ 193274 w 304863"/>
                <a:gd name="connsiteY70" fmla="*/ 182850 h 304724"/>
                <a:gd name="connsiteX71" fmla="*/ 217155 w 304863"/>
                <a:gd name="connsiteY71" fmla="*/ 182850 h 304724"/>
                <a:gd name="connsiteX72" fmla="*/ 228585 w 304863"/>
                <a:gd name="connsiteY72" fmla="*/ 171420 h 304724"/>
                <a:gd name="connsiteX73" fmla="*/ 217155 w 304863"/>
                <a:gd name="connsiteY73" fmla="*/ 159990 h 304724"/>
                <a:gd name="connsiteX74" fmla="*/ 190652 w 304863"/>
                <a:gd name="connsiteY74" fmla="*/ 159990 h 304724"/>
                <a:gd name="connsiteX75" fmla="*/ 190485 w 304863"/>
                <a:gd name="connsiteY75" fmla="*/ 152370 h 304724"/>
                <a:gd name="connsiteX76" fmla="*/ 190500 w 304863"/>
                <a:gd name="connsiteY76" fmla="*/ 152370 h 304724"/>
                <a:gd name="connsiteX0" fmla="*/ 64800 w 304863"/>
                <a:gd name="connsiteY0" fmla="*/ 0 h 304724"/>
                <a:gd name="connsiteX1" fmla="*/ 53370 w 304863"/>
                <a:gd name="connsiteY1" fmla="*/ 11430 h 304724"/>
                <a:gd name="connsiteX2" fmla="*/ 53370 w 304863"/>
                <a:gd name="connsiteY2" fmla="*/ 16200 h 304724"/>
                <a:gd name="connsiteX3" fmla="*/ 0 w 304863"/>
                <a:gd name="connsiteY3" fmla="*/ 79980 h 304724"/>
                <a:gd name="connsiteX4" fmla="*/ 0 w 304863"/>
                <a:gd name="connsiteY4" fmla="*/ 88240 h 304724"/>
                <a:gd name="connsiteX5" fmla="*/ 40660 w 304863"/>
                <a:gd name="connsiteY5" fmla="*/ 153314 h 304724"/>
                <a:gd name="connsiteX6" fmla="*/ 53370 w 304863"/>
                <a:gd name="connsiteY6" fmla="*/ 159502 h 304724"/>
                <a:gd name="connsiteX7" fmla="*/ 53370 w 304863"/>
                <a:gd name="connsiteY7" fmla="*/ 264780 h 304724"/>
                <a:gd name="connsiteX8" fmla="*/ 22860 w 304863"/>
                <a:gd name="connsiteY8" fmla="*/ 224424 h 304724"/>
                <a:gd name="connsiteX9" fmla="*/ 22860 w 304863"/>
                <a:gd name="connsiteY9" fmla="*/ 209489 h 304724"/>
                <a:gd name="connsiteX10" fmla="*/ 11430 w 304863"/>
                <a:gd name="connsiteY10" fmla="*/ 198059 h 304724"/>
                <a:gd name="connsiteX11" fmla="*/ 0 w 304863"/>
                <a:gd name="connsiteY11" fmla="*/ 209489 h 304724"/>
                <a:gd name="connsiteX12" fmla="*/ 0 w 304863"/>
                <a:gd name="connsiteY12" fmla="*/ 224424 h 304724"/>
                <a:gd name="connsiteX13" fmla="*/ 53370 w 304863"/>
                <a:gd name="connsiteY13" fmla="*/ 288188 h 304724"/>
                <a:gd name="connsiteX14" fmla="*/ 53370 w 304863"/>
                <a:gd name="connsiteY14" fmla="*/ 293294 h 304724"/>
                <a:gd name="connsiteX15" fmla="*/ 64800 w 304863"/>
                <a:gd name="connsiteY15" fmla="*/ 304724 h 304724"/>
                <a:gd name="connsiteX16" fmla="*/ 76230 w 304863"/>
                <a:gd name="connsiteY16" fmla="*/ 293294 h 304724"/>
                <a:gd name="connsiteX17" fmla="*/ 76230 w 304863"/>
                <a:gd name="connsiteY17" fmla="*/ 288188 h 304724"/>
                <a:gd name="connsiteX18" fmla="*/ 129540 w 304863"/>
                <a:gd name="connsiteY18" fmla="*/ 224424 h 304724"/>
                <a:gd name="connsiteX19" fmla="*/ 129540 w 304863"/>
                <a:gd name="connsiteY19" fmla="*/ 216438 h 304724"/>
                <a:gd name="connsiteX20" fmla="*/ 88880 w 304863"/>
                <a:gd name="connsiteY20" fmla="*/ 151364 h 304724"/>
                <a:gd name="connsiteX21" fmla="*/ 76230 w 304863"/>
                <a:gd name="connsiteY21" fmla="*/ 145207 h 304724"/>
                <a:gd name="connsiteX22" fmla="*/ 76230 w 304863"/>
                <a:gd name="connsiteY22" fmla="*/ 39654 h 304724"/>
                <a:gd name="connsiteX23" fmla="*/ 106680 w 304863"/>
                <a:gd name="connsiteY23" fmla="*/ 79980 h 304724"/>
                <a:gd name="connsiteX24" fmla="*/ 106680 w 304863"/>
                <a:gd name="connsiteY24" fmla="*/ 95220 h 304724"/>
                <a:gd name="connsiteX25" fmla="*/ 118110 w 304863"/>
                <a:gd name="connsiteY25" fmla="*/ 106650 h 304724"/>
                <a:gd name="connsiteX26" fmla="*/ 129540 w 304863"/>
                <a:gd name="connsiteY26" fmla="*/ 95220 h 304724"/>
                <a:gd name="connsiteX27" fmla="*/ 129540 w 304863"/>
                <a:gd name="connsiteY27" fmla="*/ 79980 h 304724"/>
                <a:gd name="connsiteX28" fmla="*/ 76230 w 304863"/>
                <a:gd name="connsiteY28" fmla="*/ 16215 h 304724"/>
                <a:gd name="connsiteX29" fmla="*/ 76230 w 304863"/>
                <a:gd name="connsiteY29" fmla="*/ 11430 h 304724"/>
                <a:gd name="connsiteX30" fmla="*/ 64800 w 304863"/>
                <a:gd name="connsiteY30" fmla="*/ 0 h 304724"/>
                <a:gd name="connsiteX31" fmla="*/ 22860 w 304863"/>
                <a:gd name="connsiteY31" fmla="*/ 79980 h 304724"/>
                <a:gd name="connsiteX32" fmla="*/ 53370 w 304863"/>
                <a:gd name="connsiteY32" fmla="*/ 39624 h 304724"/>
                <a:gd name="connsiteX33" fmla="*/ 53370 w 304863"/>
                <a:gd name="connsiteY33" fmla="*/ 134051 h 304724"/>
                <a:gd name="connsiteX34" fmla="*/ 50688 w 304863"/>
                <a:gd name="connsiteY34" fmla="*/ 132740 h 304724"/>
                <a:gd name="connsiteX35" fmla="*/ 22860 w 304863"/>
                <a:gd name="connsiteY35" fmla="*/ 88240 h 304724"/>
                <a:gd name="connsiteX36" fmla="*/ 22860 w 304863"/>
                <a:gd name="connsiteY36" fmla="*/ 79980 h 304724"/>
                <a:gd name="connsiteX37" fmla="*/ 76230 w 304863"/>
                <a:gd name="connsiteY37" fmla="*/ 264749 h 304724"/>
                <a:gd name="connsiteX38" fmla="*/ 76230 w 304863"/>
                <a:gd name="connsiteY38" fmla="*/ 170642 h 304724"/>
                <a:gd name="connsiteX39" fmla="*/ 78852 w 304863"/>
                <a:gd name="connsiteY39" fmla="*/ 171922 h 304724"/>
                <a:gd name="connsiteX40" fmla="*/ 106680 w 304863"/>
                <a:gd name="connsiteY40" fmla="*/ 216423 h 304724"/>
                <a:gd name="connsiteX41" fmla="*/ 106680 w 304863"/>
                <a:gd name="connsiteY41" fmla="*/ 224424 h 304724"/>
                <a:gd name="connsiteX42" fmla="*/ 76230 w 304863"/>
                <a:gd name="connsiteY42" fmla="*/ 264749 h 304724"/>
                <a:gd name="connsiteX43" fmla="*/ 190500 w 304863"/>
                <a:gd name="connsiteY43" fmla="*/ 152370 h 304724"/>
                <a:gd name="connsiteX44" fmla="*/ 190668 w 304863"/>
                <a:gd name="connsiteY44" fmla="*/ 144734 h 304724"/>
                <a:gd name="connsiteX45" fmla="*/ 217140 w 304863"/>
                <a:gd name="connsiteY45" fmla="*/ 144734 h 304724"/>
                <a:gd name="connsiteX46" fmla="*/ 228577 w 304863"/>
                <a:gd name="connsiteY46" fmla="*/ 133312 h 304724"/>
                <a:gd name="connsiteX47" fmla="*/ 217155 w 304863"/>
                <a:gd name="connsiteY47" fmla="*/ 121874 h 304724"/>
                <a:gd name="connsiteX48" fmla="*/ 193274 w 304863"/>
                <a:gd name="connsiteY48" fmla="*/ 121874 h 304724"/>
                <a:gd name="connsiteX49" fmla="*/ 214107 w 304863"/>
                <a:gd name="connsiteY49" fmla="*/ 69997 h 304724"/>
                <a:gd name="connsiteX50" fmla="*/ 266700 w 304863"/>
                <a:gd name="connsiteY50" fmla="*/ 15210 h 304724"/>
                <a:gd name="connsiteX51" fmla="*/ 195362 w 304863"/>
                <a:gd name="connsiteY51" fmla="*/ 56921 h 304724"/>
                <a:gd name="connsiteX52" fmla="*/ 170063 w 304863"/>
                <a:gd name="connsiteY52" fmla="*/ 121844 h 304724"/>
                <a:gd name="connsiteX53" fmla="*/ 148605 w 304863"/>
                <a:gd name="connsiteY53" fmla="*/ 121844 h 304724"/>
                <a:gd name="connsiteX54" fmla="*/ 137168 w 304863"/>
                <a:gd name="connsiteY54" fmla="*/ 133266 h 304724"/>
                <a:gd name="connsiteX55" fmla="*/ 148590 w 304863"/>
                <a:gd name="connsiteY55" fmla="*/ 144704 h 304724"/>
                <a:gd name="connsiteX56" fmla="*/ 167792 w 304863"/>
                <a:gd name="connsiteY56" fmla="*/ 144704 h 304724"/>
                <a:gd name="connsiteX57" fmla="*/ 167792 w 304863"/>
                <a:gd name="connsiteY57" fmla="*/ 159990 h 304724"/>
                <a:gd name="connsiteX58" fmla="*/ 148590 w 304863"/>
                <a:gd name="connsiteY58" fmla="*/ 159990 h 304724"/>
                <a:gd name="connsiteX59" fmla="*/ 137160 w 304863"/>
                <a:gd name="connsiteY59" fmla="*/ 171420 h 304724"/>
                <a:gd name="connsiteX60" fmla="*/ 148590 w 304863"/>
                <a:gd name="connsiteY60" fmla="*/ 182850 h 304724"/>
                <a:gd name="connsiteX61" fmla="*/ 170078 w 304863"/>
                <a:gd name="connsiteY61" fmla="*/ 182850 h 304724"/>
                <a:gd name="connsiteX62" fmla="*/ 195362 w 304863"/>
                <a:gd name="connsiteY62" fmla="*/ 247802 h 304724"/>
                <a:gd name="connsiteX63" fmla="*/ 266700 w 304863"/>
                <a:gd name="connsiteY63" fmla="*/ 289530 h 304724"/>
                <a:gd name="connsiteX64" fmla="*/ 299954 w 304863"/>
                <a:gd name="connsiteY64" fmla="*/ 279928 h 304724"/>
                <a:gd name="connsiteX65" fmla="*/ 302819 w 304863"/>
                <a:gd name="connsiteY65" fmla="*/ 264018 h 304724"/>
                <a:gd name="connsiteX66" fmla="*/ 286908 w 304863"/>
                <a:gd name="connsiteY66" fmla="*/ 261153 h 304724"/>
                <a:gd name="connsiteX67" fmla="*/ 266700 w 304863"/>
                <a:gd name="connsiteY67" fmla="*/ 266654 h 304724"/>
                <a:gd name="connsiteX68" fmla="*/ 214122 w 304863"/>
                <a:gd name="connsiteY68" fmla="*/ 234726 h 304724"/>
                <a:gd name="connsiteX69" fmla="*/ 193274 w 304863"/>
                <a:gd name="connsiteY69" fmla="*/ 182850 h 304724"/>
                <a:gd name="connsiteX70" fmla="*/ 217155 w 304863"/>
                <a:gd name="connsiteY70" fmla="*/ 182850 h 304724"/>
                <a:gd name="connsiteX71" fmla="*/ 228585 w 304863"/>
                <a:gd name="connsiteY71" fmla="*/ 171420 h 304724"/>
                <a:gd name="connsiteX72" fmla="*/ 217155 w 304863"/>
                <a:gd name="connsiteY72" fmla="*/ 159990 h 304724"/>
                <a:gd name="connsiteX73" fmla="*/ 190652 w 304863"/>
                <a:gd name="connsiteY73" fmla="*/ 159990 h 304724"/>
                <a:gd name="connsiteX74" fmla="*/ 190485 w 304863"/>
                <a:gd name="connsiteY74" fmla="*/ 152370 h 304724"/>
                <a:gd name="connsiteX75" fmla="*/ 190500 w 304863"/>
                <a:gd name="connsiteY75" fmla="*/ 152370 h 304724"/>
                <a:gd name="connsiteX0" fmla="*/ 64800 w 304863"/>
                <a:gd name="connsiteY0" fmla="*/ 0 h 304724"/>
                <a:gd name="connsiteX1" fmla="*/ 53370 w 304863"/>
                <a:gd name="connsiteY1" fmla="*/ 11430 h 304724"/>
                <a:gd name="connsiteX2" fmla="*/ 53370 w 304863"/>
                <a:gd name="connsiteY2" fmla="*/ 16200 h 304724"/>
                <a:gd name="connsiteX3" fmla="*/ 0 w 304863"/>
                <a:gd name="connsiteY3" fmla="*/ 79980 h 304724"/>
                <a:gd name="connsiteX4" fmla="*/ 0 w 304863"/>
                <a:gd name="connsiteY4" fmla="*/ 88240 h 304724"/>
                <a:gd name="connsiteX5" fmla="*/ 40660 w 304863"/>
                <a:gd name="connsiteY5" fmla="*/ 153314 h 304724"/>
                <a:gd name="connsiteX6" fmla="*/ 53370 w 304863"/>
                <a:gd name="connsiteY6" fmla="*/ 159502 h 304724"/>
                <a:gd name="connsiteX7" fmla="*/ 53370 w 304863"/>
                <a:gd name="connsiteY7" fmla="*/ 264780 h 304724"/>
                <a:gd name="connsiteX8" fmla="*/ 22860 w 304863"/>
                <a:gd name="connsiteY8" fmla="*/ 224424 h 304724"/>
                <a:gd name="connsiteX9" fmla="*/ 22860 w 304863"/>
                <a:gd name="connsiteY9" fmla="*/ 209489 h 304724"/>
                <a:gd name="connsiteX10" fmla="*/ 11430 w 304863"/>
                <a:gd name="connsiteY10" fmla="*/ 198059 h 304724"/>
                <a:gd name="connsiteX11" fmla="*/ 0 w 304863"/>
                <a:gd name="connsiteY11" fmla="*/ 209489 h 304724"/>
                <a:gd name="connsiteX12" fmla="*/ 0 w 304863"/>
                <a:gd name="connsiteY12" fmla="*/ 224424 h 304724"/>
                <a:gd name="connsiteX13" fmla="*/ 53370 w 304863"/>
                <a:gd name="connsiteY13" fmla="*/ 288188 h 304724"/>
                <a:gd name="connsiteX14" fmla="*/ 53370 w 304863"/>
                <a:gd name="connsiteY14" fmla="*/ 293294 h 304724"/>
                <a:gd name="connsiteX15" fmla="*/ 64800 w 304863"/>
                <a:gd name="connsiteY15" fmla="*/ 304724 h 304724"/>
                <a:gd name="connsiteX16" fmla="*/ 76230 w 304863"/>
                <a:gd name="connsiteY16" fmla="*/ 293294 h 304724"/>
                <a:gd name="connsiteX17" fmla="*/ 76230 w 304863"/>
                <a:gd name="connsiteY17" fmla="*/ 288188 h 304724"/>
                <a:gd name="connsiteX18" fmla="*/ 129540 w 304863"/>
                <a:gd name="connsiteY18" fmla="*/ 224424 h 304724"/>
                <a:gd name="connsiteX19" fmla="*/ 129540 w 304863"/>
                <a:gd name="connsiteY19" fmla="*/ 216438 h 304724"/>
                <a:gd name="connsiteX20" fmla="*/ 88880 w 304863"/>
                <a:gd name="connsiteY20" fmla="*/ 151364 h 304724"/>
                <a:gd name="connsiteX21" fmla="*/ 76230 w 304863"/>
                <a:gd name="connsiteY21" fmla="*/ 145207 h 304724"/>
                <a:gd name="connsiteX22" fmla="*/ 76230 w 304863"/>
                <a:gd name="connsiteY22" fmla="*/ 39654 h 304724"/>
                <a:gd name="connsiteX23" fmla="*/ 106680 w 304863"/>
                <a:gd name="connsiteY23" fmla="*/ 79980 h 304724"/>
                <a:gd name="connsiteX24" fmla="*/ 106680 w 304863"/>
                <a:gd name="connsiteY24" fmla="*/ 95220 h 304724"/>
                <a:gd name="connsiteX25" fmla="*/ 118110 w 304863"/>
                <a:gd name="connsiteY25" fmla="*/ 106650 h 304724"/>
                <a:gd name="connsiteX26" fmla="*/ 129540 w 304863"/>
                <a:gd name="connsiteY26" fmla="*/ 95220 h 304724"/>
                <a:gd name="connsiteX27" fmla="*/ 129540 w 304863"/>
                <a:gd name="connsiteY27" fmla="*/ 79980 h 304724"/>
                <a:gd name="connsiteX28" fmla="*/ 76230 w 304863"/>
                <a:gd name="connsiteY28" fmla="*/ 16215 h 304724"/>
                <a:gd name="connsiteX29" fmla="*/ 76230 w 304863"/>
                <a:gd name="connsiteY29" fmla="*/ 11430 h 304724"/>
                <a:gd name="connsiteX30" fmla="*/ 64800 w 304863"/>
                <a:gd name="connsiteY30" fmla="*/ 0 h 304724"/>
                <a:gd name="connsiteX31" fmla="*/ 22860 w 304863"/>
                <a:gd name="connsiteY31" fmla="*/ 79980 h 304724"/>
                <a:gd name="connsiteX32" fmla="*/ 53370 w 304863"/>
                <a:gd name="connsiteY32" fmla="*/ 39624 h 304724"/>
                <a:gd name="connsiteX33" fmla="*/ 53370 w 304863"/>
                <a:gd name="connsiteY33" fmla="*/ 134051 h 304724"/>
                <a:gd name="connsiteX34" fmla="*/ 50688 w 304863"/>
                <a:gd name="connsiteY34" fmla="*/ 132740 h 304724"/>
                <a:gd name="connsiteX35" fmla="*/ 22860 w 304863"/>
                <a:gd name="connsiteY35" fmla="*/ 88240 h 304724"/>
                <a:gd name="connsiteX36" fmla="*/ 22860 w 304863"/>
                <a:gd name="connsiteY36" fmla="*/ 79980 h 304724"/>
                <a:gd name="connsiteX37" fmla="*/ 76230 w 304863"/>
                <a:gd name="connsiteY37" fmla="*/ 264749 h 304724"/>
                <a:gd name="connsiteX38" fmla="*/ 76230 w 304863"/>
                <a:gd name="connsiteY38" fmla="*/ 170642 h 304724"/>
                <a:gd name="connsiteX39" fmla="*/ 78852 w 304863"/>
                <a:gd name="connsiteY39" fmla="*/ 171922 h 304724"/>
                <a:gd name="connsiteX40" fmla="*/ 106680 w 304863"/>
                <a:gd name="connsiteY40" fmla="*/ 216423 h 304724"/>
                <a:gd name="connsiteX41" fmla="*/ 106680 w 304863"/>
                <a:gd name="connsiteY41" fmla="*/ 224424 h 304724"/>
                <a:gd name="connsiteX42" fmla="*/ 76230 w 304863"/>
                <a:gd name="connsiteY42" fmla="*/ 264749 h 304724"/>
                <a:gd name="connsiteX43" fmla="*/ 190500 w 304863"/>
                <a:gd name="connsiteY43" fmla="*/ 152370 h 304724"/>
                <a:gd name="connsiteX44" fmla="*/ 190668 w 304863"/>
                <a:gd name="connsiteY44" fmla="*/ 144734 h 304724"/>
                <a:gd name="connsiteX45" fmla="*/ 217140 w 304863"/>
                <a:gd name="connsiteY45" fmla="*/ 144734 h 304724"/>
                <a:gd name="connsiteX46" fmla="*/ 228577 w 304863"/>
                <a:gd name="connsiteY46" fmla="*/ 133312 h 304724"/>
                <a:gd name="connsiteX47" fmla="*/ 217155 w 304863"/>
                <a:gd name="connsiteY47" fmla="*/ 121874 h 304724"/>
                <a:gd name="connsiteX48" fmla="*/ 193274 w 304863"/>
                <a:gd name="connsiteY48" fmla="*/ 121874 h 304724"/>
                <a:gd name="connsiteX49" fmla="*/ 214107 w 304863"/>
                <a:gd name="connsiteY49" fmla="*/ 69997 h 304724"/>
                <a:gd name="connsiteX50" fmla="*/ 195362 w 304863"/>
                <a:gd name="connsiteY50" fmla="*/ 56921 h 304724"/>
                <a:gd name="connsiteX51" fmla="*/ 170063 w 304863"/>
                <a:gd name="connsiteY51" fmla="*/ 121844 h 304724"/>
                <a:gd name="connsiteX52" fmla="*/ 148605 w 304863"/>
                <a:gd name="connsiteY52" fmla="*/ 121844 h 304724"/>
                <a:gd name="connsiteX53" fmla="*/ 137168 w 304863"/>
                <a:gd name="connsiteY53" fmla="*/ 133266 h 304724"/>
                <a:gd name="connsiteX54" fmla="*/ 148590 w 304863"/>
                <a:gd name="connsiteY54" fmla="*/ 144704 h 304724"/>
                <a:gd name="connsiteX55" fmla="*/ 167792 w 304863"/>
                <a:gd name="connsiteY55" fmla="*/ 144704 h 304724"/>
                <a:gd name="connsiteX56" fmla="*/ 167792 w 304863"/>
                <a:gd name="connsiteY56" fmla="*/ 159990 h 304724"/>
                <a:gd name="connsiteX57" fmla="*/ 148590 w 304863"/>
                <a:gd name="connsiteY57" fmla="*/ 159990 h 304724"/>
                <a:gd name="connsiteX58" fmla="*/ 137160 w 304863"/>
                <a:gd name="connsiteY58" fmla="*/ 171420 h 304724"/>
                <a:gd name="connsiteX59" fmla="*/ 148590 w 304863"/>
                <a:gd name="connsiteY59" fmla="*/ 182850 h 304724"/>
                <a:gd name="connsiteX60" fmla="*/ 170078 w 304863"/>
                <a:gd name="connsiteY60" fmla="*/ 182850 h 304724"/>
                <a:gd name="connsiteX61" fmla="*/ 195362 w 304863"/>
                <a:gd name="connsiteY61" fmla="*/ 247802 h 304724"/>
                <a:gd name="connsiteX62" fmla="*/ 266700 w 304863"/>
                <a:gd name="connsiteY62" fmla="*/ 289530 h 304724"/>
                <a:gd name="connsiteX63" fmla="*/ 299954 w 304863"/>
                <a:gd name="connsiteY63" fmla="*/ 279928 h 304724"/>
                <a:gd name="connsiteX64" fmla="*/ 302819 w 304863"/>
                <a:gd name="connsiteY64" fmla="*/ 264018 h 304724"/>
                <a:gd name="connsiteX65" fmla="*/ 286908 w 304863"/>
                <a:gd name="connsiteY65" fmla="*/ 261153 h 304724"/>
                <a:gd name="connsiteX66" fmla="*/ 266700 w 304863"/>
                <a:gd name="connsiteY66" fmla="*/ 266654 h 304724"/>
                <a:gd name="connsiteX67" fmla="*/ 214122 w 304863"/>
                <a:gd name="connsiteY67" fmla="*/ 234726 h 304724"/>
                <a:gd name="connsiteX68" fmla="*/ 193274 w 304863"/>
                <a:gd name="connsiteY68" fmla="*/ 182850 h 304724"/>
                <a:gd name="connsiteX69" fmla="*/ 217155 w 304863"/>
                <a:gd name="connsiteY69" fmla="*/ 182850 h 304724"/>
                <a:gd name="connsiteX70" fmla="*/ 228585 w 304863"/>
                <a:gd name="connsiteY70" fmla="*/ 171420 h 304724"/>
                <a:gd name="connsiteX71" fmla="*/ 217155 w 304863"/>
                <a:gd name="connsiteY71" fmla="*/ 159990 h 304724"/>
                <a:gd name="connsiteX72" fmla="*/ 190652 w 304863"/>
                <a:gd name="connsiteY72" fmla="*/ 159990 h 304724"/>
                <a:gd name="connsiteX73" fmla="*/ 190485 w 304863"/>
                <a:gd name="connsiteY73" fmla="*/ 152370 h 304724"/>
                <a:gd name="connsiteX74" fmla="*/ 190500 w 304863"/>
                <a:gd name="connsiteY74" fmla="*/ 152370 h 304724"/>
                <a:gd name="connsiteX0" fmla="*/ 64800 w 304863"/>
                <a:gd name="connsiteY0" fmla="*/ 0 h 304724"/>
                <a:gd name="connsiteX1" fmla="*/ 53370 w 304863"/>
                <a:gd name="connsiteY1" fmla="*/ 11430 h 304724"/>
                <a:gd name="connsiteX2" fmla="*/ 53370 w 304863"/>
                <a:gd name="connsiteY2" fmla="*/ 16200 h 304724"/>
                <a:gd name="connsiteX3" fmla="*/ 0 w 304863"/>
                <a:gd name="connsiteY3" fmla="*/ 79980 h 304724"/>
                <a:gd name="connsiteX4" fmla="*/ 0 w 304863"/>
                <a:gd name="connsiteY4" fmla="*/ 88240 h 304724"/>
                <a:gd name="connsiteX5" fmla="*/ 40660 w 304863"/>
                <a:gd name="connsiteY5" fmla="*/ 153314 h 304724"/>
                <a:gd name="connsiteX6" fmla="*/ 53370 w 304863"/>
                <a:gd name="connsiteY6" fmla="*/ 159502 h 304724"/>
                <a:gd name="connsiteX7" fmla="*/ 53370 w 304863"/>
                <a:gd name="connsiteY7" fmla="*/ 264780 h 304724"/>
                <a:gd name="connsiteX8" fmla="*/ 22860 w 304863"/>
                <a:gd name="connsiteY8" fmla="*/ 224424 h 304724"/>
                <a:gd name="connsiteX9" fmla="*/ 22860 w 304863"/>
                <a:gd name="connsiteY9" fmla="*/ 209489 h 304724"/>
                <a:gd name="connsiteX10" fmla="*/ 11430 w 304863"/>
                <a:gd name="connsiteY10" fmla="*/ 198059 h 304724"/>
                <a:gd name="connsiteX11" fmla="*/ 0 w 304863"/>
                <a:gd name="connsiteY11" fmla="*/ 209489 h 304724"/>
                <a:gd name="connsiteX12" fmla="*/ 0 w 304863"/>
                <a:gd name="connsiteY12" fmla="*/ 224424 h 304724"/>
                <a:gd name="connsiteX13" fmla="*/ 53370 w 304863"/>
                <a:gd name="connsiteY13" fmla="*/ 288188 h 304724"/>
                <a:gd name="connsiteX14" fmla="*/ 53370 w 304863"/>
                <a:gd name="connsiteY14" fmla="*/ 293294 h 304724"/>
                <a:gd name="connsiteX15" fmla="*/ 64800 w 304863"/>
                <a:gd name="connsiteY15" fmla="*/ 304724 h 304724"/>
                <a:gd name="connsiteX16" fmla="*/ 76230 w 304863"/>
                <a:gd name="connsiteY16" fmla="*/ 293294 h 304724"/>
                <a:gd name="connsiteX17" fmla="*/ 76230 w 304863"/>
                <a:gd name="connsiteY17" fmla="*/ 288188 h 304724"/>
                <a:gd name="connsiteX18" fmla="*/ 129540 w 304863"/>
                <a:gd name="connsiteY18" fmla="*/ 224424 h 304724"/>
                <a:gd name="connsiteX19" fmla="*/ 129540 w 304863"/>
                <a:gd name="connsiteY19" fmla="*/ 216438 h 304724"/>
                <a:gd name="connsiteX20" fmla="*/ 88880 w 304863"/>
                <a:gd name="connsiteY20" fmla="*/ 151364 h 304724"/>
                <a:gd name="connsiteX21" fmla="*/ 76230 w 304863"/>
                <a:gd name="connsiteY21" fmla="*/ 145207 h 304724"/>
                <a:gd name="connsiteX22" fmla="*/ 76230 w 304863"/>
                <a:gd name="connsiteY22" fmla="*/ 39654 h 304724"/>
                <a:gd name="connsiteX23" fmla="*/ 106680 w 304863"/>
                <a:gd name="connsiteY23" fmla="*/ 79980 h 304724"/>
                <a:gd name="connsiteX24" fmla="*/ 106680 w 304863"/>
                <a:gd name="connsiteY24" fmla="*/ 95220 h 304724"/>
                <a:gd name="connsiteX25" fmla="*/ 118110 w 304863"/>
                <a:gd name="connsiteY25" fmla="*/ 106650 h 304724"/>
                <a:gd name="connsiteX26" fmla="*/ 129540 w 304863"/>
                <a:gd name="connsiteY26" fmla="*/ 95220 h 304724"/>
                <a:gd name="connsiteX27" fmla="*/ 129540 w 304863"/>
                <a:gd name="connsiteY27" fmla="*/ 79980 h 304724"/>
                <a:gd name="connsiteX28" fmla="*/ 76230 w 304863"/>
                <a:gd name="connsiteY28" fmla="*/ 16215 h 304724"/>
                <a:gd name="connsiteX29" fmla="*/ 76230 w 304863"/>
                <a:gd name="connsiteY29" fmla="*/ 11430 h 304724"/>
                <a:gd name="connsiteX30" fmla="*/ 64800 w 304863"/>
                <a:gd name="connsiteY30" fmla="*/ 0 h 304724"/>
                <a:gd name="connsiteX31" fmla="*/ 22860 w 304863"/>
                <a:gd name="connsiteY31" fmla="*/ 79980 h 304724"/>
                <a:gd name="connsiteX32" fmla="*/ 53370 w 304863"/>
                <a:gd name="connsiteY32" fmla="*/ 39624 h 304724"/>
                <a:gd name="connsiteX33" fmla="*/ 53370 w 304863"/>
                <a:gd name="connsiteY33" fmla="*/ 134051 h 304724"/>
                <a:gd name="connsiteX34" fmla="*/ 50688 w 304863"/>
                <a:gd name="connsiteY34" fmla="*/ 132740 h 304724"/>
                <a:gd name="connsiteX35" fmla="*/ 22860 w 304863"/>
                <a:gd name="connsiteY35" fmla="*/ 88240 h 304724"/>
                <a:gd name="connsiteX36" fmla="*/ 22860 w 304863"/>
                <a:gd name="connsiteY36" fmla="*/ 79980 h 304724"/>
                <a:gd name="connsiteX37" fmla="*/ 76230 w 304863"/>
                <a:gd name="connsiteY37" fmla="*/ 264749 h 304724"/>
                <a:gd name="connsiteX38" fmla="*/ 76230 w 304863"/>
                <a:gd name="connsiteY38" fmla="*/ 170642 h 304724"/>
                <a:gd name="connsiteX39" fmla="*/ 78852 w 304863"/>
                <a:gd name="connsiteY39" fmla="*/ 171922 h 304724"/>
                <a:gd name="connsiteX40" fmla="*/ 106680 w 304863"/>
                <a:gd name="connsiteY40" fmla="*/ 216423 h 304724"/>
                <a:gd name="connsiteX41" fmla="*/ 106680 w 304863"/>
                <a:gd name="connsiteY41" fmla="*/ 224424 h 304724"/>
                <a:gd name="connsiteX42" fmla="*/ 76230 w 304863"/>
                <a:gd name="connsiteY42" fmla="*/ 264749 h 304724"/>
                <a:gd name="connsiteX43" fmla="*/ 190500 w 304863"/>
                <a:gd name="connsiteY43" fmla="*/ 152370 h 304724"/>
                <a:gd name="connsiteX44" fmla="*/ 190668 w 304863"/>
                <a:gd name="connsiteY44" fmla="*/ 144734 h 304724"/>
                <a:gd name="connsiteX45" fmla="*/ 217140 w 304863"/>
                <a:gd name="connsiteY45" fmla="*/ 144734 h 304724"/>
                <a:gd name="connsiteX46" fmla="*/ 228577 w 304863"/>
                <a:gd name="connsiteY46" fmla="*/ 133312 h 304724"/>
                <a:gd name="connsiteX47" fmla="*/ 217155 w 304863"/>
                <a:gd name="connsiteY47" fmla="*/ 121874 h 304724"/>
                <a:gd name="connsiteX48" fmla="*/ 193274 w 304863"/>
                <a:gd name="connsiteY48" fmla="*/ 121874 h 304724"/>
                <a:gd name="connsiteX49" fmla="*/ 195362 w 304863"/>
                <a:gd name="connsiteY49" fmla="*/ 56921 h 304724"/>
                <a:gd name="connsiteX50" fmla="*/ 170063 w 304863"/>
                <a:gd name="connsiteY50" fmla="*/ 121844 h 304724"/>
                <a:gd name="connsiteX51" fmla="*/ 148605 w 304863"/>
                <a:gd name="connsiteY51" fmla="*/ 121844 h 304724"/>
                <a:gd name="connsiteX52" fmla="*/ 137168 w 304863"/>
                <a:gd name="connsiteY52" fmla="*/ 133266 h 304724"/>
                <a:gd name="connsiteX53" fmla="*/ 148590 w 304863"/>
                <a:gd name="connsiteY53" fmla="*/ 144704 h 304724"/>
                <a:gd name="connsiteX54" fmla="*/ 167792 w 304863"/>
                <a:gd name="connsiteY54" fmla="*/ 144704 h 304724"/>
                <a:gd name="connsiteX55" fmla="*/ 167792 w 304863"/>
                <a:gd name="connsiteY55" fmla="*/ 159990 h 304724"/>
                <a:gd name="connsiteX56" fmla="*/ 148590 w 304863"/>
                <a:gd name="connsiteY56" fmla="*/ 159990 h 304724"/>
                <a:gd name="connsiteX57" fmla="*/ 137160 w 304863"/>
                <a:gd name="connsiteY57" fmla="*/ 171420 h 304724"/>
                <a:gd name="connsiteX58" fmla="*/ 148590 w 304863"/>
                <a:gd name="connsiteY58" fmla="*/ 182850 h 304724"/>
                <a:gd name="connsiteX59" fmla="*/ 170078 w 304863"/>
                <a:gd name="connsiteY59" fmla="*/ 182850 h 304724"/>
                <a:gd name="connsiteX60" fmla="*/ 195362 w 304863"/>
                <a:gd name="connsiteY60" fmla="*/ 247802 h 304724"/>
                <a:gd name="connsiteX61" fmla="*/ 266700 w 304863"/>
                <a:gd name="connsiteY61" fmla="*/ 289530 h 304724"/>
                <a:gd name="connsiteX62" fmla="*/ 299954 w 304863"/>
                <a:gd name="connsiteY62" fmla="*/ 279928 h 304724"/>
                <a:gd name="connsiteX63" fmla="*/ 302819 w 304863"/>
                <a:gd name="connsiteY63" fmla="*/ 264018 h 304724"/>
                <a:gd name="connsiteX64" fmla="*/ 286908 w 304863"/>
                <a:gd name="connsiteY64" fmla="*/ 261153 h 304724"/>
                <a:gd name="connsiteX65" fmla="*/ 266700 w 304863"/>
                <a:gd name="connsiteY65" fmla="*/ 266654 h 304724"/>
                <a:gd name="connsiteX66" fmla="*/ 214122 w 304863"/>
                <a:gd name="connsiteY66" fmla="*/ 234726 h 304724"/>
                <a:gd name="connsiteX67" fmla="*/ 193274 w 304863"/>
                <a:gd name="connsiteY67" fmla="*/ 182850 h 304724"/>
                <a:gd name="connsiteX68" fmla="*/ 217155 w 304863"/>
                <a:gd name="connsiteY68" fmla="*/ 182850 h 304724"/>
                <a:gd name="connsiteX69" fmla="*/ 228585 w 304863"/>
                <a:gd name="connsiteY69" fmla="*/ 171420 h 304724"/>
                <a:gd name="connsiteX70" fmla="*/ 217155 w 304863"/>
                <a:gd name="connsiteY70" fmla="*/ 159990 h 304724"/>
                <a:gd name="connsiteX71" fmla="*/ 190652 w 304863"/>
                <a:gd name="connsiteY71" fmla="*/ 159990 h 304724"/>
                <a:gd name="connsiteX72" fmla="*/ 190485 w 304863"/>
                <a:gd name="connsiteY72" fmla="*/ 152370 h 304724"/>
                <a:gd name="connsiteX73" fmla="*/ 190500 w 304863"/>
                <a:gd name="connsiteY73" fmla="*/ 152370 h 304724"/>
                <a:gd name="connsiteX0" fmla="*/ 64800 w 304863"/>
                <a:gd name="connsiteY0" fmla="*/ 0 h 304724"/>
                <a:gd name="connsiteX1" fmla="*/ 53370 w 304863"/>
                <a:gd name="connsiteY1" fmla="*/ 11430 h 304724"/>
                <a:gd name="connsiteX2" fmla="*/ 53370 w 304863"/>
                <a:gd name="connsiteY2" fmla="*/ 16200 h 304724"/>
                <a:gd name="connsiteX3" fmla="*/ 0 w 304863"/>
                <a:gd name="connsiteY3" fmla="*/ 79980 h 304724"/>
                <a:gd name="connsiteX4" fmla="*/ 0 w 304863"/>
                <a:gd name="connsiteY4" fmla="*/ 88240 h 304724"/>
                <a:gd name="connsiteX5" fmla="*/ 40660 w 304863"/>
                <a:gd name="connsiteY5" fmla="*/ 153314 h 304724"/>
                <a:gd name="connsiteX6" fmla="*/ 53370 w 304863"/>
                <a:gd name="connsiteY6" fmla="*/ 159502 h 304724"/>
                <a:gd name="connsiteX7" fmla="*/ 53370 w 304863"/>
                <a:gd name="connsiteY7" fmla="*/ 264780 h 304724"/>
                <a:gd name="connsiteX8" fmla="*/ 22860 w 304863"/>
                <a:gd name="connsiteY8" fmla="*/ 224424 h 304724"/>
                <a:gd name="connsiteX9" fmla="*/ 22860 w 304863"/>
                <a:gd name="connsiteY9" fmla="*/ 209489 h 304724"/>
                <a:gd name="connsiteX10" fmla="*/ 11430 w 304863"/>
                <a:gd name="connsiteY10" fmla="*/ 198059 h 304724"/>
                <a:gd name="connsiteX11" fmla="*/ 0 w 304863"/>
                <a:gd name="connsiteY11" fmla="*/ 209489 h 304724"/>
                <a:gd name="connsiteX12" fmla="*/ 0 w 304863"/>
                <a:gd name="connsiteY12" fmla="*/ 224424 h 304724"/>
                <a:gd name="connsiteX13" fmla="*/ 53370 w 304863"/>
                <a:gd name="connsiteY13" fmla="*/ 288188 h 304724"/>
                <a:gd name="connsiteX14" fmla="*/ 53370 w 304863"/>
                <a:gd name="connsiteY14" fmla="*/ 293294 h 304724"/>
                <a:gd name="connsiteX15" fmla="*/ 64800 w 304863"/>
                <a:gd name="connsiteY15" fmla="*/ 304724 h 304724"/>
                <a:gd name="connsiteX16" fmla="*/ 76230 w 304863"/>
                <a:gd name="connsiteY16" fmla="*/ 293294 h 304724"/>
                <a:gd name="connsiteX17" fmla="*/ 76230 w 304863"/>
                <a:gd name="connsiteY17" fmla="*/ 288188 h 304724"/>
                <a:gd name="connsiteX18" fmla="*/ 129540 w 304863"/>
                <a:gd name="connsiteY18" fmla="*/ 224424 h 304724"/>
                <a:gd name="connsiteX19" fmla="*/ 129540 w 304863"/>
                <a:gd name="connsiteY19" fmla="*/ 216438 h 304724"/>
                <a:gd name="connsiteX20" fmla="*/ 88880 w 304863"/>
                <a:gd name="connsiteY20" fmla="*/ 151364 h 304724"/>
                <a:gd name="connsiteX21" fmla="*/ 76230 w 304863"/>
                <a:gd name="connsiteY21" fmla="*/ 145207 h 304724"/>
                <a:gd name="connsiteX22" fmla="*/ 76230 w 304863"/>
                <a:gd name="connsiteY22" fmla="*/ 39654 h 304724"/>
                <a:gd name="connsiteX23" fmla="*/ 106680 w 304863"/>
                <a:gd name="connsiteY23" fmla="*/ 79980 h 304724"/>
                <a:gd name="connsiteX24" fmla="*/ 106680 w 304863"/>
                <a:gd name="connsiteY24" fmla="*/ 95220 h 304724"/>
                <a:gd name="connsiteX25" fmla="*/ 118110 w 304863"/>
                <a:gd name="connsiteY25" fmla="*/ 106650 h 304724"/>
                <a:gd name="connsiteX26" fmla="*/ 129540 w 304863"/>
                <a:gd name="connsiteY26" fmla="*/ 95220 h 304724"/>
                <a:gd name="connsiteX27" fmla="*/ 129540 w 304863"/>
                <a:gd name="connsiteY27" fmla="*/ 79980 h 304724"/>
                <a:gd name="connsiteX28" fmla="*/ 76230 w 304863"/>
                <a:gd name="connsiteY28" fmla="*/ 16215 h 304724"/>
                <a:gd name="connsiteX29" fmla="*/ 76230 w 304863"/>
                <a:gd name="connsiteY29" fmla="*/ 11430 h 304724"/>
                <a:gd name="connsiteX30" fmla="*/ 64800 w 304863"/>
                <a:gd name="connsiteY30" fmla="*/ 0 h 304724"/>
                <a:gd name="connsiteX31" fmla="*/ 22860 w 304863"/>
                <a:gd name="connsiteY31" fmla="*/ 79980 h 304724"/>
                <a:gd name="connsiteX32" fmla="*/ 53370 w 304863"/>
                <a:gd name="connsiteY32" fmla="*/ 39624 h 304724"/>
                <a:gd name="connsiteX33" fmla="*/ 53370 w 304863"/>
                <a:gd name="connsiteY33" fmla="*/ 134051 h 304724"/>
                <a:gd name="connsiteX34" fmla="*/ 50688 w 304863"/>
                <a:gd name="connsiteY34" fmla="*/ 132740 h 304724"/>
                <a:gd name="connsiteX35" fmla="*/ 22860 w 304863"/>
                <a:gd name="connsiteY35" fmla="*/ 88240 h 304724"/>
                <a:gd name="connsiteX36" fmla="*/ 22860 w 304863"/>
                <a:gd name="connsiteY36" fmla="*/ 79980 h 304724"/>
                <a:gd name="connsiteX37" fmla="*/ 76230 w 304863"/>
                <a:gd name="connsiteY37" fmla="*/ 264749 h 304724"/>
                <a:gd name="connsiteX38" fmla="*/ 76230 w 304863"/>
                <a:gd name="connsiteY38" fmla="*/ 170642 h 304724"/>
                <a:gd name="connsiteX39" fmla="*/ 78852 w 304863"/>
                <a:gd name="connsiteY39" fmla="*/ 171922 h 304724"/>
                <a:gd name="connsiteX40" fmla="*/ 106680 w 304863"/>
                <a:gd name="connsiteY40" fmla="*/ 216423 h 304724"/>
                <a:gd name="connsiteX41" fmla="*/ 106680 w 304863"/>
                <a:gd name="connsiteY41" fmla="*/ 224424 h 304724"/>
                <a:gd name="connsiteX42" fmla="*/ 76230 w 304863"/>
                <a:gd name="connsiteY42" fmla="*/ 264749 h 304724"/>
                <a:gd name="connsiteX43" fmla="*/ 190500 w 304863"/>
                <a:gd name="connsiteY43" fmla="*/ 152370 h 304724"/>
                <a:gd name="connsiteX44" fmla="*/ 190668 w 304863"/>
                <a:gd name="connsiteY44" fmla="*/ 144734 h 304724"/>
                <a:gd name="connsiteX45" fmla="*/ 217140 w 304863"/>
                <a:gd name="connsiteY45" fmla="*/ 144734 h 304724"/>
                <a:gd name="connsiteX46" fmla="*/ 228577 w 304863"/>
                <a:gd name="connsiteY46" fmla="*/ 133312 h 304724"/>
                <a:gd name="connsiteX47" fmla="*/ 217155 w 304863"/>
                <a:gd name="connsiteY47" fmla="*/ 121874 h 304724"/>
                <a:gd name="connsiteX48" fmla="*/ 193274 w 304863"/>
                <a:gd name="connsiteY48" fmla="*/ 121874 h 304724"/>
                <a:gd name="connsiteX49" fmla="*/ 170063 w 304863"/>
                <a:gd name="connsiteY49" fmla="*/ 121844 h 304724"/>
                <a:gd name="connsiteX50" fmla="*/ 148605 w 304863"/>
                <a:gd name="connsiteY50" fmla="*/ 121844 h 304724"/>
                <a:gd name="connsiteX51" fmla="*/ 137168 w 304863"/>
                <a:gd name="connsiteY51" fmla="*/ 133266 h 304724"/>
                <a:gd name="connsiteX52" fmla="*/ 148590 w 304863"/>
                <a:gd name="connsiteY52" fmla="*/ 144704 h 304724"/>
                <a:gd name="connsiteX53" fmla="*/ 167792 w 304863"/>
                <a:gd name="connsiteY53" fmla="*/ 144704 h 304724"/>
                <a:gd name="connsiteX54" fmla="*/ 167792 w 304863"/>
                <a:gd name="connsiteY54" fmla="*/ 159990 h 304724"/>
                <a:gd name="connsiteX55" fmla="*/ 148590 w 304863"/>
                <a:gd name="connsiteY55" fmla="*/ 159990 h 304724"/>
                <a:gd name="connsiteX56" fmla="*/ 137160 w 304863"/>
                <a:gd name="connsiteY56" fmla="*/ 171420 h 304724"/>
                <a:gd name="connsiteX57" fmla="*/ 148590 w 304863"/>
                <a:gd name="connsiteY57" fmla="*/ 182850 h 304724"/>
                <a:gd name="connsiteX58" fmla="*/ 170078 w 304863"/>
                <a:gd name="connsiteY58" fmla="*/ 182850 h 304724"/>
                <a:gd name="connsiteX59" fmla="*/ 195362 w 304863"/>
                <a:gd name="connsiteY59" fmla="*/ 247802 h 304724"/>
                <a:gd name="connsiteX60" fmla="*/ 266700 w 304863"/>
                <a:gd name="connsiteY60" fmla="*/ 289530 h 304724"/>
                <a:gd name="connsiteX61" fmla="*/ 299954 w 304863"/>
                <a:gd name="connsiteY61" fmla="*/ 279928 h 304724"/>
                <a:gd name="connsiteX62" fmla="*/ 302819 w 304863"/>
                <a:gd name="connsiteY62" fmla="*/ 264018 h 304724"/>
                <a:gd name="connsiteX63" fmla="*/ 286908 w 304863"/>
                <a:gd name="connsiteY63" fmla="*/ 261153 h 304724"/>
                <a:gd name="connsiteX64" fmla="*/ 266700 w 304863"/>
                <a:gd name="connsiteY64" fmla="*/ 266654 h 304724"/>
                <a:gd name="connsiteX65" fmla="*/ 214122 w 304863"/>
                <a:gd name="connsiteY65" fmla="*/ 234726 h 304724"/>
                <a:gd name="connsiteX66" fmla="*/ 193274 w 304863"/>
                <a:gd name="connsiteY66" fmla="*/ 182850 h 304724"/>
                <a:gd name="connsiteX67" fmla="*/ 217155 w 304863"/>
                <a:gd name="connsiteY67" fmla="*/ 182850 h 304724"/>
                <a:gd name="connsiteX68" fmla="*/ 228585 w 304863"/>
                <a:gd name="connsiteY68" fmla="*/ 171420 h 304724"/>
                <a:gd name="connsiteX69" fmla="*/ 217155 w 304863"/>
                <a:gd name="connsiteY69" fmla="*/ 159990 h 304724"/>
                <a:gd name="connsiteX70" fmla="*/ 190652 w 304863"/>
                <a:gd name="connsiteY70" fmla="*/ 159990 h 304724"/>
                <a:gd name="connsiteX71" fmla="*/ 190485 w 304863"/>
                <a:gd name="connsiteY71" fmla="*/ 152370 h 304724"/>
                <a:gd name="connsiteX72" fmla="*/ 190500 w 304863"/>
                <a:gd name="connsiteY72" fmla="*/ 152370 h 304724"/>
                <a:gd name="connsiteX0" fmla="*/ 64800 w 304863"/>
                <a:gd name="connsiteY0" fmla="*/ 0 h 304724"/>
                <a:gd name="connsiteX1" fmla="*/ 53370 w 304863"/>
                <a:gd name="connsiteY1" fmla="*/ 11430 h 304724"/>
                <a:gd name="connsiteX2" fmla="*/ 53370 w 304863"/>
                <a:gd name="connsiteY2" fmla="*/ 16200 h 304724"/>
                <a:gd name="connsiteX3" fmla="*/ 0 w 304863"/>
                <a:gd name="connsiteY3" fmla="*/ 79980 h 304724"/>
                <a:gd name="connsiteX4" fmla="*/ 0 w 304863"/>
                <a:gd name="connsiteY4" fmla="*/ 88240 h 304724"/>
                <a:gd name="connsiteX5" fmla="*/ 40660 w 304863"/>
                <a:gd name="connsiteY5" fmla="*/ 153314 h 304724"/>
                <a:gd name="connsiteX6" fmla="*/ 53370 w 304863"/>
                <a:gd name="connsiteY6" fmla="*/ 159502 h 304724"/>
                <a:gd name="connsiteX7" fmla="*/ 53370 w 304863"/>
                <a:gd name="connsiteY7" fmla="*/ 264780 h 304724"/>
                <a:gd name="connsiteX8" fmla="*/ 22860 w 304863"/>
                <a:gd name="connsiteY8" fmla="*/ 224424 h 304724"/>
                <a:gd name="connsiteX9" fmla="*/ 22860 w 304863"/>
                <a:gd name="connsiteY9" fmla="*/ 209489 h 304724"/>
                <a:gd name="connsiteX10" fmla="*/ 11430 w 304863"/>
                <a:gd name="connsiteY10" fmla="*/ 198059 h 304724"/>
                <a:gd name="connsiteX11" fmla="*/ 0 w 304863"/>
                <a:gd name="connsiteY11" fmla="*/ 209489 h 304724"/>
                <a:gd name="connsiteX12" fmla="*/ 0 w 304863"/>
                <a:gd name="connsiteY12" fmla="*/ 224424 h 304724"/>
                <a:gd name="connsiteX13" fmla="*/ 53370 w 304863"/>
                <a:gd name="connsiteY13" fmla="*/ 288188 h 304724"/>
                <a:gd name="connsiteX14" fmla="*/ 53370 w 304863"/>
                <a:gd name="connsiteY14" fmla="*/ 293294 h 304724"/>
                <a:gd name="connsiteX15" fmla="*/ 64800 w 304863"/>
                <a:gd name="connsiteY15" fmla="*/ 304724 h 304724"/>
                <a:gd name="connsiteX16" fmla="*/ 76230 w 304863"/>
                <a:gd name="connsiteY16" fmla="*/ 293294 h 304724"/>
                <a:gd name="connsiteX17" fmla="*/ 76230 w 304863"/>
                <a:gd name="connsiteY17" fmla="*/ 288188 h 304724"/>
                <a:gd name="connsiteX18" fmla="*/ 129540 w 304863"/>
                <a:gd name="connsiteY18" fmla="*/ 224424 h 304724"/>
                <a:gd name="connsiteX19" fmla="*/ 129540 w 304863"/>
                <a:gd name="connsiteY19" fmla="*/ 216438 h 304724"/>
                <a:gd name="connsiteX20" fmla="*/ 88880 w 304863"/>
                <a:gd name="connsiteY20" fmla="*/ 151364 h 304724"/>
                <a:gd name="connsiteX21" fmla="*/ 76230 w 304863"/>
                <a:gd name="connsiteY21" fmla="*/ 145207 h 304724"/>
                <a:gd name="connsiteX22" fmla="*/ 76230 w 304863"/>
                <a:gd name="connsiteY22" fmla="*/ 39654 h 304724"/>
                <a:gd name="connsiteX23" fmla="*/ 106680 w 304863"/>
                <a:gd name="connsiteY23" fmla="*/ 79980 h 304724"/>
                <a:gd name="connsiteX24" fmla="*/ 106680 w 304863"/>
                <a:gd name="connsiteY24" fmla="*/ 95220 h 304724"/>
                <a:gd name="connsiteX25" fmla="*/ 118110 w 304863"/>
                <a:gd name="connsiteY25" fmla="*/ 106650 h 304724"/>
                <a:gd name="connsiteX26" fmla="*/ 129540 w 304863"/>
                <a:gd name="connsiteY26" fmla="*/ 95220 h 304724"/>
                <a:gd name="connsiteX27" fmla="*/ 129540 w 304863"/>
                <a:gd name="connsiteY27" fmla="*/ 79980 h 304724"/>
                <a:gd name="connsiteX28" fmla="*/ 76230 w 304863"/>
                <a:gd name="connsiteY28" fmla="*/ 16215 h 304724"/>
                <a:gd name="connsiteX29" fmla="*/ 76230 w 304863"/>
                <a:gd name="connsiteY29" fmla="*/ 11430 h 304724"/>
                <a:gd name="connsiteX30" fmla="*/ 64800 w 304863"/>
                <a:gd name="connsiteY30" fmla="*/ 0 h 304724"/>
                <a:gd name="connsiteX31" fmla="*/ 22860 w 304863"/>
                <a:gd name="connsiteY31" fmla="*/ 79980 h 304724"/>
                <a:gd name="connsiteX32" fmla="*/ 53370 w 304863"/>
                <a:gd name="connsiteY32" fmla="*/ 39624 h 304724"/>
                <a:gd name="connsiteX33" fmla="*/ 53370 w 304863"/>
                <a:gd name="connsiteY33" fmla="*/ 134051 h 304724"/>
                <a:gd name="connsiteX34" fmla="*/ 50688 w 304863"/>
                <a:gd name="connsiteY34" fmla="*/ 132740 h 304724"/>
                <a:gd name="connsiteX35" fmla="*/ 22860 w 304863"/>
                <a:gd name="connsiteY35" fmla="*/ 88240 h 304724"/>
                <a:gd name="connsiteX36" fmla="*/ 22860 w 304863"/>
                <a:gd name="connsiteY36" fmla="*/ 79980 h 304724"/>
                <a:gd name="connsiteX37" fmla="*/ 76230 w 304863"/>
                <a:gd name="connsiteY37" fmla="*/ 264749 h 304724"/>
                <a:gd name="connsiteX38" fmla="*/ 76230 w 304863"/>
                <a:gd name="connsiteY38" fmla="*/ 170642 h 304724"/>
                <a:gd name="connsiteX39" fmla="*/ 78852 w 304863"/>
                <a:gd name="connsiteY39" fmla="*/ 171922 h 304724"/>
                <a:gd name="connsiteX40" fmla="*/ 106680 w 304863"/>
                <a:gd name="connsiteY40" fmla="*/ 216423 h 304724"/>
                <a:gd name="connsiteX41" fmla="*/ 106680 w 304863"/>
                <a:gd name="connsiteY41" fmla="*/ 224424 h 304724"/>
                <a:gd name="connsiteX42" fmla="*/ 76230 w 304863"/>
                <a:gd name="connsiteY42" fmla="*/ 264749 h 304724"/>
                <a:gd name="connsiteX43" fmla="*/ 190500 w 304863"/>
                <a:gd name="connsiteY43" fmla="*/ 152370 h 304724"/>
                <a:gd name="connsiteX44" fmla="*/ 190668 w 304863"/>
                <a:gd name="connsiteY44" fmla="*/ 144734 h 304724"/>
                <a:gd name="connsiteX45" fmla="*/ 217140 w 304863"/>
                <a:gd name="connsiteY45" fmla="*/ 144734 h 304724"/>
                <a:gd name="connsiteX46" fmla="*/ 228577 w 304863"/>
                <a:gd name="connsiteY46" fmla="*/ 133312 h 304724"/>
                <a:gd name="connsiteX47" fmla="*/ 193274 w 304863"/>
                <a:gd name="connsiteY47" fmla="*/ 121874 h 304724"/>
                <a:gd name="connsiteX48" fmla="*/ 170063 w 304863"/>
                <a:gd name="connsiteY48" fmla="*/ 121844 h 304724"/>
                <a:gd name="connsiteX49" fmla="*/ 148605 w 304863"/>
                <a:gd name="connsiteY49" fmla="*/ 121844 h 304724"/>
                <a:gd name="connsiteX50" fmla="*/ 137168 w 304863"/>
                <a:gd name="connsiteY50" fmla="*/ 133266 h 304724"/>
                <a:gd name="connsiteX51" fmla="*/ 148590 w 304863"/>
                <a:gd name="connsiteY51" fmla="*/ 144704 h 304724"/>
                <a:gd name="connsiteX52" fmla="*/ 167792 w 304863"/>
                <a:gd name="connsiteY52" fmla="*/ 144704 h 304724"/>
                <a:gd name="connsiteX53" fmla="*/ 167792 w 304863"/>
                <a:gd name="connsiteY53" fmla="*/ 159990 h 304724"/>
                <a:gd name="connsiteX54" fmla="*/ 148590 w 304863"/>
                <a:gd name="connsiteY54" fmla="*/ 159990 h 304724"/>
                <a:gd name="connsiteX55" fmla="*/ 137160 w 304863"/>
                <a:gd name="connsiteY55" fmla="*/ 171420 h 304724"/>
                <a:gd name="connsiteX56" fmla="*/ 148590 w 304863"/>
                <a:gd name="connsiteY56" fmla="*/ 182850 h 304724"/>
                <a:gd name="connsiteX57" fmla="*/ 170078 w 304863"/>
                <a:gd name="connsiteY57" fmla="*/ 182850 h 304724"/>
                <a:gd name="connsiteX58" fmla="*/ 195362 w 304863"/>
                <a:gd name="connsiteY58" fmla="*/ 247802 h 304724"/>
                <a:gd name="connsiteX59" fmla="*/ 266700 w 304863"/>
                <a:gd name="connsiteY59" fmla="*/ 289530 h 304724"/>
                <a:gd name="connsiteX60" fmla="*/ 299954 w 304863"/>
                <a:gd name="connsiteY60" fmla="*/ 279928 h 304724"/>
                <a:gd name="connsiteX61" fmla="*/ 302819 w 304863"/>
                <a:gd name="connsiteY61" fmla="*/ 264018 h 304724"/>
                <a:gd name="connsiteX62" fmla="*/ 286908 w 304863"/>
                <a:gd name="connsiteY62" fmla="*/ 261153 h 304724"/>
                <a:gd name="connsiteX63" fmla="*/ 266700 w 304863"/>
                <a:gd name="connsiteY63" fmla="*/ 266654 h 304724"/>
                <a:gd name="connsiteX64" fmla="*/ 214122 w 304863"/>
                <a:gd name="connsiteY64" fmla="*/ 234726 h 304724"/>
                <a:gd name="connsiteX65" fmla="*/ 193274 w 304863"/>
                <a:gd name="connsiteY65" fmla="*/ 182850 h 304724"/>
                <a:gd name="connsiteX66" fmla="*/ 217155 w 304863"/>
                <a:gd name="connsiteY66" fmla="*/ 182850 h 304724"/>
                <a:gd name="connsiteX67" fmla="*/ 228585 w 304863"/>
                <a:gd name="connsiteY67" fmla="*/ 171420 h 304724"/>
                <a:gd name="connsiteX68" fmla="*/ 217155 w 304863"/>
                <a:gd name="connsiteY68" fmla="*/ 159990 h 304724"/>
                <a:gd name="connsiteX69" fmla="*/ 190652 w 304863"/>
                <a:gd name="connsiteY69" fmla="*/ 159990 h 304724"/>
                <a:gd name="connsiteX70" fmla="*/ 190485 w 304863"/>
                <a:gd name="connsiteY70" fmla="*/ 152370 h 304724"/>
                <a:gd name="connsiteX71" fmla="*/ 190500 w 304863"/>
                <a:gd name="connsiteY71" fmla="*/ 152370 h 304724"/>
                <a:gd name="connsiteX0" fmla="*/ 64800 w 304863"/>
                <a:gd name="connsiteY0" fmla="*/ 0 h 304724"/>
                <a:gd name="connsiteX1" fmla="*/ 53370 w 304863"/>
                <a:gd name="connsiteY1" fmla="*/ 11430 h 304724"/>
                <a:gd name="connsiteX2" fmla="*/ 53370 w 304863"/>
                <a:gd name="connsiteY2" fmla="*/ 16200 h 304724"/>
                <a:gd name="connsiteX3" fmla="*/ 0 w 304863"/>
                <a:gd name="connsiteY3" fmla="*/ 79980 h 304724"/>
                <a:gd name="connsiteX4" fmla="*/ 0 w 304863"/>
                <a:gd name="connsiteY4" fmla="*/ 88240 h 304724"/>
                <a:gd name="connsiteX5" fmla="*/ 40660 w 304863"/>
                <a:gd name="connsiteY5" fmla="*/ 153314 h 304724"/>
                <a:gd name="connsiteX6" fmla="*/ 53370 w 304863"/>
                <a:gd name="connsiteY6" fmla="*/ 159502 h 304724"/>
                <a:gd name="connsiteX7" fmla="*/ 53370 w 304863"/>
                <a:gd name="connsiteY7" fmla="*/ 264780 h 304724"/>
                <a:gd name="connsiteX8" fmla="*/ 22860 w 304863"/>
                <a:gd name="connsiteY8" fmla="*/ 224424 h 304724"/>
                <a:gd name="connsiteX9" fmla="*/ 22860 w 304863"/>
                <a:gd name="connsiteY9" fmla="*/ 209489 h 304724"/>
                <a:gd name="connsiteX10" fmla="*/ 11430 w 304863"/>
                <a:gd name="connsiteY10" fmla="*/ 198059 h 304724"/>
                <a:gd name="connsiteX11" fmla="*/ 0 w 304863"/>
                <a:gd name="connsiteY11" fmla="*/ 209489 h 304724"/>
                <a:gd name="connsiteX12" fmla="*/ 0 w 304863"/>
                <a:gd name="connsiteY12" fmla="*/ 224424 h 304724"/>
                <a:gd name="connsiteX13" fmla="*/ 53370 w 304863"/>
                <a:gd name="connsiteY13" fmla="*/ 288188 h 304724"/>
                <a:gd name="connsiteX14" fmla="*/ 53370 w 304863"/>
                <a:gd name="connsiteY14" fmla="*/ 293294 h 304724"/>
                <a:gd name="connsiteX15" fmla="*/ 64800 w 304863"/>
                <a:gd name="connsiteY15" fmla="*/ 304724 h 304724"/>
                <a:gd name="connsiteX16" fmla="*/ 76230 w 304863"/>
                <a:gd name="connsiteY16" fmla="*/ 293294 h 304724"/>
                <a:gd name="connsiteX17" fmla="*/ 76230 w 304863"/>
                <a:gd name="connsiteY17" fmla="*/ 288188 h 304724"/>
                <a:gd name="connsiteX18" fmla="*/ 129540 w 304863"/>
                <a:gd name="connsiteY18" fmla="*/ 224424 h 304724"/>
                <a:gd name="connsiteX19" fmla="*/ 129540 w 304863"/>
                <a:gd name="connsiteY19" fmla="*/ 216438 h 304724"/>
                <a:gd name="connsiteX20" fmla="*/ 88880 w 304863"/>
                <a:gd name="connsiteY20" fmla="*/ 151364 h 304724"/>
                <a:gd name="connsiteX21" fmla="*/ 76230 w 304863"/>
                <a:gd name="connsiteY21" fmla="*/ 145207 h 304724"/>
                <a:gd name="connsiteX22" fmla="*/ 76230 w 304863"/>
                <a:gd name="connsiteY22" fmla="*/ 39654 h 304724"/>
                <a:gd name="connsiteX23" fmla="*/ 106680 w 304863"/>
                <a:gd name="connsiteY23" fmla="*/ 79980 h 304724"/>
                <a:gd name="connsiteX24" fmla="*/ 106680 w 304863"/>
                <a:gd name="connsiteY24" fmla="*/ 95220 h 304724"/>
                <a:gd name="connsiteX25" fmla="*/ 118110 w 304863"/>
                <a:gd name="connsiteY25" fmla="*/ 106650 h 304724"/>
                <a:gd name="connsiteX26" fmla="*/ 129540 w 304863"/>
                <a:gd name="connsiteY26" fmla="*/ 95220 h 304724"/>
                <a:gd name="connsiteX27" fmla="*/ 129540 w 304863"/>
                <a:gd name="connsiteY27" fmla="*/ 79980 h 304724"/>
                <a:gd name="connsiteX28" fmla="*/ 76230 w 304863"/>
                <a:gd name="connsiteY28" fmla="*/ 16215 h 304724"/>
                <a:gd name="connsiteX29" fmla="*/ 76230 w 304863"/>
                <a:gd name="connsiteY29" fmla="*/ 11430 h 304724"/>
                <a:gd name="connsiteX30" fmla="*/ 64800 w 304863"/>
                <a:gd name="connsiteY30" fmla="*/ 0 h 304724"/>
                <a:gd name="connsiteX31" fmla="*/ 22860 w 304863"/>
                <a:gd name="connsiteY31" fmla="*/ 79980 h 304724"/>
                <a:gd name="connsiteX32" fmla="*/ 53370 w 304863"/>
                <a:gd name="connsiteY32" fmla="*/ 39624 h 304724"/>
                <a:gd name="connsiteX33" fmla="*/ 53370 w 304863"/>
                <a:gd name="connsiteY33" fmla="*/ 134051 h 304724"/>
                <a:gd name="connsiteX34" fmla="*/ 50688 w 304863"/>
                <a:gd name="connsiteY34" fmla="*/ 132740 h 304724"/>
                <a:gd name="connsiteX35" fmla="*/ 22860 w 304863"/>
                <a:gd name="connsiteY35" fmla="*/ 88240 h 304724"/>
                <a:gd name="connsiteX36" fmla="*/ 22860 w 304863"/>
                <a:gd name="connsiteY36" fmla="*/ 79980 h 304724"/>
                <a:gd name="connsiteX37" fmla="*/ 76230 w 304863"/>
                <a:gd name="connsiteY37" fmla="*/ 264749 h 304724"/>
                <a:gd name="connsiteX38" fmla="*/ 76230 w 304863"/>
                <a:gd name="connsiteY38" fmla="*/ 170642 h 304724"/>
                <a:gd name="connsiteX39" fmla="*/ 78852 w 304863"/>
                <a:gd name="connsiteY39" fmla="*/ 171922 h 304724"/>
                <a:gd name="connsiteX40" fmla="*/ 106680 w 304863"/>
                <a:gd name="connsiteY40" fmla="*/ 216423 h 304724"/>
                <a:gd name="connsiteX41" fmla="*/ 106680 w 304863"/>
                <a:gd name="connsiteY41" fmla="*/ 224424 h 304724"/>
                <a:gd name="connsiteX42" fmla="*/ 76230 w 304863"/>
                <a:gd name="connsiteY42" fmla="*/ 264749 h 304724"/>
                <a:gd name="connsiteX43" fmla="*/ 190500 w 304863"/>
                <a:gd name="connsiteY43" fmla="*/ 152370 h 304724"/>
                <a:gd name="connsiteX44" fmla="*/ 190668 w 304863"/>
                <a:gd name="connsiteY44" fmla="*/ 144734 h 304724"/>
                <a:gd name="connsiteX45" fmla="*/ 217140 w 304863"/>
                <a:gd name="connsiteY45" fmla="*/ 144734 h 304724"/>
                <a:gd name="connsiteX46" fmla="*/ 228577 w 304863"/>
                <a:gd name="connsiteY46" fmla="*/ 133312 h 304724"/>
                <a:gd name="connsiteX47" fmla="*/ 170063 w 304863"/>
                <a:gd name="connsiteY47" fmla="*/ 121844 h 304724"/>
                <a:gd name="connsiteX48" fmla="*/ 148605 w 304863"/>
                <a:gd name="connsiteY48" fmla="*/ 121844 h 304724"/>
                <a:gd name="connsiteX49" fmla="*/ 137168 w 304863"/>
                <a:gd name="connsiteY49" fmla="*/ 133266 h 304724"/>
                <a:gd name="connsiteX50" fmla="*/ 148590 w 304863"/>
                <a:gd name="connsiteY50" fmla="*/ 144704 h 304724"/>
                <a:gd name="connsiteX51" fmla="*/ 167792 w 304863"/>
                <a:gd name="connsiteY51" fmla="*/ 144704 h 304724"/>
                <a:gd name="connsiteX52" fmla="*/ 167792 w 304863"/>
                <a:gd name="connsiteY52" fmla="*/ 159990 h 304724"/>
                <a:gd name="connsiteX53" fmla="*/ 148590 w 304863"/>
                <a:gd name="connsiteY53" fmla="*/ 159990 h 304724"/>
                <a:gd name="connsiteX54" fmla="*/ 137160 w 304863"/>
                <a:gd name="connsiteY54" fmla="*/ 171420 h 304724"/>
                <a:gd name="connsiteX55" fmla="*/ 148590 w 304863"/>
                <a:gd name="connsiteY55" fmla="*/ 182850 h 304724"/>
                <a:gd name="connsiteX56" fmla="*/ 170078 w 304863"/>
                <a:gd name="connsiteY56" fmla="*/ 182850 h 304724"/>
                <a:gd name="connsiteX57" fmla="*/ 195362 w 304863"/>
                <a:gd name="connsiteY57" fmla="*/ 247802 h 304724"/>
                <a:gd name="connsiteX58" fmla="*/ 266700 w 304863"/>
                <a:gd name="connsiteY58" fmla="*/ 289530 h 304724"/>
                <a:gd name="connsiteX59" fmla="*/ 299954 w 304863"/>
                <a:gd name="connsiteY59" fmla="*/ 279928 h 304724"/>
                <a:gd name="connsiteX60" fmla="*/ 302819 w 304863"/>
                <a:gd name="connsiteY60" fmla="*/ 264018 h 304724"/>
                <a:gd name="connsiteX61" fmla="*/ 286908 w 304863"/>
                <a:gd name="connsiteY61" fmla="*/ 261153 h 304724"/>
                <a:gd name="connsiteX62" fmla="*/ 266700 w 304863"/>
                <a:gd name="connsiteY62" fmla="*/ 266654 h 304724"/>
                <a:gd name="connsiteX63" fmla="*/ 214122 w 304863"/>
                <a:gd name="connsiteY63" fmla="*/ 234726 h 304724"/>
                <a:gd name="connsiteX64" fmla="*/ 193274 w 304863"/>
                <a:gd name="connsiteY64" fmla="*/ 182850 h 304724"/>
                <a:gd name="connsiteX65" fmla="*/ 217155 w 304863"/>
                <a:gd name="connsiteY65" fmla="*/ 182850 h 304724"/>
                <a:gd name="connsiteX66" fmla="*/ 228585 w 304863"/>
                <a:gd name="connsiteY66" fmla="*/ 171420 h 304724"/>
                <a:gd name="connsiteX67" fmla="*/ 217155 w 304863"/>
                <a:gd name="connsiteY67" fmla="*/ 159990 h 304724"/>
                <a:gd name="connsiteX68" fmla="*/ 190652 w 304863"/>
                <a:gd name="connsiteY68" fmla="*/ 159990 h 304724"/>
                <a:gd name="connsiteX69" fmla="*/ 190485 w 304863"/>
                <a:gd name="connsiteY69" fmla="*/ 152370 h 304724"/>
                <a:gd name="connsiteX70" fmla="*/ 190500 w 304863"/>
                <a:gd name="connsiteY70" fmla="*/ 152370 h 304724"/>
                <a:gd name="connsiteX0" fmla="*/ 64800 w 304863"/>
                <a:gd name="connsiteY0" fmla="*/ 0 h 304724"/>
                <a:gd name="connsiteX1" fmla="*/ 53370 w 304863"/>
                <a:gd name="connsiteY1" fmla="*/ 11430 h 304724"/>
                <a:gd name="connsiteX2" fmla="*/ 53370 w 304863"/>
                <a:gd name="connsiteY2" fmla="*/ 16200 h 304724"/>
                <a:gd name="connsiteX3" fmla="*/ 0 w 304863"/>
                <a:gd name="connsiteY3" fmla="*/ 79980 h 304724"/>
                <a:gd name="connsiteX4" fmla="*/ 0 w 304863"/>
                <a:gd name="connsiteY4" fmla="*/ 88240 h 304724"/>
                <a:gd name="connsiteX5" fmla="*/ 40660 w 304863"/>
                <a:gd name="connsiteY5" fmla="*/ 153314 h 304724"/>
                <a:gd name="connsiteX6" fmla="*/ 53370 w 304863"/>
                <a:gd name="connsiteY6" fmla="*/ 159502 h 304724"/>
                <a:gd name="connsiteX7" fmla="*/ 53370 w 304863"/>
                <a:gd name="connsiteY7" fmla="*/ 264780 h 304724"/>
                <a:gd name="connsiteX8" fmla="*/ 22860 w 304863"/>
                <a:gd name="connsiteY8" fmla="*/ 224424 h 304724"/>
                <a:gd name="connsiteX9" fmla="*/ 22860 w 304863"/>
                <a:gd name="connsiteY9" fmla="*/ 209489 h 304724"/>
                <a:gd name="connsiteX10" fmla="*/ 11430 w 304863"/>
                <a:gd name="connsiteY10" fmla="*/ 198059 h 304724"/>
                <a:gd name="connsiteX11" fmla="*/ 0 w 304863"/>
                <a:gd name="connsiteY11" fmla="*/ 209489 h 304724"/>
                <a:gd name="connsiteX12" fmla="*/ 0 w 304863"/>
                <a:gd name="connsiteY12" fmla="*/ 224424 h 304724"/>
                <a:gd name="connsiteX13" fmla="*/ 53370 w 304863"/>
                <a:gd name="connsiteY13" fmla="*/ 288188 h 304724"/>
                <a:gd name="connsiteX14" fmla="*/ 53370 w 304863"/>
                <a:gd name="connsiteY14" fmla="*/ 293294 h 304724"/>
                <a:gd name="connsiteX15" fmla="*/ 64800 w 304863"/>
                <a:gd name="connsiteY15" fmla="*/ 304724 h 304724"/>
                <a:gd name="connsiteX16" fmla="*/ 76230 w 304863"/>
                <a:gd name="connsiteY16" fmla="*/ 293294 h 304724"/>
                <a:gd name="connsiteX17" fmla="*/ 76230 w 304863"/>
                <a:gd name="connsiteY17" fmla="*/ 288188 h 304724"/>
                <a:gd name="connsiteX18" fmla="*/ 129540 w 304863"/>
                <a:gd name="connsiteY18" fmla="*/ 224424 h 304724"/>
                <a:gd name="connsiteX19" fmla="*/ 129540 w 304863"/>
                <a:gd name="connsiteY19" fmla="*/ 216438 h 304724"/>
                <a:gd name="connsiteX20" fmla="*/ 88880 w 304863"/>
                <a:gd name="connsiteY20" fmla="*/ 151364 h 304724"/>
                <a:gd name="connsiteX21" fmla="*/ 76230 w 304863"/>
                <a:gd name="connsiteY21" fmla="*/ 145207 h 304724"/>
                <a:gd name="connsiteX22" fmla="*/ 76230 w 304863"/>
                <a:gd name="connsiteY22" fmla="*/ 39654 h 304724"/>
                <a:gd name="connsiteX23" fmla="*/ 106680 w 304863"/>
                <a:gd name="connsiteY23" fmla="*/ 79980 h 304724"/>
                <a:gd name="connsiteX24" fmla="*/ 106680 w 304863"/>
                <a:gd name="connsiteY24" fmla="*/ 95220 h 304724"/>
                <a:gd name="connsiteX25" fmla="*/ 118110 w 304863"/>
                <a:gd name="connsiteY25" fmla="*/ 106650 h 304724"/>
                <a:gd name="connsiteX26" fmla="*/ 129540 w 304863"/>
                <a:gd name="connsiteY26" fmla="*/ 95220 h 304724"/>
                <a:gd name="connsiteX27" fmla="*/ 129540 w 304863"/>
                <a:gd name="connsiteY27" fmla="*/ 79980 h 304724"/>
                <a:gd name="connsiteX28" fmla="*/ 76230 w 304863"/>
                <a:gd name="connsiteY28" fmla="*/ 16215 h 304724"/>
                <a:gd name="connsiteX29" fmla="*/ 76230 w 304863"/>
                <a:gd name="connsiteY29" fmla="*/ 11430 h 304724"/>
                <a:gd name="connsiteX30" fmla="*/ 64800 w 304863"/>
                <a:gd name="connsiteY30" fmla="*/ 0 h 304724"/>
                <a:gd name="connsiteX31" fmla="*/ 22860 w 304863"/>
                <a:gd name="connsiteY31" fmla="*/ 79980 h 304724"/>
                <a:gd name="connsiteX32" fmla="*/ 53370 w 304863"/>
                <a:gd name="connsiteY32" fmla="*/ 39624 h 304724"/>
                <a:gd name="connsiteX33" fmla="*/ 53370 w 304863"/>
                <a:gd name="connsiteY33" fmla="*/ 134051 h 304724"/>
                <a:gd name="connsiteX34" fmla="*/ 50688 w 304863"/>
                <a:gd name="connsiteY34" fmla="*/ 132740 h 304724"/>
                <a:gd name="connsiteX35" fmla="*/ 22860 w 304863"/>
                <a:gd name="connsiteY35" fmla="*/ 88240 h 304724"/>
                <a:gd name="connsiteX36" fmla="*/ 22860 w 304863"/>
                <a:gd name="connsiteY36" fmla="*/ 79980 h 304724"/>
                <a:gd name="connsiteX37" fmla="*/ 76230 w 304863"/>
                <a:gd name="connsiteY37" fmla="*/ 264749 h 304724"/>
                <a:gd name="connsiteX38" fmla="*/ 76230 w 304863"/>
                <a:gd name="connsiteY38" fmla="*/ 170642 h 304724"/>
                <a:gd name="connsiteX39" fmla="*/ 78852 w 304863"/>
                <a:gd name="connsiteY39" fmla="*/ 171922 h 304724"/>
                <a:gd name="connsiteX40" fmla="*/ 106680 w 304863"/>
                <a:gd name="connsiteY40" fmla="*/ 216423 h 304724"/>
                <a:gd name="connsiteX41" fmla="*/ 106680 w 304863"/>
                <a:gd name="connsiteY41" fmla="*/ 224424 h 304724"/>
                <a:gd name="connsiteX42" fmla="*/ 76230 w 304863"/>
                <a:gd name="connsiteY42" fmla="*/ 264749 h 304724"/>
                <a:gd name="connsiteX43" fmla="*/ 190485 w 304863"/>
                <a:gd name="connsiteY43" fmla="*/ 152370 h 304724"/>
                <a:gd name="connsiteX44" fmla="*/ 190668 w 304863"/>
                <a:gd name="connsiteY44" fmla="*/ 144734 h 304724"/>
                <a:gd name="connsiteX45" fmla="*/ 217140 w 304863"/>
                <a:gd name="connsiteY45" fmla="*/ 144734 h 304724"/>
                <a:gd name="connsiteX46" fmla="*/ 228577 w 304863"/>
                <a:gd name="connsiteY46" fmla="*/ 133312 h 304724"/>
                <a:gd name="connsiteX47" fmla="*/ 170063 w 304863"/>
                <a:gd name="connsiteY47" fmla="*/ 121844 h 304724"/>
                <a:gd name="connsiteX48" fmla="*/ 148605 w 304863"/>
                <a:gd name="connsiteY48" fmla="*/ 121844 h 304724"/>
                <a:gd name="connsiteX49" fmla="*/ 137168 w 304863"/>
                <a:gd name="connsiteY49" fmla="*/ 133266 h 304724"/>
                <a:gd name="connsiteX50" fmla="*/ 148590 w 304863"/>
                <a:gd name="connsiteY50" fmla="*/ 144704 h 304724"/>
                <a:gd name="connsiteX51" fmla="*/ 167792 w 304863"/>
                <a:gd name="connsiteY51" fmla="*/ 144704 h 304724"/>
                <a:gd name="connsiteX52" fmla="*/ 167792 w 304863"/>
                <a:gd name="connsiteY52" fmla="*/ 159990 h 304724"/>
                <a:gd name="connsiteX53" fmla="*/ 148590 w 304863"/>
                <a:gd name="connsiteY53" fmla="*/ 159990 h 304724"/>
                <a:gd name="connsiteX54" fmla="*/ 137160 w 304863"/>
                <a:gd name="connsiteY54" fmla="*/ 171420 h 304724"/>
                <a:gd name="connsiteX55" fmla="*/ 148590 w 304863"/>
                <a:gd name="connsiteY55" fmla="*/ 182850 h 304724"/>
                <a:gd name="connsiteX56" fmla="*/ 170078 w 304863"/>
                <a:gd name="connsiteY56" fmla="*/ 182850 h 304724"/>
                <a:gd name="connsiteX57" fmla="*/ 195362 w 304863"/>
                <a:gd name="connsiteY57" fmla="*/ 247802 h 304724"/>
                <a:gd name="connsiteX58" fmla="*/ 266700 w 304863"/>
                <a:gd name="connsiteY58" fmla="*/ 289530 h 304724"/>
                <a:gd name="connsiteX59" fmla="*/ 299954 w 304863"/>
                <a:gd name="connsiteY59" fmla="*/ 279928 h 304724"/>
                <a:gd name="connsiteX60" fmla="*/ 302819 w 304863"/>
                <a:gd name="connsiteY60" fmla="*/ 264018 h 304724"/>
                <a:gd name="connsiteX61" fmla="*/ 286908 w 304863"/>
                <a:gd name="connsiteY61" fmla="*/ 261153 h 304724"/>
                <a:gd name="connsiteX62" fmla="*/ 266700 w 304863"/>
                <a:gd name="connsiteY62" fmla="*/ 266654 h 304724"/>
                <a:gd name="connsiteX63" fmla="*/ 214122 w 304863"/>
                <a:gd name="connsiteY63" fmla="*/ 234726 h 304724"/>
                <a:gd name="connsiteX64" fmla="*/ 193274 w 304863"/>
                <a:gd name="connsiteY64" fmla="*/ 182850 h 304724"/>
                <a:gd name="connsiteX65" fmla="*/ 217155 w 304863"/>
                <a:gd name="connsiteY65" fmla="*/ 182850 h 304724"/>
                <a:gd name="connsiteX66" fmla="*/ 228585 w 304863"/>
                <a:gd name="connsiteY66" fmla="*/ 171420 h 304724"/>
                <a:gd name="connsiteX67" fmla="*/ 217155 w 304863"/>
                <a:gd name="connsiteY67" fmla="*/ 159990 h 304724"/>
                <a:gd name="connsiteX68" fmla="*/ 190652 w 304863"/>
                <a:gd name="connsiteY68" fmla="*/ 159990 h 304724"/>
                <a:gd name="connsiteX69" fmla="*/ 190485 w 304863"/>
                <a:gd name="connsiteY69" fmla="*/ 152370 h 304724"/>
                <a:gd name="connsiteX0" fmla="*/ 64800 w 304863"/>
                <a:gd name="connsiteY0" fmla="*/ 0 h 304724"/>
                <a:gd name="connsiteX1" fmla="*/ 53370 w 304863"/>
                <a:gd name="connsiteY1" fmla="*/ 11430 h 304724"/>
                <a:gd name="connsiteX2" fmla="*/ 53370 w 304863"/>
                <a:gd name="connsiteY2" fmla="*/ 16200 h 304724"/>
                <a:gd name="connsiteX3" fmla="*/ 0 w 304863"/>
                <a:gd name="connsiteY3" fmla="*/ 79980 h 304724"/>
                <a:gd name="connsiteX4" fmla="*/ 0 w 304863"/>
                <a:gd name="connsiteY4" fmla="*/ 88240 h 304724"/>
                <a:gd name="connsiteX5" fmla="*/ 40660 w 304863"/>
                <a:gd name="connsiteY5" fmla="*/ 153314 h 304724"/>
                <a:gd name="connsiteX6" fmla="*/ 53370 w 304863"/>
                <a:gd name="connsiteY6" fmla="*/ 159502 h 304724"/>
                <a:gd name="connsiteX7" fmla="*/ 53370 w 304863"/>
                <a:gd name="connsiteY7" fmla="*/ 264780 h 304724"/>
                <a:gd name="connsiteX8" fmla="*/ 22860 w 304863"/>
                <a:gd name="connsiteY8" fmla="*/ 224424 h 304724"/>
                <a:gd name="connsiteX9" fmla="*/ 22860 w 304863"/>
                <a:gd name="connsiteY9" fmla="*/ 209489 h 304724"/>
                <a:gd name="connsiteX10" fmla="*/ 11430 w 304863"/>
                <a:gd name="connsiteY10" fmla="*/ 198059 h 304724"/>
                <a:gd name="connsiteX11" fmla="*/ 0 w 304863"/>
                <a:gd name="connsiteY11" fmla="*/ 209489 h 304724"/>
                <a:gd name="connsiteX12" fmla="*/ 0 w 304863"/>
                <a:gd name="connsiteY12" fmla="*/ 224424 h 304724"/>
                <a:gd name="connsiteX13" fmla="*/ 53370 w 304863"/>
                <a:gd name="connsiteY13" fmla="*/ 288188 h 304724"/>
                <a:gd name="connsiteX14" fmla="*/ 53370 w 304863"/>
                <a:gd name="connsiteY14" fmla="*/ 293294 h 304724"/>
                <a:gd name="connsiteX15" fmla="*/ 64800 w 304863"/>
                <a:gd name="connsiteY15" fmla="*/ 304724 h 304724"/>
                <a:gd name="connsiteX16" fmla="*/ 76230 w 304863"/>
                <a:gd name="connsiteY16" fmla="*/ 293294 h 304724"/>
                <a:gd name="connsiteX17" fmla="*/ 76230 w 304863"/>
                <a:gd name="connsiteY17" fmla="*/ 288188 h 304724"/>
                <a:gd name="connsiteX18" fmla="*/ 129540 w 304863"/>
                <a:gd name="connsiteY18" fmla="*/ 224424 h 304724"/>
                <a:gd name="connsiteX19" fmla="*/ 129540 w 304863"/>
                <a:gd name="connsiteY19" fmla="*/ 216438 h 304724"/>
                <a:gd name="connsiteX20" fmla="*/ 88880 w 304863"/>
                <a:gd name="connsiteY20" fmla="*/ 151364 h 304724"/>
                <a:gd name="connsiteX21" fmla="*/ 76230 w 304863"/>
                <a:gd name="connsiteY21" fmla="*/ 145207 h 304724"/>
                <a:gd name="connsiteX22" fmla="*/ 76230 w 304863"/>
                <a:gd name="connsiteY22" fmla="*/ 39654 h 304724"/>
                <a:gd name="connsiteX23" fmla="*/ 106680 w 304863"/>
                <a:gd name="connsiteY23" fmla="*/ 79980 h 304724"/>
                <a:gd name="connsiteX24" fmla="*/ 106680 w 304863"/>
                <a:gd name="connsiteY24" fmla="*/ 95220 h 304724"/>
                <a:gd name="connsiteX25" fmla="*/ 118110 w 304863"/>
                <a:gd name="connsiteY25" fmla="*/ 106650 h 304724"/>
                <a:gd name="connsiteX26" fmla="*/ 129540 w 304863"/>
                <a:gd name="connsiteY26" fmla="*/ 95220 h 304724"/>
                <a:gd name="connsiteX27" fmla="*/ 129540 w 304863"/>
                <a:gd name="connsiteY27" fmla="*/ 79980 h 304724"/>
                <a:gd name="connsiteX28" fmla="*/ 76230 w 304863"/>
                <a:gd name="connsiteY28" fmla="*/ 16215 h 304724"/>
                <a:gd name="connsiteX29" fmla="*/ 76230 w 304863"/>
                <a:gd name="connsiteY29" fmla="*/ 11430 h 304724"/>
                <a:gd name="connsiteX30" fmla="*/ 64800 w 304863"/>
                <a:gd name="connsiteY30" fmla="*/ 0 h 304724"/>
                <a:gd name="connsiteX31" fmla="*/ 22860 w 304863"/>
                <a:gd name="connsiteY31" fmla="*/ 79980 h 304724"/>
                <a:gd name="connsiteX32" fmla="*/ 53370 w 304863"/>
                <a:gd name="connsiteY32" fmla="*/ 39624 h 304724"/>
                <a:gd name="connsiteX33" fmla="*/ 53370 w 304863"/>
                <a:gd name="connsiteY33" fmla="*/ 134051 h 304724"/>
                <a:gd name="connsiteX34" fmla="*/ 50688 w 304863"/>
                <a:gd name="connsiteY34" fmla="*/ 132740 h 304724"/>
                <a:gd name="connsiteX35" fmla="*/ 22860 w 304863"/>
                <a:gd name="connsiteY35" fmla="*/ 88240 h 304724"/>
                <a:gd name="connsiteX36" fmla="*/ 22860 w 304863"/>
                <a:gd name="connsiteY36" fmla="*/ 79980 h 304724"/>
                <a:gd name="connsiteX37" fmla="*/ 76230 w 304863"/>
                <a:gd name="connsiteY37" fmla="*/ 264749 h 304724"/>
                <a:gd name="connsiteX38" fmla="*/ 76230 w 304863"/>
                <a:gd name="connsiteY38" fmla="*/ 170642 h 304724"/>
                <a:gd name="connsiteX39" fmla="*/ 78852 w 304863"/>
                <a:gd name="connsiteY39" fmla="*/ 171922 h 304724"/>
                <a:gd name="connsiteX40" fmla="*/ 106680 w 304863"/>
                <a:gd name="connsiteY40" fmla="*/ 216423 h 304724"/>
                <a:gd name="connsiteX41" fmla="*/ 106680 w 304863"/>
                <a:gd name="connsiteY41" fmla="*/ 224424 h 304724"/>
                <a:gd name="connsiteX42" fmla="*/ 76230 w 304863"/>
                <a:gd name="connsiteY42" fmla="*/ 264749 h 304724"/>
                <a:gd name="connsiteX43" fmla="*/ 190652 w 304863"/>
                <a:gd name="connsiteY43" fmla="*/ 159990 h 304724"/>
                <a:gd name="connsiteX44" fmla="*/ 190668 w 304863"/>
                <a:gd name="connsiteY44" fmla="*/ 144734 h 304724"/>
                <a:gd name="connsiteX45" fmla="*/ 217140 w 304863"/>
                <a:gd name="connsiteY45" fmla="*/ 144734 h 304724"/>
                <a:gd name="connsiteX46" fmla="*/ 228577 w 304863"/>
                <a:gd name="connsiteY46" fmla="*/ 133312 h 304724"/>
                <a:gd name="connsiteX47" fmla="*/ 170063 w 304863"/>
                <a:gd name="connsiteY47" fmla="*/ 121844 h 304724"/>
                <a:gd name="connsiteX48" fmla="*/ 148605 w 304863"/>
                <a:gd name="connsiteY48" fmla="*/ 121844 h 304724"/>
                <a:gd name="connsiteX49" fmla="*/ 137168 w 304863"/>
                <a:gd name="connsiteY49" fmla="*/ 133266 h 304724"/>
                <a:gd name="connsiteX50" fmla="*/ 148590 w 304863"/>
                <a:gd name="connsiteY50" fmla="*/ 144704 h 304724"/>
                <a:gd name="connsiteX51" fmla="*/ 167792 w 304863"/>
                <a:gd name="connsiteY51" fmla="*/ 144704 h 304724"/>
                <a:gd name="connsiteX52" fmla="*/ 167792 w 304863"/>
                <a:gd name="connsiteY52" fmla="*/ 159990 h 304724"/>
                <a:gd name="connsiteX53" fmla="*/ 148590 w 304863"/>
                <a:gd name="connsiteY53" fmla="*/ 159990 h 304724"/>
                <a:gd name="connsiteX54" fmla="*/ 137160 w 304863"/>
                <a:gd name="connsiteY54" fmla="*/ 171420 h 304724"/>
                <a:gd name="connsiteX55" fmla="*/ 148590 w 304863"/>
                <a:gd name="connsiteY55" fmla="*/ 182850 h 304724"/>
                <a:gd name="connsiteX56" fmla="*/ 170078 w 304863"/>
                <a:gd name="connsiteY56" fmla="*/ 182850 h 304724"/>
                <a:gd name="connsiteX57" fmla="*/ 195362 w 304863"/>
                <a:gd name="connsiteY57" fmla="*/ 247802 h 304724"/>
                <a:gd name="connsiteX58" fmla="*/ 266700 w 304863"/>
                <a:gd name="connsiteY58" fmla="*/ 289530 h 304724"/>
                <a:gd name="connsiteX59" fmla="*/ 299954 w 304863"/>
                <a:gd name="connsiteY59" fmla="*/ 279928 h 304724"/>
                <a:gd name="connsiteX60" fmla="*/ 302819 w 304863"/>
                <a:gd name="connsiteY60" fmla="*/ 264018 h 304724"/>
                <a:gd name="connsiteX61" fmla="*/ 286908 w 304863"/>
                <a:gd name="connsiteY61" fmla="*/ 261153 h 304724"/>
                <a:gd name="connsiteX62" fmla="*/ 266700 w 304863"/>
                <a:gd name="connsiteY62" fmla="*/ 266654 h 304724"/>
                <a:gd name="connsiteX63" fmla="*/ 214122 w 304863"/>
                <a:gd name="connsiteY63" fmla="*/ 234726 h 304724"/>
                <a:gd name="connsiteX64" fmla="*/ 193274 w 304863"/>
                <a:gd name="connsiteY64" fmla="*/ 182850 h 304724"/>
                <a:gd name="connsiteX65" fmla="*/ 217155 w 304863"/>
                <a:gd name="connsiteY65" fmla="*/ 182850 h 304724"/>
                <a:gd name="connsiteX66" fmla="*/ 228585 w 304863"/>
                <a:gd name="connsiteY66" fmla="*/ 171420 h 304724"/>
                <a:gd name="connsiteX67" fmla="*/ 217155 w 304863"/>
                <a:gd name="connsiteY67" fmla="*/ 159990 h 304724"/>
                <a:gd name="connsiteX68" fmla="*/ 190652 w 304863"/>
                <a:gd name="connsiteY68" fmla="*/ 159990 h 304724"/>
                <a:gd name="connsiteX0" fmla="*/ 64800 w 304863"/>
                <a:gd name="connsiteY0" fmla="*/ 0 h 304724"/>
                <a:gd name="connsiteX1" fmla="*/ 53370 w 304863"/>
                <a:gd name="connsiteY1" fmla="*/ 11430 h 304724"/>
                <a:gd name="connsiteX2" fmla="*/ 53370 w 304863"/>
                <a:gd name="connsiteY2" fmla="*/ 16200 h 304724"/>
                <a:gd name="connsiteX3" fmla="*/ 0 w 304863"/>
                <a:gd name="connsiteY3" fmla="*/ 79980 h 304724"/>
                <a:gd name="connsiteX4" fmla="*/ 0 w 304863"/>
                <a:gd name="connsiteY4" fmla="*/ 88240 h 304724"/>
                <a:gd name="connsiteX5" fmla="*/ 40660 w 304863"/>
                <a:gd name="connsiteY5" fmla="*/ 153314 h 304724"/>
                <a:gd name="connsiteX6" fmla="*/ 53370 w 304863"/>
                <a:gd name="connsiteY6" fmla="*/ 159502 h 304724"/>
                <a:gd name="connsiteX7" fmla="*/ 53370 w 304863"/>
                <a:gd name="connsiteY7" fmla="*/ 264780 h 304724"/>
                <a:gd name="connsiteX8" fmla="*/ 22860 w 304863"/>
                <a:gd name="connsiteY8" fmla="*/ 224424 h 304724"/>
                <a:gd name="connsiteX9" fmla="*/ 22860 w 304863"/>
                <a:gd name="connsiteY9" fmla="*/ 209489 h 304724"/>
                <a:gd name="connsiteX10" fmla="*/ 11430 w 304863"/>
                <a:gd name="connsiteY10" fmla="*/ 198059 h 304724"/>
                <a:gd name="connsiteX11" fmla="*/ 0 w 304863"/>
                <a:gd name="connsiteY11" fmla="*/ 209489 h 304724"/>
                <a:gd name="connsiteX12" fmla="*/ 0 w 304863"/>
                <a:gd name="connsiteY12" fmla="*/ 224424 h 304724"/>
                <a:gd name="connsiteX13" fmla="*/ 53370 w 304863"/>
                <a:gd name="connsiteY13" fmla="*/ 288188 h 304724"/>
                <a:gd name="connsiteX14" fmla="*/ 53370 w 304863"/>
                <a:gd name="connsiteY14" fmla="*/ 293294 h 304724"/>
                <a:gd name="connsiteX15" fmla="*/ 64800 w 304863"/>
                <a:gd name="connsiteY15" fmla="*/ 304724 h 304724"/>
                <a:gd name="connsiteX16" fmla="*/ 76230 w 304863"/>
                <a:gd name="connsiteY16" fmla="*/ 293294 h 304724"/>
                <a:gd name="connsiteX17" fmla="*/ 76230 w 304863"/>
                <a:gd name="connsiteY17" fmla="*/ 288188 h 304724"/>
                <a:gd name="connsiteX18" fmla="*/ 129540 w 304863"/>
                <a:gd name="connsiteY18" fmla="*/ 224424 h 304724"/>
                <a:gd name="connsiteX19" fmla="*/ 129540 w 304863"/>
                <a:gd name="connsiteY19" fmla="*/ 216438 h 304724"/>
                <a:gd name="connsiteX20" fmla="*/ 88880 w 304863"/>
                <a:gd name="connsiteY20" fmla="*/ 151364 h 304724"/>
                <a:gd name="connsiteX21" fmla="*/ 76230 w 304863"/>
                <a:gd name="connsiteY21" fmla="*/ 145207 h 304724"/>
                <a:gd name="connsiteX22" fmla="*/ 76230 w 304863"/>
                <a:gd name="connsiteY22" fmla="*/ 39654 h 304724"/>
                <a:gd name="connsiteX23" fmla="*/ 106680 w 304863"/>
                <a:gd name="connsiteY23" fmla="*/ 79980 h 304724"/>
                <a:gd name="connsiteX24" fmla="*/ 106680 w 304863"/>
                <a:gd name="connsiteY24" fmla="*/ 95220 h 304724"/>
                <a:gd name="connsiteX25" fmla="*/ 118110 w 304863"/>
                <a:gd name="connsiteY25" fmla="*/ 106650 h 304724"/>
                <a:gd name="connsiteX26" fmla="*/ 129540 w 304863"/>
                <a:gd name="connsiteY26" fmla="*/ 95220 h 304724"/>
                <a:gd name="connsiteX27" fmla="*/ 129540 w 304863"/>
                <a:gd name="connsiteY27" fmla="*/ 79980 h 304724"/>
                <a:gd name="connsiteX28" fmla="*/ 76230 w 304863"/>
                <a:gd name="connsiteY28" fmla="*/ 16215 h 304724"/>
                <a:gd name="connsiteX29" fmla="*/ 76230 w 304863"/>
                <a:gd name="connsiteY29" fmla="*/ 11430 h 304724"/>
                <a:gd name="connsiteX30" fmla="*/ 64800 w 304863"/>
                <a:gd name="connsiteY30" fmla="*/ 0 h 304724"/>
                <a:gd name="connsiteX31" fmla="*/ 22860 w 304863"/>
                <a:gd name="connsiteY31" fmla="*/ 79980 h 304724"/>
                <a:gd name="connsiteX32" fmla="*/ 53370 w 304863"/>
                <a:gd name="connsiteY32" fmla="*/ 39624 h 304724"/>
                <a:gd name="connsiteX33" fmla="*/ 53370 w 304863"/>
                <a:gd name="connsiteY33" fmla="*/ 134051 h 304724"/>
                <a:gd name="connsiteX34" fmla="*/ 50688 w 304863"/>
                <a:gd name="connsiteY34" fmla="*/ 132740 h 304724"/>
                <a:gd name="connsiteX35" fmla="*/ 22860 w 304863"/>
                <a:gd name="connsiteY35" fmla="*/ 88240 h 304724"/>
                <a:gd name="connsiteX36" fmla="*/ 22860 w 304863"/>
                <a:gd name="connsiteY36" fmla="*/ 79980 h 304724"/>
                <a:gd name="connsiteX37" fmla="*/ 76230 w 304863"/>
                <a:gd name="connsiteY37" fmla="*/ 264749 h 304724"/>
                <a:gd name="connsiteX38" fmla="*/ 76230 w 304863"/>
                <a:gd name="connsiteY38" fmla="*/ 170642 h 304724"/>
                <a:gd name="connsiteX39" fmla="*/ 78852 w 304863"/>
                <a:gd name="connsiteY39" fmla="*/ 171922 h 304724"/>
                <a:gd name="connsiteX40" fmla="*/ 106680 w 304863"/>
                <a:gd name="connsiteY40" fmla="*/ 216423 h 304724"/>
                <a:gd name="connsiteX41" fmla="*/ 106680 w 304863"/>
                <a:gd name="connsiteY41" fmla="*/ 224424 h 304724"/>
                <a:gd name="connsiteX42" fmla="*/ 76230 w 304863"/>
                <a:gd name="connsiteY42" fmla="*/ 264749 h 304724"/>
                <a:gd name="connsiteX43" fmla="*/ 190652 w 304863"/>
                <a:gd name="connsiteY43" fmla="*/ 159990 h 304724"/>
                <a:gd name="connsiteX44" fmla="*/ 190668 w 304863"/>
                <a:gd name="connsiteY44" fmla="*/ 144734 h 304724"/>
                <a:gd name="connsiteX45" fmla="*/ 217140 w 304863"/>
                <a:gd name="connsiteY45" fmla="*/ 144734 h 304724"/>
                <a:gd name="connsiteX46" fmla="*/ 228577 w 304863"/>
                <a:gd name="connsiteY46" fmla="*/ 133312 h 304724"/>
                <a:gd name="connsiteX47" fmla="*/ 170063 w 304863"/>
                <a:gd name="connsiteY47" fmla="*/ 121844 h 304724"/>
                <a:gd name="connsiteX48" fmla="*/ 148605 w 304863"/>
                <a:gd name="connsiteY48" fmla="*/ 121844 h 304724"/>
                <a:gd name="connsiteX49" fmla="*/ 137168 w 304863"/>
                <a:gd name="connsiteY49" fmla="*/ 133266 h 304724"/>
                <a:gd name="connsiteX50" fmla="*/ 148590 w 304863"/>
                <a:gd name="connsiteY50" fmla="*/ 144704 h 304724"/>
                <a:gd name="connsiteX51" fmla="*/ 167792 w 304863"/>
                <a:gd name="connsiteY51" fmla="*/ 144704 h 304724"/>
                <a:gd name="connsiteX52" fmla="*/ 167792 w 304863"/>
                <a:gd name="connsiteY52" fmla="*/ 159990 h 304724"/>
                <a:gd name="connsiteX53" fmla="*/ 148590 w 304863"/>
                <a:gd name="connsiteY53" fmla="*/ 159990 h 304724"/>
                <a:gd name="connsiteX54" fmla="*/ 137160 w 304863"/>
                <a:gd name="connsiteY54" fmla="*/ 171420 h 304724"/>
                <a:gd name="connsiteX55" fmla="*/ 148590 w 304863"/>
                <a:gd name="connsiteY55" fmla="*/ 182850 h 304724"/>
                <a:gd name="connsiteX56" fmla="*/ 170078 w 304863"/>
                <a:gd name="connsiteY56" fmla="*/ 182850 h 304724"/>
                <a:gd name="connsiteX57" fmla="*/ 195362 w 304863"/>
                <a:gd name="connsiteY57" fmla="*/ 247802 h 304724"/>
                <a:gd name="connsiteX58" fmla="*/ 266700 w 304863"/>
                <a:gd name="connsiteY58" fmla="*/ 289530 h 304724"/>
                <a:gd name="connsiteX59" fmla="*/ 299954 w 304863"/>
                <a:gd name="connsiteY59" fmla="*/ 279928 h 304724"/>
                <a:gd name="connsiteX60" fmla="*/ 302819 w 304863"/>
                <a:gd name="connsiteY60" fmla="*/ 264018 h 304724"/>
                <a:gd name="connsiteX61" fmla="*/ 286908 w 304863"/>
                <a:gd name="connsiteY61" fmla="*/ 261153 h 304724"/>
                <a:gd name="connsiteX62" fmla="*/ 266700 w 304863"/>
                <a:gd name="connsiteY62" fmla="*/ 266654 h 304724"/>
                <a:gd name="connsiteX63" fmla="*/ 214122 w 304863"/>
                <a:gd name="connsiteY63" fmla="*/ 234726 h 304724"/>
                <a:gd name="connsiteX64" fmla="*/ 193274 w 304863"/>
                <a:gd name="connsiteY64" fmla="*/ 182850 h 304724"/>
                <a:gd name="connsiteX65" fmla="*/ 217155 w 304863"/>
                <a:gd name="connsiteY65" fmla="*/ 182850 h 304724"/>
                <a:gd name="connsiteX66" fmla="*/ 228585 w 304863"/>
                <a:gd name="connsiteY66" fmla="*/ 171420 h 304724"/>
                <a:gd name="connsiteX67" fmla="*/ 190652 w 304863"/>
                <a:gd name="connsiteY67" fmla="*/ 159990 h 304724"/>
                <a:gd name="connsiteX0" fmla="*/ 64800 w 304863"/>
                <a:gd name="connsiteY0" fmla="*/ 0 h 304724"/>
                <a:gd name="connsiteX1" fmla="*/ 53370 w 304863"/>
                <a:gd name="connsiteY1" fmla="*/ 11430 h 304724"/>
                <a:gd name="connsiteX2" fmla="*/ 53370 w 304863"/>
                <a:gd name="connsiteY2" fmla="*/ 16200 h 304724"/>
                <a:gd name="connsiteX3" fmla="*/ 0 w 304863"/>
                <a:gd name="connsiteY3" fmla="*/ 79980 h 304724"/>
                <a:gd name="connsiteX4" fmla="*/ 0 w 304863"/>
                <a:gd name="connsiteY4" fmla="*/ 88240 h 304724"/>
                <a:gd name="connsiteX5" fmla="*/ 40660 w 304863"/>
                <a:gd name="connsiteY5" fmla="*/ 153314 h 304724"/>
                <a:gd name="connsiteX6" fmla="*/ 53370 w 304863"/>
                <a:gd name="connsiteY6" fmla="*/ 159502 h 304724"/>
                <a:gd name="connsiteX7" fmla="*/ 53370 w 304863"/>
                <a:gd name="connsiteY7" fmla="*/ 264780 h 304724"/>
                <a:gd name="connsiteX8" fmla="*/ 22860 w 304863"/>
                <a:gd name="connsiteY8" fmla="*/ 224424 h 304724"/>
                <a:gd name="connsiteX9" fmla="*/ 22860 w 304863"/>
                <a:gd name="connsiteY9" fmla="*/ 209489 h 304724"/>
                <a:gd name="connsiteX10" fmla="*/ 11430 w 304863"/>
                <a:gd name="connsiteY10" fmla="*/ 198059 h 304724"/>
                <a:gd name="connsiteX11" fmla="*/ 0 w 304863"/>
                <a:gd name="connsiteY11" fmla="*/ 209489 h 304724"/>
                <a:gd name="connsiteX12" fmla="*/ 0 w 304863"/>
                <a:gd name="connsiteY12" fmla="*/ 224424 h 304724"/>
                <a:gd name="connsiteX13" fmla="*/ 53370 w 304863"/>
                <a:gd name="connsiteY13" fmla="*/ 288188 h 304724"/>
                <a:gd name="connsiteX14" fmla="*/ 53370 w 304863"/>
                <a:gd name="connsiteY14" fmla="*/ 293294 h 304724"/>
                <a:gd name="connsiteX15" fmla="*/ 64800 w 304863"/>
                <a:gd name="connsiteY15" fmla="*/ 304724 h 304724"/>
                <a:gd name="connsiteX16" fmla="*/ 76230 w 304863"/>
                <a:gd name="connsiteY16" fmla="*/ 293294 h 304724"/>
                <a:gd name="connsiteX17" fmla="*/ 76230 w 304863"/>
                <a:gd name="connsiteY17" fmla="*/ 288188 h 304724"/>
                <a:gd name="connsiteX18" fmla="*/ 129540 w 304863"/>
                <a:gd name="connsiteY18" fmla="*/ 224424 h 304724"/>
                <a:gd name="connsiteX19" fmla="*/ 129540 w 304863"/>
                <a:gd name="connsiteY19" fmla="*/ 216438 h 304724"/>
                <a:gd name="connsiteX20" fmla="*/ 88880 w 304863"/>
                <a:gd name="connsiteY20" fmla="*/ 151364 h 304724"/>
                <a:gd name="connsiteX21" fmla="*/ 76230 w 304863"/>
                <a:gd name="connsiteY21" fmla="*/ 145207 h 304724"/>
                <a:gd name="connsiteX22" fmla="*/ 76230 w 304863"/>
                <a:gd name="connsiteY22" fmla="*/ 39654 h 304724"/>
                <a:gd name="connsiteX23" fmla="*/ 106680 w 304863"/>
                <a:gd name="connsiteY23" fmla="*/ 79980 h 304724"/>
                <a:gd name="connsiteX24" fmla="*/ 106680 w 304863"/>
                <a:gd name="connsiteY24" fmla="*/ 95220 h 304724"/>
                <a:gd name="connsiteX25" fmla="*/ 118110 w 304863"/>
                <a:gd name="connsiteY25" fmla="*/ 106650 h 304724"/>
                <a:gd name="connsiteX26" fmla="*/ 129540 w 304863"/>
                <a:gd name="connsiteY26" fmla="*/ 95220 h 304724"/>
                <a:gd name="connsiteX27" fmla="*/ 129540 w 304863"/>
                <a:gd name="connsiteY27" fmla="*/ 79980 h 304724"/>
                <a:gd name="connsiteX28" fmla="*/ 76230 w 304863"/>
                <a:gd name="connsiteY28" fmla="*/ 16215 h 304724"/>
                <a:gd name="connsiteX29" fmla="*/ 76230 w 304863"/>
                <a:gd name="connsiteY29" fmla="*/ 11430 h 304724"/>
                <a:gd name="connsiteX30" fmla="*/ 64800 w 304863"/>
                <a:gd name="connsiteY30" fmla="*/ 0 h 304724"/>
                <a:gd name="connsiteX31" fmla="*/ 22860 w 304863"/>
                <a:gd name="connsiteY31" fmla="*/ 79980 h 304724"/>
                <a:gd name="connsiteX32" fmla="*/ 53370 w 304863"/>
                <a:gd name="connsiteY32" fmla="*/ 39624 h 304724"/>
                <a:gd name="connsiteX33" fmla="*/ 53370 w 304863"/>
                <a:gd name="connsiteY33" fmla="*/ 134051 h 304724"/>
                <a:gd name="connsiteX34" fmla="*/ 50688 w 304863"/>
                <a:gd name="connsiteY34" fmla="*/ 132740 h 304724"/>
                <a:gd name="connsiteX35" fmla="*/ 22860 w 304863"/>
                <a:gd name="connsiteY35" fmla="*/ 88240 h 304724"/>
                <a:gd name="connsiteX36" fmla="*/ 22860 w 304863"/>
                <a:gd name="connsiteY36" fmla="*/ 79980 h 304724"/>
                <a:gd name="connsiteX37" fmla="*/ 76230 w 304863"/>
                <a:gd name="connsiteY37" fmla="*/ 264749 h 304724"/>
                <a:gd name="connsiteX38" fmla="*/ 76230 w 304863"/>
                <a:gd name="connsiteY38" fmla="*/ 170642 h 304724"/>
                <a:gd name="connsiteX39" fmla="*/ 78852 w 304863"/>
                <a:gd name="connsiteY39" fmla="*/ 171922 h 304724"/>
                <a:gd name="connsiteX40" fmla="*/ 106680 w 304863"/>
                <a:gd name="connsiteY40" fmla="*/ 216423 h 304724"/>
                <a:gd name="connsiteX41" fmla="*/ 106680 w 304863"/>
                <a:gd name="connsiteY41" fmla="*/ 224424 h 304724"/>
                <a:gd name="connsiteX42" fmla="*/ 76230 w 304863"/>
                <a:gd name="connsiteY42" fmla="*/ 264749 h 304724"/>
                <a:gd name="connsiteX43" fmla="*/ 190652 w 304863"/>
                <a:gd name="connsiteY43" fmla="*/ 159990 h 304724"/>
                <a:gd name="connsiteX44" fmla="*/ 190668 w 304863"/>
                <a:gd name="connsiteY44" fmla="*/ 144734 h 304724"/>
                <a:gd name="connsiteX45" fmla="*/ 217140 w 304863"/>
                <a:gd name="connsiteY45" fmla="*/ 144734 h 304724"/>
                <a:gd name="connsiteX46" fmla="*/ 170063 w 304863"/>
                <a:gd name="connsiteY46" fmla="*/ 121844 h 304724"/>
                <a:gd name="connsiteX47" fmla="*/ 148605 w 304863"/>
                <a:gd name="connsiteY47" fmla="*/ 121844 h 304724"/>
                <a:gd name="connsiteX48" fmla="*/ 137168 w 304863"/>
                <a:gd name="connsiteY48" fmla="*/ 133266 h 304724"/>
                <a:gd name="connsiteX49" fmla="*/ 148590 w 304863"/>
                <a:gd name="connsiteY49" fmla="*/ 144704 h 304724"/>
                <a:gd name="connsiteX50" fmla="*/ 167792 w 304863"/>
                <a:gd name="connsiteY50" fmla="*/ 144704 h 304724"/>
                <a:gd name="connsiteX51" fmla="*/ 167792 w 304863"/>
                <a:gd name="connsiteY51" fmla="*/ 159990 h 304724"/>
                <a:gd name="connsiteX52" fmla="*/ 148590 w 304863"/>
                <a:gd name="connsiteY52" fmla="*/ 159990 h 304724"/>
                <a:gd name="connsiteX53" fmla="*/ 137160 w 304863"/>
                <a:gd name="connsiteY53" fmla="*/ 171420 h 304724"/>
                <a:gd name="connsiteX54" fmla="*/ 148590 w 304863"/>
                <a:gd name="connsiteY54" fmla="*/ 182850 h 304724"/>
                <a:gd name="connsiteX55" fmla="*/ 170078 w 304863"/>
                <a:gd name="connsiteY55" fmla="*/ 182850 h 304724"/>
                <a:gd name="connsiteX56" fmla="*/ 195362 w 304863"/>
                <a:gd name="connsiteY56" fmla="*/ 247802 h 304724"/>
                <a:gd name="connsiteX57" fmla="*/ 266700 w 304863"/>
                <a:gd name="connsiteY57" fmla="*/ 289530 h 304724"/>
                <a:gd name="connsiteX58" fmla="*/ 299954 w 304863"/>
                <a:gd name="connsiteY58" fmla="*/ 279928 h 304724"/>
                <a:gd name="connsiteX59" fmla="*/ 302819 w 304863"/>
                <a:gd name="connsiteY59" fmla="*/ 264018 h 304724"/>
                <a:gd name="connsiteX60" fmla="*/ 286908 w 304863"/>
                <a:gd name="connsiteY60" fmla="*/ 261153 h 304724"/>
                <a:gd name="connsiteX61" fmla="*/ 266700 w 304863"/>
                <a:gd name="connsiteY61" fmla="*/ 266654 h 304724"/>
                <a:gd name="connsiteX62" fmla="*/ 214122 w 304863"/>
                <a:gd name="connsiteY62" fmla="*/ 234726 h 304724"/>
                <a:gd name="connsiteX63" fmla="*/ 193274 w 304863"/>
                <a:gd name="connsiteY63" fmla="*/ 182850 h 304724"/>
                <a:gd name="connsiteX64" fmla="*/ 217155 w 304863"/>
                <a:gd name="connsiteY64" fmla="*/ 182850 h 304724"/>
                <a:gd name="connsiteX65" fmla="*/ 228585 w 304863"/>
                <a:gd name="connsiteY65" fmla="*/ 171420 h 304724"/>
                <a:gd name="connsiteX66" fmla="*/ 190652 w 304863"/>
                <a:gd name="connsiteY66" fmla="*/ 159990 h 304724"/>
                <a:gd name="connsiteX0" fmla="*/ 64800 w 304863"/>
                <a:gd name="connsiteY0" fmla="*/ 0 h 304724"/>
                <a:gd name="connsiteX1" fmla="*/ 53370 w 304863"/>
                <a:gd name="connsiteY1" fmla="*/ 11430 h 304724"/>
                <a:gd name="connsiteX2" fmla="*/ 53370 w 304863"/>
                <a:gd name="connsiteY2" fmla="*/ 16200 h 304724"/>
                <a:gd name="connsiteX3" fmla="*/ 0 w 304863"/>
                <a:gd name="connsiteY3" fmla="*/ 79980 h 304724"/>
                <a:gd name="connsiteX4" fmla="*/ 0 w 304863"/>
                <a:gd name="connsiteY4" fmla="*/ 88240 h 304724"/>
                <a:gd name="connsiteX5" fmla="*/ 40660 w 304863"/>
                <a:gd name="connsiteY5" fmla="*/ 153314 h 304724"/>
                <a:gd name="connsiteX6" fmla="*/ 53370 w 304863"/>
                <a:gd name="connsiteY6" fmla="*/ 159502 h 304724"/>
                <a:gd name="connsiteX7" fmla="*/ 53370 w 304863"/>
                <a:gd name="connsiteY7" fmla="*/ 264780 h 304724"/>
                <a:gd name="connsiteX8" fmla="*/ 22860 w 304863"/>
                <a:gd name="connsiteY8" fmla="*/ 224424 h 304724"/>
                <a:gd name="connsiteX9" fmla="*/ 22860 w 304863"/>
                <a:gd name="connsiteY9" fmla="*/ 209489 h 304724"/>
                <a:gd name="connsiteX10" fmla="*/ 11430 w 304863"/>
                <a:gd name="connsiteY10" fmla="*/ 198059 h 304724"/>
                <a:gd name="connsiteX11" fmla="*/ 0 w 304863"/>
                <a:gd name="connsiteY11" fmla="*/ 209489 h 304724"/>
                <a:gd name="connsiteX12" fmla="*/ 0 w 304863"/>
                <a:gd name="connsiteY12" fmla="*/ 224424 h 304724"/>
                <a:gd name="connsiteX13" fmla="*/ 53370 w 304863"/>
                <a:gd name="connsiteY13" fmla="*/ 288188 h 304724"/>
                <a:gd name="connsiteX14" fmla="*/ 53370 w 304863"/>
                <a:gd name="connsiteY14" fmla="*/ 293294 h 304724"/>
                <a:gd name="connsiteX15" fmla="*/ 64800 w 304863"/>
                <a:gd name="connsiteY15" fmla="*/ 304724 h 304724"/>
                <a:gd name="connsiteX16" fmla="*/ 76230 w 304863"/>
                <a:gd name="connsiteY16" fmla="*/ 293294 h 304724"/>
                <a:gd name="connsiteX17" fmla="*/ 76230 w 304863"/>
                <a:gd name="connsiteY17" fmla="*/ 288188 h 304724"/>
                <a:gd name="connsiteX18" fmla="*/ 129540 w 304863"/>
                <a:gd name="connsiteY18" fmla="*/ 224424 h 304724"/>
                <a:gd name="connsiteX19" fmla="*/ 129540 w 304863"/>
                <a:gd name="connsiteY19" fmla="*/ 216438 h 304724"/>
                <a:gd name="connsiteX20" fmla="*/ 88880 w 304863"/>
                <a:gd name="connsiteY20" fmla="*/ 151364 h 304724"/>
                <a:gd name="connsiteX21" fmla="*/ 76230 w 304863"/>
                <a:gd name="connsiteY21" fmla="*/ 145207 h 304724"/>
                <a:gd name="connsiteX22" fmla="*/ 76230 w 304863"/>
                <a:gd name="connsiteY22" fmla="*/ 39654 h 304724"/>
                <a:gd name="connsiteX23" fmla="*/ 106680 w 304863"/>
                <a:gd name="connsiteY23" fmla="*/ 79980 h 304724"/>
                <a:gd name="connsiteX24" fmla="*/ 106680 w 304863"/>
                <a:gd name="connsiteY24" fmla="*/ 95220 h 304724"/>
                <a:gd name="connsiteX25" fmla="*/ 118110 w 304863"/>
                <a:gd name="connsiteY25" fmla="*/ 106650 h 304724"/>
                <a:gd name="connsiteX26" fmla="*/ 129540 w 304863"/>
                <a:gd name="connsiteY26" fmla="*/ 95220 h 304724"/>
                <a:gd name="connsiteX27" fmla="*/ 129540 w 304863"/>
                <a:gd name="connsiteY27" fmla="*/ 79980 h 304724"/>
                <a:gd name="connsiteX28" fmla="*/ 76230 w 304863"/>
                <a:gd name="connsiteY28" fmla="*/ 16215 h 304724"/>
                <a:gd name="connsiteX29" fmla="*/ 76230 w 304863"/>
                <a:gd name="connsiteY29" fmla="*/ 11430 h 304724"/>
                <a:gd name="connsiteX30" fmla="*/ 64800 w 304863"/>
                <a:gd name="connsiteY30" fmla="*/ 0 h 304724"/>
                <a:gd name="connsiteX31" fmla="*/ 22860 w 304863"/>
                <a:gd name="connsiteY31" fmla="*/ 79980 h 304724"/>
                <a:gd name="connsiteX32" fmla="*/ 53370 w 304863"/>
                <a:gd name="connsiteY32" fmla="*/ 39624 h 304724"/>
                <a:gd name="connsiteX33" fmla="*/ 53370 w 304863"/>
                <a:gd name="connsiteY33" fmla="*/ 134051 h 304724"/>
                <a:gd name="connsiteX34" fmla="*/ 50688 w 304863"/>
                <a:gd name="connsiteY34" fmla="*/ 132740 h 304724"/>
                <a:gd name="connsiteX35" fmla="*/ 22860 w 304863"/>
                <a:gd name="connsiteY35" fmla="*/ 88240 h 304724"/>
                <a:gd name="connsiteX36" fmla="*/ 22860 w 304863"/>
                <a:gd name="connsiteY36" fmla="*/ 79980 h 304724"/>
                <a:gd name="connsiteX37" fmla="*/ 76230 w 304863"/>
                <a:gd name="connsiteY37" fmla="*/ 264749 h 304724"/>
                <a:gd name="connsiteX38" fmla="*/ 76230 w 304863"/>
                <a:gd name="connsiteY38" fmla="*/ 170642 h 304724"/>
                <a:gd name="connsiteX39" fmla="*/ 78852 w 304863"/>
                <a:gd name="connsiteY39" fmla="*/ 171922 h 304724"/>
                <a:gd name="connsiteX40" fmla="*/ 106680 w 304863"/>
                <a:gd name="connsiteY40" fmla="*/ 216423 h 304724"/>
                <a:gd name="connsiteX41" fmla="*/ 106680 w 304863"/>
                <a:gd name="connsiteY41" fmla="*/ 224424 h 304724"/>
                <a:gd name="connsiteX42" fmla="*/ 76230 w 304863"/>
                <a:gd name="connsiteY42" fmla="*/ 264749 h 304724"/>
                <a:gd name="connsiteX43" fmla="*/ 190652 w 304863"/>
                <a:gd name="connsiteY43" fmla="*/ 159990 h 304724"/>
                <a:gd name="connsiteX44" fmla="*/ 190668 w 304863"/>
                <a:gd name="connsiteY44" fmla="*/ 144734 h 304724"/>
                <a:gd name="connsiteX45" fmla="*/ 170063 w 304863"/>
                <a:gd name="connsiteY45" fmla="*/ 121844 h 304724"/>
                <a:gd name="connsiteX46" fmla="*/ 148605 w 304863"/>
                <a:gd name="connsiteY46" fmla="*/ 121844 h 304724"/>
                <a:gd name="connsiteX47" fmla="*/ 137168 w 304863"/>
                <a:gd name="connsiteY47" fmla="*/ 133266 h 304724"/>
                <a:gd name="connsiteX48" fmla="*/ 148590 w 304863"/>
                <a:gd name="connsiteY48" fmla="*/ 144704 h 304724"/>
                <a:gd name="connsiteX49" fmla="*/ 167792 w 304863"/>
                <a:gd name="connsiteY49" fmla="*/ 144704 h 304724"/>
                <a:gd name="connsiteX50" fmla="*/ 167792 w 304863"/>
                <a:gd name="connsiteY50" fmla="*/ 159990 h 304724"/>
                <a:gd name="connsiteX51" fmla="*/ 148590 w 304863"/>
                <a:gd name="connsiteY51" fmla="*/ 159990 h 304724"/>
                <a:gd name="connsiteX52" fmla="*/ 137160 w 304863"/>
                <a:gd name="connsiteY52" fmla="*/ 171420 h 304724"/>
                <a:gd name="connsiteX53" fmla="*/ 148590 w 304863"/>
                <a:gd name="connsiteY53" fmla="*/ 182850 h 304724"/>
                <a:gd name="connsiteX54" fmla="*/ 170078 w 304863"/>
                <a:gd name="connsiteY54" fmla="*/ 182850 h 304724"/>
                <a:gd name="connsiteX55" fmla="*/ 195362 w 304863"/>
                <a:gd name="connsiteY55" fmla="*/ 247802 h 304724"/>
                <a:gd name="connsiteX56" fmla="*/ 266700 w 304863"/>
                <a:gd name="connsiteY56" fmla="*/ 289530 h 304724"/>
                <a:gd name="connsiteX57" fmla="*/ 299954 w 304863"/>
                <a:gd name="connsiteY57" fmla="*/ 279928 h 304724"/>
                <a:gd name="connsiteX58" fmla="*/ 302819 w 304863"/>
                <a:gd name="connsiteY58" fmla="*/ 264018 h 304724"/>
                <a:gd name="connsiteX59" fmla="*/ 286908 w 304863"/>
                <a:gd name="connsiteY59" fmla="*/ 261153 h 304724"/>
                <a:gd name="connsiteX60" fmla="*/ 266700 w 304863"/>
                <a:gd name="connsiteY60" fmla="*/ 266654 h 304724"/>
                <a:gd name="connsiteX61" fmla="*/ 214122 w 304863"/>
                <a:gd name="connsiteY61" fmla="*/ 234726 h 304724"/>
                <a:gd name="connsiteX62" fmla="*/ 193274 w 304863"/>
                <a:gd name="connsiteY62" fmla="*/ 182850 h 304724"/>
                <a:gd name="connsiteX63" fmla="*/ 217155 w 304863"/>
                <a:gd name="connsiteY63" fmla="*/ 182850 h 304724"/>
                <a:gd name="connsiteX64" fmla="*/ 228585 w 304863"/>
                <a:gd name="connsiteY64" fmla="*/ 171420 h 304724"/>
                <a:gd name="connsiteX65" fmla="*/ 190652 w 304863"/>
                <a:gd name="connsiteY65" fmla="*/ 159990 h 304724"/>
                <a:gd name="connsiteX0" fmla="*/ 64800 w 304863"/>
                <a:gd name="connsiteY0" fmla="*/ 0 h 304724"/>
                <a:gd name="connsiteX1" fmla="*/ 53370 w 304863"/>
                <a:gd name="connsiteY1" fmla="*/ 11430 h 304724"/>
                <a:gd name="connsiteX2" fmla="*/ 53370 w 304863"/>
                <a:gd name="connsiteY2" fmla="*/ 16200 h 304724"/>
                <a:gd name="connsiteX3" fmla="*/ 0 w 304863"/>
                <a:gd name="connsiteY3" fmla="*/ 79980 h 304724"/>
                <a:gd name="connsiteX4" fmla="*/ 0 w 304863"/>
                <a:gd name="connsiteY4" fmla="*/ 88240 h 304724"/>
                <a:gd name="connsiteX5" fmla="*/ 40660 w 304863"/>
                <a:gd name="connsiteY5" fmla="*/ 153314 h 304724"/>
                <a:gd name="connsiteX6" fmla="*/ 53370 w 304863"/>
                <a:gd name="connsiteY6" fmla="*/ 159502 h 304724"/>
                <a:gd name="connsiteX7" fmla="*/ 53370 w 304863"/>
                <a:gd name="connsiteY7" fmla="*/ 264780 h 304724"/>
                <a:gd name="connsiteX8" fmla="*/ 22860 w 304863"/>
                <a:gd name="connsiteY8" fmla="*/ 224424 h 304724"/>
                <a:gd name="connsiteX9" fmla="*/ 22860 w 304863"/>
                <a:gd name="connsiteY9" fmla="*/ 209489 h 304724"/>
                <a:gd name="connsiteX10" fmla="*/ 11430 w 304863"/>
                <a:gd name="connsiteY10" fmla="*/ 198059 h 304724"/>
                <a:gd name="connsiteX11" fmla="*/ 0 w 304863"/>
                <a:gd name="connsiteY11" fmla="*/ 209489 h 304724"/>
                <a:gd name="connsiteX12" fmla="*/ 0 w 304863"/>
                <a:gd name="connsiteY12" fmla="*/ 224424 h 304724"/>
                <a:gd name="connsiteX13" fmla="*/ 53370 w 304863"/>
                <a:gd name="connsiteY13" fmla="*/ 288188 h 304724"/>
                <a:gd name="connsiteX14" fmla="*/ 53370 w 304863"/>
                <a:gd name="connsiteY14" fmla="*/ 293294 h 304724"/>
                <a:gd name="connsiteX15" fmla="*/ 64800 w 304863"/>
                <a:gd name="connsiteY15" fmla="*/ 304724 h 304724"/>
                <a:gd name="connsiteX16" fmla="*/ 76230 w 304863"/>
                <a:gd name="connsiteY16" fmla="*/ 293294 h 304724"/>
                <a:gd name="connsiteX17" fmla="*/ 76230 w 304863"/>
                <a:gd name="connsiteY17" fmla="*/ 288188 h 304724"/>
                <a:gd name="connsiteX18" fmla="*/ 129540 w 304863"/>
                <a:gd name="connsiteY18" fmla="*/ 224424 h 304724"/>
                <a:gd name="connsiteX19" fmla="*/ 129540 w 304863"/>
                <a:gd name="connsiteY19" fmla="*/ 216438 h 304724"/>
                <a:gd name="connsiteX20" fmla="*/ 88880 w 304863"/>
                <a:gd name="connsiteY20" fmla="*/ 151364 h 304724"/>
                <a:gd name="connsiteX21" fmla="*/ 76230 w 304863"/>
                <a:gd name="connsiteY21" fmla="*/ 145207 h 304724"/>
                <a:gd name="connsiteX22" fmla="*/ 76230 w 304863"/>
                <a:gd name="connsiteY22" fmla="*/ 39654 h 304724"/>
                <a:gd name="connsiteX23" fmla="*/ 106680 w 304863"/>
                <a:gd name="connsiteY23" fmla="*/ 79980 h 304724"/>
                <a:gd name="connsiteX24" fmla="*/ 106680 w 304863"/>
                <a:gd name="connsiteY24" fmla="*/ 95220 h 304724"/>
                <a:gd name="connsiteX25" fmla="*/ 118110 w 304863"/>
                <a:gd name="connsiteY25" fmla="*/ 106650 h 304724"/>
                <a:gd name="connsiteX26" fmla="*/ 129540 w 304863"/>
                <a:gd name="connsiteY26" fmla="*/ 95220 h 304724"/>
                <a:gd name="connsiteX27" fmla="*/ 129540 w 304863"/>
                <a:gd name="connsiteY27" fmla="*/ 79980 h 304724"/>
                <a:gd name="connsiteX28" fmla="*/ 76230 w 304863"/>
                <a:gd name="connsiteY28" fmla="*/ 16215 h 304724"/>
                <a:gd name="connsiteX29" fmla="*/ 76230 w 304863"/>
                <a:gd name="connsiteY29" fmla="*/ 11430 h 304724"/>
                <a:gd name="connsiteX30" fmla="*/ 64800 w 304863"/>
                <a:gd name="connsiteY30" fmla="*/ 0 h 304724"/>
                <a:gd name="connsiteX31" fmla="*/ 22860 w 304863"/>
                <a:gd name="connsiteY31" fmla="*/ 79980 h 304724"/>
                <a:gd name="connsiteX32" fmla="*/ 53370 w 304863"/>
                <a:gd name="connsiteY32" fmla="*/ 39624 h 304724"/>
                <a:gd name="connsiteX33" fmla="*/ 53370 w 304863"/>
                <a:gd name="connsiteY33" fmla="*/ 134051 h 304724"/>
                <a:gd name="connsiteX34" fmla="*/ 50688 w 304863"/>
                <a:gd name="connsiteY34" fmla="*/ 132740 h 304724"/>
                <a:gd name="connsiteX35" fmla="*/ 22860 w 304863"/>
                <a:gd name="connsiteY35" fmla="*/ 88240 h 304724"/>
                <a:gd name="connsiteX36" fmla="*/ 22860 w 304863"/>
                <a:gd name="connsiteY36" fmla="*/ 79980 h 304724"/>
                <a:gd name="connsiteX37" fmla="*/ 76230 w 304863"/>
                <a:gd name="connsiteY37" fmla="*/ 264749 h 304724"/>
                <a:gd name="connsiteX38" fmla="*/ 76230 w 304863"/>
                <a:gd name="connsiteY38" fmla="*/ 170642 h 304724"/>
                <a:gd name="connsiteX39" fmla="*/ 78852 w 304863"/>
                <a:gd name="connsiteY39" fmla="*/ 171922 h 304724"/>
                <a:gd name="connsiteX40" fmla="*/ 106680 w 304863"/>
                <a:gd name="connsiteY40" fmla="*/ 216423 h 304724"/>
                <a:gd name="connsiteX41" fmla="*/ 106680 w 304863"/>
                <a:gd name="connsiteY41" fmla="*/ 224424 h 304724"/>
                <a:gd name="connsiteX42" fmla="*/ 76230 w 304863"/>
                <a:gd name="connsiteY42" fmla="*/ 264749 h 304724"/>
                <a:gd name="connsiteX43" fmla="*/ 190652 w 304863"/>
                <a:gd name="connsiteY43" fmla="*/ 159990 h 304724"/>
                <a:gd name="connsiteX44" fmla="*/ 190668 w 304863"/>
                <a:gd name="connsiteY44" fmla="*/ 144734 h 304724"/>
                <a:gd name="connsiteX45" fmla="*/ 170063 w 304863"/>
                <a:gd name="connsiteY45" fmla="*/ 121844 h 304724"/>
                <a:gd name="connsiteX46" fmla="*/ 148605 w 304863"/>
                <a:gd name="connsiteY46" fmla="*/ 121844 h 304724"/>
                <a:gd name="connsiteX47" fmla="*/ 137168 w 304863"/>
                <a:gd name="connsiteY47" fmla="*/ 133266 h 304724"/>
                <a:gd name="connsiteX48" fmla="*/ 148590 w 304863"/>
                <a:gd name="connsiteY48" fmla="*/ 144704 h 304724"/>
                <a:gd name="connsiteX49" fmla="*/ 167792 w 304863"/>
                <a:gd name="connsiteY49" fmla="*/ 144704 h 304724"/>
                <a:gd name="connsiteX50" fmla="*/ 167792 w 304863"/>
                <a:gd name="connsiteY50" fmla="*/ 159990 h 304724"/>
                <a:gd name="connsiteX51" fmla="*/ 148590 w 304863"/>
                <a:gd name="connsiteY51" fmla="*/ 159990 h 304724"/>
                <a:gd name="connsiteX52" fmla="*/ 137160 w 304863"/>
                <a:gd name="connsiteY52" fmla="*/ 171420 h 304724"/>
                <a:gd name="connsiteX53" fmla="*/ 148590 w 304863"/>
                <a:gd name="connsiteY53" fmla="*/ 182850 h 304724"/>
                <a:gd name="connsiteX54" fmla="*/ 170078 w 304863"/>
                <a:gd name="connsiteY54" fmla="*/ 182850 h 304724"/>
                <a:gd name="connsiteX55" fmla="*/ 195362 w 304863"/>
                <a:gd name="connsiteY55" fmla="*/ 247802 h 304724"/>
                <a:gd name="connsiteX56" fmla="*/ 266700 w 304863"/>
                <a:gd name="connsiteY56" fmla="*/ 289530 h 304724"/>
                <a:gd name="connsiteX57" fmla="*/ 299954 w 304863"/>
                <a:gd name="connsiteY57" fmla="*/ 279928 h 304724"/>
                <a:gd name="connsiteX58" fmla="*/ 302819 w 304863"/>
                <a:gd name="connsiteY58" fmla="*/ 264018 h 304724"/>
                <a:gd name="connsiteX59" fmla="*/ 286908 w 304863"/>
                <a:gd name="connsiteY59" fmla="*/ 261153 h 304724"/>
                <a:gd name="connsiteX60" fmla="*/ 266700 w 304863"/>
                <a:gd name="connsiteY60" fmla="*/ 266654 h 304724"/>
                <a:gd name="connsiteX61" fmla="*/ 214122 w 304863"/>
                <a:gd name="connsiteY61" fmla="*/ 234726 h 304724"/>
                <a:gd name="connsiteX62" fmla="*/ 193274 w 304863"/>
                <a:gd name="connsiteY62" fmla="*/ 182850 h 304724"/>
                <a:gd name="connsiteX63" fmla="*/ 217155 w 304863"/>
                <a:gd name="connsiteY63" fmla="*/ 182850 h 304724"/>
                <a:gd name="connsiteX64" fmla="*/ 190652 w 304863"/>
                <a:gd name="connsiteY64" fmla="*/ 159990 h 304724"/>
                <a:gd name="connsiteX0" fmla="*/ 64800 w 304863"/>
                <a:gd name="connsiteY0" fmla="*/ 0 h 304724"/>
                <a:gd name="connsiteX1" fmla="*/ 53370 w 304863"/>
                <a:gd name="connsiteY1" fmla="*/ 11430 h 304724"/>
                <a:gd name="connsiteX2" fmla="*/ 53370 w 304863"/>
                <a:gd name="connsiteY2" fmla="*/ 16200 h 304724"/>
                <a:gd name="connsiteX3" fmla="*/ 0 w 304863"/>
                <a:gd name="connsiteY3" fmla="*/ 79980 h 304724"/>
                <a:gd name="connsiteX4" fmla="*/ 0 w 304863"/>
                <a:gd name="connsiteY4" fmla="*/ 88240 h 304724"/>
                <a:gd name="connsiteX5" fmla="*/ 40660 w 304863"/>
                <a:gd name="connsiteY5" fmla="*/ 153314 h 304724"/>
                <a:gd name="connsiteX6" fmla="*/ 53370 w 304863"/>
                <a:gd name="connsiteY6" fmla="*/ 159502 h 304724"/>
                <a:gd name="connsiteX7" fmla="*/ 53370 w 304863"/>
                <a:gd name="connsiteY7" fmla="*/ 264780 h 304724"/>
                <a:gd name="connsiteX8" fmla="*/ 22860 w 304863"/>
                <a:gd name="connsiteY8" fmla="*/ 224424 h 304724"/>
                <a:gd name="connsiteX9" fmla="*/ 22860 w 304863"/>
                <a:gd name="connsiteY9" fmla="*/ 209489 h 304724"/>
                <a:gd name="connsiteX10" fmla="*/ 11430 w 304863"/>
                <a:gd name="connsiteY10" fmla="*/ 198059 h 304724"/>
                <a:gd name="connsiteX11" fmla="*/ 0 w 304863"/>
                <a:gd name="connsiteY11" fmla="*/ 209489 h 304724"/>
                <a:gd name="connsiteX12" fmla="*/ 0 w 304863"/>
                <a:gd name="connsiteY12" fmla="*/ 224424 h 304724"/>
                <a:gd name="connsiteX13" fmla="*/ 53370 w 304863"/>
                <a:gd name="connsiteY13" fmla="*/ 288188 h 304724"/>
                <a:gd name="connsiteX14" fmla="*/ 53370 w 304863"/>
                <a:gd name="connsiteY14" fmla="*/ 293294 h 304724"/>
                <a:gd name="connsiteX15" fmla="*/ 64800 w 304863"/>
                <a:gd name="connsiteY15" fmla="*/ 304724 h 304724"/>
                <a:gd name="connsiteX16" fmla="*/ 76230 w 304863"/>
                <a:gd name="connsiteY16" fmla="*/ 293294 h 304724"/>
                <a:gd name="connsiteX17" fmla="*/ 76230 w 304863"/>
                <a:gd name="connsiteY17" fmla="*/ 288188 h 304724"/>
                <a:gd name="connsiteX18" fmla="*/ 129540 w 304863"/>
                <a:gd name="connsiteY18" fmla="*/ 224424 h 304724"/>
                <a:gd name="connsiteX19" fmla="*/ 129540 w 304863"/>
                <a:gd name="connsiteY19" fmla="*/ 216438 h 304724"/>
                <a:gd name="connsiteX20" fmla="*/ 88880 w 304863"/>
                <a:gd name="connsiteY20" fmla="*/ 151364 h 304724"/>
                <a:gd name="connsiteX21" fmla="*/ 76230 w 304863"/>
                <a:gd name="connsiteY21" fmla="*/ 145207 h 304724"/>
                <a:gd name="connsiteX22" fmla="*/ 76230 w 304863"/>
                <a:gd name="connsiteY22" fmla="*/ 39654 h 304724"/>
                <a:gd name="connsiteX23" fmla="*/ 106680 w 304863"/>
                <a:gd name="connsiteY23" fmla="*/ 79980 h 304724"/>
                <a:gd name="connsiteX24" fmla="*/ 106680 w 304863"/>
                <a:gd name="connsiteY24" fmla="*/ 95220 h 304724"/>
                <a:gd name="connsiteX25" fmla="*/ 118110 w 304863"/>
                <a:gd name="connsiteY25" fmla="*/ 106650 h 304724"/>
                <a:gd name="connsiteX26" fmla="*/ 129540 w 304863"/>
                <a:gd name="connsiteY26" fmla="*/ 95220 h 304724"/>
                <a:gd name="connsiteX27" fmla="*/ 129540 w 304863"/>
                <a:gd name="connsiteY27" fmla="*/ 79980 h 304724"/>
                <a:gd name="connsiteX28" fmla="*/ 76230 w 304863"/>
                <a:gd name="connsiteY28" fmla="*/ 16215 h 304724"/>
                <a:gd name="connsiteX29" fmla="*/ 76230 w 304863"/>
                <a:gd name="connsiteY29" fmla="*/ 11430 h 304724"/>
                <a:gd name="connsiteX30" fmla="*/ 64800 w 304863"/>
                <a:gd name="connsiteY30" fmla="*/ 0 h 304724"/>
                <a:gd name="connsiteX31" fmla="*/ 22860 w 304863"/>
                <a:gd name="connsiteY31" fmla="*/ 79980 h 304724"/>
                <a:gd name="connsiteX32" fmla="*/ 53370 w 304863"/>
                <a:gd name="connsiteY32" fmla="*/ 39624 h 304724"/>
                <a:gd name="connsiteX33" fmla="*/ 53370 w 304863"/>
                <a:gd name="connsiteY33" fmla="*/ 134051 h 304724"/>
                <a:gd name="connsiteX34" fmla="*/ 50688 w 304863"/>
                <a:gd name="connsiteY34" fmla="*/ 132740 h 304724"/>
                <a:gd name="connsiteX35" fmla="*/ 22860 w 304863"/>
                <a:gd name="connsiteY35" fmla="*/ 88240 h 304724"/>
                <a:gd name="connsiteX36" fmla="*/ 22860 w 304863"/>
                <a:gd name="connsiteY36" fmla="*/ 79980 h 304724"/>
                <a:gd name="connsiteX37" fmla="*/ 76230 w 304863"/>
                <a:gd name="connsiteY37" fmla="*/ 264749 h 304724"/>
                <a:gd name="connsiteX38" fmla="*/ 76230 w 304863"/>
                <a:gd name="connsiteY38" fmla="*/ 170642 h 304724"/>
                <a:gd name="connsiteX39" fmla="*/ 78852 w 304863"/>
                <a:gd name="connsiteY39" fmla="*/ 171922 h 304724"/>
                <a:gd name="connsiteX40" fmla="*/ 106680 w 304863"/>
                <a:gd name="connsiteY40" fmla="*/ 216423 h 304724"/>
                <a:gd name="connsiteX41" fmla="*/ 106680 w 304863"/>
                <a:gd name="connsiteY41" fmla="*/ 224424 h 304724"/>
                <a:gd name="connsiteX42" fmla="*/ 76230 w 304863"/>
                <a:gd name="connsiteY42" fmla="*/ 264749 h 304724"/>
                <a:gd name="connsiteX43" fmla="*/ 190652 w 304863"/>
                <a:gd name="connsiteY43" fmla="*/ 159990 h 304724"/>
                <a:gd name="connsiteX44" fmla="*/ 190668 w 304863"/>
                <a:gd name="connsiteY44" fmla="*/ 144734 h 304724"/>
                <a:gd name="connsiteX45" fmla="*/ 170063 w 304863"/>
                <a:gd name="connsiteY45" fmla="*/ 121844 h 304724"/>
                <a:gd name="connsiteX46" fmla="*/ 148605 w 304863"/>
                <a:gd name="connsiteY46" fmla="*/ 121844 h 304724"/>
                <a:gd name="connsiteX47" fmla="*/ 137168 w 304863"/>
                <a:gd name="connsiteY47" fmla="*/ 133266 h 304724"/>
                <a:gd name="connsiteX48" fmla="*/ 148590 w 304863"/>
                <a:gd name="connsiteY48" fmla="*/ 144704 h 304724"/>
                <a:gd name="connsiteX49" fmla="*/ 167792 w 304863"/>
                <a:gd name="connsiteY49" fmla="*/ 144704 h 304724"/>
                <a:gd name="connsiteX50" fmla="*/ 167792 w 304863"/>
                <a:gd name="connsiteY50" fmla="*/ 159990 h 304724"/>
                <a:gd name="connsiteX51" fmla="*/ 148590 w 304863"/>
                <a:gd name="connsiteY51" fmla="*/ 159990 h 304724"/>
                <a:gd name="connsiteX52" fmla="*/ 137160 w 304863"/>
                <a:gd name="connsiteY52" fmla="*/ 171420 h 304724"/>
                <a:gd name="connsiteX53" fmla="*/ 148590 w 304863"/>
                <a:gd name="connsiteY53" fmla="*/ 182850 h 304724"/>
                <a:gd name="connsiteX54" fmla="*/ 170078 w 304863"/>
                <a:gd name="connsiteY54" fmla="*/ 182850 h 304724"/>
                <a:gd name="connsiteX55" fmla="*/ 195362 w 304863"/>
                <a:gd name="connsiteY55" fmla="*/ 247802 h 304724"/>
                <a:gd name="connsiteX56" fmla="*/ 266700 w 304863"/>
                <a:gd name="connsiteY56" fmla="*/ 289530 h 304724"/>
                <a:gd name="connsiteX57" fmla="*/ 299954 w 304863"/>
                <a:gd name="connsiteY57" fmla="*/ 279928 h 304724"/>
                <a:gd name="connsiteX58" fmla="*/ 302819 w 304863"/>
                <a:gd name="connsiteY58" fmla="*/ 264018 h 304724"/>
                <a:gd name="connsiteX59" fmla="*/ 286908 w 304863"/>
                <a:gd name="connsiteY59" fmla="*/ 261153 h 304724"/>
                <a:gd name="connsiteX60" fmla="*/ 266700 w 304863"/>
                <a:gd name="connsiteY60" fmla="*/ 266654 h 304724"/>
                <a:gd name="connsiteX61" fmla="*/ 214122 w 304863"/>
                <a:gd name="connsiteY61" fmla="*/ 234726 h 304724"/>
                <a:gd name="connsiteX62" fmla="*/ 193274 w 304863"/>
                <a:gd name="connsiteY62" fmla="*/ 182850 h 304724"/>
                <a:gd name="connsiteX63" fmla="*/ 190652 w 304863"/>
                <a:gd name="connsiteY63" fmla="*/ 159990 h 304724"/>
                <a:gd name="connsiteX0" fmla="*/ 64800 w 304863"/>
                <a:gd name="connsiteY0" fmla="*/ 0 h 304724"/>
                <a:gd name="connsiteX1" fmla="*/ 53370 w 304863"/>
                <a:gd name="connsiteY1" fmla="*/ 11430 h 304724"/>
                <a:gd name="connsiteX2" fmla="*/ 53370 w 304863"/>
                <a:gd name="connsiteY2" fmla="*/ 16200 h 304724"/>
                <a:gd name="connsiteX3" fmla="*/ 0 w 304863"/>
                <a:gd name="connsiteY3" fmla="*/ 79980 h 304724"/>
                <a:gd name="connsiteX4" fmla="*/ 0 w 304863"/>
                <a:gd name="connsiteY4" fmla="*/ 88240 h 304724"/>
                <a:gd name="connsiteX5" fmla="*/ 40660 w 304863"/>
                <a:gd name="connsiteY5" fmla="*/ 153314 h 304724"/>
                <a:gd name="connsiteX6" fmla="*/ 53370 w 304863"/>
                <a:gd name="connsiteY6" fmla="*/ 159502 h 304724"/>
                <a:gd name="connsiteX7" fmla="*/ 53370 w 304863"/>
                <a:gd name="connsiteY7" fmla="*/ 264780 h 304724"/>
                <a:gd name="connsiteX8" fmla="*/ 22860 w 304863"/>
                <a:gd name="connsiteY8" fmla="*/ 224424 h 304724"/>
                <a:gd name="connsiteX9" fmla="*/ 22860 w 304863"/>
                <a:gd name="connsiteY9" fmla="*/ 209489 h 304724"/>
                <a:gd name="connsiteX10" fmla="*/ 11430 w 304863"/>
                <a:gd name="connsiteY10" fmla="*/ 198059 h 304724"/>
                <a:gd name="connsiteX11" fmla="*/ 0 w 304863"/>
                <a:gd name="connsiteY11" fmla="*/ 209489 h 304724"/>
                <a:gd name="connsiteX12" fmla="*/ 0 w 304863"/>
                <a:gd name="connsiteY12" fmla="*/ 224424 h 304724"/>
                <a:gd name="connsiteX13" fmla="*/ 53370 w 304863"/>
                <a:gd name="connsiteY13" fmla="*/ 288188 h 304724"/>
                <a:gd name="connsiteX14" fmla="*/ 53370 w 304863"/>
                <a:gd name="connsiteY14" fmla="*/ 293294 h 304724"/>
                <a:gd name="connsiteX15" fmla="*/ 64800 w 304863"/>
                <a:gd name="connsiteY15" fmla="*/ 304724 h 304724"/>
                <a:gd name="connsiteX16" fmla="*/ 76230 w 304863"/>
                <a:gd name="connsiteY16" fmla="*/ 293294 h 304724"/>
                <a:gd name="connsiteX17" fmla="*/ 76230 w 304863"/>
                <a:gd name="connsiteY17" fmla="*/ 288188 h 304724"/>
                <a:gd name="connsiteX18" fmla="*/ 129540 w 304863"/>
                <a:gd name="connsiteY18" fmla="*/ 224424 h 304724"/>
                <a:gd name="connsiteX19" fmla="*/ 129540 w 304863"/>
                <a:gd name="connsiteY19" fmla="*/ 216438 h 304724"/>
                <a:gd name="connsiteX20" fmla="*/ 88880 w 304863"/>
                <a:gd name="connsiteY20" fmla="*/ 151364 h 304724"/>
                <a:gd name="connsiteX21" fmla="*/ 76230 w 304863"/>
                <a:gd name="connsiteY21" fmla="*/ 145207 h 304724"/>
                <a:gd name="connsiteX22" fmla="*/ 76230 w 304863"/>
                <a:gd name="connsiteY22" fmla="*/ 39654 h 304724"/>
                <a:gd name="connsiteX23" fmla="*/ 106680 w 304863"/>
                <a:gd name="connsiteY23" fmla="*/ 79980 h 304724"/>
                <a:gd name="connsiteX24" fmla="*/ 106680 w 304863"/>
                <a:gd name="connsiteY24" fmla="*/ 95220 h 304724"/>
                <a:gd name="connsiteX25" fmla="*/ 118110 w 304863"/>
                <a:gd name="connsiteY25" fmla="*/ 106650 h 304724"/>
                <a:gd name="connsiteX26" fmla="*/ 129540 w 304863"/>
                <a:gd name="connsiteY26" fmla="*/ 95220 h 304724"/>
                <a:gd name="connsiteX27" fmla="*/ 129540 w 304863"/>
                <a:gd name="connsiteY27" fmla="*/ 79980 h 304724"/>
                <a:gd name="connsiteX28" fmla="*/ 76230 w 304863"/>
                <a:gd name="connsiteY28" fmla="*/ 16215 h 304724"/>
                <a:gd name="connsiteX29" fmla="*/ 76230 w 304863"/>
                <a:gd name="connsiteY29" fmla="*/ 11430 h 304724"/>
                <a:gd name="connsiteX30" fmla="*/ 64800 w 304863"/>
                <a:gd name="connsiteY30" fmla="*/ 0 h 304724"/>
                <a:gd name="connsiteX31" fmla="*/ 22860 w 304863"/>
                <a:gd name="connsiteY31" fmla="*/ 79980 h 304724"/>
                <a:gd name="connsiteX32" fmla="*/ 53370 w 304863"/>
                <a:gd name="connsiteY32" fmla="*/ 39624 h 304724"/>
                <a:gd name="connsiteX33" fmla="*/ 53370 w 304863"/>
                <a:gd name="connsiteY33" fmla="*/ 134051 h 304724"/>
                <a:gd name="connsiteX34" fmla="*/ 50688 w 304863"/>
                <a:gd name="connsiteY34" fmla="*/ 132740 h 304724"/>
                <a:gd name="connsiteX35" fmla="*/ 22860 w 304863"/>
                <a:gd name="connsiteY35" fmla="*/ 88240 h 304724"/>
                <a:gd name="connsiteX36" fmla="*/ 22860 w 304863"/>
                <a:gd name="connsiteY36" fmla="*/ 79980 h 304724"/>
                <a:gd name="connsiteX37" fmla="*/ 76230 w 304863"/>
                <a:gd name="connsiteY37" fmla="*/ 264749 h 304724"/>
                <a:gd name="connsiteX38" fmla="*/ 76230 w 304863"/>
                <a:gd name="connsiteY38" fmla="*/ 170642 h 304724"/>
                <a:gd name="connsiteX39" fmla="*/ 78852 w 304863"/>
                <a:gd name="connsiteY39" fmla="*/ 171922 h 304724"/>
                <a:gd name="connsiteX40" fmla="*/ 106680 w 304863"/>
                <a:gd name="connsiteY40" fmla="*/ 216423 h 304724"/>
                <a:gd name="connsiteX41" fmla="*/ 106680 w 304863"/>
                <a:gd name="connsiteY41" fmla="*/ 224424 h 304724"/>
                <a:gd name="connsiteX42" fmla="*/ 76230 w 304863"/>
                <a:gd name="connsiteY42" fmla="*/ 264749 h 304724"/>
                <a:gd name="connsiteX43" fmla="*/ 190652 w 304863"/>
                <a:gd name="connsiteY43" fmla="*/ 159990 h 304724"/>
                <a:gd name="connsiteX44" fmla="*/ 190668 w 304863"/>
                <a:gd name="connsiteY44" fmla="*/ 144734 h 304724"/>
                <a:gd name="connsiteX45" fmla="*/ 170063 w 304863"/>
                <a:gd name="connsiteY45" fmla="*/ 121844 h 304724"/>
                <a:gd name="connsiteX46" fmla="*/ 148605 w 304863"/>
                <a:gd name="connsiteY46" fmla="*/ 121844 h 304724"/>
                <a:gd name="connsiteX47" fmla="*/ 137168 w 304863"/>
                <a:gd name="connsiteY47" fmla="*/ 133266 h 304724"/>
                <a:gd name="connsiteX48" fmla="*/ 148590 w 304863"/>
                <a:gd name="connsiteY48" fmla="*/ 144704 h 304724"/>
                <a:gd name="connsiteX49" fmla="*/ 167792 w 304863"/>
                <a:gd name="connsiteY49" fmla="*/ 144704 h 304724"/>
                <a:gd name="connsiteX50" fmla="*/ 167792 w 304863"/>
                <a:gd name="connsiteY50" fmla="*/ 159990 h 304724"/>
                <a:gd name="connsiteX51" fmla="*/ 148590 w 304863"/>
                <a:gd name="connsiteY51" fmla="*/ 159990 h 304724"/>
                <a:gd name="connsiteX52" fmla="*/ 137160 w 304863"/>
                <a:gd name="connsiteY52" fmla="*/ 171420 h 304724"/>
                <a:gd name="connsiteX53" fmla="*/ 148590 w 304863"/>
                <a:gd name="connsiteY53" fmla="*/ 182850 h 304724"/>
                <a:gd name="connsiteX54" fmla="*/ 170078 w 304863"/>
                <a:gd name="connsiteY54" fmla="*/ 182850 h 304724"/>
                <a:gd name="connsiteX55" fmla="*/ 195362 w 304863"/>
                <a:gd name="connsiteY55" fmla="*/ 247802 h 304724"/>
                <a:gd name="connsiteX56" fmla="*/ 266700 w 304863"/>
                <a:gd name="connsiteY56" fmla="*/ 289530 h 304724"/>
                <a:gd name="connsiteX57" fmla="*/ 299954 w 304863"/>
                <a:gd name="connsiteY57" fmla="*/ 279928 h 304724"/>
                <a:gd name="connsiteX58" fmla="*/ 302819 w 304863"/>
                <a:gd name="connsiteY58" fmla="*/ 264018 h 304724"/>
                <a:gd name="connsiteX59" fmla="*/ 286908 w 304863"/>
                <a:gd name="connsiteY59" fmla="*/ 261153 h 304724"/>
                <a:gd name="connsiteX60" fmla="*/ 266700 w 304863"/>
                <a:gd name="connsiteY60" fmla="*/ 266654 h 304724"/>
                <a:gd name="connsiteX61" fmla="*/ 214122 w 304863"/>
                <a:gd name="connsiteY61" fmla="*/ 234726 h 304724"/>
                <a:gd name="connsiteX62" fmla="*/ 190652 w 304863"/>
                <a:gd name="connsiteY62" fmla="*/ 159990 h 304724"/>
                <a:gd name="connsiteX0" fmla="*/ 64800 w 304863"/>
                <a:gd name="connsiteY0" fmla="*/ 0 h 304724"/>
                <a:gd name="connsiteX1" fmla="*/ 53370 w 304863"/>
                <a:gd name="connsiteY1" fmla="*/ 11430 h 304724"/>
                <a:gd name="connsiteX2" fmla="*/ 53370 w 304863"/>
                <a:gd name="connsiteY2" fmla="*/ 16200 h 304724"/>
                <a:gd name="connsiteX3" fmla="*/ 0 w 304863"/>
                <a:gd name="connsiteY3" fmla="*/ 79980 h 304724"/>
                <a:gd name="connsiteX4" fmla="*/ 0 w 304863"/>
                <a:gd name="connsiteY4" fmla="*/ 88240 h 304724"/>
                <a:gd name="connsiteX5" fmla="*/ 40660 w 304863"/>
                <a:gd name="connsiteY5" fmla="*/ 153314 h 304724"/>
                <a:gd name="connsiteX6" fmla="*/ 53370 w 304863"/>
                <a:gd name="connsiteY6" fmla="*/ 159502 h 304724"/>
                <a:gd name="connsiteX7" fmla="*/ 53370 w 304863"/>
                <a:gd name="connsiteY7" fmla="*/ 264780 h 304724"/>
                <a:gd name="connsiteX8" fmla="*/ 22860 w 304863"/>
                <a:gd name="connsiteY8" fmla="*/ 224424 h 304724"/>
                <a:gd name="connsiteX9" fmla="*/ 22860 w 304863"/>
                <a:gd name="connsiteY9" fmla="*/ 209489 h 304724"/>
                <a:gd name="connsiteX10" fmla="*/ 11430 w 304863"/>
                <a:gd name="connsiteY10" fmla="*/ 198059 h 304724"/>
                <a:gd name="connsiteX11" fmla="*/ 0 w 304863"/>
                <a:gd name="connsiteY11" fmla="*/ 209489 h 304724"/>
                <a:gd name="connsiteX12" fmla="*/ 0 w 304863"/>
                <a:gd name="connsiteY12" fmla="*/ 224424 h 304724"/>
                <a:gd name="connsiteX13" fmla="*/ 53370 w 304863"/>
                <a:gd name="connsiteY13" fmla="*/ 288188 h 304724"/>
                <a:gd name="connsiteX14" fmla="*/ 53370 w 304863"/>
                <a:gd name="connsiteY14" fmla="*/ 293294 h 304724"/>
                <a:gd name="connsiteX15" fmla="*/ 64800 w 304863"/>
                <a:gd name="connsiteY15" fmla="*/ 304724 h 304724"/>
                <a:gd name="connsiteX16" fmla="*/ 76230 w 304863"/>
                <a:gd name="connsiteY16" fmla="*/ 293294 h 304724"/>
                <a:gd name="connsiteX17" fmla="*/ 76230 w 304863"/>
                <a:gd name="connsiteY17" fmla="*/ 288188 h 304724"/>
                <a:gd name="connsiteX18" fmla="*/ 129540 w 304863"/>
                <a:gd name="connsiteY18" fmla="*/ 224424 h 304724"/>
                <a:gd name="connsiteX19" fmla="*/ 129540 w 304863"/>
                <a:gd name="connsiteY19" fmla="*/ 216438 h 304724"/>
                <a:gd name="connsiteX20" fmla="*/ 88880 w 304863"/>
                <a:gd name="connsiteY20" fmla="*/ 151364 h 304724"/>
                <a:gd name="connsiteX21" fmla="*/ 76230 w 304863"/>
                <a:gd name="connsiteY21" fmla="*/ 145207 h 304724"/>
                <a:gd name="connsiteX22" fmla="*/ 76230 w 304863"/>
                <a:gd name="connsiteY22" fmla="*/ 39654 h 304724"/>
                <a:gd name="connsiteX23" fmla="*/ 106680 w 304863"/>
                <a:gd name="connsiteY23" fmla="*/ 79980 h 304724"/>
                <a:gd name="connsiteX24" fmla="*/ 106680 w 304863"/>
                <a:gd name="connsiteY24" fmla="*/ 95220 h 304724"/>
                <a:gd name="connsiteX25" fmla="*/ 118110 w 304863"/>
                <a:gd name="connsiteY25" fmla="*/ 106650 h 304724"/>
                <a:gd name="connsiteX26" fmla="*/ 129540 w 304863"/>
                <a:gd name="connsiteY26" fmla="*/ 95220 h 304724"/>
                <a:gd name="connsiteX27" fmla="*/ 129540 w 304863"/>
                <a:gd name="connsiteY27" fmla="*/ 79980 h 304724"/>
                <a:gd name="connsiteX28" fmla="*/ 76230 w 304863"/>
                <a:gd name="connsiteY28" fmla="*/ 16215 h 304724"/>
                <a:gd name="connsiteX29" fmla="*/ 76230 w 304863"/>
                <a:gd name="connsiteY29" fmla="*/ 11430 h 304724"/>
                <a:gd name="connsiteX30" fmla="*/ 64800 w 304863"/>
                <a:gd name="connsiteY30" fmla="*/ 0 h 304724"/>
                <a:gd name="connsiteX31" fmla="*/ 22860 w 304863"/>
                <a:gd name="connsiteY31" fmla="*/ 79980 h 304724"/>
                <a:gd name="connsiteX32" fmla="*/ 53370 w 304863"/>
                <a:gd name="connsiteY32" fmla="*/ 39624 h 304724"/>
                <a:gd name="connsiteX33" fmla="*/ 53370 w 304863"/>
                <a:gd name="connsiteY33" fmla="*/ 134051 h 304724"/>
                <a:gd name="connsiteX34" fmla="*/ 50688 w 304863"/>
                <a:gd name="connsiteY34" fmla="*/ 132740 h 304724"/>
                <a:gd name="connsiteX35" fmla="*/ 22860 w 304863"/>
                <a:gd name="connsiteY35" fmla="*/ 88240 h 304724"/>
                <a:gd name="connsiteX36" fmla="*/ 22860 w 304863"/>
                <a:gd name="connsiteY36" fmla="*/ 79980 h 304724"/>
                <a:gd name="connsiteX37" fmla="*/ 76230 w 304863"/>
                <a:gd name="connsiteY37" fmla="*/ 264749 h 304724"/>
                <a:gd name="connsiteX38" fmla="*/ 76230 w 304863"/>
                <a:gd name="connsiteY38" fmla="*/ 170642 h 304724"/>
                <a:gd name="connsiteX39" fmla="*/ 78852 w 304863"/>
                <a:gd name="connsiteY39" fmla="*/ 171922 h 304724"/>
                <a:gd name="connsiteX40" fmla="*/ 106680 w 304863"/>
                <a:gd name="connsiteY40" fmla="*/ 216423 h 304724"/>
                <a:gd name="connsiteX41" fmla="*/ 106680 w 304863"/>
                <a:gd name="connsiteY41" fmla="*/ 224424 h 304724"/>
                <a:gd name="connsiteX42" fmla="*/ 76230 w 304863"/>
                <a:gd name="connsiteY42" fmla="*/ 264749 h 304724"/>
                <a:gd name="connsiteX43" fmla="*/ 214122 w 304863"/>
                <a:gd name="connsiteY43" fmla="*/ 234726 h 304724"/>
                <a:gd name="connsiteX44" fmla="*/ 190668 w 304863"/>
                <a:gd name="connsiteY44" fmla="*/ 144734 h 304724"/>
                <a:gd name="connsiteX45" fmla="*/ 170063 w 304863"/>
                <a:gd name="connsiteY45" fmla="*/ 121844 h 304724"/>
                <a:gd name="connsiteX46" fmla="*/ 148605 w 304863"/>
                <a:gd name="connsiteY46" fmla="*/ 121844 h 304724"/>
                <a:gd name="connsiteX47" fmla="*/ 137168 w 304863"/>
                <a:gd name="connsiteY47" fmla="*/ 133266 h 304724"/>
                <a:gd name="connsiteX48" fmla="*/ 148590 w 304863"/>
                <a:gd name="connsiteY48" fmla="*/ 144704 h 304724"/>
                <a:gd name="connsiteX49" fmla="*/ 167792 w 304863"/>
                <a:gd name="connsiteY49" fmla="*/ 144704 h 304724"/>
                <a:gd name="connsiteX50" fmla="*/ 167792 w 304863"/>
                <a:gd name="connsiteY50" fmla="*/ 159990 h 304724"/>
                <a:gd name="connsiteX51" fmla="*/ 148590 w 304863"/>
                <a:gd name="connsiteY51" fmla="*/ 159990 h 304724"/>
                <a:gd name="connsiteX52" fmla="*/ 137160 w 304863"/>
                <a:gd name="connsiteY52" fmla="*/ 171420 h 304724"/>
                <a:gd name="connsiteX53" fmla="*/ 148590 w 304863"/>
                <a:gd name="connsiteY53" fmla="*/ 182850 h 304724"/>
                <a:gd name="connsiteX54" fmla="*/ 170078 w 304863"/>
                <a:gd name="connsiteY54" fmla="*/ 182850 h 304724"/>
                <a:gd name="connsiteX55" fmla="*/ 195362 w 304863"/>
                <a:gd name="connsiteY55" fmla="*/ 247802 h 304724"/>
                <a:gd name="connsiteX56" fmla="*/ 266700 w 304863"/>
                <a:gd name="connsiteY56" fmla="*/ 289530 h 304724"/>
                <a:gd name="connsiteX57" fmla="*/ 299954 w 304863"/>
                <a:gd name="connsiteY57" fmla="*/ 279928 h 304724"/>
                <a:gd name="connsiteX58" fmla="*/ 302819 w 304863"/>
                <a:gd name="connsiteY58" fmla="*/ 264018 h 304724"/>
                <a:gd name="connsiteX59" fmla="*/ 286908 w 304863"/>
                <a:gd name="connsiteY59" fmla="*/ 261153 h 304724"/>
                <a:gd name="connsiteX60" fmla="*/ 266700 w 304863"/>
                <a:gd name="connsiteY60" fmla="*/ 266654 h 304724"/>
                <a:gd name="connsiteX61" fmla="*/ 214122 w 304863"/>
                <a:gd name="connsiteY61" fmla="*/ 234726 h 304724"/>
                <a:gd name="connsiteX0" fmla="*/ 64800 w 304863"/>
                <a:gd name="connsiteY0" fmla="*/ 0 h 304724"/>
                <a:gd name="connsiteX1" fmla="*/ 53370 w 304863"/>
                <a:gd name="connsiteY1" fmla="*/ 11430 h 304724"/>
                <a:gd name="connsiteX2" fmla="*/ 53370 w 304863"/>
                <a:gd name="connsiteY2" fmla="*/ 16200 h 304724"/>
                <a:gd name="connsiteX3" fmla="*/ 0 w 304863"/>
                <a:gd name="connsiteY3" fmla="*/ 79980 h 304724"/>
                <a:gd name="connsiteX4" fmla="*/ 0 w 304863"/>
                <a:gd name="connsiteY4" fmla="*/ 88240 h 304724"/>
                <a:gd name="connsiteX5" fmla="*/ 40660 w 304863"/>
                <a:gd name="connsiteY5" fmla="*/ 153314 h 304724"/>
                <a:gd name="connsiteX6" fmla="*/ 53370 w 304863"/>
                <a:gd name="connsiteY6" fmla="*/ 159502 h 304724"/>
                <a:gd name="connsiteX7" fmla="*/ 53370 w 304863"/>
                <a:gd name="connsiteY7" fmla="*/ 264780 h 304724"/>
                <a:gd name="connsiteX8" fmla="*/ 22860 w 304863"/>
                <a:gd name="connsiteY8" fmla="*/ 224424 h 304724"/>
                <a:gd name="connsiteX9" fmla="*/ 22860 w 304863"/>
                <a:gd name="connsiteY9" fmla="*/ 209489 h 304724"/>
                <a:gd name="connsiteX10" fmla="*/ 11430 w 304863"/>
                <a:gd name="connsiteY10" fmla="*/ 198059 h 304724"/>
                <a:gd name="connsiteX11" fmla="*/ 0 w 304863"/>
                <a:gd name="connsiteY11" fmla="*/ 209489 h 304724"/>
                <a:gd name="connsiteX12" fmla="*/ 0 w 304863"/>
                <a:gd name="connsiteY12" fmla="*/ 224424 h 304724"/>
                <a:gd name="connsiteX13" fmla="*/ 53370 w 304863"/>
                <a:gd name="connsiteY13" fmla="*/ 288188 h 304724"/>
                <a:gd name="connsiteX14" fmla="*/ 53370 w 304863"/>
                <a:gd name="connsiteY14" fmla="*/ 293294 h 304724"/>
                <a:gd name="connsiteX15" fmla="*/ 64800 w 304863"/>
                <a:gd name="connsiteY15" fmla="*/ 304724 h 304724"/>
                <a:gd name="connsiteX16" fmla="*/ 76230 w 304863"/>
                <a:gd name="connsiteY16" fmla="*/ 293294 h 304724"/>
                <a:gd name="connsiteX17" fmla="*/ 76230 w 304863"/>
                <a:gd name="connsiteY17" fmla="*/ 288188 h 304724"/>
                <a:gd name="connsiteX18" fmla="*/ 129540 w 304863"/>
                <a:gd name="connsiteY18" fmla="*/ 224424 h 304724"/>
                <a:gd name="connsiteX19" fmla="*/ 129540 w 304863"/>
                <a:gd name="connsiteY19" fmla="*/ 216438 h 304724"/>
                <a:gd name="connsiteX20" fmla="*/ 88880 w 304863"/>
                <a:gd name="connsiteY20" fmla="*/ 151364 h 304724"/>
                <a:gd name="connsiteX21" fmla="*/ 76230 w 304863"/>
                <a:gd name="connsiteY21" fmla="*/ 145207 h 304724"/>
                <a:gd name="connsiteX22" fmla="*/ 76230 w 304863"/>
                <a:gd name="connsiteY22" fmla="*/ 39654 h 304724"/>
                <a:gd name="connsiteX23" fmla="*/ 106680 w 304863"/>
                <a:gd name="connsiteY23" fmla="*/ 79980 h 304724"/>
                <a:gd name="connsiteX24" fmla="*/ 106680 w 304863"/>
                <a:gd name="connsiteY24" fmla="*/ 95220 h 304724"/>
                <a:gd name="connsiteX25" fmla="*/ 118110 w 304863"/>
                <a:gd name="connsiteY25" fmla="*/ 106650 h 304724"/>
                <a:gd name="connsiteX26" fmla="*/ 129540 w 304863"/>
                <a:gd name="connsiteY26" fmla="*/ 95220 h 304724"/>
                <a:gd name="connsiteX27" fmla="*/ 129540 w 304863"/>
                <a:gd name="connsiteY27" fmla="*/ 79980 h 304724"/>
                <a:gd name="connsiteX28" fmla="*/ 76230 w 304863"/>
                <a:gd name="connsiteY28" fmla="*/ 16215 h 304724"/>
                <a:gd name="connsiteX29" fmla="*/ 76230 w 304863"/>
                <a:gd name="connsiteY29" fmla="*/ 11430 h 304724"/>
                <a:gd name="connsiteX30" fmla="*/ 64800 w 304863"/>
                <a:gd name="connsiteY30" fmla="*/ 0 h 304724"/>
                <a:gd name="connsiteX31" fmla="*/ 22860 w 304863"/>
                <a:gd name="connsiteY31" fmla="*/ 79980 h 304724"/>
                <a:gd name="connsiteX32" fmla="*/ 53370 w 304863"/>
                <a:gd name="connsiteY32" fmla="*/ 39624 h 304724"/>
                <a:gd name="connsiteX33" fmla="*/ 53370 w 304863"/>
                <a:gd name="connsiteY33" fmla="*/ 134051 h 304724"/>
                <a:gd name="connsiteX34" fmla="*/ 50688 w 304863"/>
                <a:gd name="connsiteY34" fmla="*/ 132740 h 304724"/>
                <a:gd name="connsiteX35" fmla="*/ 22860 w 304863"/>
                <a:gd name="connsiteY35" fmla="*/ 88240 h 304724"/>
                <a:gd name="connsiteX36" fmla="*/ 22860 w 304863"/>
                <a:gd name="connsiteY36" fmla="*/ 79980 h 304724"/>
                <a:gd name="connsiteX37" fmla="*/ 76230 w 304863"/>
                <a:gd name="connsiteY37" fmla="*/ 264749 h 304724"/>
                <a:gd name="connsiteX38" fmla="*/ 76230 w 304863"/>
                <a:gd name="connsiteY38" fmla="*/ 170642 h 304724"/>
                <a:gd name="connsiteX39" fmla="*/ 78852 w 304863"/>
                <a:gd name="connsiteY39" fmla="*/ 171922 h 304724"/>
                <a:gd name="connsiteX40" fmla="*/ 106680 w 304863"/>
                <a:gd name="connsiteY40" fmla="*/ 216423 h 304724"/>
                <a:gd name="connsiteX41" fmla="*/ 106680 w 304863"/>
                <a:gd name="connsiteY41" fmla="*/ 224424 h 304724"/>
                <a:gd name="connsiteX42" fmla="*/ 76230 w 304863"/>
                <a:gd name="connsiteY42" fmla="*/ 264749 h 304724"/>
                <a:gd name="connsiteX43" fmla="*/ 214122 w 304863"/>
                <a:gd name="connsiteY43" fmla="*/ 234726 h 304724"/>
                <a:gd name="connsiteX44" fmla="*/ 170063 w 304863"/>
                <a:gd name="connsiteY44" fmla="*/ 121844 h 304724"/>
                <a:gd name="connsiteX45" fmla="*/ 148605 w 304863"/>
                <a:gd name="connsiteY45" fmla="*/ 121844 h 304724"/>
                <a:gd name="connsiteX46" fmla="*/ 137168 w 304863"/>
                <a:gd name="connsiteY46" fmla="*/ 133266 h 304724"/>
                <a:gd name="connsiteX47" fmla="*/ 148590 w 304863"/>
                <a:gd name="connsiteY47" fmla="*/ 144704 h 304724"/>
                <a:gd name="connsiteX48" fmla="*/ 167792 w 304863"/>
                <a:gd name="connsiteY48" fmla="*/ 144704 h 304724"/>
                <a:gd name="connsiteX49" fmla="*/ 167792 w 304863"/>
                <a:gd name="connsiteY49" fmla="*/ 159990 h 304724"/>
                <a:gd name="connsiteX50" fmla="*/ 148590 w 304863"/>
                <a:gd name="connsiteY50" fmla="*/ 159990 h 304724"/>
                <a:gd name="connsiteX51" fmla="*/ 137160 w 304863"/>
                <a:gd name="connsiteY51" fmla="*/ 171420 h 304724"/>
                <a:gd name="connsiteX52" fmla="*/ 148590 w 304863"/>
                <a:gd name="connsiteY52" fmla="*/ 182850 h 304724"/>
                <a:gd name="connsiteX53" fmla="*/ 170078 w 304863"/>
                <a:gd name="connsiteY53" fmla="*/ 182850 h 304724"/>
                <a:gd name="connsiteX54" fmla="*/ 195362 w 304863"/>
                <a:gd name="connsiteY54" fmla="*/ 247802 h 304724"/>
                <a:gd name="connsiteX55" fmla="*/ 266700 w 304863"/>
                <a:gd name="connsiteY55" fmla="*/ 289530 h 304724"/>
                <a:gd name="connsiteX56" fmla="*/ 299954 w 304863"/>
                <a:gd name="connsiteY56" fmla="*/ 279928 h 304724"/>
                <a:gd name="connsiteX57" fmla="*/ 302819 w 304863"/>
                <a:gd name="connsiteY57" fmla="*/ 264018 h 304724"/>
                <a:gd name="connsiteX58" fmla="*/ 286908 w 304863"/>
                <a:gd name="connsiteY58" fmla="*/ 261153 h 304724"/>
                <a:gd name="connsiteX59" fmla="*/ 266700 w 304863"/>
                <a:gd name="connsiteY59" fmla="*/ 266654 h 304724"/>
                <a:gd name="connsiteX60" fmla="*/ 214122 w 304863"/>
                <a:gd name="connsiteY60" fmla="*/ 234726 h 304724"/>
                <a:gd name="connsiteX0" fmla="*/ 64800 w 304863"/>
                <a:gd name="connsiteY0" fmla="*/ 0 h 304724"/>
                <a:gd name="connsiteX1" fmla="*/ 53370 w 304863"/>
                <a:gd name="connsiteY1" fmla="*/ 11430 h 304724"/>
                <a:gd name="connsiteX2" fmla="*/ 53370 w 304863"/>
                <a:gd name="connsiteY2" fmla="*/ 16200 h 304724"/>
                <a:gd name="connsiteX3" fmla="*/ 0 w 304863"/>
                <a:gd name="connsiteY3" fmla="*/ 79980 h 304724"/>
                <a:gd name="connsiteX4" fmla="*/ 0 w 304863"/>
                <a:gd name="connsiteY4" fmla="*/ 88240 h 304724"/>
                <a:gd name="connsiteX5" fmla="*/ 40660 w 304863"/>
                <a:gd name="connsiteY5" fmla="*/ 153314 h 304724"/>
                <a:gd name="connsiteX6" fmla="*/ 53370 w 304863"/>
                <a:gd name="connsiteY6" fmla="*/ 159502 h 304724"/>
                <a:gd name="connsiteX7" fmla="*/ 53370 w 304863"/>
                <a:gd name="connsiteY7" fmla="*/ 264780 h 304724"/>
                <a:gd name="connsiteX8" fmla="*/ 22860 w 304863"/>
                <a:gd name="connsiteY8" fmla="*/ 224424 h 304724"/>
                <a:gd name="connsiteX9" fmla="*/ 22860 w 304863"/>
                <a:gd name="connsiteY9" fmla="*/ 209489 h 304724"/>
                <a:gd name="connsiteX10" fmla="*/ 11430 w 304863"/>
                <a:gd name="connsiteY10" fmla="*/ 198059 h 304724"/>
                <a:gd name="connsiteX11" fmla="*/ 0 w 304863"/>
                <a:gd name="connsiteY11" fmla="*/ 209489 h 304724"/>
                <a:gd name="connsiteX12" fmla="*/ 0 w 304863"/>
                <a:gd name="connsiteY12" fmla="*/ 224424 h 304724"/>
                <a:gd name="connsiteX13" fmla="*/ 53370 w 304863"/>
                <a:gd name="connsiteY13" fmla="*/ 288188 h 304724"/>
                <a:gd name="connsiteX14" fmla="*/ 53370 w 304863"/>
                <a:gd name="connsiteY14" fmla="*/ 293294 h 304724"/>
                <a:gd name="connsiteX15" fmla="*/ 64800 w 304863"/>
                <a:gd name="connsiteY15" fmla="*/ 304724 h 304724"/>
                <a:gd name="connsiteX16" fmla="*/ 76230 w 304863"/>
                <a:gd name="connsiteY16" fmla="*/ 293294 h 304724"/>
                <a:gd name="connsiteX17" fmla="*/ 76230 w 304863"/>
                <a:gd name="connsiteY17" fmla="*/ 288188 h 304724"/>
                <a:gd name="connsiteX18" fmla="*/ 129540 w 304863"/>
                <a:gd name="connsiteY18" fmla="*/ 224424 h 304724"/>
                <a:gd name="connsiteX19" fmla="*/ 129540 w 304863"/>
                <a:gd name="connsiteY19" fmla="*/ 216438 h 304724"/>
                <a:gd name="connsiteX20" fmla="*/ 88880 w 304863"/>
                <a:gd name="connsiteY20" fmla="*/ 151364 h 304724"/>
                <a:gd name="connsiteX21" fmla="*/ 76230 w 304863"/>
                <a:gd name="connsiteY21" fmla="*/ 145207 h 304724"/>
                <a:gd name="connsiteX22" fmla="*/ 76230 w 304863"/>
                <a:gd name="connsiteY22" fmla="*/ 39654 h 304724"/>
                <a:gd name="connsiteX23" fmla="*/ 106680 w 304863"/>
                <a:gd name="connsiteY23" fmla="*/ 79980 h 304724"/>
                <a:gd name="connsiteX24" fmla="*/ 106680 w 304863"/>
                <a:gd name="connsiteY24" fmla="*/ 95220 h 304724"/>
                <a:gd name="connsiteX25" fmla="*/ 118110 w 304863"/>
                <a:gd name="connsiteY25" fmla="*/ 106650 h 304724"/>
                <a:gd name="connsiteX26" fmla="*/ 129540 w 304863"/>
                <a:gd name="connsiteY26" fmla="*/ 95220 h 304724"/>
                <a:gd name="connsiteX27" fmla="*/ 129540 w 304863"/>
                <a:gd name="connsiteY27" fmla="*/ 79980 h 304724"/>
                <a:gd name="connsiteX28" fmla="*/ 76230 w 304863"/>
                <a:gd name="connsiteY28" fmla="*/ 16215 h 304724"/>
                <a:gd name="connsiteX29" fmla="*/ 76230 w 304863"/>
                <a:gd name="connsiteY29" fmla="*/ 11430 h 304724"/>
                <a:gd name="connsiteX30" fmla="*/ 64800 w 304863"/>
                <a:gd name="connsiteY30" fmla="*/ 0 h 304724"/>
                <a:gd name="connsiteX31" fmla="*/ 22860 w 304863"/>
                <a:gd name="connsiteY31" fmla="*/ 79980 h 304724"/>
                <a:gd name="connsiteX32" fmla="*/ 53370 w 304863"/>
                <a:gd name="connsiteY32" fmla="*/ 39624 h 304724"/>
                <a:gd name="connsiteX33" fmla="*/ 53370 w 304863"/>
                <a:gd name="connsiteY33" fmla="*/ 134051 h 304724"/>
                <a:gd name="connsiteX34" fmla="*/ 50688 w 304863"/>
                <a:gd name="connsiteY34" fmla="*/ 132740 h 304724"/>
                <a:gd name="connsiteX35" fmla="*/ 22860 w 304863"/>
                <a:gd name="connsiteY35" fmla="*/ 88240 h 304724"/>
                <a:gd name="connsiteX36" fmla="*/ 22860 w 304863"/>
                <a:gd name="connsiteY36" fmla="*/ 79980 h 304724"/>
                <a:gd name="connsiteX37" fmla="*/ 76230 w 304863"/>
                <a:gd name="connsiteY37" fmla="*/ 264749 h 304724"/>
                <a:gd name="connsiteX38" fmla="*/ 76230 w 304863"/>
                <a:gd name="connsiteY38" fmla="*/ 170642 h 304724"/>
                <a:gd name="connsiteX39" fmla="*/ 78852 w 304863"/>
                <a:gd name="connsiteY39" fmla="*/ 171922 h 304724"/>
                <a:gd name="connsiteX40" fmla="*/ 106680 w 304863"/>
                <a:gd name="connsiteY40" fmla="*/ 216423 h 304724"/>
                <a:gd name="connsiteX41" fmla="*/ 106680 w 304863"/>
                <a:gd name="connsiteY41" fmla="*/ 224424 h 304724"/>
                <a:gd name="connsiteX42" fmla="*/ 76230 w 304863"/>
                <a:gd name="connsiteY42" fmla="*/ 264749 h 304724"/>
                <a:gd name="connsiteX43" fmla="*/ 214122 w 304863"/>
                <a:gd name="connsiteY43" fmla="*/ 234726 h 304724"/>
                <a:gd name="connsiteX44" fmla="*/ 148605 w 304863"/>
                <a:gd name="connsiteY44" fmla="*/ 121844 h 304724"/>
                <a:gd name="connsiteX45" fmla="*/ 137168 w 304863"/>
                <a:gd name="connsiteY45" fmla="*/ 133266 h 304724"/>
                <a:gd name="connsiteX46" fmla="*/ 148590 w 304863"/>
                <a:gd name="connsiteY46" fmla="*/ 144704 h 304724"/>
                <a:gd name="connsiteX47" fmla="*/ 167792 w 304863"/>
                <a:gd name="connsiteY47" fmla="*/ 144704 h 304724"/>
                <a:gd name="connsiteX48" fmla="*/ 167792 w 304863"/>
                <a:gd name="connsiteY48" fmla="*/ 159990 h 304724"/>
                <a:gd name="connsiteX49" fmla="*/ 148590 w 304863"/>
                <a:gd name="connsiteY49" fmla="*/ 159990 h 304724"/>
                <a:gd name="connsiteX50" fmla="*/ 137160 w 304863"/>
                <a:gd name="connsiteY50" fmla="*/ 171420 h 304724"/>
                <a:gd name="connsiteX51" fmla="*/ 148590 w 304863"/>
                <a:gd name="connsiteY51" fmla="*/ 182850 h 304724"/>
                <a:gd name="connsiteX52" fmla="*/ 170078 w 304863"/>
                <a:gd name="connsiteY52" fmla="*/ 182850 h 304724"/>
                <a:gd name="connsiteX53" fmla="*/ 195362 w 304863"/>
                <a:gd name="connsiteY53" fmla="*/ 247802 h 304724"/>
                <a:gd name="connsiteX54" fmla="*/ 266700 w 304863"/>
                <a:gd name="connsiteY54" fmla="*/ 289530 h 304724"/>
                <a:gd name="connsiteX55" fmla="*/ 299954 w 304863"/>
                <a:gd name="connsiteY55" fmla="*/ 279928 h 304724"/>
                <a:gd name="connsiteX56" fmla="*/ 302819 w 304863"/>
                <a:gd name="connsiteY56" fmla="*/ 264018 h 304724"/>
                <a:gd name="connsiteX57" fmla="*/ 286908 w 304863"/>
                <a:gd name="connsiteY57" fmla="*/ 261153 h 304724"/>
                <a:gd name="connsiteX58" fmla="*/ 266700 w 304863"/>
                <a:gd name="connsiteY58" fmla="*/ 266654 h 304724"/>
                <a:gd name="connsiteX59" fmla="*/ 214122 w 304863"/>
                <a:gd name="connsiteY59" fmla="*/ 234726 h 304724"/>
                <a:gd name="connsiteX0" fmla="*/ 64800 w 304863"/>
                <a:gd name="connsiteY0" fmla="*/ 0 h 304724"/>
                <a:gd name="connsiteX1" fmla="*/ 53370 w 304863"/>
                <a:gd name="connsiteY1" fmla="*/ 11430 h 304724"/>
                <a:gd name="connsiteX2" fmla="*/ 53370 w 304863"/>
                <a:gd name="connsiteY2" fmla="*/ 16200 h 304724"/>
                <a:gd name="connsiteX3" fmla="*/ 0 w 304863"/>
                <a:gd name="connsiteY3" fmla="*/ 79980 h 304724"/>
                <a:gd name="connsiteX4" fmla="*/ 0 w 304863"/>
                <a:gd name="connsiteY4" fmla="*/ 88240 h 304724"/>
                <a:gd name="connsiteX5" fmla="*/ 40660 w 304863"/>
                <a:gd name="connsiteY5" fmla="*/ 153314 h 304724"/>
                <a:gd name="connsiteX6" fmla="*/ 53370 w 304863"/>
                <a:gd name="connsiteY6" fmla="*/ 159502 h 304724"/>
                <a:gd name="connsiteX7" fmla="*/ 53370 w 304863"/>
                <a:gd name="connsiteY7" fmla="*/ 264780 h 304724"/>
                <a:gd name="connsiteX8" fmla="*/ 22860 w 304863"/>
                <a:gd name="connsiteY8" fmla="*/ 224424 h 304724"/>
                <a:gd name="connsiteX9" fmla="*/ 22860 w 304863"/>
                <a:gd name="connsiteY9" fmla="*/ 209489 h 304724"/>
                <a:gd name="connsiteX10" fmla="*/ 11430 w 304863"/>
                <a:gd name="connsiteY10" fmla="*/ 198059 h 304724"/>
                <a:gd name="connsiteX11" fmla="*/ 0 w 304863"/>
                <a:gd name="connsiteY11" fmla="*/ 209489 h 304724"/>
                <a:gd name="connsiteX12" fmla="*/ 0 w 304863"/>
                <a:gd name="connsiteY12" fmla="*/ 224424 h 304724"/>
                <a:gd name="connsiteX13" fmla="*/ 53370 w 304863"/>
                <a:gd name="connsiteY13" fmla="*/ 288188 h 304724"/>
                <a:gd name="connsiteX14" fmla="*/ 53370 w 304863"/>
                <a:gd name="connsiteY14" fmla="*/ 293294 h 304724"/>
                <a:gd name="connsiteX15" fmla="*/ 64800 w 304863"/>
                <a:gd name="connsiteY15" fmla="*/ 304724 h 304724"/>
                <a:gd name="connsiteX16" fmla="*/ 76230 w 304863"/>
                <a:gd name="connsiteY16" fmla="*/ 293294 h 304724"/>
                <a:gd name="connsiteX17" fmla="*/ 76230 w 304863"/>
                <a:gd name="connsiteY17" fmla="*/ 288188 h 304724"/>
                <a:gd name="connsiteX18" fmla="*/ 129540 w 304863"/>
                <a:gd name="connsiteY18" fmla="*/ 224424 h 304724"/>
                <a:gd name="connsiteX19" fmla="*/ 129540 w 304863"/>
                <a:gd name="connsiteY19" fmla="*/ 216438 h 304724"/>
                <a:gd name="connsiteX20" fmla="*/ 88880 w 304863"/>
                <a:gd name="connsiteY20" fmla="*/ 151364 h 304724"/>
                <a:gd name="connsiteX21" fmla="*/ 76230 w 304863"/>
                <a:gd name="connsiteY21" fmla="*/ 145207 h 304724"/>
                <a:gd name="connsiteX22" fmla="*/ 76230 w 304863"/>
                <a:gd name="connsiteY22" fmla="*/ 39654 h 304724"/>
                <a:gd name="connsiteX23" fmla="*/ 106680 w 304863"/>
                <a:gd name="connsiteY23" fmla="*/ 79980 h 304724"/>
                <a:gd name="connsiteX24" fmla="*/ 106680 w 304863"/>
                <a:gd name="connsiteY24" fmla="*/ 95220 h 304724"/>
                <a:gd name="connsiteX25" fmla="*/ 118110 w 304863"/>
                <a:gd name="connsiteY25" fmla="*/ 106650 h 304724"/>
                <a:gd name="connsiteX26" fmla="*/ 129540 w 304863"/>
                <a:gd name="connsiteY26" fmla="*/ 95220 h 304724"/>
                <a:gd name="connsiteX27" fmla="*/ 129540 w 304863"/>
                <a:gd name="connsiteY27" fmla="*/ 79980 h 304724"/>
                <a:gd name="connsiteX28" fmla="*/ 76230 w 304863"/>
                <a:gd name="connsiteY28" fmla="*/ 16215 h 304724"/>
                <a:gd name="connsiteX29" fmla="*/ 76230 w 304863"/>
                <a:gd name="connsiteY29" fmla="*/ 11430 h 304724"/>
                <a:gd name="connsiteX30" fmla="*/ 64800 w 304863"/>
                <a:gd name="connsiteY30" fmla="*/ 0 h 304724"/>
                <a:gd name="connsiteX31" fmla="*/ 22860 w 304863"/>
                <a:gd name="connsiteY31" fmla="*/ 79980 h 304724"/>
                <a:gd name="connsiteX32" fmla="*/ 53370 w 304863"/>
                <a:gd name="connsiteY32" fmla="*/ 39624 h 304724"/>
                <a:gd name="connsiteX33" fmla="*/ 53370 w 304863"/>
                <a:gd name="connsiteY33" fmla="*/ 134051 h 304724"/>
                <a:gd name="connsiteX34" fmla="*/ 50688 w 304863"/>
                <a:gd name="connsiteY34" fmla="*/ 132740 h 304724"/>
                <a:gd name="connsiteX35" fmla="*/ 22860 w 304863"/>
                <a:gd name="connsiteY35" fmla="*/ 88240 h 304724"/>
                <a:gd name="connsiteX36" fmla="*/ 22860 w 304863"/>
                <a:gd name="connsiteY36" fmla="*/ 79980 h 304724"/>
                <a:gd name="connsiteX37" fmla="*/ 76230 w 304863"/>
                <a:gd name="connsiteY37" fmla="*/ 264749 h 304724"/>
                <a:gd name="connsiteX38" fmla="*/ 76230 w 304863"/>
                <a:gd name="connsiteY38" fmla="*/ 170642 h 304724"/>
                <a:gd name="connsiteX39" fmla="*/ 78852 w 304863"/>
                <a:gd name="connsiteY39" fmla="*/ 171922 h 304724"/>
                <a:gd name="connsiteX40" fmla="*/ 106680 w 304863"/>
                <a:gd name="connsiteY40" fmla="*/ 216423 h 304724"/>
                <a:gd name="connsiteX41" fmla="*/ 106680 w 304863"/>
                <a:gd name="connsiteY41" fmla="*/ 224424 h 304724"/>
                <a:gd name="connsiteX42" fmla="*/ 76230 w 304863"/>
                <a:gd name="connsiteY42" fmla="*/ 264749 h 304724"/>
                <a:gd name="connsiteX43" fmla="*/ 214122 w 304863"/>
                <a:gd name="connsiteY43" fmla="*/ 234726 h 304724"/>
                <a:gd name="connsiteX44" fmla="*/ 148605 w 304863"/>
                <a:gd name="connsiteY44" fmla="*/ 121844 h 304724"/>
                <a:gd name="connsiteX45" fmla="*/ 148590 w 304863"/>
                <a:gd name="connsiteY45" fmla="*/ 144704 h 304724"/>
                <a:gd name="connsiteX46" fmla="*/ 167792 w 304863"/>
                <a:gd name="connsiteY46" fmla="*/ 144704 h 304724"/>
                <a:gd name="connsiteX47" fmla="*/ 167792 w 304863"/>
                <a:gd name="connsiteY47" fmla="*/ 159990 h 304724"/>
                <a:gd name="connsiteX48" fmla="*/ 148590 w 304863"/>
                <a:gd name="connsiteY48" fmla="*/ 159990 h 304724"/>
                <a:gd name="connsiteX49" fmla="*/ 137160 w 304863"/>
                <a:gd name="connsiteY49" fmla="*/ 171420 h 304724"/>
                <a:gd name="connsiteX50" fmla="*/ 148590 w 304863"/>
                <a:gd name="connsiteY50" fmla="*/ 182850 h 304724"/>
                <a:gd name="connsiteX51" fmla="*/ 170078 w 304863"/>
                <a:gd name="connsiteY51" fmla="*/ 182850 h 304724"/>
                <a:gd name="connsiteX52" fmla="*/ 195362 w 304863"/>
                <a:gd name="connsiteY52" fmla="*/ 247802 h 304724"/>
                <a:gd name="connsiteX53" fmla="*/ 266700 w 304863"/>
                <a:gd name="connsiteY53" fmla="*/ 289530 h 304724"/>
                <a:gd name="connsiteX54" fmla="*/ 299954 w 304863"/>
                <a:gd name="connsiteY54" fmla="*/ 279928 h 304724"/>
                <a:gd name="connsiteX55" fmla="*/ 302819 w 304863"/>
                <a:gd name="connsiteY55" fmla="*/ 264018 h 304724"/>
                <a:gd name="connsiteX56" fmla="*/ 286908 w 304863"/>
                <a:gd name="connsiteY56" fmla="*/ 261153 h 304724"/>
                <a:gd name="connsiteX57" fmla="*/ 266700 w 304863"/>
                <a:gd name="connsiteY57" fmla="*/ 266654 h 304724"/>
                <a:gd name="connsiteX58" fmla="*/ 214122 w 304863"/>
                <a:gd name="connsiteY58" fmla="*/ 234726 h 304724"/>
                <a:gd name="connsiteX0" fmla="*/ 64800 w 304863"/>
                <a:gd name="connsiteY0" fmla="*/ 0 h 304724"/>
                <a:gd name="connsiteX1" fmla="*/ 53370 w 304863"/>
                <a:gd name="connsiteY1" fmla="*/ 11430 h 304724"/>
                <a:gd name="connsiteX2" fmla="*/ 53370 w 304863"/>
                <a:gd name="connsiteY2" fmla="*/ 16200 h 304724"/>
                <a:gd name="connsiteX3" fmla="*/ 0 w 304863"/>
                <a:gd name="connsiteY3" fmla="*/ 79980 h 304724"/>
                <a:gd name="connsiteX4" fmla="*/ 0 w 304863"/>
                <a:gd name="connsiteY4" fmla="*/ 88240 h 304724"/>
                <a:gd name="connsiteX5" fmla="*/ 40660 w 304863"/>
                <a:gd name="connsiteY5" fmla="*/ 153314 h 304724"/>
                <a:gd name="connsiteX6" fmla="*/ 53370 w 304863"/>
                <a:gd name="connsiteY6" fmla="*/ 159502 h 304724"/>
                <a:gd name="connsiteX7" fmla="*/ 53370 w 304863"/>
                <a:gd name="connsiteY7" fmla="*/ 264780 h 304724"/>
                <a:gd name="connsiteX8" fmla="*/ 22860 w 304863"/>
                <a:gd name="connsiteY8" fmla="*/ 224424 h 304724"/>
                <a:gd name="connsiteX9" fmla="*/ 22860 w 304863"/>
                <a:gd name="connsiteY9" fmla="*/ 209489 h 304724"/>
                <a:gd name="connsiteX10" fmla="*/ 11430 w 304863"/>
                <a:gd name="connsiteY10" fmla="*/ 198059 h 304724"/>
                <a:gd name="connsiteX11" fmla="*/ 0 w 304863"/>
                <a:gd name="connsiteY11" fmla="*/ 209489 h 304724"/>
                <a:gd name="connsiteX12" fmla="*/ 0 w 304863"/>
                <a:gd name="connsiteY12" fmla="*/ 224424 h 304724"/>
                <a:gd name="connsiteX13" fmla="*/ 53370 w 304863"/>
                <a:gd name="connsiteY13" fmla="*/ 288188 h 304724"/>
                <a:gd name="connsiteX14" fmla="*/ 53370 w 304863"/>
                <a:gd name="connsiteY14" fmla="*/ 293294 h 304724"/>
                <a:gd name="connsiteX15" fmla="*/ 64800 w 304863"/>
                <a:gd name="connsiteY15" fmla="*/ 304724 h 304724"/>
                <a:gd name="connsiteX16" fmla="*/ 76230 w 304863"/>
                <a:gd name="connsiteY16" fmla="*/ 293294 h 304724"/>
                <a:gd name="connsiteX17" fmla="*/ 76230 w 304863"/>
                <a:gd name="connsiteY17" fmla="*/ 288188 h 304724"/>
                <a:gd name="connsiteX18" fmla="*/ 129540 w 304863"/>
                <a:gd name="connsiteY18" fmla="*/ 224424 h 304724"/>
                <a:gd name="connsiteX19" fmla="*/ 129540 w 304863"/>
                <a:gd name="connsiteY19" fmla="*/ 216438 h 304724"/>
                <a:gd name="connsiteX20" fmla="*/ 88880 w 304863"/>
                <a:gd name="connsiteY20" fmla="*/ 151364 h 304724"/>
                <a:gd name="connsiteX21" fmla="*/ 76230 w 304863"/>
                <a:gd name="connsiteY21" fmla="*/ 145207 h 304724"/>
                <a:gd name="connsiteX22" fmla="*/ 76230 w 304863"/>
                <a:gd name="connsiteY22" fmla="*/ 39654 h 304724"/>
                <a:gd name="connsiteX23" fmla="*/ 106680 w 304863"/>
                <a:gd name="connsiteY23" fmla="*/ 79980 h 304724"/>
                <a:gd name="connsiteX24" fmla="*/ 106680 w 304863"/>
                <a:gd name="connsiteY24" fmla="*/ 95220 h 304724"/>
                <a:gd name="connsiteX25" fmla="*/ 118110 w 304863"/>
                <a:gd name="connsiteY25" fmla="*/ 106650 h 304724"/>
                <a:gd name="connsiteX26" fmla="*/ 129540 w 304863"/>
                <a:gd name="connsiteY26" fmla="*/ 95220 h 304724"/>
                <a:gd name="connsiteX27" fmla="*/ 129540 w 304863"/>
                <a:gd name="connsiteY27" fmla="*/ 79980 h 304724"/>
                <a:gd name="connsiteX28" fmla="*/ 76230 w 304863"/>
                <a:gd name="connsiteY28" fmla="*/ 16215 h 304724"/>
                <a:gd name="connsiteX29" fmla="*/ 76230 w 304863"/>
                <a:gd name="connsiteY29" fmla="*/ 11430 h 304724"/>
                <a:gd name="connsiteX30" fmla="*/ 64800 w 304863"/>
                <a:gd name="connsiteY30" fmla="*/ 0 h 304724"/>
                <a:gd name="connsiteX31" fmla="*/ 22860 w 304863"/>
                <a:gd name="connsiteY31" fmla="*/ 79980 h 304724"/>
                <a:gd name="connsiteX32" fmla="*/ 53370 w 304863"/>
                <a:gd name="connsiteY32" fmla="*/ 39624 h 304724"/>
                <a:gd name="connsiteX33" fmla="*/ 53370 w 304863"/>
                <a:gd name="connsiteY33" fmla="*/ 134051 h 304724"/>
                <a:gd name="connsiteX34" fmla="*/ 50688 w 304863"/>
                <a:gd name="connsiteY34" fmla="*/ 132740 h 304724"/>
                <a:gd name="connsiteX35" fmla="*/ 22860 w 304863"/>
                <a:gd name="connsiteY35" fmla="*/ 88240 h 304724"/>
                <a:gd name="connsiteX36" fmla="*/ 22860 w 304863"/>
                <a:gd name="connsiteY36" fmla="*/ 79980 h 304724"/>
                <a:gd name="connsiteX37" fmla="*/ 76230 w 304863"/>
                <a:gd name="connsiteY37" fmla="*/ 264749 h 304724"/>
                <a:gd name="connsiteX38" fmla="*/ 76230 w 304863"/>
                <a:gd name="connsiteY38" fmla="*/ 170642 h 304724"/>
                <a:gd name="connsiteX39" fmla="*/ 78852 w 304863"/>
                <a:gd name="connsiteY39" fmla="*/ 171922 h 304724"/>
                <a:gd name="connsiteX40" fmla="*/ 106680 w 304863"/>
                <a:gd name="connsiteY40" fmla="*/ 216423 h 304724"/>
                <a:gd name="connsiteX41" fmla="*/ 106680 w 304863"/>
                <a:gd name="connsiteY41" fmla="*/ 224424 h 304724"/>
                <a:gd name="connsiteX42" fmla="*/ 76230 w 304863"/>
                <a:gd name="connsiteY42" fmla="*/ 264749 h 304724"/>
                <a:gd name="connsiteX43" fmla="*/ 214122 w 304863"/>
                <a:gd name="connsiteY43" fmla="*/ 234726 h 304724"/>
                <a:gd name="connsiteX44" fmla="*/ 148590 w 304863"/>
                <a:gd name="connsiteY44" fmla="*/ 144704 h 304724"/>
                <a:gd name="connsiteX45" fmla="*/ 167792 w 304863"/>
                <a:gd name="connsiteY45" fmla="*/ 144704 h 304724"/>
                <a:gd name="connsiteX46" fmla="*/ 167792 w 304863"/>
                <a:gd name="connsiteY46" fmla="*/ 159990 h 304724"/>
                <a:gd name="connsiteX47" fmla="*/ 148590 w 304863"/>
                <a:gd name="connsiteY47" fmla="*/ 159990 h 304724"/>
                <a:gd name="connsiteX48" fmla="*/ 137160 w 304863"/>
                <a:gd name="connsiteY48" fmla="*/ 171420 h 304724"/>
                <a:gd name="connsiteX49" fmla="*/ 148590 w 304863"/>
                <a:gd name="connsiteY49" fmla="*/ 182850 h 304724"/>
                <a:gd name="connsiteX50" fmla="*/ 170078 w 304863"/>
                <a:gd name="connsiteY50" fmla="*/ 182850 h 304724"/>
                <a:gd name="connsiteX51" fmla="*/ 195362 w 304863"/>
                <a:gd name="connsiteY51" fmla="*/ 247802 h 304724"/>
                <a:gd name="connsiteX52" fmla="*/ 266700 w 304863"/>
                <a:gd name="connsiteY52" fmla="*/ 289530 h 304724"/>
                <a:gd name="connsiteX53" fmla="*/ 299954 w 304863"/>
                <a:gd name="connsiteY53" fmla="*/ 279928 h 304724"/>
                <a:gd name="connsiteX54" fmla="*/ 302819 w 304863"/>
                <a:gd name="connsiteY54" fmla="*/ 264018 h 304724"/>
                <a:gd name="connsiteX55" fmla="*/ 286908 w 304863"/>
                <a:gd name="connsiteY55" fmla="*/ 261153 h 304724"/>
                <a:gd name="connsiteX56" fmla="*/ 266700 w 304863"/>
                <a:gd name="connsiteY56" fmla="*/ 266654 h 304724"/>
                <a:gd name="connsiteX57" fmla="*/ 214122 w 304863"/>
                <a:gd name="connsiteY57" fmla="*/ 234726 h 304724"/>
                <a:gd name="connsiteX0" fmla="*/ 64800 w 304863"/>
                <a:gd name="connsiteY0" fmla="*/ 0 h 304724"/>
                <a:gd name="connsiteX1" fmla="*/ 53370 w 304863"/>
                <a:gd name="connsiteY1" fmla="*/ 11430 h 304724"/>
                <a:gd name="connsiteX2" fmla="*/ 53370 w 304863"/>
                <a:gd name="connsiteY2" fmla="*/ 16200 h 304724"/>
                <a:gd name="connsiteX3" fmla="*/ 0 w 304863"/>
                <a:gd name="connsiteY3" fmla="*/ 79980 h 304724"/>
                <a:gd name="connsiteX4" fmla="*/ 0 w 304863"/>
                <a:gd name="connsiteY4" fmla="*/ 88240 h 304724"/>
                <a:gd name="connsiteX5" fmla="*/ 40660 w 304863"/>
                <a:gd name="connsiteY5" fmla="*/ 153314 h 304724"/>
                <a:gd name="connsiteX6" fmla="*/ 53370 w 304863"/>
                <a:gd name="connsiteY6" fmla="*/ 159502 h 304724"/>
                <a:gd name="connsiteX7" fmla="*/ 53370 w 304863"/>
                <a:gd name="connsiteY7" fmla="*/ 264780 h 304724"/>
                <a:gd name="connsiteX8" fmla="*/ 22860 w 304863"/>
                <a:gd name="connsiteY8" fmla="*/ 224424 h 304724"/>
                <a:gd name="connsiteX9" fmla="*/ 22860 w 304863"/>
                <a:gd name="connsiteY9" fmla="*/ 209489 h 304724"/>
                <a:gd name="connsiteX10" fmla="*/ 11430 w 304863"/>
                <a:gd name="connsiteY10" fmla="*/ 198059 h 304724"/>
                <a:gd name="connsiteX11" fmla="*/ 0 w 304863"/>
                <a:gd name="connsiteY11" fmla="*/ 209489 h 304724"/>
                <a:gd name="connsiteX12" fmla="*/ 0 w 304863"/>
                <a:gd name="connsiteY12" fmla="*/ 224424 h 304724"/>
                <a:gd name="connsiteX13" fmla="*/ 53370 w 304863"/>
                <a:gd name="connsiteY13" fmla="*/ 288188 h 304724"/>
                <a:gd name="connsiteX14" fmla="*/ 53370 w 304863"/>
                <a:gd name="connsiteY14" fmla="*/ 293294 h 304724"/>
                <a:gd name="connsiteX15" fmla="*/ 64800 w 304863"/>
                <a:gd name="connsiteY15" fmla="*/ 304724 h 304724"/>
                <a:gd name="connsiteX16" fmla="*/ 76230 w 304863"/>
                <a:gd name="connsiteY16" fmla="*/ 293294 h 304724"/>
                <a:gd name="connsiteX17" fmla="*/ 76230 w 304863"/>
                <a:gd name="connsiteY17" fmla="*/ 288188 h 304724"/>
                <a:gd name="connsiteX18" fmla="*/ 129540 w 304863"/>
                <a:gd name="connsiteY18" fmla="*/ 224424 h 304724"/>
                <a:gd name="connsiteX19" fmla="*/ 129540 w 304863"/>
                <a:gd name="connsiteY19" fmla="*/ 216438 h 304724"/>
                <a:gd name="connsiteX20" fmla="*/ 88880 w 304863"/>
                <a:gd name="connsiteY20" fmla="*/ 151364 h 304724"/>
                <a:gd name="connsiteX21" fmla="*/ 76230 w 304863"/>
                <a:gd name="connsiteY21" fmla="*/ 145207 h 304724"/>
                <a:gd name="connsiteX22" fmla="*/ 76230 w 304863"/>
                <a:gd name="connsiteY22" fmla="*/ 39654 h 304724"/>
                <a:gd name="connsiteX23" fmla="*/ 106680 w 304863"/>
                <a:gd name="connsiteY23" fmla="*/ 79980 h 304724"/>
                <a:gd name="connsiteX24" fmla="*/ 106680 w 304863"/>
                <a:gd name="connsiteY24" fmla="*/ 95220 h 304724"/>
                <a:gd name="connsiteX25" fmla="*/ 118110 w 304863"/>
                <a:gd name="connsiteY25" fmla="*/ 106650 h 304724"/>
                <a:gd name="connsiteX26" fmla="*/ 129540 w 304863"/>
                <a:gd name="connsiteY26" fmla="*/ 95220 h 304724"/>
                <a:gd name="connsiteX27" fmla="*/ 129540 w 304863"/>
                <a:gd name="connsiteY27" fmla="*/ 79980 h 304724"/>
                <a:gd name="connsiteX28" fmla="*/ 76230 w 304863"/>
                <a:gd name="connsiteY28" fmla="*/ 16215 h 304724"/>
                <a:gd name="connsiteX29" fmla="*/ 76230 w 304863"/>
                <a:gd name="connsiteY29" fmla="*/ 11430 h 304724"/>
                <a:gd name="connsiteX30" fmla="*/ 64800 w 304863"/>
                <a:gd name="connsiteY30" fmla="*/ 0 h 304724"/>
                <a:gd name="connsiteX31" fmla="*/ 22860 w 304863"/>
                <a:gd name="connsiteY31" fmla="*/ 79980 h 304724"/>
                <a:gd name="connsiteX32" fmla="*/ 53370 w 304863"/>
                <a:gd name="connsiteY32" fmla="*/ 39624 h 304724"/>
                <a:gd name="connsiteX33" fmla="*/ 53370 w 304863"/>
                <a:gd name="connsiteY33" fmla="*/ 134051 h 304724"/>
                <a:gd name="connsiteX34" fmla="*/ 50688 w 304863"/>
                <a:gd name="connsiteY34" fmla="*/ 132740 h 304724"/>
                <a:gd name="connsiteX35" fmla="*/ 22860 w 304863"/>
                <a:gd name="connsiteY35" fmla="*/ 88240 h 304724"/>
                <a:gd name="connsiteX36" fmla="*/ 22860 w 304863"/>
                <a:gd name="connsiteY36" fmla="*/ 79980 h 304724"/>
                <a:gd name="connsiteX37" fmla="*/ 76230 w 304863"/>
                <a:gd name="connsiteY37" fmla="*/ 264749 h 304724"/>
                <a:gd name="connsiteX38" fmla="*/ 76230 w 304863"/>
                <a:gd name="connsiteY38" fmla="*/ 170642 h 304724"/>
                <a:gd name="connsiteX39" fmla="*/ 78852 w 304863"/>
                <a:gd name="connsiteY39" fmla="*/ 171922 h 304724"/>
                <a:gd name="connsiteX40" fmla="*/ 106680 w 304863"/>
                <a:gd name="connsiteY40" fmla="*/ 216423 h 304724"/>
                <a:gd name="connsiteX41" fmla="*/ 106680 w 304863"/>
                <a:gd name="connsiteY41" fmla="*/ 224424 h 304724"/>
                <a:gd name="connsiteX42" fmla="*/ 76230 w 304863"/>
                <a:gd name="connsiteY42" fmla="*/ 264749 h 304724"/>
                <a:gd name="connsiteX43" fmla="*/ 214122 w 304863"/>
                <a:gd name="connsiteY43" fmla="*/ 234726 h 304724"/>
                <a:gd name="connsiteX44" fmla="*/ 148590 w 304863"/>
                <a:gd name="connsiteY44" fmla="*/ 144704 h 304724"/>
                <a:gd name="connsiteX45" fmla="*/ 167792 w 304863"/>
                <a:gd name="connsiteY45" fmla="*/ 159990 h 304724"/>
                <a:gd name="connsiteX46" fmla="*/ 148590 w 304863"/>
                <a:gd name="connsiteY46" fmla="*/ 159990 h 304724"/>
                <a:gd name="connsiteX47" fmla="*/ 137160 w 304863"/>
                <a:gd name="connsiteY47" fmla="*/ 171420 h 304724"/>
                <a:gd name="connsiteX48" fmla="*/ 148590 w 304863"/>
                <a:gd name="connsiteY48" fmla="*/ 182850 h 304724"/>
                <a:gd name="connsiteX49" fmla="*/ 170078 w 304863"/>
                <a:gd name="connsiteY49" fmla="*/ 182850 h 304724"/>
                <a:gd name="connsiteX50" fmla="*/ 195362 w 304863"/>
                <a:gd name="connsiteY50" fmla="*/ 247802 h 304724"/>
                <a:gd name="connsiteX51" fmla="*/ 266700 w 304863"/>
                <a:gd name="connsiteY51" fmla="*/ 289530 h 304724"/>
                <a:gd name="connsiteX52" fmla="*/ 299954 w 304863"/>
                <a:gd name="connsiteY52" fmla="*/ 279928 h 304724"/>
                <a:gd name="connsiteX53" fmla="*/ 302819 w 304863"/>
                <a:gd name="connsiteY53" fmla="*/ 264018 h 304724"/>
                <a:gd name="connsiteX54" fmla="*/ 286908 w 304863"/>
                <a:gd name="connsiteY54" fmla="*/ 261153 h 304724"/>
                <a:gd name="connsiteX55" fmla="*/ 266700 w 304863"/>
                <a:gd name="connsiteY55" fmla="*/ 266654 h 304724"/>
                <a:gd name="connsiteX56" fmla="*/ 214122 w 304863"/>
                <a:gd name="connsiteY56" fmla="*/ 234726 h 304724"/>
                <a:gd name="connsiteX0" fmla="*/ 64800 w 304863"/>
                <a:gd name="connsiteY0" fmla="*/ 0 h 304724"/>
                <a:gd name="connsiteX1" fmla="*/ 53370 w 304863"/>
                <a:gd name="connsiteY1" fmla="*/ 11430 h 304724"/>
                <a:gd name="connsiteX2" fmla="*/ 53370 w 304863"/>
                <a:gd name="connsiteY2" fmla="*/ 16200 h 304724"/>
                <a:gd name="connsiteX3" fmla="*/ 0 w 304863"/>
                <a:gd name="connsiteY3" fmla="*/ 79980 h 304724"/>
                <a:gd name="connsiteX4" fmla="*/ 0 w 304863"/>
                <a:gd name="connsiteY4" fmla="*/ 88240 h 304724"/>
                <a:gd name="connsiteX5" fmla="*/ 40660 w 304863"/>
                <a:gd name="connsiteY5" fmla="*/ 153314 h 304724"/>
                <a:gd name="connsiteX6" fmla="*/ 53370 w 304863"/>
                <a:gd name="connsiteY6" fmla="*/ 159502 h 304724"/>
                <a:gd name="connsiteX7" fmla="*/ 53370 w 304863"/>
                <a:gd name="connsiteY7" fmla="*/ 264780 h 304724"/>
                <a:gd name="connsiteX8" fmla="*/ 22860 w 304863"/>
                <a:gd name="connsiteY8" fmla="*/ 224424 h 304724"/>
                <a:gd name="connsiteX9" fmla="*/ 22860 w 304863"/>
                <a:gd name="connsiteY9" fmla="*/ 209489 h 304724"/>
                <a:gd name="connsiteX10" fmla="*/ 11430 w 304863"/>
                <a:gd name="connsiteY10" fmla="*/ 198059 h 304724"/>
                <a:gd name="connsiteX11" fmla="*/ 0 w 304863"/>
                <a:gd name="connsiteY11" fmla="*/ 209489 h 304724"/>
                <a:gd name="connsiteX12" fmla="*/ 0 w 304863"/>
                <a:gd name="connsiteY12" fmla="*/ 224424 h 304724"/>
                <a:gd name="connsiteX13" fmla="*/ 53370 w 304863"/>
                <a:gd name="connsiteY13" fmla="*/ 288188 h 304724"/>
                <a:gd name="connsiteX14" fmla="*/ 53370 w 304863"/>
                <a:gd name="connsiteY14" fmla="*/ 293294 h 304724"/>
                <a:gd name="connsiteX15" fmla="*/ 64800 w 304863"/>
                <a:gd name="connsiteY15" fmla="*/ 304724 h 304724"/>
                <a:gd name="connsiteX16" fmla="*/ 76230 w 304863"/>
                <a:gd name="connsiteY16" fmla="*/ 293294 h 304724"/>
                <a:gd name="connsiteX17" fmla="*/ 76230 w 304863"/>
                <a:gd name="connsiteY17" fmla="*/ 288188 h 304724"/>
                <a:gd name="connsiteX18" fmla="*/ 129540 w 304863"/>
                <a:gd name="connsiteY18" fmla="*/ 224424 h 304724"/>
                <a:gd name="connsiteX19" fmla="*/ 129540 w 304863"/>
                <a:gd name="connsiteY19" fmla="*/ 216438 h 304724"/>
                <a:gd name="connsiteX20" fmla="*/ 88880 w 304863"/>
                <a:gd name="connsiteY20" fmla="*/ 151364 h 304724"/>
                <a:gd name="connsiteX21" fmla="*/ 76230 w 304863"/>
                <a:gd name="connsiteY21" fmla="*/ 145207 h 304724"/>
                <a:gd name="connsiteX22" fmla="*/ 76230 w 304863"/>
                <a:gd name="connsiteY22" fmla="*/ 39654 h 304724"/>
                <a:gd name="connsiteX23" fmla="*/ 106680 w 304863"/>
                <a:gd name="connsiteY23" fmla="*/ 79980 h 304724"/>
                <a:gd name="connsiteX24" fmla="*/ 106680 w 304863"/>
                <a:gd name="connsiteY24" fmla="*/ 95220 h 304724"/>
                <a:gd name="connsiteX25" fmla="*/ 118110 w 304863"/>
                <a:gd name="connsiteY25" fmla="*/ 106650 h 304724"/>
                <a:gd name="connsiteX26" fmla="*/ 129540 w 304863"/>
                <a:gd name="connsiteY26" fmla="*/ 95220 h 304724"/>
                <a:gd name="connsiteX27" fmla="*/ 129540 w 304863"/>
                <a:gd name="connsiteY27" fmla="*/ 79980 h 304724"/>
                <a:gd name="connsiteX28" fmla="*/ 76230 w 304863"/>
                <a:gd name="connsiteY28" fmla="*/ 16215 h 304724"/>
                <a:gd name="connsiteX29" fmla="*/ 76230 w 304863"/>
                <a:gd name="connsiteY29" fmla="*/ 11430 h 304724"/>
                <a:gd name="connsiteX30" fmla="*/ 64800 w 304863"/>
                <a:gd name="connsiteY30" fmla="*/ 0 h 304724"/>
                <a:gd name="connsiteX31" fmla="*/ 22860 w 304863"/>
                <a:gd name="connsiteY31" fmla="*/ 79980 h 304724"/>
                <a:gd name="connsiteX32" fmla="*/ 53370 w 304863"/>
                <a:gd name="connsiteY32" fmla="*/ 39624 h 304724"/>
                <a:gd name="connsiteX33" fmla="*/ 53370 w 304863"/>
                <a:gd name="connsiteY33" fmla="*/ 134051 h 304724"/>
                <a:gd name="connsiteX34" fmla="*/ 50688 w 304863"/>
                <a:gd name="connsiteY34" fmla="*/ 132740 h 304724"/>
                <a:gd name="connsiteX35" fmla="*/ 22860 w 304863"/>
                <a:gd name="connsiteY35" fmla="*/ 88240 h 304724"/>
                <a:gd name="connsiteX36" fmla="*/ 22860 w 304863"/>
                <a:gd name="connsiteY36" fmla="*/ 79980 h 304724"/>
                <a:gd name="connsiteX37" fmla="*/ 76230 w 304863"/>
                <a:gd name="connsiteY37" fmla="*/ 264749 h 304724"/>
                <a:gd name="connsiteX38" fmla="*/ 76230 w 304863"/>
                <a:gd name="connsiteY38" fmla="*/ 170642 h 304724"/>
                <a:gd name="connsiteX39" fmla="*/ 78852 w 304863"/>
                <a:gd name="connsiteY39" fmla="*/ 171922 h 304724"/>
                <a:gd name="connsiteX40" fmla="*/ 106680 w 304863"/>
                <a:gd name="connsiteY40" fmla="*/ 216423 h 304724"/>
                <a:gd name="connsiteX41" fmla="*/ 106680 w 304863"/>
                <a:gd name="connsiteY41" fmla="*/ 224424 h 304724"/>
                <a:gd name="connsiteX42" fmla="*/ 76230 w 304863"/>
                <a:gd name="connsiteY42" fmla="*/ 264749 h 304724"/>
                <a:gd name="connsiteX43" fmla="*/ 214122 w 304863"/>
                <a:gd name="connsiteY43" fmla="*/ 234726 h 304724"/>
                <a:gd name="connsiteX44" fmla="*/ 148590 w 304863"/>
                <a:gd name="connsiteY44" fmla="*/ 144704 h 304724"/>
                <a:gd name="connsiteX45" fmla="*/ 148590 w 304863"/>
                <a:gd name="connsiteY45" fmla="*/ 159990 h 304724"/>
                <a:gd name="connsiteX46" fmla="*/ 137160 w 304863"/>
                <a:gd name="connsiteY46" fmla="*/ 171420 h 304724"/>
                <a:gd name="connsiteX47" fmla="*/ 148590 w 304863"/>
                <a:gd name="connsiteY47" fmla="*/ 182850 h 304724"/>
                <a:gd name="connsiteX48" fmla="*/ 170078 w 304863"/>
                <a:gd name="connsiteY48" fmla="*/ 182850 h 304724"/>
                <a:gd name="connsiteX49" fmla="*/ 195362 w 304863"/>
                <a:gd name="connsiteY49" fmla="*/ 247802 h 304724"/>
                <a:gd name="connsiteX50" fmla="*/ 266700 w 304863"/>
                <a:gd name="connsiteY50" fmla="*/ 289530 h 304724"/>
                <a:gd name="connsiteX51" fmla="*/ 299954 w 304863"/>
                <a:gd name="connsiteY51" fmla="*/ 279928 h 304724"/>
                <a:gd name="connsiteX52" fmla="*/ 302819 w 304863"/>
                <a:gd name="connsiteY52" fmla="*/ 264018 h 304724"/>
                <a:gd name="connsiteX53" fmla="*/ 286908 w 304863"/>
                <a:gd name="connsiteY53" fmla="*/ 261153 h 304724"/>
                <a:gd name="connsiteX54" fmla="*/ 266700 w 304863"/>
                <a:gd name="connsiteY54" fmla="*/ 266654 h 304724"/>
                <a:gd name="connsiteX55" fmla="*/ 214122 w 304863"/>
                <a:gd name="connsiteY55" fmla="*/ 234726 h 304724"/>
                <a:gd name="connsiteX0" fmla="*/ 64800 w 304863"/>
                <a:gd name="connsiteY0" fmla="*/ 0 h 304724"/>
                <a:gd name="connsiteX1" fmla="*/ 53370 w 304863"/>
                <a:gd name="connsiteY1" fmla="*/ 11430 h 304724"/>
                <a:gd name="connsiteX2" fmla="*/ 53370 w 304863"/>
                <a:gd name="connsiteY2" fmla="*/ 16200 h 304724"/>
                <a:gd name="connsiteX3" fmla="*/ 0 w 304863"/>
                <a:gd name="connsiteY3" fmla="*/ 79980 h 304724"/>
                <a:gd name="connsiteX4" fmla="*/ 0 w 304863"/>
                <a:gd name="connsiteY4" fmla="*/ 88240 h 304724"/>
                <a:gd name="connsiteX5" fmla="*/ 40660 w 304863"/>
                <a:gd name="connsiteY5" fmla="*/ 153314 h 304724"/>
                <a:gd name="connsiteX6" fmla="*/ 53370 w 304863"/>
                <a:gd name="connsiteY6" fmla="*/ 159502 h 304724"/>
                <a:gd name="connsiteX7" fmla="*/ 53370 w 304863"/>
                <a:gd name="connsiteY7" fmla="*/ 264780 h 304724"/>
                <a:gd name="connsiteX8" fmla="*/ 22860 w 304863"/>
                <a:gd name="connsiteY8" fmla="*/ 224424 h 304724"/>
                <a:gd name="connsiteX9" fmla="*/ 22860 w 304863"/>
                <a:gd name="connsiteY9" fmla="*/ 209489 h 304724"/>
                <a:gd name="connsiteX10" fmla="*/ 11430 w 304863"/>
                <a:gd name="connsiteY10" fmla="*/ 198059 h 304724"/>
                <a:gd name="connsiteX11" fmla="*/ 0 w 304863"/>
                <a:gd name="connsiteY11" fmla="*/ 209489 h 304724"/>
                <a:gd name="connsiteX12" fmla="*/ 0 w 304863"/>
                <a:gd name="connsiteY12" fmla="*/ 224424 h 304724"/>
                <a:gd name="connsiteX13" fmla="*/ 53370 w 304863"/>
                <a:gd name="connsiteY13" fmla="*/ 288188 h 304724"/>
                <a:gd name="connsiteX14" fmla="*/ 53370 w 304863"/>
                <a:gd name="connsiteY14" fmla="*/ 293294 h 304724"/>
                <a:gd name="connsiteX15" fmla="*/ 64800 w 304863"/>
                <a:gd name="connsiteY15" fmla="*/ 304724 h 304724"/>
                <a:gd name="connsiteX16" fmla="*/ 76230 w 304863"/>
                <a:gd name="connsiteY16" fmla="*/ 293294 h 304724"/>
                <a:gd name="connsiteX17" fmla="*/ 76230 w 304863"/>
                <a:gd name="connsiteY17" fmla="*/ 288188 h 304724"/>
                <a:gd name="connsiteX18" fmla="*/ 129540 w 304863"/>
                <a:gd name="connsiteY18" fmla="*/ 224424 h 304724"/>
                <a:gd name="connsiteX19" fmla="*/ 129540 w 304863"/>
                <a:gd name="connsiteY19" fmla="*/ 216438 h 304724"/>
                <a:gd name="connsiteX20" fmla="*/ 88880 w 304863"/>
                <a:gd name="connsiteY20" fmla="*/ 151364 h 304724"/>
                <a:gd name="connsiteX21" fmla="*/ 76230 w 304863"/>
                <a:gd name="connsiteY21" fmla="*/ 145207 h 304724"/>
                <a:gd name="connsiteX22" fmla="*/ 76230 w 304863"/>
                <a:gd name="connsiteY22" fmla="*/ 39654 h 304724"/>
                <a:gd name="connsiteX23" fmla="*/ 106680 w 304863"/>
                <a:gd name="connsiteY23" fmla="*/ 79980 h 304724"/>
                <a:gd name="connsiteX24" fmla="*/ 106680 w 304863"/>
                <a:gd name="connsiteY24" fmla="*/ 95220 h 304724"/>
                <a:gd name="connsiteX25" fmla="*/ 118110 w 304863"/>
                <a:gd name="connsiteY25" fmla="*/ 106650 h 304724"/>
                <a:gd name="connsiteX26" fmla="*/ 129540 w 304863"/>
                <a:gd name="connsiteY26" fmla="*/ 95220 h 304724"/>
                <a:gd name="connsiteX27" fmla="*/ 129540 w 304863"/>
                <a:gd name="connsiteY27" fmla="*/ 79980 h 304724"/>
                <a:gd name="connsiteX28" fmla="*/ 76230 w 304863"/>
                <a:gd name="connsiteY28" fmla="*/ 16215 h 304724"/>
                <a:gd name="connsiteX29" fmla="*/ 76230 w 304863"/>
                <a:gd name="connsiteY29" fmla="*/ 11430 h 304724"/>
                <a:gd name="connsiteX30" fmla="*/ 64800 w 304863"/>
                <a:gd name="connsiteY30" fmla="*/ 0 h 304724"/>
                <a:gd name="connsiteX31" fmla="*/ 22860 w 304863"/>
                <a:gd name="connsiteY31" fmla="*/ 79980 h 304724"/>
                <a:gd name="connsiteX32" fmla="*/ 53370 w 304863"/>
                <a:gd name="connsiteY32" fmla="*/ 39624 h 304724"/>
                <a:gd name="connsiteX33" fmla="*/ 53370 w 304863"/>
                <a:gd name="connsiteY33" fmla="*/ 134051 h 304724"/>
                <a:gd name="connsiteX34" fmla="*/ 50688 w 304863"/>
                <a:gd name="connsiteY34" fmla="*/ 132740 h 304724"/>
                <a:gd name="connsiteX35" fmla="*/ 22860 w 304863"/>
                <a:gd name="connsiteY35" fmla="*/ 88240 h 304724"/>
                <a:gd name="connsiteX36" fmla="*/ 22860 w 304863"/>
                <a:gd name="connsiteY36" fmla="*/ 79980 h 304724"/>
                <a:gd name="connsiteX37" fmla="*/ 76230 w 304863"/>
                <a:gd name="connsiteY37" fmla="*/ 264749 h 304724"/>
                <a:gd name="connsiteX38" fmla="*/ 76230 w 304863"/>
                <a:gd name="connsiteY38" fmla="*/ 170642 h 304724"/>
                <a:gd name="connsiteX39" fmla="*/ 78852 w 304863"/>
                <a:gd name="connsiteY39" fmla="*/ 171922 h 304724"/>
                <a:gd name="connsiteX40" fmla="*/ 106680 w 304863"/>
                <a:gd name="connsiteY40" fmla="*/ 216423 h 304724"/>
                <a:gd name="connsiteX41" fmla="*/ 106680 w 304863"/>
                <a:gd name="connsiteY41" fmla="*/ 224424 h 304724"/>
                <a:gd name="connsiteX42" fmla="*/ 76230 w 304863"/>
                <a:gd name="connsiteY42" fmla="*/ 264749 h 304724"/>
                <a:gd name="connsiteX43" fmla="*/ 214122 w 304863"/>
                <a:gd name="connsiteY43" fmla="*/ 234726 h 304724"/>
                <a:gd name="connsiteX44" fmla="*/ 148590 w 304863"/>
                <a:gd name="connsiteY44" fmla="*/ 159990 h 304724"/>
                <a:gd name="connsiteX45" fmla="*/ 137160 w 304863"/>
                <a:gd name="connsiteY45" fmla="*/ 171420 h 304724"/>
                <a:gd name="connsiteX46" fmla="*/ 148590 w 304863"/>
                <a:gd name="connsiteY46" fmla="*/ 182850 h 304724"/>
                <a:gd name="connsiteX47" fmla="*/ 170078 w 304863"/>
                <a:gd name="connsiteY47" fmla="*/ 182850 h 304724"/>
                <a:gd name="connsiteX48" fmla="*/ 195362 w 304863"/>
                <a:gd name="connsiteY48" fmla="*/ 247802 h 304724"/>
                <a:gd name="connsiteX49" fmla="*/ 266700 w 304863"/>
                <a:gd name="connsiteY49" fmla="*/ 289530 h 304724"/>
                <a:gd name="connsiteX50" fmla="*/ 299954 w 304863"/>
                <a:gd name="connsiteY50" fmla="*/ 279928 h 304724"/>
                <a:gd name="connsiteX51" fmla="*/ 302819 w 304863"/>
                <a:gd name="connsiteY51" fmla="*/ 264018 h 304724"/>
                <a:gd name="connsiteX52" fmla="*/ 286908 w 304863"/>
                <a:gd name="connsiteY52" fmla="*/ 261153 h 304724"/>
                <a:gd name="connsiteX53" fmla="*/ 266700 w 304863"/>
                <a:gd name="connsiteY53" fmla="*/ 266654 h 304724"/>
                <a:gd name="connsiteX54" fmla="*/ 214122 w 304863"/>
                <a:gd name="connsiteY54" fmla="*/ 234726 h 304724"/>
                <a:gd name="connsiteX0" fmla="*/ 64800 w 304863"/>
                <a:gd name="connsiteY0" fmla="*/ 0 h 304724"/>
                <a:gd name="connsiteX1" fmla="*/ 53370 w 304863"/>
                <a:gd name="connsiteY1" fmla="*/ 11430 h 304724"/>
                <a:gd name="connsiteX2" fmla="*/ 53370 w 304863"/>
                <a:gd name="connsiteY2" fmla="*/ 16200 h 304724"/>
                <a:gd name="connsiteX3" fmla="*/ 0 w 304863"/>
                <a:gd name="connsiteY3" fmla="*/ 79980 h 304724"/>
                <a:gd name="connsiteX4" fmla="*/ 0 w 304863"/>
                <a:gd name="connsiteY4" fmla="*/ 88240 h 304724"/>
                <a:gd name="connsiteX5" fmla="*/ 40660 w 304863"/>
                <a:gd name="connsiteY5" fmla="*/ 153314 h 304724"/>
                <a:gd name="connsiteX6" fmla="*/ 53370 w 304863"/>
                <a:gd name="connsiteY6" fmla="*/ 159502 h 304724"/>
                <a:gd name="connsiteX7" fmla="*/ 53370 w 304863"/>
                <a:gd name="connsiteY7" fmla="*/ 264780 h 304724"/>
                <a:gd name="connsiteX8" fmla="*/ 22860 w 304863"/>
                <a:gd name="connsiteY8" fmla="*/ 224424 h 304724"/>
                <a:gd name="connsiteX9" fmla="*/ 22860 w 304863"/>
                <a:gd name="connsiteY9" fmla="*/ 209489 h 304724"/>
                <a:gd name="connsiteX10" fmla="*/ 11430 w 304863"/>
                <a:gd name="connsiteY10" fmla="*/ 198059 h 304724"/>
                <a:gd name="connsiteX11" fmla="*/ 0 w 304863"/>
                <a:gd name="connsiteY11" fmla="*/ 209489 h 304724"/>
                <a:gd name="connsiteX12" fmla="*/ 0 w 304863"/>
                <a:gd name="connsiteY12" fmla="*/ 224424 h 304724"/>
                <a:gd name="connsiteX13" fmla="*/ 53370 w 304863"/>
                <a:gd name="connsiteY13" fmla="*/ 288188 h 304724"/>
                <a:gd name="connsiteX14" fmla="*/ 53370 w 304863"/>
                <a:gd name="connsiteY14" fmla="*/ 293294 h 304724"/>
                <a:gd name="connsiteX15" fmla="*/ 64800 w 304863"/>
                <a:gd name="connsiteY15" fmla="*/ 304724 h 304724"/>
                <a:gd name="connsiteX16" fmla="*/ 76230 w 304863"/>
                <a:gd name="connsiteY16" fmla="*/ 293294 h 304724"/>
                <a:gd name="connsiteX17" fmla="*/ 76230 w 304863"/>
                <a:gd name="connsiteY17" fmla="*/ 288188 h 304724"/>
                <a:gd name="connsiteX18" fmla="*/ 129540 w 304863"/>
                <a:gd name="connsiteY18" fmla="*/ 224424 h 304724"/>
                <a:gd name="connsiteX19" fmla="*/ 129540 w 304863"/>
                <a:gd name="connsiteY19" fmla="*/ 216438 h 304724"/>
                <a:gd name="connsiteX20" fmla="*/ 88880 w 304863"/>
                <a:gd name="connsiteY20" fmla="*/ 151364 h 304724"/>
                <a:gd name="connsiteX21" fmla="*/ 76230 w 304863"/>
                <a:gd name="connsiteY21" fmla="*/ 145207 h 304724"/>
                <a:gd name="connsiteX22" fmla="*/ 76230 w 304863"/>
                <a:gd name="connsiteY22" fmla="*/ 39654 h 304724"/>
                <a:gd name="connsiteX23" fmla="*/ 106680 w 304863"/>
                <a:gd name="connsiteY23" fmla="*/ 79980 h 304724"/>
                <a:gd name="connsiteX24" fmla="*/ 106680 w 304863"/>
                <a:gd name="connsiteY24" fmla="*/ 95220 h 304724"/>
                <a:gd name="connsiteX25" fmla="*/ 118110 w 304863"/>
                <a:gd name="connsiteY25" fmla="*/ 106650 h 304724"/>
                <a:gd name="connsiteX26" fmla="*/ 129540 w 304863"/>
                <a:gd name="connsiteY26" fmla="*/ 95220 h 304724"/>
                <a:gd name="connsiteX27" fmla="*/ 129540 w 304863"/>
                <a:gd name="connsiteY27" fmla="*/ 79980 h 304724"/>
                <a:gd name="connsiteX28" fmla="*/ 76230 w 304863"/>
                <a:gd name="connsiteY28" fmla="*/ 16215 h 304724"/>
                <a:gd name="connsiteX29" fmla="*/ 76230 w 304863"/>
                <a:gd name="connsiteY29" fmla="*/ 11430 h 304724"/>
                <a:gd name="connsiteX30" fmla="*/ 64800 w 304863"/>
                <a:gd name="connsiteY30" fmla="*/ 0 h 304724"/>
                <a:gd name="connsiteX31" fmla="*/ 22860 w 304863"/>
                <a:gd name="connsiteY31" fmla="*/ 79980 h 304724"/>
                <a:gd name="connsiteX32" fmla="*/ 53370 w 304863"/>
                <a:gd name="connsiteY32" fmla="*/ 39624 h 304724"/>
                <a:gd name="connsiteX33" fmla="*/ 53370 w 304863"/>
                <a:gd name="connsiteY33" fmla="*/ 134051 h 304724"/>
                <a:gd name="connsiteX34" fmla="*/ 50688 w 304863"/>
                <a:gd name="connsiteY34" fmla="*/ 132740 h 304724"/>
                <a:gd name="connsiteX35" fmla="*/ 22860 w 304863"/>
                <a:gd name="connsiteY35" fmla="*/ 88240 h 304724"/>
                <a:gd name="connsiteX36" fmla="*/ 22860 w 304863"/>
                <a:gd name="connsiteY36" fmla="*/ 79980 h 304724"/>
                <a:gd name="connsiteX37" fmla="*/ 76230 w 304863"/>
                <a:gd name="connsiteY37" fmla="*/ 264749 h 304724"/>
                <a:gd name="connsiteX38" fmla="*/ 76230 w 304863"/>
                <a:gd name="connsiteY38" fmla="*/ 170642 h 304724"/>
                <a:gd name="connsiteX39" fmla="*/ 78852 w 304863"/>
                <a:gd name="connsiteY39" fmla="*/ 171922 h 304724"/>
                <a:gd name="connsiteX40" fmla="*/ 106680 w 304863"/>
                <a:gd name="connsiteY40" fmla="*/ 216423 h 304724"/>
                <a:gd name="connsiteX41" fmla="*/ 106680 w 304863"/>
                <a:gd name="connsiteY41" fmla="*/ 224424 h 304724"/>
                <a:gd name="connsiteX42" fmla="*/ 76230 w 304863"/>
                <a:gd name="connsiteY42" fmla="*/ 264749 h 304724"/>
                <a:gd name="connsiteX43" fmla="*/ 214122 w 304863"/>
                <a:gd name="connsiteY43" fmla="*/ 234726 h 304724"/>
                <a:gd name="connsiteX44" fmla="*/ 148590 w 304863"/>
                <a:gd name="connsiteY44" fmla="*/ 159990 h 304724"/>
                <a:gd name="connsiteX45" fmla="*/ 148590 w 304863"/>
                <a:gd name="connsiteY45" fmla="*/ 182850 h 304724"/>
                <a:gd name="connsiteX46" fmla="*/ 170078 w 304863"/>
                <a:gd name="connsiteY46" fmla="*/ 182850 h 304724"/>
                <a:gd name="connsiteX47" fmla="*/ 195362 w 304863"/>
                <a:gd name="connsiteY47" fmla="*/ 247802 h 304724"/>
                <a:gd name="connsiteX48" fmla="*/ 266700 w 304863"/>
                <a:gd name="connsiteY48" fmla="*/ 289530 h 304724"/>
                <a:gd name="connsiteX49" fmla="*/ 299954 w 304863"/>
                <a:gd name="connsiteY49" fmla="*/ 279928 h 304724"/>
                <a:gd name="connsiteX50" fmla="*/ 302819 w 304863"/>
                <a:gd name="connsiteY50" fmla="*/ 264018 h 304724"/>
                <a:gd name="connsiteX51" fmla="*/ 286908 w 304863"/>
                <a:gd name="connsiteY51" fmla="*/ 261153 h 304724"/>
                <a:gd name="connsiteX52" fmla="*/ 266700 w 304863"/>
                <a:gd name="connsiteY52" fmla="*/ 266654 h 304724"/>
                <a:gd name="connsiteX53" fmla="*/ 214122 w 304863"/>
                <a:gd name="connsiteY53" fmla="*/ 234726 h 304724"/>
                <a:gd name="connsiteX0" fmla="*/ 64800 w 304863"/>
                <a:gd name="connsiteY0" fmla="*/ 0 h 304724"/>
                <a:gd name="connsiteX1" fmla="*/ 53370 w 304863"/>
                <a:gd name="connsiteY1" fmla="*/ 11430 h 304724"/>
                <a:gd name="connsiteX2" fmla="*/ 53370 w 304863"/>
                <a:gd name="connsiteY2" fmla="*/ 16200 h 304724"/>
                <a:gd name="connsiteX3" fmla="*/ 0 w 304863"/>
                <a:gd name="connsiteY3" fmla="*/ 79980 h 304724"/>
                <a:gd name="connsiteX4" fmla="*/ 0 w 304863"/>
                <a:gd name="connsiteY4" fmla="*/ 88240 h 304724"/>
                <a:gd name="connsiteX5" fmla="*/ 40660 w 304863"/>
                <a:gd name="connsiteY5" fmla="*/ 153314 h 304724"/>
                <a:gd name="connsiteX6" fmla="*/ 53370 w 304863"/>
                <a:gd name="connsiteY6" fmla="*/ 159502 h 304724"/>
                <a:gd name="connsiteX7" fmla="*/ 53370 w 304863"/>
                <a:gd name="connsiteY7" fmla="*/ 264780 h 304724"/>
                <a:gd name="connsiteX8" fmla="*/ 22860 w 304863"/>
                <a:gd name="connsiteY8" fmla="*/ 224424 h 304724"/>
                <a:gd name="connsiteX9" fmla="*/ 22860 w 304863"/>
                <a:gd name="connsiteY9" fmla="*/ 209489 h 304724"/>
                <a:gd name="connsiteX10" fmla="*/ 11430 w 304863"/>
                <a:gd name="connsiteY10" fmla="*/ 198059 h 304724"/>
                <a:gd name="connsiteX11" fmla="*/ 0 w 304863"/>
                <a:gd name="connsiteY11" fmla="*/ 209489 h 304724"/>
                <a:gd name="connsiteX12" fmla="*/ 0 w 304863"/>
                <a:gd name="connsiteY12" fmla="*/ 224424 h 304724"/>
                <a:gd name="connsiteX13" fmla="*/ 53370 w 304863"/>
                <a:gd name="connsiteY13" fmla="*/ 288188 h 304724"/>
                <a:gd name="connsiteX14" fmla="*/ 53370 w 304863"/>
                <a:gd name="connsiteY14" fmla="*/ 293294 h 304724"/>
                <a:gd name="connsiteX15" fmla="*/ 64800 w 304863"/>
                <a:gd name="connsiteY15" fmla="*/ 304724 h 304724"/>
                <a:gd name="connsiteX16" fmla="*/ 76230 w 304863"/>
                <a:gd name="connsiteY16" fmla="*/ 293294 h 304724"/>
                <a:gd name="connsiteX17" fmla="*/ 76230 w 304863"/>
                <a:gd name="connsiteY17" fmla="*/ 288188 h 304724"/>
                <a:gd name="connsiteX18" fmla="*/ 129540 w 304863"/>
                <a:gd name="connsiteY18" fmla="*/ 224424 h 304724"/>
                <a:gd name="connsiteX19" fmla="*/ 129540 w 304863"/>
                <a:gd name="connsiteY19" fmla="*/ 216438 h 304724"/>
                <a:gd name="connsiteX20" fmla="*/ 88880 w 304863"/>
                <a:gd name="connsiteY20" fmla="*/ 151364 h 304724"/>
                <a:gd name="connsiteX21" fmla="*/ 76230 w 304863"/>
                <a:gd name="connsiteY21" fmla="*/ 145207 h 304724"/>
                <a:gd name="connsiteX22" fmla="*/ 76230 w 304863"/>
                <a:gd name="connsiteY22" fmla="*/ 39654 h 304724"/>
                <a:gd name="connsiteX23" fmla="*/ 106680 w 304863"/>
                <a:gd name="connsiteY23" fmla="*/ 79980 h 304724"/>
                <a:gd name="connsiteX24" fmla="*/ 106680 w 304863"/>
                <a:gd name="connsiteY24" fmla="*/ 95220 h 304724"/>
                <a:gd name="connsiteX25" fmla="*/ 118110 w 304863"/>
                <a:gd name="connsiteY25" fmla="*/ 106650 h 304724"/>
                <a:gd name="connsiteX26" fmla="*/ 129540 w 304863"/>
                <a:gd name="connsiteY26" fmla="*/ 95220 h 304724"/>
                <a:gd name="connsiteX27" fmla="*/ 129540 w 304863"/>
                <a:gd name="connsiteY27" fmla="*/ 79980 h 304724"/>
                <a:gd name="connsiteX28" fmla="*/ 76230 w 304863"/>
                <a:gd name="connsiteY28" fmla="*/ 16215 h 304724"/>
                <a:gd name="connsiteX29" fmla="*/ 76230 w 304863"/>
                <a:gd name="connsiteY29" fmla="*/ 11430 h 304724"/>
                <a:gd name="connsiteX30" fmla="*/ 64800 w 304863"/>
                <a:gd name="connsiteY30" fmla="*/ 0 h 304724"/>
                <a:gd name="connsiteX31" fmla="*/ 22860 w 304863"/>
                <a:gd name="connsiteY31" fmla="*/ 79980 h 304724"/>
                <a:gd name="connsiteX32" fmla="*/ 53370 w 304863"/>
                <a:gd name="connsiteY32" fmla="*/ 39624 h 304724"/>
                <a:gd name="connsiteX33" fmla="*/ 53370 w 304863"/>
                <a:gd name="connsiteY33" fmla="*/ 134051 h 304724"/>
                <a:gd name="connsiteX34" fmla="*/ 50688 w 304863"/>
                <a:gd name="connsiteY34" fmla="*/ 132740 h 304724"/>
                <a:gd name="connsiteX35" fmla="*/ 22860 w 304863"/>
                <a:gd name="connsiteY35" fmla="*/ 88240 h 304724"/>
                <a:gd name="connsiteX36" fmla="*/ 22860 w 304863"/>
                <a:gd name="connsiteY36" fmla="*/ 79980 h 304724"/>
                <a:gd name="connsiteX37" fmla="*/ 76230 w 304863"/>
                <a:gd name="connsiteY37" fmla="*/ 264749 h 304724"/>
                <a:gd name="connsiteX38" fmla="*/ 76230 w 304863"/>
                <a:gd name="connsiteY38" fmla="*/ 170642 h 304724"/>
                <a:gd name="connsiteX39" fmla="*/ 78852 w 304863"/>
                <a:gd name="connsiteY39" fmla="*/ 171922 h 304724"/>
                <a:gd name="connsiteX40" fmla="*/ 106680 w 304863"/>
                <a:gd name="connsiteY40" fmla="*/ 216423 h 304724"/>
                <a:gd name="connsiteX41" fmla="*/ 106680 w 304863"/>
                <a:gd name="connsiteY41" fmla="*/ 224424 h 304724"/>
                <a:gd name="connsiteX42" fmla="*/ 76230 w 304863"/>
                <a:gd name="connsiteY42" fmla="*/ 264749 h 304724"/>
                <a:gd name="connsiteX43" fmla="*/ 214122 w 304863"/>
                <a:gd name="connsiteY43" fmla="*/ 234726 h 304724"/>
                <a:gd name="connsiteX44" fmla="*/ 148590 w 304863"/>
                <a:gd name="connsiteY44" fmla="*/ 182850 h 304724"/>
                <a:gd name="connsiteX45" fmla="*/ 170078 w 304863"/>
                <a:gd name="connsiteY45" fmla="*/ 182850 h 304724"/>
                <a:gd name="connsiteX46" fmla="*/ 195362 w 304863"/>
                <a:gd name="connsiteY46" fmla="*/ 247802 h 304724"/>
                <a:gd name="connsiteX47" fmla="*/ 266700 w 304863"/>
                <a:gd name="connsiteY47" fmla="*/ 289530 h 304724"/>
                <a:gd name="connsiteX48" fmla="*/ 299954 w 304863"/>
                <a:gd name="connsiteY48" fmla="*/ 279928 h 304724"/>
                <a:gd name="connsiteX49" fmla="*/ 302819 w 304863"/>
                <a:gd name="connsiteY49" fmla="*/ 264018 h 304724"/>
                <a:gd name="connsiteX50" fmla="*/ 286908 w 304863"/>
                <a:gd name="connsiteY50" fmla="*/ 261153 h 304724"/>
                <a:gd name="connsiteX51" fmla="*/ 266700 w 304863"/>
                <a:gd name="connsiteY51" fmla="*/ 266654 h 304724"/>
                <a:gd name="connsiteX52" fmla="*/ 214122 w 304863"/>
                <a:gd name="connsiteY52" fmla="*/ 234726 h 304724"/>
                <a:gd name="connsiteX0" fmla="*/ 64800 w 304863"/>
                <a:gd name="connsiteY0" fmla="*/ 0 h 304724"/>
                <a:gd name="connsiteX1" fmla="*/ 53370 w 304863"/>
                <a:gd name="connsiteY1" fmla="*/ 11430 h 304724"/>
                <a:gd name="connsiteX2" fmla="*/ 53370 w 304863"/>
                <a:gd name="connsiteY2" fmla="*/ 16200 h 304724"/>
                <a:gd name="connsiteX3" fmla="*/ 0 w 304863"/>
                <a:gd name="connsiteY3" fmla="*/ 79980 h 304724"/>
                <a:gd name="connsiteX4" fmla="*/ 0 w 304863"/>
                <a:gd name="connsiteY4" fmla="*/ 88240 h 304724"/>
                <a:gd name="connsiteX5" fmla="*/ 40660 w 304863"/>
                <a:gd name="connsiteY5" fmla="*/ 153314 h 304724"/>
                <a:gd name="connsiteX6" fmla="*/ 53370 w 304863"/>
                <a:gd name="connsiteY6" fmla="*/ 159502 h 304724"/>
                <a:gd name="connsiteX7" fmla="*/ 53370 w 304863"/>
                <a:gd name="connsiteY7" fmla="*/ 264780 h 304724"/>
                <a:gd name="connsiteX8" fmla="*/ 22860 w 304863"/>
                <a:gd name="connsiteY8" fmla="*/ 224424 h 304724"/>
                <a:gd name="connsiteX9" fmla="*/ 22860 w 304863"/>
                <a:gd name="connsiteY9" fmla="*/ 209489 h 304724"/>
                <a:gd name="connsiteX10" fmla="*/ 11430 w 304863"/>
                <a:gd name="connsiteY10" fmla="*/ 198059 h 304724"/>
                <a:gd name="connsiteX11" fmla="*/ 0 w 304863"/>
                <a:gd name="connsiteY11" fmla="*/ 209489 h 304724"/>
                <a:gd name="connsiteX12" fmla="*/ 0 w 304863"/>
                <a:gd name="connsiteY12" fmla="*/ 224424 h 304724"/>
                <a:gd name="connsiteX13" fmla="*/ 53370 w 304863"/>
                <a:gd name="connsiteY13" fmla="*/ 288188 h 304724"/>
                <a:gd name="connsiteX14" fmla="*/ 53370 w 304863"/>
                <a:gd name="connsiteY14" fmla="*/ 293294 h 304724"/>
                <a:gd name="connsiteX15" fmla="*/ 64800 w 304863"/>
                <a:gd name="connsiteY15" fmla="*/ 304724 h 304724"/>
                <a:gd name="connsiteX16" fmla="*/ 76230 w 304863"/>
                <a:gd name="connsiteY16" fmla="*/ 293294 h 304724"/>
                <a:gd name="connsiteX17" fmla="*/ 76230 w 304863"/>
                <a:gd name="connsiteY17" fmla="*/ 288188 h 304724"/>
                <a:gd name="connsiteX18" fmla="*/ 129540 w 304863"/>
                <a:gd name="connsiteY18" fmla="*/ 224424 h 304724"/>
                <a:gd name="connsiteX19" fmla="*/ 129540 w 304863"/>
                <a:gd name="connsiteY19" fmla="*/ 216438 h 304724"/>
                <a:gd name="connsiteX20" fmla="*/ 88880 w 304863"/>
                <a:gd name="connsiteY20" fmla="*/ 151364 h 304724"/>
                <a:gd name="connsiteX21" fmla="*/ 76230 w 304863"/>
                <a:gd name="connsiteY21" fmla="*/ 145207 h 304724"/>
                <a:gd name="connsiteX22" fmla="*/ 76230 w 304863"/>
                <a:gd name="connsiteY22" fmla="*/ 39654 h 304724"/>
                <a:gd name="connsiteX23" fmla="*/ 106680 w 304863"/>
                <a:gd name="connsiteY23" fmla="*/ 79980 h 304724"/>
                <a:gd name="connsiteX24" fmla="*/ 106680 w 304863"/>
                <a:gd name="connsiteY24" fmla="*/ 95220 h 304724"/>
                <a:gd name="connsiteX25" fmla="*/ 118110 w 304863"/>
                <a:gd name="connsiteY25" fmla="*/ 106650 h 304724"/>
                <a:gd name="connsiteX26" fmla="*/ 129540 w 304863"/>
                <a:gd name="connsiteY26" fmla="*/ 95220 h 304724"/>
                <a:gd name="connsiteX27" fmla="*/ 129540 w 304863"/>
                <a:gd name="connsiteY27" fmla="*/ 79980 h 304724"/>
                <a:gd name="connsiteX28" fmla="*/ 76230 w 304863"/>
                <a:gd name="connsiteY28" fmla="*/ 16215 h 304724"/>
                <a:gd name="connsiteX29" fmla="*/ 76230 w 304863"/>
                <a:gd name="connsiteY29" fmla="*/ 11430 h 304724"/>
                <a:gd name="connsiteX30" fmla="*/ 64800 w 304863"/>
                <a:gd name="connsiteY30" fmla="*/ 0 h 304724"/>
                <a:gd name="connsiteX31" fmla="*/ 22860 w 304863"/>
                <a:gd name="connsiteY31" fmla="*/ 79980 h 304724"/>
                <a:gd name="connsiteX32" fmla="*/ 53370 w 304863"/>
                <a:gd name="connsiteY32" fmla="*/ 39624 h 304724"/>
                <a:gd name="connsiteX33" fmla="*/ 53370 w 304863"/>
                <a:gd name="connsiteY33" fmla="*/ 134051 h 304724"/>
                <a:gd name="connsiteX34" fmla="*/ 50688 w 304863"/>
                <a:gd name="connsiteY34" fmla="*/ 132740 h 304724"/>
                <a:gd name="connsiteX35" fmla="*/ 22860 w 304863"/>
                <a:gd name="connsiteY35" fmla="*/ 88240 h 304724"/>
                <a:gd name="connsiteX36" fmla="*/ 22860 w 304863"/>
                <a:gd name="connsiteY36" fmla="*/ 79980 h 304724"/>
                <a:gd name="connsiteX37" fmla="*/ 76230 w 304863"/>
                <a:gd name="connsiteY37" fmla="*/ 264749 h 304724"/>
                <a:gd name="connsiteX38" fmla="*/ 76230 w 304863"/>
                <a:gd name="connsiteY38" fmla="*/ 170642 h 304724"/>
                <a:gd name="connsiteX39" fmla="*/ 78852 w 304863"/>
                <a:gd name="connsiteY39" fmla="*/ 171922 h 304724"/>
                <a:gd name="connsiteX40" fmla="*/ 106680 w 304863"/>
                <a:gd name="connsiteY40" fmla="*/ 216423 h 304724"/>
                <a:gd name="connsiteX41" fmla="*/ 106680 w 304863"/>
                <a:gd name="connsiteY41" fmla="*/ 224424 h 304724"/>
                <a:gd name="connsiteX42" fmla="*/ 76230 w 304863"/>
                <a:gd name="connsiteY42" fmla="*/ 264749 h 304724"/>
                <a:gd name="connsiteX43" fmla="*/ 214122 w 304863"/>
                <a:gd name="connsiteY43" fmla="*/ 234726 h 304724"/>
                <a:gd name="connsiteX44" fmla="*/ 148590 w 304863"/>
                <a:gd name="connsiteY44" fmla="*/ 182850 h 304724"/>
                <a:gd name="connsiteX45" fmla="*/ 195362 w 304863"/>
                <a:gd name="connsiteY45" fmla="*/ 247802 h 304724"/>
                <a:gd name="connsiteX46" fmla="*/ 266700 w 304863"/>
                <a:gd name="connsiteY46" fmla="*/ 289530 h 304724"/>
                <a:gd name="connsiteX47" fmla="*/ 299954 w 304863"/>
                <a:gd name="connsiteY47" fmla="*/ 279928 h 304724"/>
                <a:gd name="connsiteX48" fmla="*/ 302819 w 304863"/>
                <a:gd name="connsiteY48" fmla="*/ 264018 h 304724"/>
                <a:gd name="connsiteX49" fmla="*/ 286908 w 304863"/>
                <a:gd name="connsiteY49" fmla="*/ 261153 h 304724"/>
                <a:gd name="connsiteX50" fmla="*/ 266700 w 304863"/>
                <a:gd name="connsiteY50" fmla="*/ 266654 h 304724"/>
                <a:gd name="connsiteX51" fmla="*/ 214122 w 304863"/>
                <a:gd name="connsiteY51" fmla="*/ 234726 h 304724"/>
                <a:gd name="connsiteX0" fmla="*/ 64800 w 304863"/>
                <a:gd name="connsiteY0" fmla="*/ 0 h 304724"/>
                <a:gd name="connsiteX1" fmla="*/ 53370 w 304863"/>
                <a:gd name="connsiteY1" fmla="*/ 11430 h 304724"/>
                <a:gd name="connsiteX2" fmla="*/ 53370 w 304863"/>
                <a:gd name="connsiteY2" fmla="*/ 16200 h 304724"/>
                <a:gd name="connsiteX3" fmla="*/ 0 w 304863"/>
                <a:gd name="connsiteY3" fmla="*/ 79980 h 304724"/>
                <a:gd name="connsiteX4" fmla="*/ 0 w 304863"/>
                <a:gd name="connsiteY4" fmla="*/ 88240 h 304724"/>
                <a:gd name="connsiteX5" fmla="*/ 40660 w 304863"/>
                <a:gd name="connsiteY5" fmla="*/ 153314 h 304724"/>
                <a:gd name="connsiteX6" fmla="*/ 53370 w 304863"/>
                <a:gd name="connsiteY6" fmla="*/ 159502 h 304724"/>
                <a:gd name="connsiteX7" fmla="*/ 53370 w 304863"/>
                <a:gd name="connsiteY7" fmla="*/ 264780 h 304724"/>
                <a:gd name="connsiteX8" fmla="*/ 22860 w 304863"/>
                <a:gd name="connsiteY8" fmla="*/ 224424 h 304724"/>
                <a:gd name="connsiteX9" fmla="*/ 22860 w 304863"/>
                <a:gd name="connsiteY9" fmla="*/ 209489 h 304724"/>
                <a:gd name="connsiteX10" fmla="*/ 11430 w 304863"/>
                <a:gd name="connsiteY10" fmla="*/ 198059 h 304724"/>
                <a:gd name="connsiteX11" fmla="*/ 0 w 304863"/>
                <a:gd name="connsiteY11" fmla="*/ 209489 h 304724"/>
                <a:gd name="connsiteX12" fmla="*/ 0 w 304863"/>
                <a:gd name="connsiteY12" fmla="*/ 224424 h 304724"/>
                <a:gd name="connsiteX13" fmla="*/ 53370 w 304863"/>
                <a:gd name="connsiteY13" fmla="*/ 288188 h 304724"/>
                <a:gd name="connsiteX14" fmla="*/ 53370 w 304863"/>
                <a:gd name="connsiteY14" fmla="*/ 293294 h 304724"/>
                <a:gd name="connsiteX15" fmla="*/ 64800 w 304863"/>
                <a:gd name="connsiteY15" fmla="*/ 304724 h 304724"/>
                <a:gd name="connsiteX16" fmla="*/ 76230 w 304863"/>
                <a:gd name="connsiteY16" fmla="*/ 293294 h 304724"/>
                <a:gd name="connsiteX17" fmla="*/ 76230 w 304863"/>
                <a:gd name="connsiteY17" fmla="*/ 288188 h 304724"/>
                <a:gd name="connsiteX18" fmla="*/ 129540 w 304863"/>
                <a:gd name="connsiteY18" fmla="*/ 224424 h 304724"/>
                <a:gd name="connsiteX19" fmla="*/ 129540 w 304863"/>
                <a:gd name="connsiteY19" fmla="*/ 216438 h 304724"/>
                <a:gd name="connsiteX20" fmla="*/ 88880 w 304863"/>
                <a:gd name="connsiteY20" fmla="*/ 151364 h 304724"/>
                <a:gd name="connsiteX21" fmla="*/ 76230 w 304863"/>
                <a:gd name="connsiteY21" fmla="*/ 145207 h 304724"/>
                <a:gd name="connsiteX22" fmla="*/ 76230 w 304863"/>
                <a:gd name="connsiteY22" fmla="*/ 39654 h 304724"/>
                <a:gd name="connsiteX23" fmla="*/ 106680 w 304863"/>
                <a:gd name="connsiteY23" fmla="*/ 79980 h 304724"/>
                <a:gd name="connsiteX24" fmla="*/ 106680 w 304863"/>
                <a:gd name="connsiteY24" fmla="*/ 95220 h 304724"/>
                <a:gd name="connsiteX25" fmla="*/ 118110 w 304863"/>
                <a:gd name="connsiteY25" fmla="*/ 106650 h 304724"/>
                <a:gd name="connsiteX26" fmla="*/ 129540 w 304863"/>
                <a:gd name="connsiteY26" fmla="*/ 95220 h 304724"/>
                <a:gd name="connsiteX27" fmla="*/ 129540 w 304863"/>
                <a:gd name="connsiteY27" fmla="*/ 79980 h 304724"/>
                <a:gd name="connsiteX28" fmla="*/ 76230 w 304863"/>
                <a:gd name="connsiteY28" fmla="*/ 16215 h 304724"/>
                <a:gd name="connsiteX29" fmla="*/ 76230 w 304863"/>
                <a:gd name="connsiteY29" fmla="*/ 11430 h 304724"/>
                <a:gd name="connsiteX30" fmla="*/ 64800 w 304863"/>
                <a:gd name="connsiteY30" fmla="*/ 0 h 304724"/>
                <a:gd name="connsiteX31" fmla="*/ 22860 w 304863"/>
                <a:gd name="connsiteY31" fmla="*/ 79980 h 304724"/>
                <a:gd name="connsiteX32" fmla="*/ 53370 w 304863"/>
                <a:gd name="connsiteY32" fmla="*/ 39624 h 304724"/>
                <a:gd name="connsiteX33" fmla="*/ 53370 w 304863"/>
                <a:gd name="connsiteY33" fmla="*/ 134051 h 304724"/>
                <a:gd name="connsiteX34" fmla="*/ 50688 w 304863"/>
                <a:gd name="connsiteY34" fmla="*/ 132740 h 304724"/>
                <a:gd name="connsiteX35" fmla="*/ 22860 w 304863"/>
                <a:gd name="connsiteY35" fmla="*/ 88240 h 304724"/>
                <a:gd name="connsiteX36" fmla="*/ 22860 w 304863"/>
                <a:gd name="connsiteY36" fmla="*/ 79980 h 304724"/>
                <a:gd name="connsiteX37" fmla="*/ 76230 w 304863"/>
                <a:gd name="connsiteY37" fmla="*/ 264749 h 304724"/>
                <a:gd name="connsiteX38" fmla="*/ 76230 w 304863"/>
                <a:gd name="connsiteY38" fmla="*/ 170642 h 304724"/>
                <a:gd name="connsiteX39" fmla="*/ 78852 w 304863"/>
                <a:gd name="connsiteY39" fmla="*/ 171922 h 304724"/>
                <a:gd name="connsiteX40" fmla="*/ 106680 w 304863"/>
                <a:gd name="connsiteY40" fmla="*/ 216423 h 304724"/>
                <a:gd name="connsiteX41" fmla="*/ 106680 w 304863"/>
                <a:gd name="connsiteY41" fmla="*/ 224424 h 304724"/>
                <a:gd name="connsiteX42" fmla="*/ 76230 w 304863"/>
                <a:gd name="connsiteY42" fmla="*/ 264749 h 304724"/>
                <a:gd name="connsiteX43" fmla="*/ 214122 w 304863"/>
                <a:gd name="connsiteY43" fmla="*/ 234726 h 304724"/>
                <a:gd name="connsiteX44" fmla="*/ 195362 w 304863"/>
                <a:gd name="connsiteY44" fmla="*/ 247802 h 304724"/>
                <a:gd name="connsiteX45" fmla="*/ 266700 w 304863"/>
                <a:gd name="connsiteY45" fmla="*/ 289530 h 304724"/>
                <a:gd name="connsiteX46" fmla="*/ 299954 w 304863"/>
                <a:gd name="connsiteY46" fmla="*/ 279928 h 304724"/>
                <a:gd name="connsiteX47" fmla="*/ 302819 w 304863"/>
                <a:gd name="connsiteY47" fmla="*/ 264018 h 304724"/>
                <a:gd name="connsiteX48" fmla="*/ 286908 w 304863"/>
                <a:gd name="connsiteY48" fmla="*/ 261153 h 304724"/>
                <a:gd name="connsiteX49" fmla="*/ 266700 w 304863"/>
                <a:gd name="connsiteY49" fmla="*/ 266654 h 304724"/>
                <a:gd name="connsiteX50" fmla="*/ 214122 w 304863"/>
                <a:gd name="connsiteY50" fmla="*/ 234726 h 304724"/>
                <a:gd name="connsiteX0" fmla="*/ 64800 w 304863"/>
                <a:gd name="connsiteY0" fmla="*/ 0 h 304724"/>
                <a:gd name="connsiteX1" fmla="*/ 53370 w 304863"/>
                <a:gd name="connsiteY1" fmla="*/ 11430 h 304724"/>
                <a:gd name="connsiteX2" fmla="*/ 53370 w 304863"/>
                <a:gd name="connsiteY2" fmla="*/ 16200 h 304724"/>
                <a:gd name="connsiteX3" fmla="*/ 0 w 304863"/>
                <a:gd name="connsiteY3" fmla="*/ 79980 h 304724"/>
                <a:gd name="connsiteX4" fmla="*/ 0 w 304863"/>
                <a:gd name="connsiteY4" fmla="*/ 88240 h 304724"/>
                <a:gd name="connsiteX5" fmla="*/ 40660 w 304863"/>
                <a:gd name="connsiteY5" fmla="*/ 153314 h 304724"/>
                <a:gd name="connsiteX6" fmla="*/ 53370 w 304863"/>
                <a:gd name="connsiteY6" fmla="*/ 159502 h 304724"/>
                <a:gd name="connsiteX7" fmla="*/ 53370 w 304863"/>
                <a:gd name="connsiteY7" fmla="*/ 264780 h 304724"/>
                <a:gd name="connsiteX8" fmla="*/ 22860 w 304863"/>
                <a:gd name="connsiteY8" fmla="*/ 224424 h 304724"/>
                <a:gd name="connsiteX9" fmla="*/ 22860 w 304863"/>
                <a:gd name="connsiteY9" fmla="*/ 209489 h 304724"/>
                <a:gd name="connsiteX10" fmla="*/ 11430 w 304863"/>
                <a:gd name="connsiteY10" fmla="*/ 198059 h 304724"/>
                <a:gd name="connsiteX11" fmla="*/ 0 w 304863"/>
                <a:gd name="connsiteY11" fmla="*/ 209489 h 304724"/>
                <a:gd name="connsiteX12" fmla="*/ 0 w 304863"/>
                <a:gd name="connsiteY12" fmla="*/ 224424 h 304724"/>
                <a:gd name="connsiteX13" fmla="*/ 53370 w 304863"/>
                <a:gd name="connsiteY13" fmla="*/ 288188 h 304724"/>
                <a:gd name="connsiteX14" fmla="*/ 53370 w 304863"/>
                <a:gd name="connsiteY14" fmla="*/ 293294 h 304724"/>
                <a:gd name="connsiteX15" fmla="*/ 64800 w 304863"/>
                <a:gd name="connsiteY15" fmla="*/ 304724 h 304724"/>
                <a:gd name="connsiteX16" fmla="*/ 76230 w 304863"/>
                <a:gd name="connsiteY16" fmla="*/ 293294 h 304724"/>
                <a:gd name="connsiteX17" fmla="*/ 76230 w 304863"/>
                <a:gd name="connsiteY17" fmla="*/ 288188 h 304724"/>
                <a:gd name="connsiteX18" fmla="*/ 129540 w 304863"/>
                <a:gd name="connsiteY18" fmla="*/ 224424 h 304724"/>
                <a:gd name="connsiteX19" fmla="*/ 129540 w 304863"/>
                <a:gd name="connsiteY19" fmla="*/ 216438 h 304724"/>
                <a:gd name="connsiteX20" fmla="*/ 88880 w 304863"/>
                <a:gd name="connsiteY20" fmla="*/ 151364 h 304724"/>
                <a:gd name="connsiteX21" fmla="*/ 76230 w 304863"/>
                <a:gd name="connsiteY21" fmla="*/ 145207 h 304724"/>
                <a:gd name="connsiteX22" fmla="*/ 76230 w 304863"/>
                <a:gd name="connsiteY22" fmla="*/ 39654 h 304724"/>
                <a:gd name="connsiteX23" fmla="*/ 106680 w 304863"/>
                <a:gd name="connsiteY23" fmla="*/ 79980 h 304724"/>
                <a:gd name="connsiteX24" fmla="*/ 106680 w 304863"/>
                <a:gd name="connsiteY24" fmla="*/ 95220 h 304724"/>
                <a:gd name="connsiteX25" fmla="*/ 118110 w 304863"/>
                <a:gd name="connsiteY25" fmla="*/ 106650 h 304724"/>
                <a:gd name="connsiteX26" fmla="*/ 129540 w 304863"/>
                <a:gd name="connsiteY26" fmla="*/ 95220 h 304724"/>
                <a:gd name="connsiteX27" fmla="*/ 129540 w 304863"/>
                <a:gd name="connsiteY27" fmla="*/ 79980 h 304724"/>
                <a:gd name="connsiteX28" fmla="*/ 76230 w 304863"/>
                <a:gd name="connsiteY28" fmla="*/ 16215 h 304724"/>
                <a:gd name="connsiteX29" fmla="*/ 76230 w 304863"/>
                <a:gd name="connsiteY29" fmla="*/ 11430 h 304724"/>
                <a:gd name="connsiteX30" fmla="*/ 64800 w 304863"/>
                <a:gd name="connsiteY30" fmla="*/ 0 h 304724"/>
                <a:gd name="connsiteX31" fmla="*/ 22860 w 304863"/>
                <a:gd name="connsiteY31" fmla="*/ 79980 h 304724"/>
                <a:gd name="connsiteX32" fmla="*/ 53370 w 304863"/>
                <a:gd name="connsiteY32" fmla="*/ 39624 h 304724"/>
                <a:gd name="connsiteX33" fmla="*/ 53370 w 304863"/>
                <a:gd name="connsiteY33" fmla="*/ 134051 h 304724"/>
                <a:gd name="connsiteX34" fmla="*/ 50688 w 304863"/>
                <a:gd name="connsiteY34" fmla="*/ 132740 h 304724"/>
                <a:gd name="connsiteX35" fmla="*/ 22860 w 304863"/>
                <a:gd name="connsiteY35" fmla="*/ 88240 h 304724"/>
                <a:gd name="connsiteX36" fmla="*/ 22860 w 304863"/>
                <a:gd name="connsiteY36" fmla="*/ 79980 h 304724"/>
                <a:gd name="connsiteX37" fmla="*/ 76230 w 304863"/>
                <a:gd name="connsiteY37" fmla="*/ 264749 h 304724"/>
                <a:gd name="connsiteX38" fmla="*/ 76230 w 304863"/>
                <a:gd name="connsiteY38" fmla="*/ 170642 h 304724"/>
                <a:gd name="connsiteX39" fmla="*/ 78852 w 304863"/>
                <a:gd name="connsiteY39" fmla="*/ 171922 h 304724"/>
                <a:gd name="connsiteX40" fmla="*/ 106680 w 304863"/>
                <a:gd name="connsiteY40" fmla="*/ 216423 h 304724"/>
                <a:gd name="connsiteX41" fmla="*/ 106680 w 304863"/>
                <a:gd name="connsiteY41" fmla="*/ 224424 h 304724"/>
                <a:gd name="connsiteX42" fmla="*/ 76230 w 304863"/>
                <a:gd name="connsiteY42" fmla="*/ 264749 h 304724"/>
                <a:gd name="connsiteX43" fmla="*/ 214122 w 304863"/>
                <a:gd name="connsiteY43" fmla="*/ 234726 h 304724"/>
                <a:gd name="connsiteX44" fmla="*/ 266700 w 304863"/>
                <a:gd name="connsiteY44" fmla="*/ 289530 h 304724"/>
                <a:gd name="connsiteX45" fmla="*/ 299954 w 304863"/>
                <a:gd name="connsiteY45" fmla="*/ 279928 h 304724"/>
                <a:gd name="connsiteX46" fmla="*/ 302819 w 304863"/>
                <a:gd name="connsiteY46" fmla="*/ 264018 h 304724"/>
                <a:gd name="connsiteX47" fmla="*/ 286908 w 304863"/>
                <a:gd name="connsiteY47" fmla="*/ 261153 h 304724"/>
                <a:gd name="connsiteX48" fmla="*/ 266700 w 304863"/>
                <a:gd name="connsiteY48" fmla="*/ 266654 h 304724"/>
                <a:gd name="connsiteX49" fmla="*/ 214122 w 304863"/>
                <a:gd name="connsiteY49" fmla="*/ 234726 h 304724"/>
                <a:gd name="connsiteX0" fmla="*/ 64800 w 304863"/>
                <a:gd name="connsiteY0" fmla="*/ 0 h 304724"/>
                <a:gd name="connsiteX1" fmla="*/ 53370 w 304863"/>
                <a:gd name="connsiteY1" fmla="*/ 11430 h 304724"/>
                <a:gd name="connsiteX2" fmla="*/ 53370 w 304863"/>
                <a:gd name="connsiteY2" fmla="*/ 16200 h 304724"/>
                <a:gd name="connsiteX3" fmla="*/ 0 w 304863"/>
                <a:gd name="connsiteY3" fmla="*/ 79980 h 304724"/>
                <a:gd name="connsiteX4" fmla="*/ 0 w 304863"/>
                <a:gd name="connsiteY4" fmla="*/ 88240 h 304724"/>
                <a:gd name="connsiteX5" fmla="*/ 40660 w 304863"/>
                <a:gd name="connsiteY5" fmla="*/ 153314 h 304724"/>
                <a:gd name="connsiteX6" fmla="*/ 53370 w 304863"/>
                <a:gd name="connsiteY6" fmla="*/ 159502 h 304724"/>
                <a:gd name="connsiteX7" fmla="*/ 53370 w 304863"/>
                <a:gd name="connsiteY7" fmla="*/ 264780 h 304724"/>
                <a:gd name="connsiteX8" fmla="*/ 22860 w 304863"/>
                <a:gd name="connsiteY8" fmla="*/ 224424 h 304724"/>
                <a:gd name="connsiteX9" fmla="*/ 22860 w 304863"/>
                <a:gd name="connsiteY9" fmla="*/ 209489 h 304724"/>
                <a:gd name="connsiteX10" fmla="*/ 11430 w 304863"/>
                <a:gd name="connsiteY10" fmla="*/ 198059 h 304724"/>
                <a:gd name="connsiteX11" fmla="*/ 0 w 304863"/>
                <a:gd name="connsiteY11" fmla="*/ 209489 h 304724"/>
                <a:gd name="connsiteX12" fmla="*/ 0 w 304863"/>
                <a:gd name="connsiteY12" fmla="*/ 224424 h 304724"/>
                <a:gd name="connsiteX13" fmla="*/ 53370 w 304863"/>
                <a:gd name="connsiteY13" fmla="*/ 288188 h 304724"/>
                <a:gd name="connsiteX14" fmla="*/ 53370 w 304863"/>
                <a:gd name="connsiteY14" fmla="*/ 293294 h 304724"/>
                <a:gd name="connsiteX15" fmla="*/ 64800 w 304863"/>
                <a:gd name="connsiteY15" fmla="*/ 304724 h 304724"/>
                <a:gd name="connsiteX16" fmla="*/ 76230 w 304863"/>
                <a:gd name="connsiteY16" fmla="*/ 293294 h 304724"/>
                <a:gd name="connsiteX17" fmla="*/ 76230 w 304863"/>
                <a:gd name="connsiteY17" fmla="*/ 288188 h 304724"/>
                <a:gd name="connsiteX18" fmla="*/ 129540 w 304863"/>
                <a:gd name="connsiteY18" fmla="*/ 224424 h 304724"/>
                <a:gd name="connsiteX19" fmla="*/ 129540 w 304863"/>
                <a:gd name="connsiteY19" fmla="*/ 216438 h 304724"/>
                <a:gd name="connsiteX20" fmla="*/ 88880 w 304863"/>
                <a:gd name="connsiteY20" fmla="*/ 151364 h 304724"/>
                <a:gd name="connsiteX21" fmla="*/ 76230 w 304863"/>
                <a:gd name="connsiteY21" fmla="*/ 145207 h 304724"/>
                <a:gd name="connsiteX22" fmla="*/ 76230 w 304863"/>
                <a:gd name="connsiteY22" fmla="*/ 39654 h 304724"/>
                <a:gd name="connsiteX23" fmla="*/ 106680 w 304863"/>
                <a:gd name="connsiteY23" fmla="*/ 79980 h 304724"/>
                <a:gd name="connsiteX24" fmla="*/ 106680 w 304863"/>
                <a:gd name="connsiteY24" fmla="*/ 95220 h 304724"/>
                <a:gd name="connsiteX25" fmla="*/ 118110 w 304863"/>
                <a:gd name="connsiteY25" fmla="*/ 106650 h 304724"/>
                <a:gd name="connsiteX26" fmla="*/ 129540 w 304863"/>
                <a:gd name="connsiteY26" fmla="*/ 95220 h 304724"/>
                <a:gd name="connsiteX27" fmla="*/ 129540 w 304863"/>
                <a:gd name="connsiteY27" fmla="*/ 79980 h 304724"/>
                <a:gd name="connsiteX28" fmla="*/ 76230 w 304863"/>
                <a:gd name="connsiteY28" fmla="*/ 16215 h 304724"/>
                <a:gd name="connsiteX29" fmla="*/ 76230 w 304863"/>
                <a:gd name="connsiteY29" fmla="*/ 11430 h 304724"/>
                <a:gd name="connsiteX30" fmla="*/ 64800 w 304863"/>
                <a:gd name="connsiteY30" fmla="*/ 0 h 304724"/>
                <a:gd name="connsiteX31" fmla="*/ 22860 w 304863"/>
                <a:gd name="connsiteY31" fmla="*/ 79980 h 304724"/>
                <a:gd name="connsiteX32" fmla="*/ 53370 w 304863"/>
                <a:gd name="connsiteY32" fmla="*/ 39624 h 304724"/>
                <a:gd name="connsiteX33" fmla="*/ 53370 w 304863"/>
                <a:gd name="connsiteY33" fmla="*/ 134051 h 304724"/>
                <a:gd name="connsiteX34" fmla="*/ 50688 w 304863"/>
                <a:gd name="connsiteY34" fmla="*/ 132740 h 304724"/>
                <a:gd name="connsiteX35" fmla="*/ 22860 w 304863"/>
                <a:gd name="connsiteY35" fmla="*/ 88240 h 304724"/>
                <a:gd name="connsiteX36" fmla="*/ 22860 w 304863"/>
                <a:gd name="connsiteY36" fmla="*/ 79980 h 304724"/>
                <a:gd name="connsiteX37" fmla="*/ 76230 w 304863"/>
                <a:gd name="connsiteY37" fmla="*/ 264749 h 304724"/>
                <a:gd name="connsiteX38" fmla="*/ 76230 w 304863"/>
                <a:gd name="connsiteY38" fmla="*/ 170642 h 304724"/>
                <a:gd name="connsiteX39" fmla="*/ 78852 w 304863"/>
                <a:gd name="connsiteY39" fmla="*/ 171922 h 304724"/>
                <a:gd name="connsiteX40" fmla="*/ 106680 w 304863"/>
                <a:gd name="connsiteY40" fmla="*/ 216423 h 304724"/>
                <a:gd name="connsiteX41" fmla="*/ 106680 w 304863"/>
                <a:gd name="connsiteY41" fmla="*/ 224424 h 304724"/>
                <a:gd name="connsiteX42" fmla="*/ 76230 w 304863"/>
                <a:gd name="connsiteY42" fmla="*/ 264749 h 304724"/>
                <a:gd name="connsiteX43" fmla="*/ 266700 w 304863"/>
                <a:gd name="connsiteY43" fmla="*/ 266654 h 304724"/>
                <a:gd name="connsiteX44" fmla="*/ 266700 w 304863"/>
                <a:gd name="connsiteY44" fmla="*/ 289530 h 304724"/>
                <a:gd name="connsiteX45" fmla="*/ 299954 w 304863"/>
                <a:gd name="connsiteY45" fmla="*/ 279928 h 304724"/>
                <a:gd name="connsiteX46" fmla="*/ 302819 w 304863"/>
                <a:gd name="connsiteY46" fmla="*/ 264018 h 304724"/>
                <a:gd name="connsiteX47" fmla="*/ 286908 w 304863"/>
                <a:gd name="connsiteY47" fmla="*/ 261153 h 304724"/>
                <a:gd name="connsiteX48" fmla="*/ 266700 w 304863"/>
                <a:gd name="connsiteY48" fmla="*/ 266654 h 304724"/>
                <a:gd name="connsiteX0" fmla="*/ 64800 w 304863"/>
                <a:gd name="connsiteY0" fmla="*/ 0 h 304724"/>
                <a:gd name="connsiteX1" fmla="*/ 53370 w 304863"/>
                <a:gd name="connsiteY1" fmla="*/ 11430 h 304724"/>
                <a:gd name="connsiteX2" fmla="*/ 53370 w 304863"/>
                <a:gd name="connsiteY2" fmla="*/ 16200 h 304724"/>
                <a:gd name="connsiteX3" fmla="*/ 0 w 304863"/>
                <a:gd name="connsiteY3" fmla="*/ 79980 h 304724"/>
                <a:gd name="connsiteX4" fmla="*/ 0 w 304863"/>
                <a:gd name="connsiteY4" fmla="*/ 88240 h 304724"/>
                <a:gd name="connsiteX5" fmla="*/ 40660 w 304863"/>
                <a:gd name="connsiteY5" fmla="*/ 153314 h 304724"/>
                <a:gd name="connsiteX6" fmla="*/ 53370 w 304863"/>
                <a:gd name="connsiteY6" fmla="*/ 159502 h 304724"/>
                <a:gd name="connsiteX7" fmla="*/ 53370 w 304863"/>
                <a:gd name="connsiteY7" fmla="*/ 264780 h 304724"/>
                <a:gd name="connsiteX8" fmla="*/ 22860 w 304863"/>
                <a:gd name="connsiteY8" fmla="*/ 224424 h 304724"/>
                <a:gd name="connsiteX9" fmla="*/ 22860 w 304863"/>
                <a:gd name="connsiteY9" fmla="*/ 209489 h 304724"/>
                <a:gd name="connsiteX10" fmla="*/ 11430 w 304863"/>
                <a:gd name="connsiteY10" fmla="*/ 198059 h 304724"/>
                <a:gd name="connsiteX11" fmla="*/ 0 w 304863"/>
                <a:gd name="connsiteY11" fmla="*/ 209489 h 304724"/>
                <a:gd name="connsiteX12" fmla="*/ 0 w 304863"/>
                <a:gd name="connsiteY12" fmla="*/ 224424 h 304724"/>
                <a:gd name="connsiteX13" fmla="*/ 53370 w 304863"/>
                <a:gd name="connsiteY13" fmla="*/ 288188 h 304724"/>
                <a:gd name="connsiteX14" fmla="*/ 53370 w 304863"/>
                <a:gd name="connsiteY14" fmla="*/ 293294 h 304724"/>
                <a:gd name="connsiteX15" fmla="*/ 64800 w 304863"/>
                <a:gd name="connsiteY15" fmla="*/ 304724 h 304724"/>
                <a:gd name="connsiteX16" fmla="*/ 76230 w 304863"/>
                <a:gd name="connsiteY16" fmla="*/ 293294 h 304724"/>
                <a:gd name="connsiteX17" fmla="*/ 76230 w 304863"/>
                <a:gd name="connsiteY17" fmla="*/ 288188 h 304724"/>
                <a:gd name="connsiteX18" fmla="*/ 129540 w 304863"/>
                <a:gd name="connsiteY18" fmla="*/ 224424 h 304724"/>
                <a:gd name="connsiteX19" fmla="*/ 129540 w 304863"/>
                <a:gd name="connsiteY19" fmla="*/ 216438 h 304724"/>
                <a:gd name="connsiteX20" fmla="*/ 88880 w 304863"/>
                <a:gd name="connsiteY20" fmla="*/ 151364 h 304724"/>
                <a:gd name="connsiteX21" fmla="*/ 76230 w 304863"/>
                <a:gd name="connsiteY21" fmla="*/ 145207 h 304724"/>
                <a:gd name="connsiteX22" fmla="*/ 76230 w 304863"/>
                <a:gd name="connsiteY22" fmla="*/ 39654 h 304724"/>
                <a:gd name="connsiteX23" fmla="*/ 106680 w 304863"/>
                <a:gd name="connsiteY23" fmla="*/ 79980 h 304724"/>
                <a:gd name="connsiteX24" fmla="*/ 106680 w 304863"/>
                <a:gd name="connsiteY24" fmla="*/ 95220 h 304724"/>
                <a:gd name="connsiteX25" fmla="*/ 118110 w 304863"/>
                <a:gd name="connsiteY25" fmla="*/ 106650 h 304724"/>
                <a:gd name="connsiteX26" fmla="*/ 129540 w 304863"/>
                <a:gd name="connsiteY26" fmla="*/ 95220 h 304724"/>
                <a:gd name="connsiteX27" fmla="*/ 129540 w 304863"/>
                <a:gd name="connsiteY27" fmla="*/ 79980 h 304724"/>
                <a:gd name="connsiteX28" fmla="*/ 76230 w 304863"/>
                <a:gd name="connsiteY28" fmla="*/ 16215 h 304724"/>
                <a:gd name="connsiteX29" fmla="*/ 76230 w 304863"/>
                <a:gd name="connsiteY29" fmla="*/ 11430 h 304724"/>
                <a:gd name="connsiteX30" fmla="*/ 64800 w 304863"/>
                <a:gd name="connsiteY30" fmla="*/ 0 h 304724"/>
                <a:gd name="connsiteX31" fmla="*/ 22860 w 304863"/>
                <a:gd name="connsiteY31" fmla="*/ 79980 h 304724"/>
                <a:gd name="connsiteX32" fmla="*/ 53370 w 304863"/>
                <a:gd name="connsiteY32" fmla="*/ 39624 h 304724"/>
                <a:gd name="connsiteX33" fmla="*/ 53370 w 304863"/>
                <a:gd name="connsiteY33" fmla="*/ 134051 h 304724"/>
                <a:gd name="connsiteX34" fmla="*/ 50688 w 304863"/>
                <a:gd name="connsiteY34" fmla="*/ 132740 h 304724"/>
                <a:gd name="connsiteX35" fmla="*/ 22860 w 304863"/>
                <a:gd name="connsiteY35" fmla="*/ 88240 h 304724"/>
                <a:gd name="connsiteX36" fmla="*/ 22860 w 304863"/>
                <a:gd name="connsiteY36" fmla="*/ 79980 h 304724"/>
                <a:gd name="connsiteX37" fmla="*/ 76230 w 304863"/>
                <a:gd name="connsiteY37" fmla="*/ 264749 h 304724"/>
                <a:gd name="connsiteX38" fmla="*/ 76230 w 304863"/>
                <a:gd name="connsiteY38" fmla="*/ 170642 h 304724"/>
                <a:gd name="connsiteX39" fmla="*/ 78852 w 304863"/>
                <a:gd name="connsiteY39" fmla="*/ 171922 h 304724"/>
                <a:gd name="connsiteX40" fmla="*/ 106680 w 304863"/>
                <a:gd name="connsiteY40" fmla="*/ 216423 h 304724"/>
                <a:gd name="connsiteX41" fmla="*/ 106680 w 304863"/>
                <a:gd name="connsiteY41" fmla="*/ 224424 h 304724"/>
                <a:gd name="connsiteX42" fmla="*/ 76230 w 304863"/>
                <a:gd name="connsiteY42" fmla="*/ 264749 h 304724"/>
                <a:gd name="connsiteX43" fmla="*/ 286908 w 304863"/>
                <a:gd name="connsiteY43" fmla="*/ 261153 h 304724"/>
                <a:gd name="connsiteX44" fmla="*/ 266700 w 304863"/>
                <a:gd name="connsiteY44" fmla="*/ 289530 h 304724"/>
                <a:gd name="connsiteX45" fmla="*/ 299954 w 304863"/>
                <a:gd name="connsiteY45" fmla="*/ 279928 h 304724"/>
                <a:gd name="connsiteX46" fmla="*/ 302819 w 304863"/>
                <a:gd name="connsiteY46" fmla="*/ 264018 h 304724"/>
                <a:gd name="connsiteX47" fmla="*/ 286908 w 304863"/>
                <a:gd name="connsiteY47" fmla="*/ 261153 h 304724"/>
                <a:gd name="connsiteX0" fmla="*/ 64800 w 305715"/>
                <a:gd name="connsiteY0" fmla="*/ 0 h 304724"/>
                <a:gd name="connsiteX1" fmla="*/ 53370 w 305715"/>
                <a:gd name="connsiteY1" fmla="*/ 11430 h 304724"/>
                <a:gd name="connsiteX2" fmla="*/ 53370 w 305715"/>
                <a:gd name="connsiteY2" fmla="*/ 16200 h 304724"/>
                <a:gd name="connsiteX3" fmla="*/ 0 w 305715"/>
                <a:gd name="connsiteY3" fmla="*/ 79980 h 304724"/>
                <a:gd name="connsiteX4" fmla="*/ 0 w 305715"/>
                <a:gd name="connsiteY4" fmla="*/ 88240 h 304724"/>
                <a:gd name="connsiteX5" fmla="*/ 40660 w 305715"/>
                <a:gd name="connsiteY5" fmla="*/ 153314 h 304724"/>
                <a:gd name="connsiteX6" fmla="*/ 53370 w 305715"/>
                <a:gd name="connsiteY6" fmla="*/ 159502 h 304724"/>
                <a:gd name="connsiteX7" fmla="*/ 53370 w 305715"/>
                <a:gd name="connsiteY7" fmla="*/ 264780 h 304724"/>
                <a:gd name="connsiteX8" fmla="*/ 22860 w 305715"/>
                <a:gd name="connsiteY8" fmla="*/ 224424 h 304724"/>
                <a:gd name="connsiteX9" fmla="*/ 22860 w 305715"/>
                <a:gd name="connsiteY9" fmla="*/ 209489 h 304724"/>
                <a:gd name="connsiteX10" fmla="*/ 11430 w 305715"/>
                <a:gd name="connsiteY10" fmla="*/ 198059 h 304724"/>
                <a:gd name="connsiteX11" fmla="*/ 0 w 305715"/>
                <a:gd name="connsiteY11" fmla="*/ 209489 h 304724"/>
                <a:gd name="connsiteX12" fmla="*/ 0 w 305715"/>
                <a:gd name="connsiteY12" fmla="*/ 224424 h 304724"/>
                <a:gd name="connsiteX13" fmla="*/ 53370 w 305715"/>
                <a:gd name="connsiteY13" fmla="*/ 288188 h 304724"/>
                <a:gd name="connsiteX14" fmla="*/ 53370 w 305715"/>
                <a:gd name="connsiteY14" fmla="*/ 293294 h 304724"/>
                <a:gd name="connsiteX15" fmla="*/ 64800 w 305715"/>
                <a:gd name="connsiteY15" fmla="*/ 304724 h 304724"/>
                <a:gd name="connsiteX16" fmla="*/ 76230 w 305715"/>
                <a:gd name="connsiteY16" fmla="*/ 293294 h 304724"/>
                <a:gd name="connsiteX17" fmla="*/ 76230 w 305715"/>
                <a:gd name="connsiteY17" fmla="*/ 288188 h 304724"/>
                <a:gd name="connsiteX18" fmla="*/ 129540 w 305715"/>
                <a:gd name="connsiteY18" fmla="*/ 224424 h 304724"/>
                <a:gd name="connsiteX19" fmla="*/ 129540 w 305715"/>
                <a:gd name="connsiteY19" fmla="*/ 216438 h 304724"/>
                <a:gd name="connsiteX20" fmla="*/ 88880 w 305715"/>
                <a:gd name="connsiteY20" fmla="*/ 151364 h 304724"/>
                <a:gd name="connsiteX21" fmla="*/ 76230 w 305715"/>
                <a:gd name="connsiteY21" fmla="*/ 145207 h 304724"/>
                <a:gd name="connsiteX22" fmla="*/ 76230 w 305715"/>
                <a:gd name="connsiteY22" fmla="*/ 39654 h 304724"/>
                <a:gd name="connsiteX23" fmla="*/ 106680 w 305715"/>
                <a:gd name="connsiteY23" fmla="*/ 79980 h 304724"/>
                <a:gd name="connsiteX24" fmla="*/ 106680 w 305715"/>
                <a:gd name="connsiteY24" fmla="*/ 95220 h 304724"/>
                <a:gd name="connsiteX25" fmla="*/ 118110 w 305715"/>
                <a:gd name="connsiteY25" fmla="*/ 106650 h 304724"/>
                <a:gd name="connsiteX26" fmla="*/ 129540 w 305715"/>
                <a:gd name="connsiteY26" fmla="*/ 95220 h 304724"/>
                <a:gd name="connsiteX27" fmla="*/ 129540 w 305715"/>
                <a:gd name="connsiteY27" fmla="*/ 79980 h 304724"/>
                <a:gd name="connsiteX28" fmla="*/ 76230 w 305715"/>
                <a:gd name="connsiteY28" fmla="*/ 16215 h 304724"/>
                <a:gd name="connsiteX29" fmla="*/ 76230 w 305715"/>
                <a:gd name="connsiteY29" fmla="*/ 11430 h 304724"/>
                <a:gd name="connsiteX30" fmla="*/ 64800 w 305715"/>
                <a:gd name="connsiteY30" fmla="*/ 0 h 304724"/>
                <a:gd name="connsiteX31" fmla="*/ 22860 w 305715"/>
                <a:gd name="connsiteY31" fmla="*/ 79980 h 304724"/>
                <a:gd name="connsiteX32" fmla="*/ 53370 w 305715"/>
                <a:gd name="connsiteY32" fmla="*/ 39624 h 304724"/>
                <a:gd name="connsiteX33" fmla="*/ 53370 w 305715"/>
                <a:gd name="connsiteY33" fmla="*/ 134051 h 304724"/>
                <a:gd name="connsiteX34" fmla="*/ 50688 w 305715"/>
                <a:gd name="connsiteY34" fmla="*/ 132740 h 304724"/>
                <a:gd name="connsiteX35" fmla="*/ 22860 w 305715"/>
                <a:gd name="connsiteY35" fmla="*/ 88240 h 304724"/>
                <a:gd name="connsiteX36" fmla="*/ 22860 w 305715"/>
                <a:gd name="connsiteY36" fmla="*/ 79980 h 304724"/>
                <a:gd name="connsiteX37" fmla="*/ 76230 w 305715"/>
                <a:gd name="connsiteY37" fmla="*/ 264749 h 304724"/>
                <a:gd name="connsiteX38" fmla="*/ 76230 w 305715"/>
                <a:gd name="connsiteY38" fmla="*/ 170642 h 304724"/>
                <a:gd name="connsiteX39" fmla="*/ 78852 w 305715"/>
                <a:gd name="connsiteY39" fmla="*/ 171922 h 304724"/>
                <a:gd name="connsiteX40" fmla="*/ 106680 w 305715"/>
                <a:gd name="connsiteY40" fmla="*/ 216423 h 304724"/>
                <a:gd name="connsiteX41" fmla="*/ 106680 w 305715"/>
                <a:gd name="connsiteY41" fmla="*/ 224424 h 304724"/>
                <a:gd name="connsiteX42" fmla="*/ 76230 w 305715"/>
                <a:gd name="connsiteY42" fmla="*/ 264749 h 304724"/>
                <a:gd name="connsiteX43" fmla="*/ 302819 w 305715"/>
                <a:gd name="connsiteY43" fmla="*/ 264018 h 304724"/>
                <a:gd name="connsiteX44" fmla="*/ 266700 w 305715"/>
                <a:gd name="connsiteY44" fmla="*/ 289530 h 304724"/>
                <a:gd name="connsiteX45" fmla="*/ 299954 w 305715"/>
                <a:gd name="connsiteY45" fmla="*/ 279928 h 304724"/>
                <a:gd name="connsiteX46" fmla="*/ 302819 w 305715"/>
                <a:gd name="connsiteY46" fmla="*/ 264018 h 304724"/>
                <a:gd name="connsiteX0" fmla="*/ 64800 w 299954"/>
                <a:gd name="connsiteY0" fmla="*/ 0 h 304724"/>
                <a:gd name="connsiteX1" fmla="*/ 53370 w 299954"/>
                <a:gd name="connsiteY1" fmla="*/ 11430 h 304724"/>
                <a:gd name="connsiteX2" fmla="*/ 53370 w 299954"/>
                <a:gd name="connsiteY2" fmla="*/ 16200 h 304724"/>
                <a:gd name="connsiteX3" fmla="*/ 0 w 299954"/>
                <a:gd name="connsiteY3" fmla="*/ 79980 h 304724"/>
                <a:gd name="connsiteX4" fmla="*/ 0 w 299954"/>
                <a:gd name="connsiteY4" fmla="*/ 88240 h 304724"/>
                <a:gd name="connsiteX5" fmla="*/ 40660 w 299954"/>
                <a:gd name="connsiteY5" fmla="*/ 153314 h 304724"/>
                <a:gd name="connsiteX6" fmla="*/ 53370 w 299954"/>
                <a:gd name="connsiteY6" fmla="*/ 159502 h 304724"/>
                <a:gd name="connsiteX7" fmla="*/ 53370 w 299954"/>
                <a:gd name="connsiteY7" fmla="*/ 264780 h 304724"/>
                <a:gd name="connsiteX8" fmla="*/ 22860 w 299954"/>
                <a:gd name="connsiteY8" fmla="*/ 224424 h 304724"/>
                <a:gd name="connsiteX9" fmla="*/ 22860 w 299954"/>
                <a:gd name="connsiteY9" fmla="*/ 209489 h 304724"/>
                <a:gd name="connsiteX10" fmla="*/ 11430 w 299954"/>
                <a:gd name="connsiteY10" fmla="*/ 198059 h 304724"/>
                <a:gd name="connsiteX11" fmla="*/ 0 w 299954"/>
                <a:gd name="connsiteY11" fmla="*/ 209489 h 304724"/>
                <a:gd name="connsiteX12" fmla="*/ 0 w 299954"/>
                <a:gd name="connsiteY12" fmla="*/ 224424 h 304724"/>
                <a:gd name="connsiteX13" fmla="*/ 53370 w 299954"/>
                <a:gd name="connsiteY13" fmla="*/ 288188 h 304724"/>
                <a:gd name="connsiteX14" fmla="*/ 53370 w 299954"/>
                <a:gd name="connsiteY14" fmla="*/ 293294 h 304724"/>
                <a:gd name="connsiteX15" fmla="*/ 64800 w 299954"/>
                <a:gd name="connsiteY15" fmla="*/ 304724 h 304724"/>
                <a:gd name="connsiteX16" fmla="*/ 76230 w 299954"/>
                <a:gd name="connsiteY16" fmla="*/ 293294 h 304724"/>
                <a:gd name="connsiteX17" fmla="*/ 76230 w 299954"/>
                <a:gd name="connsiteY17" fmla="*/ 288188 h 304724"/>
                <a:gd name="connsiteX18" fmla="*/ 129540 w 299954"/>
                <a:gd name="connsiteY18" fmla="*/ 224424 h 304724"/>
                <a:gd name="connsiteX19" fmla="*/ 129540 w 299954"/>
                <a:gd name="connsiteY19" fmla="*/ 216438 h 304724"/>
                <a:gd name="connsiteX20" fmla="*/ 88880 w 299954"/>
                <a:gd name="connsiteY20" fmla="*/ 151364 h 304724"/>
                <a:gd name="connsiteX21" fmla="*/ 76230 w 299954"/>
                <a:gd name="connsiteY21" fmla="*/ 145207 h 304724"/>
                <a:gd name="connsiteX22" fmla="*/ 76230 w 299954"/>
                <a:gd name="connsiteY22" fmla="*/ 39654 h 304724"/>
                <a:gd name="connsiteX23" fmla="*/ 106680 w 299954"/>
                <a:gd name="connsiteY23" fmla="*/ 79980 h 304724"/>
                <a:gd name="connsiteX24" fmla="*/ 106680 w 299954"/>
                <a:gd name="connsiteY24" fmla="*/ 95220 h 304724"/>
                <a:gd name="connsiteX25" fmla="*/ 118110 w 299954"/>
                <a:gd name="connsiteY25" fmla="*/ 106650 h 304724"/>
                <a:gd name="connsiteX26" fmla="*/ 129540 w 299954"/>
                <a:gd name="connsiteY26" fmla="*/ 95220 h 304724"/>
                <a:gd name="connsiteX27" fmla="*/ 129540 w 299954"/>
                <a:gd name="connsiteY27" fmla="*/ 79980 h 304724"/>
                <a:gd name="connsiteX28" fmla="*/ 76230 w 299954"/>
                <a:gd name="connsiteY28" fmla="*/ 16215 h 304724"/>
                <a:gd name="connsiteX29" fmla="*/ 76230 w 299954"/>
                <a:gd name="connsiteY29" fmla="*/ 11430 h 304724"/>
                <a:gd name="connsiteX30" fmla="*/ 64800 w 299954"/>
                <a:gd name="connsiteY30" fmla="*/ 0 h 304724"/>
                <a:gd name="connsiteX31" fmla="*/ 22860 w 299954"/>
                <a:gd name="connsiteY31" fmla="*/ 79980 h 304724"/>
                <a:gd name="connsiteX32" fmla="*/ 53370 w 299954"/>
                <a:gd name="connsiteY32" fmla="*/ 39624 h 304724"/>
                <a:gd name="connsiteX33" fmla="*/ 53370 w 299954"/>
                <a:gd name="connsiteY33" fmla="*/ 134051 h 304724"/>
                <a:gd name="connsiteX34" fmla="*/ 50688 w 299954"/>
                <a:gd name="connsiteY34" fmla="*/ 132740 h 304724"/>
                <a:gd name="connsiteX35" fmla="*/ 22860 w 299954"/>
                <a:gd name="connsiteY35" fmla="*/ 88240 h 304724"/>
                <a:gd name="connsiteX36" fmla="*/ 22860 w 299954"/>
                <a:gd name="connsiteY36" fmla="*/ 79980 h 304724"/>
                <a:gd name="connsiteX37" fmla="*/ 76230 w 299954"/>
                <a:gd name="connsiteY37" fmla="*/ 264749 h 304724"/>
                <a:gd name="connsiteX38" fmla="*/ 76230 w 299954"/>
                <a:gd name="connsiteY38" fmla="*/ 170642 h 304724"/>
                <a:gd name="connsiteX39" fmla="*/ 78852 w 299954"/>
                <a:gd name="connsiteY39" fmla="*/ 171922 h 304724"/>
                <a:gd name="connsiteX40" fmla="*/ 106680 w 299954"/>
                <a:gd name="connsiteY40" fmla="*/ 216423 h 304724"/>
                <a:gd name="connsiteX41" fmla="*/ 106680 w 299954"/>
                <a:gd name="connsiteY41" fmla="*/ 224424 h 304724"/>
                <a:gd name="connsiteX42" fmla="*/ 76230 w 299954"/>
                <a:gd name="connsiteY42" fmla="*/ 264749 h 304724"/>
                <a:gd name="connsiteX43" fmla="*/ 299954 w 299954"/>
                <a:gd name="connsiteY43" fmla="*/ 279928 h 304724"/>
                <a:gd name="connsiteX44" fmla="*/ 266700 w 299954"/>
                <a:gd name="connsiteY44" fmla="*/ 289530 h 304724"/>
                <a:gd name="connsiteX45" fmla="*/ 299954 w 299954"/>
                <a:gd name="connsiteY45" fmla="*/ 279928 h 304724"/>
                <a:gd name="connsiteX0" fmla="*/ 64800 w 129540"/>
                <a:gd name="connsiteY0" fmla="*/ 0 h 304724"/>
                <a:gd name="connsiteX1" fmla="*/ 53370 w 129540"/>
                <a:gd name="connsiteY1" fmla="*/ 11430 h 304724"/>
                <a:gd name="connsiteX2" fmla="*/ 53370 w 129540"/>
                <a:gd name="connsiteY2" fmla="*/ 16200 h 304724"/>
                <a:gd name="connsiteX3" fmla="*/ 0 w 129540"/>
                <a:gd name="connsiteY3" fmla="*/ 79980 h 304724"/>
                <a:gd name="connsiteX4" fmla="*/ 0 w 129540"/>
                <a:gd name="connsiteY4" fmla="*/ 88240 h 304724"/>
                <a:gd name="connsiteX5" fmla="*/ 40660 w 129540"/>
                <a:gd name="connsiteY5" fmla="*/ 153314 h 304724"/>
                <a:gd name="connsiteX6" fmla="*/ 53370 w 129540"/>
                <a:gd name="connsiteY6" fmla="*/ 159502 h 304724"/>
                <a:gd name="connsiteX7" fmla="*/ 53370 w 129540"/>
                <a:gd name="connsiteY7" fmla="*/ 264780 h 304724"/>
                <a:gd name="connsiteX8" fmla="*/ 22860 w 129540"/>
                <a:gd name="connsiteY8" fmla="*/ 224424 h 304724"/>
                <a:gd name="connsiteX9" fmla="*/ 22860 w 129540"/>
                <a:gd name="connsiteY9" fmla="*/ 209489 h 304724"/>
                <a:gd name="connsiteX10" fmla="*/ 11430 w 129540"/>
                <a:gd name="connsiteY10" fmla="*/ 198059 h 304724"/>
                <a:gd name="connsiteX11" fmla="*/ 0 w 129540"/>
                <a:gd name="connsiteY11" fmla="*/ 209489 h 304724"/>
                <a:gd name="connsiteX12" fmla="*/ 0 w 129540"/>
                <a:gd name="connsiteY12" fmla="*/ 224424 h 304724"/>
                <a:gd name="connsiteX13" fmla="*/ 53370 w 129540"/>
                <a:gd name="connsiteY13" fmla="*/ 288188 h 304724"/>
                <a:gd name="connsiteX14" fmla="*/ 53370 w 129540"/>
                <a:gd name="connsiteY14" fmla="*/ 293294 h 304724"/>
                <a:gd name="connsiteX15" fmla="*/ 64800 w 129540"/>
                <a:gd name="connsiteY15" fmla="*/ 304724 h 304724"/>
                <a:gd name="connsiteX16" fmla="*/ 76230 w 129540"/>
                <a:gd name="connsiteY16" fmla="*/ 293294 h 304724"/>
                <a:gd name="connsiteX17" fmla="*/ 76230 w 129540"/>
                <a:gd name="connsiteY17" fmla="*/ 288188 h 304724"/>
                <a:gd name="connsiteX18" fmla="*/ 129540 w 129540"/>
                <a:gd name="connsiteY18" fmla="*/ 224424 h 304724"/>
                <a:gd name="connsiteX19" fmla="*/ 129540 w 129540"/>
                <a:gd name="connsiteY19" fmla="*/ 216438 h 304724"/>
                <a:gd name="connsiteX20" fmla="*/ 88880 w 129540"/>
                <a:gd name="connsiteY20" fmla="*/ 151364 h 304724"/>
                <a:gd name="connsiteX21" fmla="*/ 76230 w 129540"/>
                <a:gd name="connsiteY21" fmla="*/ 145207 h 304724"/>
                <a:gd name="connsiteX22" fmla="*/ 76230 w 129540"/>
                <a:gd name="connsiteY22" fmla="*/ 39654 h 304724"/>
                <a:gd name="connsiteX23" fmla="*/ 106680 w 129540"/>
                <a:gd name="connsiteY23" fmla="*/ 79980 h 304724"/>
                <a:gd name="connsiteX24" fmla="*/ 106680 w 129540"/>
                <a:gd name="connsiteY24" fmla="*/ 95220 h 304724"/>
                <a:gd name="connsiteX25" fmla="*/ 118110 w 129540"/>
                <a:gd name="connsiteY25" fmla="*/ 106650 h 304724"/>
                <a:gd name="connsiteX26" fmla="*/ 129540 w 129540"/>
                <a:gd name="connsiteY26" fmla="*/ 95220 h 304724"/>
                <a:gd name="connsiteX27" fmla="*/ 129540 w 129540"/>
                <a:gd name="connsiteY27" fmla="*/ 79980 h 304724"/>
                <a:gd name="connsiteX28" fmla="*/ 76230 w 129540"/>
                <a:gd name="connsiteY28" fmla="*/ 16215 h 304724"/>
                <a:gd name="connsiteX29" fmla="*/ 76230 w 129540"/>
                <a:gd name="connsiteY29" fmla="*/ 11430 h 304724"/>
                <a:gd name="connsiteX30" fmla="*/ 64800 w 129540"/>
                <a:gd name="connsiteY30" fmla="*/ 0 h 304724"/>
                <a:gd name="connsiteX31" fmla="*/ 22860 w 129540"/>
                <a:gd name="connsiteY31" fmla="*/ 79980 h 304724"/>
                <a:gd name="connsiteX32" fmla="*/ 53370 w 129540"/>
                <a:gd name="connsiteY32" fmla="*/ 39624 h 304724"/>
                <a:gd name="connsiteX33" fmla="*/ 53370 w 129540"/>
                <a:gd name="connsiteY33" fmla="*/ 134051 h 304724"/>
                <a:gd name="connsiteX34" fmla="*/ 50688 w 129540"/>
                <a:gd name="connsiteY34" fmla="*/ 132740 h 304724"/>
                <a:gd name="connsiteX35" fmla="*/ 22860 w 129540"/>
                <a:gd name="connsiteY35" fmla="*/ 88240 h 304724"/>
                <a:gd name="connsiteX36" fmla="*/ 22860 w 129540"/>
                <a:gd name="connsiteY36" fmla="*/ 79980 h 304724"/>
                <a:gd name="connsiteX37" fmla="*/ 76230 w 129540"/>
                <a:gd name="connsiteY37" fmla="*/ 264749 h 304724"/>
                <a:gd name="connsiteX38" fmla="*/ 76230 w 129540"/>
                <a:gd name="connsiteY38" fmla="*/ 170642 h 304724"/>
                <a:gd name="connsiteX39" fmla="*/ 78852 w 129540"/>
                <a:gd name="connsiteY39" fmla="*/ 171922 h 304724"/>
                <a:gd name="connsiteX40" fmla="*/ 106680 w 129540"/>
                <a:gd name="connsiteY40" fmla="*/ 216423 h 304724"/>
                <a:gd name="connsiteX41" fmla="*/ 106680 w 129540"/>
                <a:gd name="connsiteY41" fmla="*/ 224424 h 304724"/>
                <a:gd name="connsiteX42" fmla="*/ 76230 w 129540"/>
                <a:gd name="connsiteY42" fmla="*/ 264749 h 30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9540" h="304724">
                  <a:moveTo>
                    <a:pt x="64800" y="0"/>
                  </a:moveTo>
                  <a:cubicBezTo>
                    <a:pt x="58488" y="0"/>
                    <a:pt x="53370" y="5117"/>
                    <a:pt x="53370" y="11430"/>
                  </a:cubicBezTo>
                  <a:lnTo>
                    <a:pt x="53370" y="16200"/>
                  </a:lnTo>
                  <a:cubicBezTo>
                    <a:pt x="22482" y="21729"/>
                    <a:pt x="-4" y="48600"/>
                    <a:pt x="0" y="79980"/>
                  </a:cubicBezTo>
                  <a:lnTo>
                    <a:pt x="0" y="88240"/>
                  </a:lnTo>
                  <a:cubicBezTo>
                    <a:pt x="-4" y="115921"/>
                    <a:pt x="15779" y="141182"/>
                    <a:pt x="40660" y="153314"/>
                  </a:cubicBezTo>
                  <a:lnTo>
                    <a:pt x="53370" y="159502"/>
                  </a:lnTo>
                  <a:lnTo>
                    <a:pt x="53370" y="264780"/>
                  </a:lnTo>
                  <a:cubicBezTo>
                    <a:pt x="35316" y="259671"/>
                    <a:pt x="22854" y="243188"/>
                    <a:pt x="22860" y="224424"/>
                  </a:cubicBezTo>
                  <a:lnTo>
                    <a:pt x="22860" y="209489"/>
                  </a:lnTo>
                  <a:cubicBezTo>
                    <a:pt x="22860" y="203177"/>
                    <a:pt x="17743" y="198059"/>
                    <a:pt x="11430" y="198059"/>
                  </a:cubicBezTo>
                  <a:cubicBezTo>
                    <a:pt x="5117" y="198059"/>
                    <a:pt x="0" y="203177"/>
                    <a:pt x="0" y="209489"/>
                  </a:cubicBezTo>
                  <a:lnTo>
                    <a:pt x="0" y="224424"/>
                  </a:lnTo>
                  <a:cubicBezTo>
                    <a:pt x="4" y="255797"/>
                    <a:pt x="22488" y="282661"/>
                    <a:pt x="53370" y="288188"/>
                  </a:cubicBezTo>
                  <a:lnTo>
                    <a:pt x="53370" y="293294"/>
                  </a:lnTo>
                  <a:cubicBezTo>
                    <a:pt x="53370" y="299606"/>
                    <a:pt x="58488" y="304724"/>
                    <a:pt x="64800" y="304724"/>
                  </a:cubicBezTo>
                  <a:cubicBezTo>
                    <a:pt x="71113" y="304724"/>
                    <a:pt x="76230" y="299606"/>
                    <a:pt x="76230" y="293294"/>
                  </a:cubicBezTo>
                  <a:lnTo>
                    <a:pt x="76230" y="288188"/>
                  </a:lnTo>
                  <a:cubicBezTo>
                    <a:pt x="107089" y="282635"/>
                    <a:pt x="129542" y="255779"/>
                    <a:pt x="129540" y="224424"/>
                  </a:cubicBezTo>
                  <a:lnTo>
                    <a:pt x="129540" y="216438"/>
                  </a:lnTo>
                  <a:cubicBezTo>
                    <a:pt x="129543" y="188757"/>
                    <a:pt x="113761" y="163496"/>
                    <a:pt x="88880" y="151364"/>
                  </a:cubicBezTo>
                  <a:lnTo>
                    <a:pt x="76230" y="145207"/>
                  </a:lnTo>
                  <a:lnTo>
                    <a:pt x="76230" y="39654"/>
                  </a:lnTo>
                  <a:cubicBezTo>
                    <a:pt x="94250" y="44783"/>
                    <a:pt x="106680" y="61244"/>
                    <a:pt x="106680" y="79980"/>
                  </a:cubicBezTo>
                  <a:lnTo>
                    <a:pt x="106680" y="95220"/>
                  </a:lnTo>
                  <a:cubicBezTo>
                    <a:pt x="106680" y="101532"/>
                    <a:pt x="111797" y="106650"/>
                    <a:pt x="118110" y="106650"/>
                  </a:cubicBezTo>
                  <a:cubicBezTo>
                    <a:pt x="124422" y="106650"/>
                    <a:pt x="129540" y="101532"/>
                    <a:pt x="129540" y="95220"/>
                  </a:cubicBezTo>
                  <a:lnTo>
                    <a:pt x="129540" y="79980"/>
                  </a:lnTo>
                  <a:cubicBezTo>
                    <a:pt x="129540" y="48113"/>
                    <a:pt x="106528" y="21610"/>
                    <a:pt x="76230" y="16215"/>
                  </a:cubicBezTo>
                  <a:lnTo>
                    <a:pt x="76230" y="11430"/>
                  </a:lnTo>
                  <a:cubicBezTo>
                    <a:pt x="76230" y="5117"/>
                    <a:pt x="71113" y="0"/>
                    <a:pt x="64800" y="0"/>
                  </a:cubicBezTo>
                  <a:close/>
                  <a:moveTo>
                    <a:pt x="22860" y="79980"/>
                  </a:moveTo>
                  <a:cubicBezTo>
                    <a:pt x="22860" y="60777"/>
                    <a:pt x="35768" y="44592"/>
                    <a:pt x="53370" y="39624"/>
                  </a:cubicBezTo>
                  <a:lnTo>
                    <a:pt x="53370" y="134051"/>
                  </a:lnTo>
                  <a:lnTo>
                    <a:pt x="50688" y="132740"/>
                  </a:lnTo>
                  <a:cubicBezTo>
                    <a:pt x="33669" y="124445"/>
                    <a:pt x="22868" y="107173"/>
                    <a:pt x="22860" y="88240"/>
                  </a:cubicBezTo>
                  <a:lnTo>
                    <a:pt x="22860" y="79980"/>
                  </a:lnTo>
                  <a:close/>
                  <a:moveTo>
                    <a:pt x="76230" y="264749"/>
                  </a:moveTo>
                  <a:lnTo>
                    <a:pt x="76230" y="170642"/>
                  </a:lnTo>
                  <a:lnTo>
                    <a:pt x="78852" y="171922"/>
                  </a:lnTo>
                  <a:cubicBezTo>
                    <a:pt x="95871" y="180218"/>
                    <a:pt x="106672" y="197491"/>
                    <a:pt x="106680" y="216423"/>
                  </a:cubicBezTo>
                  <a:lnTo>
                    <a:pt x="106680" y="224424"/>
                  </a:lnTo>
                  <a:cubicBezTo>
                    <a:pt x="106680" y="243160"/>
                    <a:pt x="94250" y="259621"/>
                    <a:pt x="76230" y="264749"/>
                  </a:cubicBezTo>
                  <a:close/>
                </a:path>
              </a:pathLst>
            </a:custGeom>
            <a:solidFill>
              <a:schemeClr val="tx1"/>
            </a:solidFill>
            <a:ln w="1508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18" name="Group 17">
            <a:extLst>
              <a:ext uri="{FF2B5EF4-FFF2-40B4-BE49-F238E27FC236}">
                <a16:creationId xmlns:a16="http://schemas.microsoft.com/office/drawing/2014/main" id="{8D55503C-0CF5-ED71-74D9-833880DC35B1}"/>
              </a:ext>
              <a:ext uri="{C183D7F6-B498-43B3-948B-1728B52AA6E4}">
                <adec:decorative xmlns:adec="http://schemas.microsoft.com/office/drawing/2017/decorative" val="1"/>
              </a:ext>
            </a:extLst>
          </p:cNvPr>
          <p:cNvGrpSpPr/>
          <p:nvPr/>
        </p:nvGrpSpPr>
        <p:grpSpPr>
          <a:xfrm>
            <a:off x="3284293" y="2845602"/>
            <a:ext cx="1119995" cy="1119995"/>
            <a:chOff x="3284293" y="2845602"/>
            <a:chExt cx="1119995" cy="1119995"/>
          </a:xfrm>
        </p:grpSpPr>
        <p:sp>
          <p:nvSpPr>
            <p:cNvPr id="19" name="Oval 18">
              <a:extLst>
                <a:ext uri="{FF2B5EF4-FFF2-40B4-BE49-F238E27FC236}">
                  <a16:creationId xmlns:a16="http://schemas.microsoft.com/office/drawing/2014/main" id="{171CB210-438A-00F2-C1DA-B88022DB0D4B}"/>
                </a:ext>
                <a:ext uri="{C183D7F6-B498-43B3-948B-1728B52AA6E4}">
                  <adec:decorative xmlns:adec="http://schemas.microsoft.com/office/drawing/2017/decorative" val="1"/>
                </a:ext>
              </a:extLst>
            </p:cNvPr>
            <p:cNvSpPr/>
            <p:nvPr/>
          </p:nvSpPr>
          <p:spPr>
            <a:xfrm>
              <a:off x="3284293" y="2845602"/>
              <a:ext cx="1119995" cy="1119995"/>
            </a:xfrm>
            <a:prstGeom prst="ellipse">
              <a:avLst/>
            </a:prstGeom>
            <a:solidFill>
              <a:schemeClr val="bg1"/>
            </a:solidFill>
            <a:ln w="34925" cap="flat" cmpd="sng" algn="ctr">
              <a:gradFill flip="none" rotWithShape="1">
                <a:gsLst>
                  <a:gs pos="79000">
                    <a:srgbClr val="599FFD"/>
                  </a:gs>
                  <a:gs pos="42000">
                    <a:srgbClr val="A5B8EE"/>
                  </a:gs>
                  <a:gs pos="0">
                    <a:srgbClr val="FADC14"/>
                  </a:gs>
                </a:gsLst>
                <a:lin ang="2700000" scaled="1"/>
                <a:tileRect/>
              </a:gradFill>
              <a:prstDash val="solid"/>
              <a:headEnd type="none" w="med" len="sm"/>
              <a:tailEnd type="arrow" w="lg" len="med"/>
            </a:ln>
            <a:effectLst/>
          </p:spPr>
          <p:txBody>
            <a:bodyPr rot="0" spcFirstLastPara="0" vertOverflow="overflow" horzOverflow="overflow" vert="horz" wrap="square" lIns="137160" tIns="91440" rIns="137160" bIns="137160" numCol="1" spcCol="0" rtlCol="0" fromWordArt="0" anchor="ctr" anchorCtr="0" forceAA="0" compatLnSpc="1">
              <a:prstTxWarp prst="textNoShape">
                <a:avLst/>
              </a:prstTxWarp>
              <a:noAutofit/>
            </a:bodyPr>
            <a:lstStyle/>
            <a:p>
              <a:pPr marL="0" marR="0" lvl="0" indent="0" algn="l" defTabSz="932754" rtl="0" eaLnBrk="1" fontAlgn="auto" latinLnBrk="0" hangingPunct="1">
                <a:lnSpc>
                  <a:spcPct val="100000"/>
                </a:lnSpc>
                <a:spcBef>
                  <a:spcPts val="0"/>
                </a:spcBef>
                <a:spcAft>
                  <a:spcPts val="600"/>
                </a:spcAft>
                <a:buClrTx/>
                <a:buSzPct val="90000"/>
                <a:buFontTx/>
                <a:buNone/>
                <a:tabLst/>
                <a:defRPr/>
              </a:pPr>
              <a:endParaRPr kumimoji="0" lang="en-US" sz="1900" b="0" i="0" u="none" strike="noStrike" kern="0" cap="none" spc="0" normalizeH="0" baseline="0" noProof="0">
                <a:ln>
                  <a:noFill/>
                </a:ln>
                <a:solidFill>
                  <a:srgbClr val="FFFFFF"/>
                </a:solidFill>
                <a:effectLst/>
                <a:uLnTx/>
                <a:uFillTx/>
                <a:latin typeface="Segoe Sans Display"/>
                <a:ea typeface="+mn-ea"/>
                <a:cs typeface="Segoe Sans Display Semilight" pitchFamily="2" charset="0"/>
              </a:endParaRPr>
            </a:p>
          </p:txBody>
        </p:sp>
        <p:pic>
          <p:nvPicPr>
            <p:cNvPr id="20" name="Graphic 19">
              <a:extLst>
                <a:ext uri="{FF2B5EF4-FFF2-40B4-BE49-F238E27FC236}">
                  <a16:creationId xmlns:a16="http://schemas.microsoft.com/office/drawing/2014/main" id="{4745FFFF-BB94-700E-3BC2-A96D25106073}"/>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483924" y="3045233"/>
              <a:ext cx="720732" cy="720732"/>
            </a:xfrm>
            <a:prstGeom prst="rect">
              <a:avLst/>
            </a:prstGeom>
          </p:spPr>
        </p:pic>
      </p:grpSp>
      <p:grpSp>
        <p:nvGrpSpPr>
          <p:cNvPr id="21" name="Group 20">
            <a:extLst>
              <a:ext uri="{FF2B5EF4-FFF2-40B4-BE49-F238E27FC236}">
                <a16:creationId xmlns:a16="http://schemas.microsoft.com/office/drawing/2014/main" id="{48F7BF3E-B37E-6DCA-D608-D2F6EBE9CFB7}"/>
              </a:ext>
              <a:ext uri="{C183D7F6-B498-43B3-948B-1728B52AA6E4}">
                <adec:decorative xmlns:adec="http://schemas.microsoft.com/office/drawing/2017/decorative" val="1"/>
              </a:ext>
            </a:extLst>
          </p:cNvPr>
          <p:cNvGrpSpPr/>
          <p:nvPr/>
        </p:nvGrpSpPr>
        <p:grpSpPr>
          <a:xfrm>
            <a:off x="10039423" y="2845602"/>
            <a:ext cx="1119995" cy="1119995"/>
            <a:chOff x="10039423" y="2845602"/>
            <a:chExt cx="1119995" cy="1119995"/>
          </a:xfrm>
        </p:grpSpPr>
        <p:sp>
          <p:nvSpPr>
            <p:cNvPr id="22" name="Oval 21">
              <a:extLst>
                <a:ext uri="{FF2B5EF4-FFF2-40B4-BE49-F238E27FC236}">
                  <a16:creationId xmlns:a16="http://schemas.microsoft.com/office/drawing/2014/main" id="{55528CE9-5CE8-3FA4-29B4-2C8BC4581226}"/>
                </a:ext>
              </a:extLst>
            </p:cNvPr>
            <p:cNvSpPr/>
            <p:nvPr/>
          </p:nvSpPr>
          <p:spPr>
            <a:xfrm>
              <a:off x="10039423" y="2845602"/>
              <a:ext cx="1119995" cy="1119995"/>
            </a:xfrm>
            <a:prstGeom prst="ellipse">
              <a:avLst/>
            </a:prstGeom>
            <a:solidFill>
              <a:schemeClr val="bg1"/>
            </a:solidFill>
            <a:ln w="34925" cap="flat" cmpd="sng" algn="ctr">
              <a:gradFill flip="none" rotWithShape="1">
                <a:gsLst>
                  <a:gs pos="79000">
                    <a:srgbClr val="599FFD"/>
                  </a:gs>
                  <a:gs pos="42000">
                    <a:srgbClr val="A5B8EE"/>
                  </a:gs>
                  <a:gs pos="0">
                    <a:srgbClr val="FADC14"/>
                  </a:gs>
                </a:gsLst>
                <a:lin ang="2700000" scaled="1"/>
                <a:tileRect/>
              </a:gradFill>
              <a:prstDash val="solid"/>
              <a:headEnd type="none" w="med" len="sm"/>
              <a:tailEnd type="arrow" w="lg" len="med"/>
            </a:ln>
            <a:effectLst/>
          </p:spPr>
          <p:txBody>
            <a:bodyPr rot="0" spcFirstLastPara="0" vertOverflow="overflow" horzOverflow="overflow" vert="horz" wrap="square" lIns="137160" tIns="91440" rIns="137160" bIns="137160" numCol="1" spcCol="0" rtlCol="0" fromWordArt="0" anchor="ctr" anchorCtr="0" forceAA="0" compatLnSpc="1">
              <a:prstTxWarp prst="textNoShape">
                <a:avLst/>
              </a:prstTxWarp>
              <a:noAutofit/>
            </a:bodyPr>
            <a:lstStyle/>
            <a:p>
              <a:pPr marL="0" marR="0" lvl="0" indent="0" algn="l" defTabSz="932754" rtl="0" eaLnBrk="1" fontAlgn="auto" latinLnBrk="0" hangingPunct="1">
                <a:lnSpc>
                  <a:spcPct val="100000"/>
                </a:lnSpc>
                <a:spcBef>
                  <a:spcPts val="0"/>
                </a:spcBef>
                <a:spcAft>
                  <a:spcPts val="600"/>
                </a:spcAft>
                <a:buClrTx/>
                <a:buSzPct val="90000"/>
                <a:buFontTx/>
                <a:buNone/>
                <a:tabLst/>
                <a:defRPr/>
              </a:pPr>
              <a:endParaRPr kumimoji="0" lang="en-US" sz="1900" b="0" i="0" u="none" strike="noStrike" kern="0" cap="none" spc="0" normalizeH="0" baseline="0" noProof="0">
                <a:ln>
                  <a:noFill/>
                </a:ln>
                <a:solidFill>
                  <a:srgbClr val="FFFFFF"/>
                </a:solidFill>
                <a:effectLst/>
                <a:uLnTx/>
                <a:uFillTx/>
                <a:latin typeface="Segoe Sans Display"/>
                <a:ea typeface="+mn-ea"/>
                <a:cs typeface="Segoe Sans Display Semilight" pitchFamily="2" charset="0"/>
              </a:endParaRPr>
            </a:p>
          </p:txBody>
        </p:sp>
        <p:pic>
          <p:nvPicPr>
            <p:cNvPr id="23" name="Graphic 22">
              <a:extLst>
                <a:ext uri="{FF2B5EF4-FFF2-40B4-BE49-F238E27FC236}">
                  <a16:creationId xmlns:a16="http://schemas.microsoft.com/office/drawing/2014/main" id="{14CB5A92-4419-0810-DCCA-3EB5677E058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248748" y="3054927"/>
              <a:ext cx="701344" cy="701344"/>
            </a:xfrm>
            <a:prstGeom prst="rect">
              <a:avLst/>
            </a:prstGeom>
          </p:spPr>
        </p:pic>
      </p:grpSp>
      <p:grpSp>
        <p:nvGrpSpPr>
          <p:cNvPr id="34" name="Group 33">
            <a:extLst>
              <a:ext uri="{FF2B5EF4-FFF2-40B4-BE49-F238E27FC236}">
                <a16:creationId xmlns:a16="http://schemas.microsoft.com/office/drawing/2014/main" id="{6A5B635B-6BBD-991E-2CE6-A7E103E05728}"/>
              </a:ext>
              <a:ext uri="{C183D7F6-B498-43B3-948B-1728B52AA6E4}">
                <adec:decorative xmlns:adec="http://schemas.microsoft.com/office/drawing/2017/decorative" val="1"/>
              </a:ext>
            </a:extLst>
          </p:cNvPr>
          <p:cNvGrpSpPr/>
          <p:nvPr/>
        </p:nvGrpSpPr>
        <p:grpSpPr>
          <a:xfrm>
            <a:off x="-2036882" y="-4583129"/>
            <a:ext cx="16291963" cy="6858000"/>
            <a:chOff x="-2036882" y="-4583129"/>
            <a:chExt cx="16291963" cy="6858000"/>
          </a:xfrm>
        </p:grpSpPr>
        <p:pic>
          <p:nvPicPr>
            <p:cNvPr id="2" name="Picture 1">
              <a:extLst>
                <a:ext uri="{FF2B5EF4-FFF2-40B4-BE49-F238E27FC236}">
                  <a16:creationId xmlns:a16="http://schemas.microsoft.com/office/drawing/2014/main" id="{71A77A30-49F6-8B85-3FB6-30EC72E1FFD0}"/>
                </a:ext>
                <a:ext uri="{C183D7F6-B498-43B3-948B-1728B52AA6E4}">
                  <adec:decorative xmlns:adec="http://schemas.microsoft.com/office/drawing/2017/decorative" val="1"/>
                </a:ext>
              </a:extLst>
            </p:cNvPr>
            <p:cNvPicPr>
              <a:picLocks noChangeAspect="1"/>
            </p:cNvPicPr>
            <p:nvPr/>
          </p:nvPicPr>
          <p:blipFill>
            <a:blip r:embed="rId13"/>
            <a:stretch>
              <a:fillRect/>
            </a:stretch>
          </p:blipFill>
          <p:spPr>
            <a:xfrm>
              <a:off x="-2036882" y="-4583129"/>
              <a:ext cx="7008263" cy="6858000"/>
            </a:xfrm>
            <a:prstGeom prst="rect">
              <a:avLst/>
            </a:prstGeom>
          </p:spPr>
        </p:pic>
        <p:pic>
          <p:nvPicPr>
            <p:cNvPr id="24" name="Picture 23">
              <a:extLst>
                <a:ext uri="{FF2B5EF4-FFF2-40B4-BE49-F238E27FC236}">
                  <a16:creationId xmlns:a16="http://schemas.microsoft.com/office/drawing/2014/main" id="{63884412-C05F-79AD-FCC5-46B596987B2D}"/>
                </a:ext>
                <a:ext uri="{C183D7F6-B498-43B3-948B-1728B52AA6E4}">
                  <adec:decorative xmlns:adec="http://schemas.microsoft.com/office/drawing/2017/decorative" val="1"/>
                </a:ext>
              </a:extLst>
            </p:cNvPr>
            <p:cNvPicPr>
              <a:picLocks noChangeAspect="1"/>
            </p:cNvPicPr>
            <p:nvPr/>
          </p:nvPicPr>
          <p:blipFill>
            <a:blip r:embed="rId13"/>
            <a:stretch>
              <a:fillRect/>
            </a:stretch>
          </p:blipFill>
          <p:spPr>
            <a:xfrm>
              <a:off x="2611318" y="-4583129"/>
              <a:ext cx="7008263" cy="6858000"/>
            </a:xfrm>
            <a:prstGeom prst="rect">
              <a:avLst/>
            </a:prstGeom>
          </p:spPr>
        </p:pic>
        <p:pic>
          <p:nvPicPr>
            <p:cNvPr id="33" name="Picture 32">
              <a:extLst>
                <a:ext uri="{FF2B5EF4-FFF2-40B4-BE49-F238E27FC236}">
                  <a16:creationId xmlns:a16="http://schemas.microsoft.com/office/drawing/2014/main" id="{1D170CE0-94CC-6C2A-B610-F467D5EDD89F}"/>
                </a:ext>
                <a:ext uri="{C183D7F6-B498-43B3-948B-1728B52AA6E4}">
                  <adec:decorative xmlns:adec="http://schemas.microsoft.com/office/drawing/2017/decorative" val="1"/>
                </a:ext>
              </a:extLst>
            </p:cNvPr>
            <p:cNvPicPr>
              <a:picLocks noChangeAspect="1"/>
            </p:cNvPicPr>
            <p:nvPr/>
          </p:nvPicPr>
          <p:blipFill>
            <a:blip r:embed="rId13"/>
            <a:stretch>
              <a:fillRect/>
            </a:stretch>
          </p:blipFill>
          <p:spPr>
            <a:xfrm>
              <a:off x="7246818" y="-4583129"/>
              <a:ext cx="7008263" cy="6858000"/>
            </a:xfrm>
            <a:prstGeom prst="rect">
              <a:avLst/>
            </a:prstGeom>
          </p:spPr>
        </p:pic>
      </p:grpSp>
      <p:grpSp>
        <p:nvGrpSpPr>
          <p:cNvPr id="35" name="Group 34">
            <a:extLst>
              <a:ext uri="{FF2B5EF4-FFF2-40B4-BE49-F238E27FC236}">
                <a16:creationId xmlns:a16="http://schemas.microsoft.com/office/drawing/2014/main" id="{E56B4E17-A02F-70C2-BD82-545E2886244E}"/>
              </a:ext>
              <a:ext uri="{C183D7F6-B498-43B3-948B-1728B52AA6E4}">
                <adec:decorative xmlns:adec="http://schemas.microsoft.com/office/drawing/2017/decorative" val="1"/>
              </a:ext>
            </a:extLst>
          </p:cNvPr>
          <p:cNvGrpSpPr/>
          <p:nvPr/>
        </p:nvGrpSpPr>
        <p:grpSpPr>
          <a:xfrm>
            <a:off x="-2036882" y="4462447"/>
            <a:ext cx="16291963" cy="6858000"/>
            <a:chOff x="-2036882" y="-4583129"/>
            <a:chExt cx="16291963" cy="6858000"/>
          </a:xfrm>
        </p:grpSpPr>
        <p:pic>
          <p:nvPicPr>
            <p:cNvPr id="36" name="Picture 35">
              <a:extLst>
                <a:ext uri="{FF2B5EF4-FFF2-40B4-BE49-F238E27FC236}">
                  <a16:creationId xmlns:a16="http://schemas.microsoft.com/office/drawing/2014/main" id="{2E84CBCE-BBDF-90F0-CE05-D3A9F9A2ADA4}"/>
                </a:ext>
                <a:ext uri="{C183D7F6-B498-43B3-948B-1728B52AA6E4}">
                  <adec:decorative xmlns:adec="http://schemas.microsoft.com/office/drawing/2017/decorative" val="1"/>
                </a:ext>
              </a:extLst>
            </p:cNvPr>
            <p:cNvPicPr>
              <a:picLocks noChangeAspect="1"/>
            </p:cNvPicPr>
            <p:nvPr/>
          </p:nvPicPr>
          <p:blipFill>
            <a:blip r:embed="rId13"/>
            <a:stretch>
              <a:fillRect/>
            </a:stretch>
          </p:blipFill>
          <p:spPr>
            <a:xfrm>
              <a:off x="-2036882" y="-4583129"/>
              <a:ext cx="7008263" cy="6858000"/>
            </a:xfrm>
            <a:prstGeom prst="rect">
              <a:avLst/>
            </a:prstGeom>
          </p:spPr>
        </p:pic>
        <p:pic>
          <p:nvPicPr>
            <p:cNvPr id="37" name="Picture 36">
              <a:extLst>
                <a:ext uri="{FF2B5EF4-FFF2-40B4-BE49-F238E27FC236}">
                  <a16:creationId xmlns:a16="http://schemas.microsoft.com/office/drawing/2014/main" id="{54BD529C-19EA-FFCD-4DAD-D60EED206A4C}"/>
                </a:ext>
                <a:ext uri="{C183D7F6-B498-43B3-948B-1728B52AA6E4}">
                  <adec:decorative xmlns:adec="http://schemas.microsoft.com/office/drawing/2017/decorative" val="1"/>
                </a:ext>
              </a:extLst>
            </p:cNvPr>
            <p:cNvPicPr>
              <a:picLocks noChangeAspect="1"/>
            </p:cNvPicPr>
            <p:nvPr/>
          </p:nvPicPr>
          <p:blipFill>
            <a:blip r:embed="rId13"/>
            <a:stretch>
              <a:fillRect/>
            </a:stretch>
          </p:blipFill>
          <p:spPr>
            <a:xfrm>
              <a:off x="2611318" y="-4583129"/>
              <a:ext cx="7008263" cy="6858000"/>
            </a:xfrm>
            <a:prstGeom prst="rect">
              <a:avLst/>
            </a:prstGeom>
          </p:spPr>
        </p:pic>
        <p:pic>
          <p:nvPicPr>
            <p:cNvPr id="38" name="Picture 37">
              <a:extLst>
                <a:ext uri="{FF2B5EF4-FFF2-40B4-BE49-F238E27FC236}">
                  <a16:creationId xmlns:a16="http://schemas.microsoft.com/office/drawing/2014/main" id="{E2554216-A1EE-6CAB-C77C-569CE3EF6656}"/>
                </a:ext>
                <a:ext uri="{C183D7F6-B498-43B3-948B-1728B52AA6E4}">
                  <adec:decorative xmlns:adec="http://schemas.microsoft.com/office/drawing/2017/decorative" val="1"/>
                </a:ext>
              </a:extLst>
            </p:cNvPr>
            <p:cNvPicPr>
              <a:picLocks noChangeAspect="1"/>
            </p:cNvPicPr>
            <p:nvPr/>
          </p:nvPicPr>
          <p:blipFill>
            <a:blip r:embed="rId13"/>
            <a:stretch>
              <a:fillRect/>
            </a:stretch>
          </p:blipFill>
          <p:spPr>
            <a:xfrm>
              <a:off x="7246818" y="-4583129"/>
              <a:ext cx="7008263" cy="6858000"/>
            </a:xfrm>
            <a:prstGeom prst="rect">
              <a:avLst/>
            </a:prstGeom>
          </p:spPr>
        </p:pic>
      </p:grpSp>
    </p:spTree>
    <p:custDataLst>
      <p:tags r:id="rId1"/>
    </p:custDataLst>
    <p:extLst>
      <p:ext uri="{BB962C8B-B14F-4D97-AF65-F5344CB8AC3E}">
        <p14:creationId xmlns:p14="http://schemas.microsoft.com/office/powerpoint/2010/main" val="15573027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250"/>
                                  </p:stCondLst>
                                  <p:childTnLst>
                                    <p:animMotion origin="layout" path="M -2.08333E-7 -3.7037E-7 L -2.08333E-7 -0.03287 " pathEditMode="relative" rAng="0" ptsTypes="AA">
                                      <p:cBhvr>
                                        <p:cTn id="9" dur="700" spd="-100000" fill="hold"/>
                                        <p:tgtEl>
                                          <p:spTgt spid="4"/>
                                        </p:tgtEl>
                                        <p:attrNameLst>
                                          <p:attrName>ppt_x</p:attrName>
                                          <p:attrName>ppt_y</p:attrName>
                                        </p:attrNameLst>
                                      </p:cBhvr>
                                      <p:rCtr x="0" y="-1644"/>
                                    </p:animMotion>
                                  </p:childTnLst>
                                </p:cTn>
                              </p:par>
                              <p:par>
                                <p:cTn id="10" presetID="10" presetClass="entr" presetSubtype="0" fill="hold" grpId="0" nodeType="withEffect">
                                  <p:stCondLst>
                                    <p:cond delay="5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500"/>
                                  </p:stCondLst>
                                  <p:childTnLst>
                                    <p:animMotion origin="layout" path="M 1.04167E-6 4.44444E-6 L 1.04167E-6 0.03541 " pathEditMode="relative" rAng="0" ptsTypes="AA">
                                      <p:cBhvr>
                                        <p:cTn id="14" dur="700" spd="-100000" fill="hold"/>
                                        <p:tgtEl>
                                          <p:spTgt spid="5"/>
                                        </p:tgtEl>
                                        <p:attrNameLst>
                                          <p:attrName>ppt_x</p:attrName>
                                          <p:attrName>ppt_y</p:attrName>
                                        </p:attrNameLst>
                                      </p:cBhvr>
                                      <p:rCtr x="0" y="1759"/>
                                    </p:animMotion>
                                  </p:childTnLst>
                                </p:cTn>
                              </p:par>
                              <p:par>
                                <p:cTn id="15" presetID="10" presetClass="entr" presetSubtype="0" fill="hold" grpId="0" nodeType="withEffect">
                                  <p:stCondLst>
                                    <p:cond delay="50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par>
                                <p:cTn id="18" presetID="42" presetClass="path" presetSubtype="0" decel="100000" fill="hold" grpId="1" nodeType="withEffect">
                                  <p:stCondLst>
                                    <p:cond delay="500"/>
                                  </p:stCondLst>
                                  <p:childTnLst>
                                    <p:animMotion origin="layout" path="M -4.375E-6 4.44444E-6 L -4.375E-6 0.03541 " pathEditMode="relative" rAng="0" ptsTypes="AA">
                                      <p:cBhvr>
                                        <p:cTn id="19" dur="700" spd="-100000" fill="hold"/>
                                        <p:tgtEl>
                                          <p:spTgt spid="6"/>
                                        </p:tgtEl>
                                        <p:attrNameLst>
                                          <p:attrName>ppt_x</p:attrName>
                                          <p:attrName>ppt_y</p:attrName>
                                        </p:attrNameLst>
                                      </p:cBhvr>
                                      <p:rCtr x="0" y="1759"/>
                                    </p:animMotion>
                                  </p:childTnLst>
                                </p:cTn>
                              </p:par>
                              <p:par>
                                <p:cTn id="20" presetID="10" presetClass="entr" presetSubtype="0" fill="hold" grpId="0" nodeType="withEffect">
                                  <p:stCondLst>
                                    <p:cond delay="50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par>
                                <p:cTn id="23" presetID="42" presetClass="path" presetSubtype="0" decel="100000" fill="hold" grpId="1" nodeType="withEffect">
                                  <p:stCondLst>
                                    <p:cond delay="500"/>
                                  </p:stCondLst>
                                  <p:childTnLst>
                                    <p:animMotion origin="layout" path="M 0 4.44444E-6 L 0 0.03541 " pathEditMode="relative" rAng="0" ptsTypes="AA">
                                      <p:cBhvr>
                                        <p:cTn id="24" dur="700" spd="-100000" fill="hold"/>
                                        <p:tgtEl>
                                          <p:spTgt spid="7"/>
                                        </p:tgtEl>
                                        <p:attrNameLst>
                                          <p:attrName>ppt_x</p:attrName>
                                          <p:attrName>ppt_y</p:attrName>
                                        </p:attrNameLst>
                                      </p:cBhvr>
                                      <p:rCtr x="0" y="1759"/>
                                    </p:animMotion>
                                  </p:childTnLst>
                                </p:cTn>
                              </p:par>
                              <p:par>
                                <p:cTn id="25" presetID="10" presetClass="entr" presetSubtype="0" fill="hold" grpId="0" nodeType="withEffect">
                                  <p:stCondLst>
                                    <p:cond delay="50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par>
                                <p:cTn id="28" presetID="42" presetClass="path" presetSubtype="0" decel="100000" fill="hold" grpId="1" nodeType="withEffect">
                                  <p:stCondLst>
                                    <p:cond delay="500"/>
                                  </p:stCondLst>
                                  <p:childTnLst>
                                    <p:animMotion origin="layout" path="M 4.58333E-6 4.44444E-6 L 4.58333E-6 0.03541 " pathEditMode="relative" rAng="0" ptsTypes="AA">
                                      <p:cBhvr>
                                        <p:cTn id="29" dur="700" spd="-100000" fill="hold"/>
                                        <p:tgtEl>
                                          <p:spTgt spid="8"/>
                                        </p:tgtEl>
                                        <p:attrNameLst>
                                          <p:attrName>ppt_x</p:attrName>
                                          <p:attrName>ppt_y</p:attrName>
                                        </p:attrNameLst>
                                      </p:cBhvr>
                                      <p:rCtr x="0" y="1759"/>
                                    </p:animMotion>
                                  </p:childTnLst>
                                </p:cTn>
                              </p:par>
                              <p:par>
                                <p:cTn id="30" presetID="10" presetClass="entr" presetSubtype="0" fill="hold" grpId="0" nodeType="withEffect">
                                  <p:stCondLst>
                                    <p:cond delay="500"/>
                                  </p:stCondLst>
                                  <p:childTnLst>
                                    <p:set>
                                      <p:cBhvr>
                                        <p:cTn id="31" dur="1" fill="hold">
                                          <p:stCondLst>
                                            <p:cond delay="0"/>
                                          </p:stCondLst>
                                        </p:cTn>
                                        <p:tgtEl>
                                          <p:spTgt spid="9"/>
                                        </p:tgtEl>
                                        <p:attrNameLst>
                                          <p:attrName>style.visibility</p:attrName>
                                        </p:attrNameLst>
                                      </p:cBhvr>
                                      <p:to>
                                        <p:strVal val="visible"/>
                                      </p:to>
                                    </p:set>
                                    <p:animEffect transition="in" filter="fade">
                                      <p:cBhvr>
                                        <p:cTn id="32" dur="500"/>
                                        <p:tgtEl>
                                          <p:spTgt spid="9"/>
                                        </p:tgtEl>
                                      </p:cBhvr>
                                    </p:animEffect>
                                  </p:childTnLst>
                                </p:cTn>
                              </p:par>
                              <p:par>
                                <p:cTn id="33" presetID="42" presetClass="path" presetSubtype="0" decel="100000" fill="hold" grpId="1" nodeType="withEffect">
                                  <p:stCondLst>
                                    <p:cond delay="500"/>
                                  </p:stCondLst>
                                  <p:childTnLst>
                                    <p:animMotion origin="layout" path="M -8.33333E-7 4.44444E-6 L -8.33333E-7 0.03541 " pathEditMode="relative" rAng="0" ptsTypes="AA">
                                      <p:cBhvr>
                                        <p:cTn id="34" dur="700" spd="-100000" fill="hold"/>
                                        <p:tgtEl>
                                          <p:spTgt spid="9"/>
                                        </p:tgtEl>
                                        <p:attrNameLst>
                                          <p:attrName>ppt_x</p:attrName>
                                          <p:attrName>ppt_y</p:attrName>
                                        </p:attrNameLst>
                                      </p:cBhvr>
                                      <p:rCtr x="0" y="1759"/>
                                    </p:animMotion>
                                  </p:childTnLst>
                                </p:cTn>
                              </p:par>
                              <p:par>
                                <p:cTn id="35" presetID="10" presetClass="entr" presetSubtype="0" fill="hold" nodeType="withEffect">
                                  <p:stCondLst>
                                    <p:cond delay="500"/>
                                  </p:stCondLst>
                                  <p:childTnLst>
                                    <p:set>
                                      <p:cBhvr>
                                        <p:cTn id="36" dur="1" fill="hold">
                                          <p:stCondLst>
                                            <p:cond delay="0"/>
                                          </p:stCondLst>
                                        </p:cTn>
                                        <p:tgtEl>
                                          <p:spTgt spid="10"/>
                                        </p:tgtEl>
                                        <p:attrNameLst>
                                          <p:attrName>style.visibility</p:attrName>
                                        </p:attrNameLst>
                                      </p:cBhvr>
                                      <p:to>
                                        <p:strVal val="visible"/>
                                      </p:to>
                                    </p:set>
                                    <p:animEffect transition="in" filter="fade">
                                      <p:cBhvr>
                                        <p:cTn id="37" dur="500"/>
                                        <p:tgtEl>
                                          <p:spTgt spid="10"/>
                                        </p:tgtEl>
                                      </p:cBhvr>
                                    </p:animEffect>
                                  </p:childTnLst>
                                </p:cTn>
                              </p:par>
                              <p:par>
                                <p:cTn id="38" presetID="42" presetClass="path" presetSubtype="0" accel="50000" decel="50000" fill="hold" nodeType="withEffect">
                                  <p:stCondLst>
                                    <p:cond delay="500"/>
                                  </p:stCondLst>
                                  <p:childTnLst>
                                    <p:animMotion origin="layout" path="M 0.00078 -0.03935 L 0.00078 0.0044 " pathEditMode="relative" rAng="0" ptsTypes="AA">
                                      <p:cBhvr>
                                        <p:cTn id="39" dur="700" fill="hold"/>
                                        <p:tgtEl>
                                          <p:spTgt spid="10"/>
                                        </p:tgtEl>
                                        <p:attrNameLst>
                                          <p:attrName>ppt_x</p:attrName>
                                          <p:attrName>ppt_y</p:attrName>
                                        </p:attrNameLst>
                                      </p:cBhvr>
                                      <p:rCtr x="0" y="2176"/>
                                    </p:animMotion>
                                  </p:childTnLst>
                                </p:cTn>
                              </p:par>
                              <p:par>
                                <p:cTn id="40" presetID="10" presetClass="entr" presetSubtype="0" fill="hold" nodeType="withEffect">
                                  <p:stCondLst>
                                    <p:cond delay="500"/>
                                  </p:stCondLst>
                                  <p:childTnLst>
                                    <p:set>
                                      <p:cBhvr>
                                        <p:cTn id="41" dur="1" fill="hold">
                                          <p:stCondLst>
                                            <p:cond delay="0"/>
                                          </p:stCondLst>
                                        </p:cTn>
                                        <p:tgtEl>
                                          <p:spTgt spid="15"/>
                                        </p:tgtEl>
                                        <p:attrNameLst>
                                          <p:attrName>style.visibility</p:attrName>
                                        </p:attrNameLst>
                                      </p:cBhvr>
                                      <p:to>
                                        <p:strVal val="visible"/>
                                      </p:to>
                                    </p:set>
                                    <p:animEffect transition="in" filter="fade">
                                      <p:cBhvr>
                                        <p:cTn id="42" dur="500"/>
                                        <p:tgtEl>
                                          <p:spTgt spid="15"/>
                                        </p:tgtEl>
                                      </p:cBhvr>
                                    </p:animEffect>
                                  </p:childTnLst>
                                </p:cTn>
                              </p:par>
                              <p:par>
                                <p:cTn id="43" presetID="42" presetClass="path" presetSubtype="0" accel="50000" decel="50000" fill="hold" nodeType="withEffect">
                                  <p:stCondLst>
                                    <p:cond delay="500"/>
                                  </p:stCondLst>
                                  <p:childTnLst>
                                    <p:animMotion origin="layout" path="M 0.00078 -0.03935 L 0.00078 0.0044 " pathEditMode="relative" rAng="0" ptsTypes="AA">
                                      <p:cBhvr>
                                        <p:cTn id="44" dur="700" fill="hold"/>
                                        <p:tgtEl>
                                          <p:spTgt spid="15"/>
                                        </p:tgtEl>
                                        <p:attrNameLst>
                                          <p:attrName>ppt_x</p:attrName>
                                          <p:attrName>ppt_y</p:attrName>
                                        </p:attrNameLst>
                                      </p:cBhvr>
                                      <p:rCtr x="0" y="2176"/>
                                    </p:animMotion>
                                  </p:childTnLst>
                                </p:cTn>
                              </p:par>
                              <p:par>
                                <p:cTn id="45" presetID="10" presetClass="entr" presetSubtype="0" fill="hold" nodeType="withEffect">
                                  <p:stCondLst>
                                    <p:cond delay="500"/>
                                  </p:stCondLst>
                                  <p:childTnLst>
                                    <p:set>
                                      <p:cBhvr>
                                        <p:cTn id="46" dur="1" fill="hold">
                                          <p:stCondLst>
                                            <p:cond delay="0"/>
                                          </p:stCondLst>
                                        </p:cTn>
                                        <p:tgtEl>
                                          <p:spTgt spid="21"/>
                                        </p:tgtEl>
                                        <p:attrNameLst>
                                          <p:attrName>style.visibility</p:attrName>
                                        </p:attrNameLst>
                                      </p:cBhvr>
                                      <p:to>
                                        <p:strVal val="visible"/>
                                      </p:to>
                                    </p:set>
                                    <p:animEffect transition="in" filter="fade">
                                      <p:cBhvr>
                                        <p:cTn id="47" dur="500"/>
                                        <p:tgtEl>
                                          <p:spTgt spid="21"/>
                                        </p:tgtEl>
                                      </p:cBhvr>
                                    </p:animEffect>
                                  </p:childTnLst>
                                </p:cTn>
                              </p:par>
                              <p:par>
                                <p:cTn id="48" presetID="42" presetClass="path" presetSubtype="0" accel="50000" decel="50000" fill="hold" nodeType="withEffect">
                                  <p:stCondLst>
                                    <p:cond delay="500"/>
                                  </p:stCondLst>
                                  <p:childTnLst>
                                    <p:animMotion origin="layout" path="M 0.00078 -0.03935 L 0.00078 0.0044 " pathEditMode="relative" rAng="0" ptsTypes="AA">
                                      <p:cBhvr>
                                        <p:cTn id="49" dur="700" fill="hold"/>
                                        <p:tgtEl>
                                          <p:spTgt spid="21"/>
                                        </p:tgtEl>
                                        <p:attrNameLst>
                                          <p:attrName>ppt_x</p:attrName>
                                          <p:attrName>ppt_y</p:attrName>
                                        </p:attrNameLst>
                                      </p:cBhvr>
                                      <p:rCtr x="0" y="2176"/>
                                    </p:animMotion>
                                  </p:childTnLst>
                                </p:cTn>
                              </p:par>
                              <p:par>
                                <p:cTn id="50" presetID="10" presetClass="entr" presetSubtype="0" fill="hold" nodeType="withEffect">
                                  <p:stCondLst>
                                    <p:cond delay="500"/>
                                  </p:stCondLst>
                                  <p:childTnLst>
                                    <p:set>
                                      <p:cBhvr>
                                        <p:cTn id="51" dur="1" fill="hold">
                                          <p:stCondLst>
                                            <p:cond delay="0"/>
                                          </p:stCondLst>
                                        </p:cTn>
                                        <p:tgtEl>
                                          <p:spTgt spid="18"/>
                                        </p:tgtEl>
                                        <p:attrNameLst>
                                          <p:attrName>style.visibility</p:attrName>
                                        </p:attrNameLst>
                                      </p:cBhvr>
                                      <p:to>
                                        <p:strVal val="visible"/>
                                      </p:to>
                                    </p:set>
                                    <p:animEffect transition="in" filter="fade">
                                      <p:cBhvr>
                                        <p:cTn id="52" dur="500"/>
                                        <p:tgtEl>
                                          <p:spTgt spid="18"/>
                                        </p:tgtEl>
                                      </p:cBhvr>
                                    </p:animEffect>
                                  </p:childTnLst>
                                </p:cTn>
                              </p:par>
                              <p:par>
                                <p:cTn id="53" presetID="42" presetClass="path" presetSubtype="0" accel="50000" decel="50000" fill="hold" nodeType="withEffect">
                                  <p:stCondLst>
                                    <p:cond delay="500"/>
                                  </p:stCondLst>
                                  <p:childTnLst>
                                    <p:animMotion origin="layout" path="M 0.00078 -0.03935 L 0.00078 0.0044 " pathEditMode="relative" rAng="0" ptsTypes="AA">
                                      <p:cBhvr>
                                        <p:cTn id="54" dur="700" fill="hold"/>
                                        <p:tgtEl>
                                          <p:spTgt spid="18"/>
                                        </p:tgtEl>
                                        <p:attrNameLst>
                                          <p:attrName>ppt_x</p:attrName>
                                          <p:attrName>ppt_y</p:attrName>
                                        </p:attrNameLst>
                                      </p:cBhvr>
                                      <p:rCtr x="0" y="2176"/>
                                    </p:animMotion>
                                  </p:childTnLst>
                                </p:cTn>
                              </p:par>
                              <p:par>
                                <p:cTn id="55" presetID="10" presetClass="entr" presetSubtype="0" fill="hold" nodeType="withEffect">
                                  <p:stCondLst>
                                    <p:cond delay="500"/>
                                  </p:stCondLst>
                                  <p:childTnLst>
                                    <p:set>
                                      <p:cBhvr>
                                        <p:cTn id="56" dur="1" fill="hold">
                                          <p:stCondLst>
                                            <p:cond delay="0"/>
                                          </p:stCondLst>
                                        </p:cTn>
                                        <p:tgtEl>
                                          <p:spTgt spid="14"/>
                                        </p:tgtEl>
                                        <p:attrNameLst>
                                          <p:attrName>style.visibility</p:attrName>
                                        </p:attrNameLst>
                                      </p:cBhvr>
                                      <p:to>
                                        <p:strVal val="visible"/>
                                      </p:to>
                                    </p:set>
                                    <p:animEffect transition="in" filter="fade">
                                      <p:cBhvr>
                                        <p:cTn id="57" dur="500"/>
                                        <p:tgtEl>
                                          <p:spTgt spid="14"/>
                                        </p:tgtEl>
                                      </p:cBhvr>
                                    </p:animEffect>
                                  </p:childTnLst>
                                </p:cTn>
                              </p:par>
                              <p:par>
                                <p:cTn id="58" presetID="42" presetClass="path" presetSubtype="0" accel="50000" decel="50000" fill="hold" nodeType="withEffect">
                                  <p:stCondLst>
                                    <p:cond delay="500"/>
                                  </p:stCondLst>
                                  <p:childTnLst>
                                    <p:animMotion origin="layout" path="M 0.00078 -0.03935 L 0.00078 0.0044 " pathEditMode="relative" rAng="0" ptsTypes="AA">
                                      <p:cBhvr>
                                        <p:cTn id="59" dur="700" fill="hold"/>
                                        <p:tgtEl>
                                          <p:spTgt spid="14"/>
                                        </p:tgtEl>
                                        <p:attrNameLst>
                                          <p:attrName>ppt_x</p:attrName>
                                          <p:attrName>ppt_y</p:attrName>
                                        </p:attrNameLst>
                                      </p:cBhvr>
                                      <p:rCtr x="0" y="2176"/>
                                    </p:animMotion>
                                  </p:childTnLst>
                                </p:cTn>
                              </p:par>
                              <p:par>
                                <p:cTn id="60" presetID="10" presetClass="entr" presetSubtype="0" fill="hold" grpId="0" nodeType="withEffect">
                                  <p:stCondLst>
                                    <p:cond delay="500"/>
                                  </p:stCondLst>
                                  <p:childTnLst>
                                    <p:set>
                                      <p:cBhvr>
                                        <p:cTn id="61" dur="1" fill="hold">
                                          <p:stCondLst>
                                            <p:cond delay="0"/>
                                          </p:stCondLst>
                                        </p:cTn>
                                        <p:tgtEl>
                                          <p:spTgt spid="13"/>
                                        </p:tgtEl>
                                        <p:attrNameLst>
                                          <p:attrName>style.visibility</p:attrName>
                                        </p:attrNameLst>
                                      </p:cBhvr>
                                      <p:to>
                                        <p:strVal val="visible"/>
                                      </p:to>
                                    </p:set>
                                    <p:animEffect transition="in" filter="fade">
                                      <p:cBhvr>
                                        <p:cTn id="62" dur="500"/>
                                        <p:tgtEl>
                                          <p:spTgt spid="13"/>
                                        </p:tgtEl>
                                      </p:cBhvr>
                                    </p:animEffect>
                                  </p:childTnLst>
                                </p:cTn>
                              </p:par>
                              <p:par>
                                <p:cTn id="63" presetID="42" presetClass="path" presetSubtype="0" accel="50000" decel="50000" fill="hold" grpId="1" nodeType="withEffect">
                                  <p:stCondLst>
                                    <p:cond delay="500"/>
                                  </p:stCondLst>
                                  <p:childTnLst>
                                    <p:animMotion origin="layout" path="M 0.00078 -0.03935 L 0.00078 0.0044 " pathEditMode="relative" rAng="0" ptsTypes="AA">
                                      <p:cBhvr>
                                        <p:cTn id="64" dur="700" fill="hold"/>
                                        <p:tgtEl>
                                          <p:spTgt spid="13"/>
                                        </p:tgtEl>
                                        <p:attrNameLst>
                                          <p:attrName>ppt_x</p:attrName>
                                          <p:attrName>ppt_y</p:attrName>
                                        </p:attrNameLst>
                                      </p:cBhvr>
                                      <p:rCtr x="0" y="2176"/>
                                    </p:animMotion>
                                  </p:childTnLst>
                                </p:cTn>
                              </p:par>
                              <p:par>
                                <p:cTn id="65" presetID="10" presetClass="entr" presetSubtype="0" fill="hold" nodeType="withEffect">
                                  <p:stCondLst>
                                    <p:cond delay="0"/>
                                  </p:stCondLst>
                                  <p:childTnLst>
                                    <p:set>
                                      <p:cBhvr>
                                        <p:cTn id="66" dur="1" fill="hold">
                                          <p:stCondLst>
                                            <p:cond delay="0"/>
                                          </p:stCondLst>
                                        </p:cTn>
                                        <p:tgtEl>
                                          <p:spTgt spid="35"/>
                                        </p:tgtEl>
                                        <p:attrNameLst>
                                          <p:attrName>style.visibility</p:attrName>
                                        </p:attrNameLst>
                                      </p:cBhvr>
                                      <p:to>
                                        <p:strVal val="visible"/>
                                      </p:to>
                                    </p:set>
                                    <p:animEffect transition="in" filter="fade">
                                      <p:cBhvr>
                                        <p:cTn id="67" dur="500"/>
                                        <p:tgtEl>
                                          <p:spTgt spid="35"/>
                                        </p:tgtEl>
                                      </p:cBhvr>
                                    </p:animEffect>
                                  </p:childTnLst>
                                </p:cTn>
                              </p:par>
                              <p:par>
                                <p:cTn id="68" presetID="42" presetClass="path" presetSubtype="0" decel="100000" fill="hold" nodeType="withEffect">
                                  <p:stCondLst>
                                    <p:cond delay="0"/>
                                  </p:stCondLst>
                                  <p:childTnLst>
                                    <p:animMotion origin="layout" path="M -1.66667E-6 -4.44444E-6 L -1.66667E-6 0.03542 " pathEditMode="relative" rAng="0" ptsTypes="AA">
                                      <p:cBhvr>
                                        <p:cTn id="69" dur="700" spd="-100000" fill="hold"/>
                                        <p:tgtEl>
                                          <p:spTgt spid="35"/>
                                        </p:tgtEl>
                                        <p:attrNameLst>
                                          <p:attrName>ppt_x</p:attrName>
                                          <p:attrName>ppt_y</p:attrName>
                                        </p:attrNameLst>
                                      </p:cBhvr>
                                      <p:rCtr x="0" y="1759"/>
                                    </p:animMotion>
                                  </p:childTnLst>
                                </p:cTn>
                              </p:par>
                              <p:par>
                                <p:cTn id="70" presetID="10" presetClass="entr" presetSubtype="0" fill="hold" nodeType="withEffect">
                                  <p:stCondLst>
                                    <p:cond delay="0"/>
                                  </p:stCondLst>
                                  <p:childTnLst>
                                    <p:set>
                                      <p:cBhvr>
                                        <p:cTn id="71" dur="1" fill="hold">
                                          <p:stCondLst>
                                            <p:cond delay="0"/>
                                          </p:stCondLst>
                                        </p:cTn>
                                        <p:tgtEl>
                                          <p:spTgt spid="34"/>
                                        </p:tgtEl>
                                        <p:attrNameLst>
                                          <p:attrName>style.visibility</p:attrName>
                                        </p:attrNameLst>
                                      </p:cBhvr>
                                      <p:to>
                                        <p:strVal val="visible"/>
                                      </p:to>
                                    </p:set>
                                    <p:animEffect transition="in" filter="fade">
                                      <p:cBhvr>
                                        <p:cTn id="72" dur="500"/>
                                        <p:tgtEl>
                                          <p:spTgt spid="34"/>
                                        </p:tgtEl>
                                      </p:cBhvr>
                                    </p:animEffect>
                                  </p:childTnLst>
                                </p:cTn>
                              </p:par>
                              <p:par>
                                <p:cTn id="73" presetID="42" presetClass="path" presetSubtype="0" decel="100000" fill="hold" nodeType="withEffect">
                                  <p:stCondLst>
                                    <p:cond delay="0"/>
                                  </p:stCondLst>
                                  <p:childTnLst>
                                    <p:animMotion origin="layout" path="M -1.66667E-6 -2.96296E-6 L -1.66667E-6 -0.03287 " pathEditMode="relative" rAng="0" ptsTypes="AA">
                                      <p:cBhvr>
                                        <p:cTn id="74" dur="700" spd="-100000" fill="hold"/>
                                        <p:tgtEl>
                                          <p:spTgt spid="34"/>
                                        </p:tgtEl>
                                        <p:attrNameLst>
                                          <p:attrName>ppt_x</p:attrName>
                                          <p:attrName>ppt_y</p:attrName>
                                        </p:attrNameLst>
                                      </p:cBhvr>
                                      <p:rCtr x="0" y="-16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P spid="6" grpId="0"/>
      <p:bldP spid="6" grpId="1"/>
      <p:bldP spid="7" grpId="0"/>
      <p:bldP spid="7" grpId="1"/>
      <p:bldP spid="8" grpId="0"/>
      <p:bldP spid="8" grpId="1"/>
      <p:bldP spid="9" grpId="0"/>
      <p:bldP spid="9" grpId="1"/>
      <p:bldP spid="13" grpId="0" animBg="1"/>
      <p:bldP spid="13" grpId="1"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5F57C02B-E710-812B-0326-FDA103E3C3AA}"/>
              </a:ext>
            </a:extLst>
          </p:cNvPr>
          <p:cNvSpPr/>
          <p:nvPr/>
        </p:nvSpPr>
        <p:spPr bwMode="auto">
          <a:xfrm>
            <a:off x="8224325" y="2008746"/>
            <a:ext cx="2941319" cy="2840507"/>
          </a:xfrm>
          <a:prstGeom prst="roundRect">
            <a:avLst/>
          </a:prstGeom>
          <a:solidFill>
            <a:schemeClr val="tx1"/>
          </a:solidFill>
          <a:ln>
            <a:no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2" name="Rectangle: Single Corner Rounded 1">
            <a:extLst>
              <a:ext uri="{FF2B5EF4-FFF2-40B4-BE49-F238E27FC236}">
                <a16:creationId xmlns:a16="http://schemas.microsoft.com/office/drawing/2014/main" id="{74C0E56E-1686-8995-20CA-13F1EC6A288C}"/>
              </a:ext>
              <a:ext uri="{C183D7F6-B498-43B3-948B-1728B52AA6E4}">
                <adec:decorative xmlns:adec="http://schemas.microsoft.com/office/drawing/2017/decorative" val="1"/>
              </a:ext>
            </a:extLst>
          </p:cNvPr>
          <p:cNvSpPr/>
          <p:nvPr/>
        </p:nvSpPr>
        <p:spPr bwMode="auto">
          <a:xfrm flipH="1" flipV="1">
            <a:off x="7428322" y="0"/>
            <a:ext cx="4763678" cy="6858000"/>
          </a:xfrm>
          <a:prstGeom prst="round1Rect">
            <a:avLst>
              <a:gd name="adj" fmla="val 50000"/>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Title 2">
            <a:extLst>
              <a:ext uri="{FF2B5EF4-FFF2-40B4-BE49-F238E27FC236}">
                <a16:creationId xmlns:a16="http://schemas.microsoft.com/office/drawing/2014/main" id="{A6A88CA6-404B-5ACB-489D-89B704A4853F}"/>
              </a:ext>
            </a:extLst>
          </p:cNvPr>
          <p:cNvSpPr txBox="1">
            <a:spLocks noGrp="1"/>
          </p:cNvSpPr>
          <p:nvPr>
            <p:ph type="title"/>
          </p:nvPr>
        </p:nvSpPr>
        <p:spPr>
          <a:xfrm>
            <a:off x="626654" y="1619380"/>
            <a:ext cx="6045172" cy="252376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bg1"/>
                </a:solidFill>
                <a:effectLst/>
                <a:latin typeface="+mj-lt"/>
                <a:ea typeface="+mn-ea"/>
                <a:cs typeface="Segoe UI" pitchFamily="34" charset="0"/>
              </a:defRPr>
            </a:lvl1pPr>
          </a:lstStyle>
          <a:p>
            <a:pPr lvl="0">
              <a:defRPr/>
            </a:pPr>
            <a:r>
              <a:rPr lang="en-US" dirty="0">
                <a:ea typeface="+mn-lt"/>
                <a:cs typeface="+mn-lt"/>
              </a:rPr>
              <a:t>Get started with the Microsoft Entra Suite!</a:t>
            </a:r>
            <a:br>
              <a:rPr lang="en-US" dirty="0">
                <a:ea typeface="+mn-lt"/>
                <a:cs typeface="+mn-lt"/>
              </a:rPr>
            </a:br>
            <a:br>
              <a:rPr lang="en-US" dirty="0">
                <a:ea typeface="+mn-lt"/>
                <a:cs typeface="+mn-lt"/>
              </a:rPr>
            </a:br>
            <a:r>
              <a:rPr lang="en-US" sz="2800" dirty="0">
                <a:latin typeface="+mn-lt"/>
                <a:ea typeface="+mn-lt"/>
                <a:cs typeface="+mn-lt"/>
              </a:rPr>
              <a:t>Come chat with our Microsoft Entra experts at booth #5744</a:t>
            </a:r>
            <a:endParaRPr kumimoji="0" lang="en-US" sz="3600" i="0" u="none" strike="noStrike" kern="1200" cap="none" spc="-50" normalizeH="0" baseline="0" noProof="0" dirty="0">
              <a:ln w="3175">
                <a:noFill/>
              </a:ln>
              <a:solidFill>
                <a:schemeClr val="bg2"/>
              </a:solidFill>
              <a:effectLst/>
              <a:uLnTx/>
              <a:uFillTx/>
              <a:latin typeface="+mn-lt"/>
            </a:endParaRPr>
          </a:p>
        </p:txBody>
      </p:sp>
      <p:grpSp>
        <p:nvGrpSpPr>
          <p:cNvPr id="16" name="Group 15" descr="microsoft.com/security-insider">
            <a:extLst>
              <a:ext uri="{FF2B5EF4-FFF2-40B4-BE49-F238E27FC236}">
                <a16:creationId xmlns:a16="http://schemas.microsoft.com/office/drawing/2014/main" id="{6D621F25-D37C-891F-4F89-BFE164D306C9}"/>
              </a:ext>
              <a:ext uri="{C183D7F6-B498-43B3-948B-1728B52AA6E4}">
                <adec:decorative xmlns:adec="http://schemas.microsoft.com/office/drawing/2017/decorative" val="0"/>
              </a:ext>
            </a:extLst>
          </p:cNvPr>
          <p:cNvGrpSpPr/>
          <p:nvPr/>
        </p:nvGrpSpPr>
        <p:grpSpPr>
          <a:xfrm>
            <a:off x="375824" y="4410024"/>
            <a:ext cx="6382784" cy="649188"/>
            <a:chOff x="626763" y="4317510"/>
            <a:chExt cx="5360150" cy="1177227"/>
          </a:xfrm>
          <a:solidFill>
            <a:schemeClr val="bg2"/>
          </a:solidFill>
        </p:grpSpPr>
        <p:sp>
          <p:nvSpPr>
            <p:cNvPr id="17" name="TextBox 16">
              <a:extLst>
                <a:ext uri="{FF2B5EF4-FFF2-40B4-BE49-F238E27FC236}">
                  <a16:creationId xmlns:a16="http://schemas.microsoft.com/office/drawing/2014/main" id="{F1DEE37D-DCA6-9CCC-41DA-0CB425194640}"/>
                </a:ext>
              </a:extLst>
            </p:cNvPr>
            <p:cNvSpPr txBox="1"/>
            <p:nvPr/>
          </p:nvSpPr>
          <p:spPr>
            <a:xfrm>
              <a:off x="626763" y="4317510"/>
              <a:ext cx="5360150" cy="1177227"/>
            </a:xfrm>
            <a:prstGeom prst="roundRect">
              <a:avLst>
                <a:gd name="adj" fmla="val 50000"/>
              </a:avLst>
            </a:prstGeom>
            <a:grpFill/>
          </p:spPr>
          <p:txBody>
            <a:bodyPr wrap="square" anchor="ctr" anchorCtr="0">
              <a:spAutoFit/>
            </a:bodyPr>
            <a:lstStyle/>
            <a:p>
              <a:pPr marL="173038" marR="0" lvl="0" indent="0" algn="l" defTabSz="914400" rtl="0" eaLnBrk="1" fontAlgn="auto" latinLnBrk="0" hangingPunct="1">
                <a:lnSpc>
                  <a:spcPct val="100000"/>
                </a:lnSpc>
                <a:spcBef>
                  <a:spcPts val="0"/>
                </a:spcBef>
                <a:spcAft>
                  <a:spcPts val="0"/>
                </a:spcAft>
                <a:buClrTx/>
                <a:buSzTx/>
                <a:buFontTx/>
                <a:buNone/>
                <a:tabLst/>
                <a:defRPr/>
              </a:pPr>
              <a:r>
                <a:rPr lang="en-US" sz="2400">
                  <a:latin typeface="Segoe UI Semibold"/>
                  <a:cs typeface="Segoe UI" panose="020B0502040204020203" pitchFamily="34" charset="0"/>
                </a:rPr>
                <a:t>Start your trial: aka.ms/</a:t>
              </a:r>
              <a:r>
                <a:rPr lang="en-US" sz="2400" err="1">
                  <a:latin typeface="Segoe UI Semibold"/>
                  <a:cs typeface="Segoe UI" panose="020B0502040204020203" pitchFamily="34" charset="0"/>
                </a:rPr>
                <a:t>EntraSuiteTrial</a:t>
              </a:r>
              <a:endParaRPr kumimoji="0" lang="en-US" sz="2400" b="0" i="0" u="none" strike="noStrike" kern="1200" cap="none" spc="0" normalizeH="0" baseline="0" noProof="0">
                <a:ln>
                  <a:noFill/>
                </a:ln>
                <a:effectLst/>
                <a:uLnTx/>
                <a:uFillTx/>
                <a:latin typeface="Segoe UI Semibold"/>
                <a:ea typeface="+mn-ea"/>
                <a:cs typeface="Segoe UI" panose="020B0502040204020203" pitchFamily="34" charset="0"/>
              </a:endParaRPr>
            </a:p>
          </p:txBody>
        </p:sp>
        <p:grpSp>
          <p:nvGrpSpPr>
            <p:cNvPr id="18" name="Group 17">
              <a:extLst>
                <a:ext uri="{FF2B5EF4-FFF2-40B4-BE49-F238E27FC236}">
                  <a16:creationId xmlns:a16="http://schemas.microsoft.com/office/drawing/2014/main" id="{249B1B1F-D3A8-178A-2407-A225F4DEF3DA}"/>
                </a:ext>
                <a:ext uri="{C183D7F6-B498-43B3-948B-1728B52AA6E4}">
                  <adec:decorative xmlns:adec="http://schemas.microsoft.com/office/drawing/2017/decorative" val="1"/>
                </a:ext>
              </a:extLst>
            </p:cNvPr>
            <p:cNvGrpSpPr/>
            <p:nvPr/>
          </p:nvGrpSpPr>
          <p:grpSpPr>
            <a:xfrm>
              <a:off x="5430468" y="4683329"/>
              <a:ext cx="299407" cy="367419"/>
              <a:chOff x="9585610" y="-58035"/>
              <a:chExt cx="879743" cy="1079584"/>
            </a:xfrm>
            <a:grpFill/>
          </p:grpSpPr>
          <p:sp>
            <p:nvSpPr>
              <p:cNvPr id="19" name="Graphic 4">
                <a:extLst>
                  <a:ext uri="{FF2B5EF4-FFF2-40B4-BE49-F238E27FC236}">
                    <a16:creationId xmlns:a16="http://schemas.microsoft.com/office/drawing/2014/main" id="{8A89B8F6-DCA1-E2B2-5630-A4ECD0AF3F36}"/>
                  </a:ext>
                </a:extLst>
              </p:cNvPr>
              <p:cNvSpPr/>
              <p:nvPr userDrawn="1"/>
            </p:nvSpPr>
            <p:spPr>
              <a:xfrm>
                <a:off x="9585610" y="-58035"/>
                <a:ext cx="487237" cy="107958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0" name="Graphic 4">
                <a:extLst>
                  <a:ext uri="{FF2B5EF4-FFF2-40B4-BE49-F238E27FC236}">
                    <a16:creationId xmlns:a16="http://schemas.microsoft.com/office/drawing/2014/main" id="{A5A1A5A6-49B4-8A6D-AECD-971E0E5EA0C6}"/>
                  </a:ext>
                </a:extLst>
              </p:cNvPr>
              <p:cNvSpPr/>
              <p:nvPr userDrawn="1"/>
            </p:nvSpPr>
            <p:spPr>
              <a:xfrm>
                <a:off x="9978119" y="-58035"/>
                <a:ext cx="487234" cy="107958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grpSp>
      </p:grpSp>
      <p:grpSp>
        <p:nvGrpSpPr>
          <p:cNvPr id="4" name="Group 3">
            <a:extLst>
              <a:ext uri="{FF2B5EF4-FFF2-40B4-BE49-F238E27FC236}">
                <a16:creationId xmlns:a16="http://schemas.microsoft.com/office/drawing/2014/main" id="{773F10D6-C5C7-D0AA-F3C5-8B0D90D17CD6}"/>
              </a:ext>
              <a:ext uri="{C183D7F6-B498-43B3-948B-1728B52AA6E4}">
                <adec:decorative xmlns:adec="http://schemas.microsoft.com/office/drawing/2017/decorative" val="1"/>
              </a:ext>
            </a:extLst>
          </p:cNvPr>
          <p:cNvGrpSpPr/>
          <p:nvPr/>
        </p:nvGrpSpPr>
        <p:grpSpPr>
          <a:xfrm>
            <a:off x="8423828" y="2157843"/>
            <a:ext cx="2542312" cy="2542312"/>
            <a:chOff x="1829991" y="2115455"/>
            <a:chExt cx="1631077" cy="1631077"/>
          </a:xfrm>
        </p:grpSpPr>
        <p:sp>
          <p:nvSpPr>
            <p:cNvPr id="5" name="Rectangle: Rounded Corners 4">
              <a:extLst>
                <a:ext uri="{FF2B5EF4-FFF2-40B4-BE49-F238E27FC236}">
                  <a16:creationId xmlns:a16="http://schemas.microsoft.com/office/drawing/2014/main" id="{4D6CDC2B-4513-EE1E-BA15-8EC37AB4008A}"/>
                </a:ext>
              </a:extLst>
            </p:cNvPr>
            <p:cNvSpPr/>
            <p:nvPr/>
          </p:nvSpPr>
          <p:spPr bwMode="auto">
            <a:xfrm>
              <a:off x="1829991" y="2115455"/>
              <a:ext cx="1631077" cy="1631077"/>
            </a:xfrm>
            <a:prstGeom prst="roundRect">
              <a:avLst>
                <a:gd name="adj" fmla="val 6312"/>
              </a:avLst>
            </a:prstGeom>
            <a:gradFill>
              <a:gsLst>
                <a:gs pos="99000">
                  <a:srgbClr val="599FFD"/>
                </a:gs>
                <a:gs pos="0">
                  <a:srgbClr val="FADC14"/>
                </a:gs>
              </a:gsLst>
              <a:lin ang="270000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91F2C"/>
                </a:solidFill>
                <a:effectLst/>
                <a:uLnTx/>
                <a:uFillTx/>
                <a:latin typeface="Segoe UI Variable Display"/>
                <a:ea typeface="Segoe UI" pitchFamily="34" charset="0"/>
                <a:cs typeface="Segoe UI" pitchFamily="34" charset="0"/>
              </a:endParaRPr>
            </a:p>
          </p:txBody>
        </p:sp>
        <p:grpSp>
          <p:nvGrpSpPr>
            <p:cNvPr id="6" name="Group 5">
              <a:extLst>
                <a:ext uri="{FF2B5EF4-FFF2-40B4-BE49-F238E27FC236}">
                  <a16:creationId xmlns:a16="http://schemas.microsoft.com/office/drawing/2014/main" id="{C5D5EB17-52C9-2BFA-968E-87C98526776C}"/>
                </a:ext>
              </a:extLst>
            </p:cNvPr>
            <p:cNvGrpSpPr/>
            <p:nvPr/>
          </p:nvGrpSpPr>
          <p:grpSpPr>
            <a:xfrm>
              <a:off x="1932297" y="2217761"/>
              <a:ext cx="1426464" cy="1426464"/>
              <a:chOff x="-1783080" y="3291840"/>
              <a:chExt cx="1426464" cy="1426464"/>
            </a:xfrm>
          </p:grpSpPr>
          <p:sp>
            <p:nvSpPr>
              <p:cNvPr id="7" name="Rectangle: Rounded Corners 6">
                <a:extLst>
                  <a:ext uri="{FF2B5EF4-FFF2-40B4-BE49-F238E27FC236}">
                    <a16:creationId xmlns:a16="http://schemas.microsoft.com/office/drawing/2014/main" id="{66B20E91-1389-4E58-6C64-8A69BD24CD6F}"/>
                  </a:ext>
                </a:extLst>
              </p:cNvPr>
              <p:cNvSpPr/>
              <p:nvPr/>
            </p:nvSpPr>
            <p:spPr bwMode="auto">
              <a:xfrm>
                <a:off x="-1783080" y="3291840"/>
                <a:ext cx="1426464" cy="1426464"/>
              </a:xfrm>
              <a:prstGeom prst="roundRect">
                <a:avLst>
                  <a:gd name="adj" fmla="val 6411"/>
                </a:avLst>
              </a:prstGeom>
              <a:solidFill>
                <a:srgbClr val="FFFFFF"/>
              </a:solidFill>
              <a:ln w="9525" cap="flat" cmpd="sng" algn="ctr">
                <a:noFill/>
                <a:prstDash val="solid"/>
                <a:headEnd type="none" w="med" len="med"/>
                <a:tailEnd type="none" w="med" len="med"/>
              </a:ln>
              <a:effectLst>
                <a:outerShdw blurRad="63500" dist="508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pic>
            <p:nvPicPr>
              <p:cNvPr id="8" name="Picture 7" descr="A qr code on a white background&#10;&#10;AI-generated content may be incorrect.">
                <a:extLst>
                  <a:ext uri="{FF2B5EF4-FFF2-40B4-BE49-F238E27FC236}">
                    <a16:creationId xmlns:a16="http://schemas.microsoft.com/office/drawing/2014/main" id="{A5AD5B51-85EB-C0CF-9A0D-6A7EE3A86B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00784" y="3374136"/>
                <a:ext cx="1261872" cy="1261872"/>
              </a:xfrm>
              <a:prstGeom prst="rect">
                <a:avLst/>
              </a:prstGeom>
              <a:noFill/>
            </p:spPr>
          </p:pic>
        </p:grpSp>
      </p:grpSp>
    </p:spTree>
    <p:extLst>
      <p:ext uri="{BB962C8B-B14F-4D97-AF65-F5344CB8AC3E}">
        <p14:creationId xmlns:p14="http://schemas.microsoft.com/office/powerpoint/2010/main" val="243134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42" presetClass="path" presetSubtype="0" decel="100000" fill="hold" grpId="1" nodeType="withEffect">
                                  <p:stCondLst>
                                    <p:cond delay="0"/>
                                  </p:stCondLst>
                                  <p:childTnLst>
                                    <p:animMotion origin="layout" path="M 3.33333E-6 -0.03472 L 3.33333E-6 3.7037E-7 " pathEditMode="relative" rAng="0" ptsTypes="AA">
                                      <p:cBhvr>
                                        <p:cTn id="9" dur="500" fill="hold"/>
                                        <p:tgtEl>
                                          <p:spTgt spid="2"/>
                                        </p:tgtEl>
                                        <p:attrNameLst>
                                          <p:attrName>ppt_x</p:attrName>
                                          <p:attrName>ppt_y</p:attrName>
                                        </p:attrNameLst>
                                      </p:cBhvr>
                                      <p:rCtr x="0" y="1736"/>
                                    </p:animMotion>
                                  </p:childTnLst>
                                </p:cTn>
                              </p:par>
                              <p:par>
                                <p:cTn id="10" presetID="10" presetClass="entr" presetSubtype="0" fill="hold" grpId="0" nodeType="with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250"/>
                                        <p:tgtEl>
                                          <p:spTgt spid="15"/>
                                        </p:tgtEl>
                                      </p:cBhvr>
                                    </p:animEffect>
                                  </p:childTnLst>
                                </p:cTn>
                              </p:par>
                              <p:par>
                                <p:cTn id="13" presetID="42" presetClass="path" presetSubtype="0" decel="100000" fill="hold" grpId="1" nodeType="withEffect">
                                  <p:stCondLst>
                                    <p:cond delay="0"/>
                                  </p:stCondLst>
                                  <p:childTnLst>
                                    <p:animMotion origin="layout" path="M 3.33333E-6 -0.03472 L 3.33333E-6 3.7037E-7 " pathEditMode="relative" rAng="0" ptsTypes="AA">
                                      <p:cBhvr>
                                        <p:cTn id="14" dur="500" fill="hold"/>
                                        <p:tgtEl>
                                          <p:spTgt spid="15"/>
                                        </p:tgtEl>
                                        <p:attrNameLst>
                                          <p:attrName>ppt_x</p:attrName>
                                          <p:attrName>ppt_y</p:attrName>
                                        </p:attrNameLst>
                                      </p:cBhvr>
                                      <p:rCtr x="0" y="1736"/>
                                    </p:animMotion>
                                  </p:childTnLst>
                                </p:cTn>
                              </p:par>
                              <p:par>
                                <p:cTn id="15" presetID="10" presetClass="entr" presetSubtype="0" fill="hold" nodeType="with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250"/>
                                        <p:tgtEl>
                                          <p:spTgt spid="16"/>
                                        </p:tgtEl>
                                      </p:cBhvr>
                                    </p:animEffect>
                                  </p:childTnLst>
                                </p:cTn>
                              </p:par>
                              <p:par>
                                <p:cTn id="18" presetID="42" presetClass="path" presetSubtype="0" decel="100000" fill="hold" nodeType="withEffect">
                                  <p:stCondLst>
                                    <p:cond delay="0"/>
                                  </p:stCondLst>
                                  <p:childTnLst>
                                    <p:animMotion origin="layout" path="M -4.58333E-6 0.03889 L -4.58333E-6 3.7037E-7 " pathEditMode="relative" rAng="0" ptsTypes="AA">
                                      <p:cBhvr>
                                        <p:cTn id="19" dur="500" fill="hold"/>
                                        <p:tgtEl>
                                          <p:spTgt spid="16"/>
                                        </p:tgtEl>
                                        <p:attrNameLst>
                                          <p:attrName>ppt_x</p:attrName>
                                          <p:attrName>ppt_y</p:attrName>
                                        </p:attrNameLst>
                                      </p:cBhvr>
                                      <p:rCtr x="0" y="-1944"/>
                                    </p:animMotion>
                                  </p:childTnLst>
                                </p:cTn>
                              </p:par>
                              <p:par>
                                <p:cTn id="20" presetID="10" presetClass="entr" presetSubtype="0" fill="hold" nodeType="withEffect">
                                  <p:stCondLst>
                                    <p:cond delay="75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par>
                                <p:cTn id="23" presetID="42" presetClass="path" presetSubtype="0" decel="100000" fill="hold" nodeType="withEffect">
                                  <p:stCondLst>
                                    <p:cond delay="750"/>
                                  </p:stCondLst>
                                  <p:childTnLst>
                                    <p:animMotion origin="layout" path="M 2.91667E-6 4.81481E-6 L 2.91667E-6 -0.03288 " pathEditMode="relative" rAng="0" ptsTypes="AA">
                                      <p:cBhvr>
                                        <p:cTn id="24" dur="700" spd="-100000" fill="hold"/>
                                        <p:tgtEl>
                                          <p:spTgt spid="4"/>
                                        </p:tgtEl>
                                        <p:attrNameLst>
                                          <p:attrName>ppt_x</p:attrName>
                                          <p:attrName>ppt_y</p:attrName>
                                        </p:attrNameLst>
                                      </p:cBhvr>
                                      <p:rCtr x="0" y="-16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15" grpId="0"/>
      <p:bldP spid="15" grpId="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505004-94C4-31F2-6BEA-CE08F4421151}"/>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9BE64447-A639-4D26-600D-94477D35E906}"/>
              </a:ext>
            </a:extLst>
          </p:cNvPr>
          <p:cNvSpPr txBox="1">
            <a:spLocks noGrp="1"/>
          </p:cNvSpPr>
          <p:nvPr>
            <p:ph type="title" idx="4294967295"/>
          </p:nvPr>
        </p:nvSpPr>
        <p:spPr>
          <a:xfrm>
            <a:off x="449944" y="2551113"/>
            <a:ext cx="11292113" cy="175432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en-US"/>
            </a:defPPr>
            <a:lvl1pPr algn="ctr">
              <a:lnSpc>
                <a:spcPct val="90000"/>
              </a:lnSpc>
              <a:defRPr sz="5400" b="1">
                <a:solidFill>
                  <a:schemeClr val="bg1"/>
                </a:solidFill>
                <a:latin typeface="+mj-lt"/>
              </a:defRPr>
            </a:lvl1pPr>
          </a:lstStyle>
          <a:p>
            <a:r>
              <a:rPr lang="en-US" sz="6000" dirty="0">
                <a:latin typeface="Segoe UI" panose="020B0502040204020203" pitchFamily="34" charset="0"/>
              </a:rPr>
              <a:t>We have an</a:t>
            </a:r>
            <a:br>
              <a:rPr lang="en-US" sz="6000" dirty="0">
                <a:latin typeface="Segoe UI" panose="020B0502040204020203" pitchFamily="34" charset="0"/>
              </a:rPr>
            </a:br>
            <a:r>
              <a:rPr lang="en-US" sz="6000" dirty="0">
                <a:gradFill>
                  <a:gsLst>
                    <a:gs pos="2000">
                      <a:srgbClr val="0179D4"/>
                    </a:gs>
                    <a:gs pos="32000">
                      <a:srgbClr val="2CB6FF"/>
                    </a:gs>
                    <a:gs pos="44000">
                      <a:srgbClr val="2DB6FF"/>
                    </a:gs>
                    <a:gs pos="81000">
                      <a:srgbClr val="D962FA"/>
                    </a:gs>
                    <a:gs pos="96000">
                      <a:srgbClr val="F69991"/>
                    </a:gs>
                  </a:gsLst>
                  <a:lin ang="3600000" scaled="0"/>
                </a:gradFill>
                <a:latin typeface="Segoe UI" panose="020B0502040204020203" pitchFamily="34" charset="0"/>
              </a:rPr>
              <a:t>exciting future ahead.</a:t>
            </a:r>
          </a:p>
        </p:txBody>
      </p:sp>
      <p:sp>
        <p:nvSpPr>
          <p:cNvPr id="5" name="Rectangle: Rounded Corners 4">
            <a:extLst>
              <a:ext uri="{FF2B5EF4-FFF2-40B4-BE49-F238E27FC236}">
                <a16:creationId xmlns:a16="http://schemas.microsoft.com/office/drawing/2014/main" id="{AF5614C9-52ED-1272-36BE-4AEE08D3F1C2}"/>
              </a:ext>
              <a:ext uri="{C183D7F6-B498-43B3-948B-1728B52AA6E4}">
                <adec:decorative xmlns:adec="http://schemas.microsoft.com/office/drawing/2017/decorative" val="1"/>
              </a:ext>
            </a:extLst>
          </p:cNvPr>
          <p:cNvSpPr/>
          <p:nvPr/>
        </p:nvSpPr>
        <p:spPr bwMode="auto">
          <a:xfrm>
            <a:off x="4328929" y="5046029"/>
            <a:ext cx="3400576" cy="75838"/>
          </a:xfrm>
          <a:prstGeom prst="roundRect">
            <a:avLst>
              <a:gd name="adj" fmla="val 50000"/>
            </a:avLst>
          </a:prstGeom>
          <a:gradFill>
            <a:gsLst>
              <a:gs pos="0">
                <a:schemeClr val="accent1"/>
              </a:gs>
              <a:gs pos="100000">
                <a:schemeClr val="accent5">
                  <a:lumMod val="60000"/>
                  <a:lumOff val="40000"/>
                </a:schemeClr>
              </a:gs>
            </a:gsLst>
            <a:lin ang="162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91F2C"/>
              </a:solidFill>
              <a:effectLst/>
              <a:uLnTx/>
              <a:uFillTx/>
              <a:latin typeface="Segoe Sans Display"/>
              <a:ea typeface="Segoe UI" pitchFamily="34" charset="0"/>
              <a:cs typeface="Segoe UI" pitchFamily="34" charset="0"/>
            </a:endParaRPr>
          </a:p>
        </p:txBody>
      </p:sp>
    </p:spTree>
    <p:extLst>
      <p:ext uri="{BB962C8B-B14F-4D97-AF65-F5344CB8AC3E}">
        <p14:creationId xmlns:p14="http://schemas.microsoft.com/office/powerpoint/2010/main" val="22147834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BD770AD-64C9-D2CA-86BC-F8AF1DCC45AB}"/>
              </a:ext>
            </a:extLst>
          </p:cNvPr>
          <p:cNvSpPr txBox="1">
            <a:spLocks noGrp="1"/>
          </p:cNvSpPr>
          <p:nvPr>
            <p:ph type="title" idx="4294967295"/>
          </p:nvPr>
        </p:nvSpPr>
        <p:spPr>
          <a:xfrm>
            <a:off x="915545" y="1162812"/>
            <a:ext cx="10360908" cy="646331"/>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defRPr sz="4000">
                <a:gradFill>
                  <a:gsLst>
                    <a:gs pos="2917">
                      <a:schemeClr val="tx1"/>
                    </a:gs>
                    <a:gs pos="30000">
                      <a:schemeClr val="tx1"/>
                    </a:gs>
                  </a:gsLst>
                  <a:lin ang="5400000" scaled="0"/>
                </a:gradFill>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200" i="0" u="none" strike="noStrike" kern="1200" cap="none" spc="0" normalizeH="0" baseline="0" noProof="0" dirty="0">
                <a:ln>
                  <a:noFill/>
                </a:ln>
                <a:solidFill>
                  <a:schemeClr val="tx1"/>
                </a:solidFill>
                <a:effectLst/>
                <a:uLnTx/>
                <a:uFillTx/>
                <a:latin typeface="Segoe UI" panose="020B0502040204020203" pitchFamily="34" charset="0"/>
                <a:ea typeface="+mn-ea"/>
              </a:rPr>
              <a:t>Expertise and tools for your journey</a:t>
            </a:r>
          </a:p>
        </p:txBody>
      </p:sp>
      <p:grpSp>
        <p:nvGrpSpPr>
          <p:cNvPr id="10" name="Group 9">
            <a:extLst>
              <a:ext uri="{FF2B5EF4-FFF2-40B4-BE49-F238E27FC236}">
                <a16:creationId xmlns:a16="http://schemas.microsoft.com/office/drawing/2014/main" id="{821DD49C-ABAA-220D-1125-85E9C1E905B1}"/>
              </a:ext>
            </a:extLst>
          </p:cNvPr>
          <p:cNvGrpSpPr/>
          <p:nvPr/>
        </p:nvGrpSpPr>
        <p:grpSpPr>
          <a:xfrm>
            <a:off x="1248867" y="2270196"/>
            <a:ext cx="3074305" cy="3134588"/>
            <a:chOff x="1248867" y="2270196"/>
            <a:chExt cx="3074305" cy="3134588"/>
          </a:xfrm>
        </p:grpSpPr>
        <p:sp>
          <p:nvSpPr>
            <p:cNvPr id="30" name="Rounded Rectangle 1">
              <a:extLst>
                <a:ext uri="{FF2B5EF4-FFF2-40B4-BE49-F238E27FC236}">
                  <a16:creationId xmlns:a16="http://schemas.microsoft.com/office/drawing/2014/main" id="{3EF2F2D5-5FF6-13B1-E13C-CDCE0E767FB7}"/>
                </a:ext>
                <a:ext uri="{C183D7F6-B498-43B3-948B-1728B52AA6E4}">
                  <adec:decorative xmlns:adec="http://schemas.microsoft.com/office/drawing/2017/decorative" val="1"/>
                </a:ext>
              </a:extLst>
            </p:cNvPr>
            <p:cNvSpPr/>
            <p:nvPr/>
          </p:nvSpPr>
          <p:spPr bwMode="auto">
            <a:xfrm>
              <a:off x="1248867" y="2270196"/>
              <a:ext cx="3074305" cy="3134588"/>
            </a:xfrm>
            <a:prstGeom prst="roundRect">
              <a:avLst>
                <a:gd name="adj" fmla="val 2901"/>
              </a:avLst>
            </a:prstGeom>
            <a:solidFill>
              <a:schemeClr val="tx1"/>
            </a:solidFill>
            <a:ln w="12700"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ct val="0"/>
                </a:spcBef>
                <a:spcAft>
                  <a:spcPct val="0"/>
                </a:spcAft>
              </a:pPr>
              <a:endParaRPr lang="en-US" sz="2000">
                <a:solidFill>
                  <a:srgbClr val="FFFFFF"/>
                </a:solidFill>
                <a:cs typeface="Segoe UI" pitchFamily="34" charset="0"/>
              </a:endParaRPr>
            </a:p>
          </p:txBody>
        </p:sp>
        <p:sp>
          <p:nvSpPr>
            <p:cNvPr id="19" name="Graphic 17">
              <a:extLst>
                <a:ext uri="{FF2B5EF4-FFF2-40B4-BE49-F238E27FC236}">
                  <a16:creationId xmlns:a16="http://schemas.microsoft.com/office/drawing/2014/main" id="{1671C1AE-48F5-63FC-81E7-056521914D34}"/>
                </a:ext>
                <a:ext uri="{C183D7F6-B498-43B3-948B-1728B52AA6E4}">
                  <adec:decorative xmlns:adec="http://schemas.microsoft.com/office/drawing/2017/decorative" val="1"/>
                </a:ext>
              </a:extLst>
            </p:cNvPr>
            <p:cNvSpPr>
              <a:spLocks noChangeAspect="1"/>
            </p:cNvSpPr>
            <p:nvPr/>
          </p:nvSpPr>
          <p:spPr>
            <a:xfrm>
              <a:off x="2499777" y="2624777"/>
              <a:ext cx="572484" cy="632875"/>
            </a:xfrm>
            <a:custGeom>
              <a:avLst/>
              <a:gdLst>
                <a:gd name="connsiteX0" fmla="*/ 415870 w 718428"/>
                <a:gd name="connsiteY0" fmla="*/ 510576 h 794216"/>
                <a:gd name="connsiteX1" fmla="*/ 425560 w 718428"/>
                <a:gd name="connsiteY1" fmla="*/ 453816 h 794216"/>
                <a:gd name="connsiteX2" fmla="*/ 85052 w 718428"/>
                <a:gd name="connsiteY2" fmla="*/ 453816 h 794216"/>
                <a:gd name="connsiteX3" fmla="*/ 0 w 718428"/>
                <a:gd name="connsiteY3" fmla="*/ 538899 h 794216"/>
                <a:gd name="connsiteX4" fmla="*/ 0 w 718428"/>
                <a:gd name="connsiteY4" fmla="*/ 573705 h 794216"/>
                <a:gd name="connsiteX5" fmla="*/ 19302 w 718428"/>
                <a:gd name="connsiteY5" fmla="*/ 634076 h 794216"/>
                <a:gd name="connsiteX6" fmla="*/ 302426 w 718428"/>
                <a:gd name="connsiteY6" fmla="*/ 756522 h 794216"/>
                <a:gd name="connsiteX7" fmla="*/ 453690 w 718428"/>
                <a:gd name="connsiteY7" fmla="*/ 732741 h 794216"/>
                <a:gd name="connsiteX8" fmla="*/ 453690 w 718428"/>
                <a:gd name="connsiteY8" fmla="*/ 617594 h 794216"/>
                <a:gd name="connsiteX9" fmla="*/ 415870 w 718428"/>
                <a:gd name="connsiteY9" fmla="*/ 510576 h 794216"/>
                <a:gd name="connsiteX10" fmla="*/ 302426 w 718428"/>
                <a:gd name="connsiteY10" fmla="*/ 0 h 794216"/>
                <a:gd name="connsiteX11" fmla="*/ 491525 w 718428"/>
                <a:gd name="connsiteY11" fmla="*/ 189164 h 794216"/>
                <a:gd name="connsiteX12" fmla="*/ 302426 w 718428"/>
                <a:gd name="connsiteY12" fmla="*/ 378327 h 794216"/>
                <a:gd name="connsiteX13" fmla="*/ 113325 w 718428"/>
                <a:gd name="connsiteY13" fmla="*/ 189164 h 794216"/>
                <a:gd name="connsiteX14" fmla="*/ 302426 w 718428"/>
                <a:gd name="connsiteY14" fmla="*/ 0 h 794216"/>
                <a:gd name="connsiteX15" fmla="*/ 718429 w 718428"/>
                <a:gd name="connsiteY15" fmla="*/ 510576 h 794216"/>
                <a:gd name="connsiteX16" fmla="*/ 586060 w 718428"/>
                <a:gd name="connsiteY16" fmla="*/ 642991 h 794216"/>
                <a:gd name="connsiteX17" fmla="*/ 453690 w 718428"/>
                <a:gd name="connsiteY17" fmla="*/ 510576 h 794216"/>
                <a:gd name="connsiteX18" fmla="*/ 586060 w 718428"/>
                <a:gd name="connsiteY18" fmla="*/ 378161 h 794216"/>
                <a:gd name="connsiteX19" fmla="*/ 718429 w 718428"/>
                <a:gd name="connsiteY19" fmla="*/ 510576 h 794216"/>
                <a:gd name="connsiteX20" fmla="*/ 680609 w 718428"/>
                <a:gd name="connsiteY20" fmla="*/ 652154 h 794216"/>
                <a:gd name="connsiteX21" fmla="*/ 586060 w 718428"/>
                <a:gd name="connsiteY21" fmla="*/ 680822 h 794216"/>
                <a:gd name="connsiteX22" fmla="*/ 491510 w 718428"/>
                <a:gd name="connsiteY22" fmla="*/ 652154 h 794216"/>
                <a:gd name="connsiteX23" fmla="*/ 491510 w 718428"/>
                <a:gd name="connsiteY23" fmla="*/ 784743 h 794216"/>
                <a:gd name="connsiteX24" fmla="*/ 506332 w 718428"/>
                <a:gd name="connsiteY24" fmla="*/ 792530 h 794216"/>
                <a:gd name="connsiteX25" fmla="*/ 586060 w 718428"/>
                <a:gd name="connsiteY25" fmla="*/ 737574 h 794216"/>
                <a:gd name="connsiteX26" fmla="*/ 665791 w 718428"/>
                <a:gd name="connsiteY26" fmla="*/ 792530 h 794216"/>
                <a:gd name="connsiteX27" fmla="*/ 680609 w 718428"/>
                <a:gd name="connsiteY27" fmla="*/ 784743 h 794216"/>
                <a:gd name="connsiteX28" fmla="*/ 680609 w 718428"/>
                <a:gd name="connsiteY28" fmla="*/ 652154 h 794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8428" h="794216">
                  <a:moveTo>
                    <a:pt x="415870" y="510576"/>
                  </a:moveTo>
                  <a:cubicBezTo>
                    <a:pt x="415870" y="490675"/>
                    <a:pt x="419285" y="471568"/>
                    <a:pt x="425560" y="453816"/>
                  </a:cubicBezTo>
                  <a:lnTo>
                    <a:pt x="85052" y="453816"/>
                  </a:lnTo>
                  <a:cubicBezTo>
                    <a:pt x="38079" y="453816"/>
                    <a:pt x="0" y="491908"/>
                    <a:pt x="0" y="538899"/>
                  </a:cubicBezTo>
                  <a:lnTo>
                    <a:pt x="0" y="573705"/>
                  </a:lnTo>
                  <a:cubicBezTo>
                    <a:pt x="0" y="595345"/>
                    <a:pt x="6747" y="616449"/>
                    <a:pt x="19302" y="634076"/>
                  </a:cubicBezTo>
                  <a:cubicBezTo>
                    <a:pt x="77626" y="715960"/>
                    <a:pt x="173044" y="756522"/>
                    <a:pt x="302426" y="756522"/>
                  </a:cubicBezTo>
                  <a:cubicBezTo>
                    <a:pt x="359541" y="756522"/>
                    <a:pt x="410054" y="748618"/>
                    <a:pt x="453690" y="732741"/>
                  </a:cubicBezTo>
                  <a:lnTo>
                    <a:pt x="453690" y="617594"/>
                  </a:lnTo>
                  <a:cubicBezTo>
                    <a:pt x="430038" y="588352"/>
                    <a:pt x="415870" y="551122"/>
                    <a:pt x="415870" y="510576"/>
                  </a:cubicBezTo>
                  <a:close/>
                  <a:moveTo>
                    <a:pt x="302426" y="0"/>
                  </a:moveTo>
                  <a:cubicBezTo>
                    <a:pt x="406862" y="0"/>
                    <a:pt x="491525" y="84692"/>
                    <a:pt x="491525" y="189164"/>
                  </a:cubicBezTo>
                  <a:cubicBezTo>
                    <a:pt x="491525" y="293637"/>
                    <a:pt x="406862" y="378327"/>
                    <a:pt x="302426" y="378327"/>
                  </a:cubicBezTo>
                  <a:cubicBezTo>
                    <a:pt x="197988" y="378327"/>
                    <a:pt x="113325" y="293637"/>
                    <a:pt x="113325" y="189164"/>
                  </a:cubicBezTo>
                  <a:cubicBezTo>
                    <a:pt x="113325" y="84692"/>
                    <a:pt x="197988" y="0"/>
                    <a:pt x="302426" y="0"/>
                  </a:cubicBezTo>
                  <a:close/>
                  <a:moveTo>
                    <a:pt x="718429" y="510576"/>
                  </a:moveTo>
                  <a:cubicBezTo>
                    <a:pt x="718429" y="583708"/>
                    <a:pt x="659165" y="642991"/>
                    <a:pt x="586060" y="642991"/>
                  </a:cubicBezTo>
                  <a:cubicBezTo>
                    <a:pt x="512954" y="642991"/>
                    <a:pt x="453690" y="583708"/>
                    <a:pt x="453690" y="510576"/>
                  </a:cubicBezTo>
                  <a:cubicBezTo>
                    <a:pt x="453690" y="437447"/>
                    <a:pt x="512954" y="378161"/>
                    <a:pt x="586060" y="378161"/>
                  </a:cubicBezTo>
                  <a:cubicBezTo>
                    <a:pt x="659165" y="378161"/>
                    <a:pt x="718429" y="437447"/>
                    <a:pt x="718429" y="510576"/>
                  </a:cubicBezTo>
                  <a:close/>
                  <a:moveTo>
                    <a:pt x="680609" y="652154"/>
                  </a:moveTo>
                  <a:cubicBezTo>
                    <a:pt x="653568" y="670262"/>
                    <a:pt x="621047" y="680822"/>
                    <a:pt x="586060" y="680822"/>
                  </a:cubicBezTo>
                  <a:cubicBezTo>
                    <a:pt x="551072" y="680822"/>
                    <a:pt x="518551" y="670262"/>
                    <a:pt x="491510" y="652154"/>
                  </a:cubicBezTo>
                  <a:lnTo>
                    <a:pt x="491510" y="784743"/>
                  </a:lnTo>
                  <a:cubicBezTo>
                    <a:pt x="491510" y="792364"/>
                    <a:pt x="500057" y="796853"/>
                    <a:pt x="506332" y="792530"/>
                  </a:cubicBezTo>
                  <a:lnTo>
                    <a:pt x="586060" y="737574"/>
                  </a:lnTo>
                  <a:lnTo>
                    <a:pt x="665791" y="792530"/>
                  </a:lnTo>
                  <a:cubicBezTo>
                    <a:pt x="672062" y="796853"/>
                    <a:pt x="680609" y="792364"/>
                    <a:pt x="680609" y="784743"/>
                  </a:cubicBezTo>
                  <a:lnTo>
                    <a:pt x="680609" y="652154"/>
                  </a:lnTo>
                  <a:close/>
                </a:path>
              </a:pathLst>
            </a:custGeom>
            <a:gradFill flip="none" rotWithShape="1">
              <a:gsLst>
                <a:gs pos="0">
                  <a:srgbClr val="C03BC4"/>
                </a:gs>
                <a:gs pos="80000">
                  <a:srgbClr val="0078D4"/>
                </a:gs>
              </a:gsLst>
              <a:path path="circle">
                <a:fillToRect l="100000" t="100000"/>
              </a:path>
              <a:tileRect r="-100000" b="-100000"/>
            </a:gradFill>
            <a:effectLst/>
          </p:spPr>
          <p:txBody>
            <a:bodyPr wrap="square" lIns="0" tIns="0" rIns="0" bIns="0" rtlCol="0" anchor="ctr" anchorCtr="0">
              <a:noAutofit/>
            </a:bodyPr>
            <a:lstStyle/>
            <a:p>
              <a:pPr algn="ctr" fontAlgn="base">
                <a:spcBef>
                  <a:spcPct val="0"/>
                </a:spcBef>
                <a:spcAft>
                  <a:spcPts val="1200"/>
                </a:spcAft>
                <a:buSzPct val="90000"/>
              </a:pPr>
              <a:endParaRPr lang="en-US" sz="1400" b="1">
                <a:solidFill>
                  <a:schemeClr val="bg1"/>
                </a:solidFill>
              </a:endParaRPr>
            </a:p>
          </p:txBody>
        </p:sp>
        <p:sp>
          <p:nvSpPr>
            <p:cNvPr id="31" name="TextBox 30">
              <a:extLst>
                <a:ext uri="{FF2B5EF4-FFF2-40B4-BE49-F238E27FC236}">
                  <a16:creationId xmlns:a16="http://schemas.microsoft.com/office/drawing/2014/main" id="{3D507279-6D44-5BE3-7268-06B5C91626E8}"/>
                </a:ext>
              </a:extLst>
            </p:cNvPr>
            <p:cNvSpPr txBox="1"/>
            <p:nvPr/>
          </p:nvSpPr>
          <p:spPr>
            <a:xfrm>
              <a:off x="1485325" y="3648599"/>
              <a:ext cx="2601388" cy="889025"/>
            </a:xfrm>
            <a:prstGeom prst="rect">
              <a:avLst/>
            </a:prstGeom>
            <a:noFill/>
          </p:spPr>
          <p:txBody>
            <a:bodyPr wrap="square" lIns="0" tIns="0" rIns="0" bIns="0" anchor="t">
              <a:noAutofit/>
            </a:bodyPr>
            <a:lstStyle/>
            <a:p>
              <a:pPr marL="0" marR="0" lvl="0" indent="0" algn="ctr" defTabSz="914400" rtl="0" eaLnBrk="1" fontAlgn="auto" latinLnBrk="0" hangingPunct="1">
                <a:lnSpc>
                  <a:spcPct val="100000"/>
                </a:lnSpc>
                <a:spcBef>
                  <a:spcPts val="0"/>
                </a:spcBef>
                <a:spcAft>
                  <a:spcPts val="700"/>
                </a:spcAft>
                <a:buClrTx/>
                <a:buSzTx/>
                <a:buFontTx/>
                <a:buNone/>
                <a:tabLst/>
                <a:defRPr/>
              </a:pPr>
              <a:r>
                <a:rPr lang="en-US" b="1">
                  <a:solidFill>
                    <a:srgbClr val="8661C5"/>
                  </a:solidFill>
                  <a:latin typeface="Segoe UI Semibold" panose="020B0502040204020203" pitchFamily="34" charset="0"/>
                  <a:cs typeface="Segoe UI Semibold" panose="020B0502040204020203" pitchFamily="34" charset="0"/>
                </a:rPr>
                <a:t>Technical expertise </a:t>
              </a:r>
              <a:r>
                <a:rPr kumimoji="0" lang="en-US" sz="1800" b="0" i="0" u="none" strike="noStrike" kern="1200" cap="none" spc="0" normalizeH="0" baseline="0" noProof="0">
                  <a:ln>
                    <a:noFill/>
                  </a:ln>
                  <a:solidFill>
                    <a:prstClr val="black"/>
                  </a:solidFill>
                  <a:effectLst/>
                  <a:uLnTx/>
                  <a:uFillTx/>
                  <a:latin typeface="Segoe UI"/>
                  <a:ea typeface="+mn-ea"/>
                  <a:cs typeface="Segoe UI Semibold" panose="020B0502040204020203" pitchFamily="34" charset="0"/>
                </a:rPr>
                <a:t>via our FastTrack partners</a:t>
              </a:r>
            </a:p>
          </p:txBody>
        </p:sp>
        <p:sp>
          <p:nvSpPr>
            <p:cNvPr id="2" name="Rectangle: Rounded Corners 1">
              <a:extLst>
                <a:ext uri="{FF2B5EF4-FFF2-40B4-BE49-F238E27FC236}">
                  <a16:creationId xmlns:a16="http://schemas.microsoft.com/office/drawing/2014/main" id="{2D1E822C-B69C-9C2F-28B0-4AD8D6D602A9}"/>
                </a:ext>
              </a:extLst>
            </p:cNvPr>
            <p:cNvSpPr/>
            <p:nvPr/>
          </p:nvSpPr>
          <p:spPr bwMode="auto">
            <a:xfrm>
              <a:off x="1427997" y="4686644"/>
              <a:ext cx="2658716" cy="454508"/>
            </a:xfrm>
            <a:prstGeom prst="roundRect">
              <a:avLst>
                <a:gd name="adj" fmla="val 50000"/>
              </a:avLst>
            </a:prstGeom>
            <a:gradFill flip="none" rotWithShape="1">
              <a:gsLst>
                <a:gs pos="82000">
                  <a:srgbClr val="E77DC6"/>
                </a:gs>
                <a:gs pos="58000">
                  <a:srgbClr val="D962FA">
                    <a:lumMod val="84000"/>
                  </a:srgbClr>
                </a:gs>
                <a:gs pos="15000">
                  <a:srgbClr val="0B87DE"/>
                </a:gs>
                <a:gs pos="100000">
                  <a:srgbClr val="F69991"/>
                </a:gs>
              </a:gsLst>
              <a:lin ang="3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w="3175">
                    <a:noFill/>
                  </a:ln>
                  <a:solidFill>
                    <a:srgbClr val="FFFFFF"/>
                  </a:solidFill>
                  <a:effectLst/>
                  <a:uLnTx/>
                  <a:uFillTx/>
                  <a:latin typeface="Segoe UI Semibold"/>
                  <a:ea typeface="+mn-ea"/>
                  <a:cs typeface="Segoe UI Semibold" panose="020B0502040204020203" pitchFamily="34" charset="0"/>
                </a:rPr>
                <a:t>aka.ms/</a:t>
              </a:r>
              <a:r>
                <a:rPr lang="en-US" sz="1400" dirty="0">
                  <a:ln w="3175">
                    <a:noFill/>
                  </a:ln>
                  <a:solidFill>
                    <a:srgbClr val="FFFFFF"/>
                  </a:solidFill>
                  <a:latin typeface="Segoe UI Semibold"/>
                  <a:cs typeface="Segoe UI Semibold" panose="020B0502040204020203" pitchFamily="34" charset="0"/>
                </a:rPr>
                <a:t>Microsoft/</a:t>
              </a:r>
              <a:r>
                <a:rPr kumimoji="0" lang="en-US" sz="1400" b="0" i="0" u="none" strike="noStrike" kern="1200" cap="none" spc="0" normalizeH="0" baseline="0" noProof="0" dirty="0">
                  <a:ln w="3175">
                    <a:noFill/>
                  </a:ln>
                  <a:solidFill>
                    <a:srgbClr val="FFFFFF"/>
                  </a:solidFill>
                  <a:effectLst/>
                  <a:uLnTx/>
                  <a:uFillTx/>
                  <a:latin typeface="Segoe UI Semibold"/>
                  <a:ea typeface="+mn-ea"/>
                  <a:cs typeface="Segoe UI Semibold" panose="020B0502040204020203" pitchFamily="34" charset="0"/>
                </a:rPr>
                <a:t>FastTrack</a:t>
              </a:r>
            </a:p>
          </p:txBody>
        </p:sp>
      </p:grpSp>
      <p:sp>
        <p:nvSpPr>
          <p:cNvPr id="26" name="Rounded Rectangle 1">
            <a:extLst>
              <a:ext uri="{FF2B5EF4-FFF2-40B4-BE49-F238E27FC236}">
                <a16:creationId xmlns:a16="http://schemas.microsoft.com/office/drawing/2014/main" id="{869C7623-C55E-6814-1269-F4E5337BC0D6}"/>
              </a:ext>
              <a:ext uri="{C183D7F6-B498-43B3-948B-1728B52AA6E4}">
                <adec:decorative xmlns:adec="http://schemas.microsoft.com/office/drawing/2017/decorative" val="1"/>
              </a:ext>
            </a:extLst>
          </p:cNvPr>
          <p:cNvSpPr/>
          <p:nvPr/>
        </p:nvSpPr>
        <p:spPr bwMode="auto">
          <a:xfrm>
            <a:off x="4558846" y="2270196"/>
            <a:ext cx="3074305" cy="3134588"/>
          </a:xfrm>
          <a:prstGeom prst="roundRect">
            <a:avLst>
              <a:gd name="adj" fmla="val 2901"/>
            </a:avLst>
          </a:prstGeom>
          <a:solidFill>
            <a:schemeClr val="tx1"/>
          </a:solidFill>
          <a:ln w="12700"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ct val="0"/>
              </a:spcBef>
              <a:spcAft>
                <a:spcPct val="0"/>
              </a:spcAft>
            </a:pPr>
            <a:endParaRPr lang="en-US" sz="2000">
              <a:solidFill>
                <a:srgbClr val="FFFFFF"/>
              </a:solidFill>
              <a:cs typeface="Segoe UI" pitchFamily="34" charset="0"/>
            </a:endParaRPr>
          </a:p>
        </p:txBody>
      </p:sp>
      <p:sp>
        <p:nvSpPr>
          <p:cNvPr id="37" name="Graphic 34">
            <a:extLst>
              <a:ext uri="{FF2B5EF4-FFF2-40B4-BE49-F238E27FC236}">
                <a16:creationId xmlns:a16="http://schemas.microsoft.com/office/drawing/2014/main" id="{BDDB9927-35F6-56E4-CF2F-2C3A6F0A2D9D}"/>
              </a:ext>
              <a:ext uri="{C183D7F6-B498-43B3-948B-1728B52AA6E4}">
                <adec:decorative xmlns:adec="http://schemas.microsoft.com/office/drawing/2017/decorative" val="1"/>
              </a:ext>
            </a:extLst>
          </p:cNvPr>
          <p:cNvSpPr>
            <a:spLocks noChangeAspect="1"/>
          </p:cNvSpPr>
          <p:nvPr/>
        </p:nvSpPr>
        <p:spPr>
          <a:xfrm>
            <a:off x="5789227" y="2624777"/>
            <a:ext cx="602738" cy="632875"/>
          </a:xfrm>
          <a:custGeom>
            <a:avLst/>
            <a:gdLst>
              <a:gd name="connsiteX0" fmla="*/ 23813 w 190500"/>
              <a:gd name="connsiteY0" fmla="*/ 0 h 200025"/>
              <a:gd name="connsiteX1" fmla="*/ 133350 w 190500"/>
              <a:gd name="connsiteY1" fmla="*/ 0 h 200025"/>
              <a:gd name="connsiteX2" fmla="*/ 157163 w 190500"/>
              <a:gd name="connsiteY2" fmla="*/ 23813 h 200025"/>
              <a:gd name="connsiteX3" fmla="*/ 157163 w 190500"/>
              <a:gd name="connsiteY3" fmla="*/ 88711 h 200025"/>
              <a:gd name="connsiteX4" fmla="*/ 138113 w 190500"/>
              <a:gd name="connsiteY4" fmla="*/ 85725 h 200025"/>
              <a:gd name="connsiteX5" fmla="*/ 76200 w 190500"/>
              <a:gd name="connsiteY5" fmla="*/ 147638 h 200025"/>
              <a:gd name="connsiteX6" fmla="*/ 79186 w 190500"/>
              <a:gd name="connsiteY6" fmla="*/ 166688 h 200025"/>
              <a:gd name="connsiteX7" fmla="*/ 14288 w 190500"/>
              <a:gd name="connsiteY7" fmla="*/ 166688 h 200025"/>
              <a:gd name="connsiteX8" fmla="*/ 23813 w 190500"/>
              <a:gd name="connsiteY8" fmla="*/ 176213 h 200025"/>
              <a:gd name="connsiteX9" fmla="*/ 83174 w 190500"/>
              <a:gd name="connsiteY9" fmla="*/ 176213 h 200025"/>
              <a:gd name="connsiteX10" fmla="*/ 93436 w 190500"/>
              <a:gd name="connsiteY10" fmla="*/ 190500 h 200025"/>
              <a:gd name="connsiteX11" fmla="*/ 23813 w 190500"/>
              <a:gd name="connsiteY11" fmla="*/ 190500 h 200025"/>
              <a:gd name="connsiteX12" fmla="*/ 0 w 190500"/>
              <a:gd name="connsiteY12" fmla="*/ 166688 h 200025"/>
              <a:gd name="connsiteX13" fmla="*/ 0 w 190500"/>
              <a:gd name="connsiteY13" fmla="*/ 23813 h 200025"/>
              <a:gd name="connsiteX14" fmla="*/ 23813 w 190500"/>
              <a:gd name="connsiteY14" fmla="*/ 0 h 200025"/>
              <a:gd name="connsiteX15" fmla="*/ 38100 w 190500"/>
              <a:gd name="connsiteY15" fmla="*/ 28575 h 200025"/>
              <a:gd name="connsiteX16" fmla="*/ 28575 w 190500"/>
              <a:gd name="connsiteY16" fmla="*/ 38100 h 200025"/>
              <a:gd name="connsiteX17" fmla="*/ 28575 w 190500"/>
              <a:gd name="connsiteY17" fmla="*/ 47625 h 200025"/>
              <a:gd name="connsiteX18" fmla="*/ 38100 w 190500"/>
              <a:gd name="connsiteY18" fmla="*/ 57150 h 200025"/>
              <a:gd name="connsiteX19" fmla="*/ 114300 w 190500"/>
              <a:gd name="connsiteY19" fmla="*/ 57150 h 200025"/>
              <a:gd name="connsiteX20" fmla="*/ 123825 w 190500"/>
              <a:gd name="connsiteY20" fmla="*/ 47625 h 200025"/>
              <a:gd name="connsiteX21" fmla="*/ 123825 w 190500"/>
              <a:gd name="connsiteY21" fmla="*/ 38100 h 200025"/>
              <a:gd name="connsiteX22" fmla="*/ 114300 w 190500"/>
              <a:gd name="connsiteY22" fmla="*/ 28575 h 200025"/>
              <a:gd name="connsiteX23" fmla="*/ 38100 w 190500"/>
              <a:gd name="connsiteY23" fmla="*/ 28575 h 200025"/>
              <a:gd name="connsiteX24" fmla="*/ 190500 w 190500"/>
              <a:gd name="connsiteY24" fmla="*/ 147638 h 200025"/>
              <a:gd name="connsiteX25" fmla="*/ 138113 w 190500"/>
              <a:gd name="connsiteY25" fmla="*/ 95250 h 200025"/>
              <a:gd name="connsiteX26" fmla="*/ 85725 w 190500"/>
              <a:gd name="connsiteY26" fmla="*/ 147638 h 200025"/>
              <a:gd name="connsiteX27" fmla="*/ 138113 w 190500"/>
              <a:gd name="connsiteY27" fmla="*/ 200025 h 200025"/>
              <a:gd name="connsiteX28" fmla="*/ 190500 w 190500"/>
              <a:gd name="connsiteY28" fmla="*/ 147638 h 200025"/>
              <a:gd name="connsiteX29" fmla="*/ 132529 w 190500"/>
              <a:gd name="connsiteY29" fmla="*/ 124749 h 200025"/>
              <a:gd name="connsiteX30" fmla="*/ 159261 w 190500"/>
              <a:gd name="connsiteY30" fmla="*/ 142278 h 200025"/>
              <a:gd name="connsiteX31" fmla="*/ 161214 w 190500"/>
              <a:gd name="connsiteY31" fmla="*/ 144403 h 200025"/>
              <a:gd name="connsiteX32" fmla="*/ 161925 w 190500"/>
              <a:gd name="connsiteY32" fmla="*/ 147237 h 200025"/>
              <a:gd name="connsiteX33" fmla="*/ 161244 w 190500"/>
              <a:gd name="connsiteY33" fmla="*/ 150071 h 200025"/>
              <a:gd name="connsiteX34" fmla="*/ 159349 w 190500"/>
              <a:gd name="connsiteY34" fmla="*/ 152228 h 200025"/>
              <a:gd name="connsiteX35" fmla="*/ 132618 w 190500"/>
              <a:gd name="connsiteY35" fmla="*/ 170464 h 200025"/>
              <a:gd name="connsiteX36" fmla="*/ 131108 w 190500"/>
              <a:gd name="connsiteY36" fmla="*/ 171203 h 200025"/>
              <a:gd name="connsiteX37" fmla="*/ 129509 w 190500"/>
              <a:gd name="connsiteY37" fmla="*/ 171450 h 200025"/>
              <a:gd name="connsiteX38" fmla="*/ 127348 w 190500"/>
              <a:gd name="connsiteY38" fmla="*/ 170988 h 200025"/>
              <a:gd name="connsiteX39" fmla="*/ 125513 w 190500"/>
              <a:gd name="connsiteY39" fmla="*/ 169695 h 200025"/>
              <a:gd name="connsiteX40" fmla="*/ 124269 w 190500"/>
              <a:gd name="connsiteY40" fmla="*/ 167784 h 200025"/>
              <a:gd name="connsiteX41" fmla="*/ 123825 w 190500"/>
              <a:gd name="connsiteY41" fmla="*/ 165535 h 200025"/>
              <a:gd name="connsiteX42" fmla="*/ 123825 w 190500"/>
              <a:gd name="connsiteY42" fmla="*/ 129740 h 200025"/>
              <a:gd name="connsiteX43" fmla="*/ 124269 w 190500"/>
              <a:gd name="connsiteY43" fmla="*/ 127460 h 200025"/>
              <a:gd name="connsiteX44" fmla="*/ 125513 w 190500"/>
              <a:gd name="connsiteY44" fmla="*/ 125580 h 200025"/>
              <a:gd name="connsiteX45" fmla="*/ 127318 w 190500"/>
              <a:gd name="connsiteY45" fmla="*/ 124317 h 200025"/>
              <a:gd name="connsiteX46" fmla="*/ 129509 w 190500"/>
              <a:gd name="connsiteY46" fmla="*/ 123825 h 200025"/>
              <a:gd name="connsiteX47" fmla="*/ 132529 w 190500"/>
              <a:gd name="connsiteY47" fmla="*/ 124749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90500" h="200025">
                <a:moveTo>
                  <a:pt x="23813" y="0"/>
                </a:moveTo>
                <a:lnTo>
                  <a:pt x="133350" y="0"/>
                </a:lnTo>
                <a:cubicBezTo>
                  <a:pt x="146501" y="0"/>
                  <a:pt x="157163" y="10661"/>
                  <a:pt x="157163" y="23813"/>
                </a:cubicBezTo>
                <a:lnTo>
                  <a:pt x="157163" y="88711"/>
                </a:lnTo>
                <a:cubicBezTo>
                  <a:pt x="151161" y="86773"/>
                  <a:pt x="144759" y="85725"/>
                  <a:pt x="138113" y="85725"/>
                </a:cubicBezTo>
                <a:cubicBezTo>
                  <a:pt x="103919" y="85725"/>
                  <a:pt x="76200" y="113444"/>
                  <a:pt x="76200" y="147638"/>
                </a:cubicBezTo>
                <a:cubicBezTo>
                  <a:pt x="76200" y="154284"/>
                  <a:pt x="77248" y="160686"/>
                  <a:pt x="79186" y="166688"/>
                </a:cubicBezTo>
                <a:lnTo>
                  <a:pt x="14288" y="166688"/>
                </a:lnTo>
                <a:cubicBezTo>
                  <a:pt x="14288" y="171948"/>
                  <a:pt x="18552" y="176213"/>
                  <a:pt x="23813" y="176213"/>
                </a:cubicBezTo>
                <a:lnTo>
                  <a:pt x="83174" y="176213"/>
                </a:lnTo>
                <a:cubicBezTo>
                  <a:pt x="85910" y="181461"/>
                  <a:pt x="89375" y="186268"/>
                  <a:pt x="93436" y="190500"/>
                </a:cubicBezTo>
                <a:lnTo>
                  <a:pt x="23813" y="190500"/>
                </a:lnTo>
                <a:cubicBezTo>
                  <a:pt x="10661" y="190500"/>
                  <a:pt x="0" y="179839"/>
                  <a:pt x="0" y="166688"/>
                </a:cubicBezTo>
                <a:lnTo>
                  <a:pt x="0" y="23813"/>
                </a:lnTo>
                <a:cubicBezTo>
                  <a:pt x="0" y="10661"/>
                  <a:pt x="10661" y="0"/>
                  <a:pt x="23813" y="0"/>
                </a:cubicBezTo>
                <a:close/>
                <a:moveTo>
                  <a:pt x="38100" y="28575"/>
                </a:moveTo>
                <a:cubicBezTo>
                  <a:pt x="32840" y="28575"/>
                  <a:pt x="28575" y="32840"/>
                  <a:pt x="28575" y="38100"/>
                </a:cubicBezTo>
                <a:lnTo>
                  <a:pt x="28575" y="47625"/>
                </a:lnTo>
                <a:cubicBezTo>
                  <a:pt x="28575" y="52885"/>
                  <a:pt x="32840" y="57150"/>
                  <a:pt x="38100" y="57150"/>
                </a:cubicBezTo>
                <a:lnTo>
                  <a:pt x="114300" y="57150"/>
                </a:lnTo>
                <a:cubicBezTo>
                  <a:pt x="119561" y="57150"/>
                  <a:pt x="123825" y="52885"/>
                  <a:pt x="123825" y="47625"/>
                </a:cubicBezTo>
                <a:lnTo>
                  <a:pt x="123825" y="38100"/>
                </a:lnTo>
                <a:cubicBezTo>
                  <a:pt x="123825" y="32840"/>
                  <a:pt x="119561" y="28575"/>
                  <a:pt x="114300" y="28575"/>
                </a:cubicBezTo>
                <a:lnTo>
                  <a:pt x="38100" y="28575"/>
                </a:lnTo>
                <a:close/>
                <a:moveTo>
                  <a:pt x="190500" y="147638"/>
                </a:moveTo>
                <a:cubicBezTo>
                  <a:pt x="190500" y="118704"/>
                  <a:pt x="167046" y="95250"/>
                  <a:pt x="138113" y="95250"/>
                </a:cubicBezTo>
                <a:cubicBezTo>
                  <a:pt x="109179" y="95250"/>
                  <a:pt x="85725" y="118704"/>
                  <a:pt x="85725" y="147638"/>
                </a:cubicBezTo>
                <a:cubicBezTo>
                  <a:pt x="85725" y="176571"/>
                  <a:pt x="109179" y="200025"/>
                  <a:pt x="138113" y="200025"/>
                </a:cubicBezTo>
                <a:cubicBezTo>
                  <a:pt x="167046" y="200025"/>
                  <a:pt x="190500" y="176571"/>
                  <a:pt x="190500" y="147638"/>
                </a:cubicBezTo>
                <a:close/>
                <a:moveTo>
                  <a:pt x="132529" y="124749"/>
                </a:moveTo>
                <a:lnTo>
                  <a:pt x="159261" y="142278"/>
                </a:lnTo>
                <a:cubicBezTo>
                  <a:pt x="160090" y="142811"/>
                  <a:pt x="160741" y="143520"/>
                  <a:pt x="161214" y="144403"/>
                </a:cubicBezTo>
                <a:cubicBezTo>
                  <a:pt x="161688" y="145266"/>
                  <a:pt x="161925" y="146211"/>
                  <a:pt x="161925" y="147237"/>
                </a:cubicBezTo>
                <a:cubicBezTo>
                  <a:pt x="161925" y="148222"/>
                  <a:pt x="161698" y="149167"/>
                  <a:pt x="161244" y="150071"/>
                </a:cubicBezTo>
                <a:cubicBezTo>
                  <a:pt x="160791" y="150975"/>
                  <a:pt x="160159" y="151693"/>
                  <a:pt x="159349" y="152228"/>
                </a:cubicBezTo>
                <a:lnTo>
                  <a:pt x="132618" y="170464"/>
                </a:lnTo>
                <a:cubicBezTo>
                  <a:pt x="132124" y="170793"/>
                  <a:pt x="131620" y="171039"/>
                  <a:pt x="131108" y="171203"/>
                </a:cubicBezTo>
                <a:cubicBezTo>
                  <a:pt x="130614" y="171368"/>
                  <a:pt x="130081" y="171450"/>
                  <a:pt x="129509" y="171450"/>
                </a:cubicBezTo>
                <a:cubicBezTo>
                  <a:pt x="128759" y="171450"/>
                  <a:pt x="128039" y="171296"/>
                  <a:pt x="127348" y="170988"/>
                </a:cubicBezTo>
                <a:cubicBezTo>
                  <a:pt x="126657" y="170659"/>
                  <a:pt x="126045" y="170228"/>
                  <a:pt x="125513" y="169695"/>
                </a:cubicBezTo>
                <a:cubicBezTo>
                  <a:pt x="124999" y="169139"/>
                  <a:pt x="124585" y="168503"/>
                  <a:pt x="124269" y="167784"/>
                </a:cubicBezTo>
                <a:cubicBezTo>
                  <a:pt x="123973" y="167066"/>
                  <a:pt x="123825" y="166316"/>
                  <a:pt x="123825" y="165535"/>
                </a:cubicBezTo>
                <a:lnTo>
                  <a:pt x="123825" y="129740"/>
                </a:lnTo>
                <a:cubicBezTo>
                  <a:pt x="123825" y="128939"/>
                  <a:pt x="123973" y="128179"/>
                  <a:pt x="124269" y="127460"/>
                </a:cubicBezTo>
                <a:cubicBezTo>
                  <a:pt x="124585" y="126742"/>
                  <a:pt x="124999" y="126115"/>
                  <a:pt x="125513" y="125580"/>
                </a:cubicBezTo>
                <a:cubicBezTo>
                  <a:pt x="126025" y="125047"/>
                  <a:pt x="126627" y="124626"/>
                  <a:pt x="127318" y="124317"/>
                </a:cubicBezTo>
                <a:cubicBezTo>
                  <a:pt x="128009" y="123989"/>
                  <a:pt x="128739" y="123825"/>
                  <a:pt x="129509" y="123825"/>
                </a:cubicBezTo>
                <a:cubicBezTo>
                  <a:pt x="130614" y="123825"/>
                  <a:pt x="131620" y="124133"/>
                  <a:pt x="132529" y="124749"/>
                </a:cubicBezTo>
                <a:close/>
              </a:path>
            </a:pathLst>
          </a:custGeom>
          <a:gradFill flip="none" rotWithShape="1">
            <a:gsLst>
              <a:gs pos="0">
                <a:srgbClr val="C03BC4"/>
              </a:gs>
              <a:gs pos="80000">
                <a:srgbClr val="0078D4"/>
              </a:gs>
            </a:gsLst>
            <a:path path="circle">
              <a:fillToRect l="100000" t="100000"/>
            </a:path>
            <a:tileRect r="-100000" b="-100000"/>
          </a:gradFill>
          <a:effectLst/>
        </p:spPr>
        <p:txBody>
          <a:bodyPr wrap="square" lIns="0" tIns="0" rIns="0" bIns="0" rtlCol="0" anchor="ctr" anchorCtr="0">
            <a:noAutofit/>
          </a:bodyPr>
          <a:lstStyle/>
          <a:p>
            <a:pPr algn="ctr" fontAlgn="base">
              <a:spcBef>
                <a:spcPct val="0"/>
              </a:spcBef>
              <a:spcAft>
                <a:spcPts val="1200"/>
              </a:spcAft>
              <a:buSzPct val="90000"/>
            </a:pPr>
            <a:endParaRPr lang="en-US" sz="1400" b="1">
              <a:solidFill>
                <a:schemeClr val="bg1"/>
              </a:solidFill>
            </a:endParaRPr>
          </a:p>
        </p:txBody>
      </p:sp>
      <p:sp>
        <p:nvSpPr>
          <p:cNvPr id="27" name="TextBox 26">
            <a:extLst>
              <a:ext uri="{FF2B5EF4-FFF2-40B4-BE49-F238E27FC236}">
                <a16:creationId xmlns:a16="http://schemas.microsoft.com/office/drawing/2014/main" id="{A9BE6833-3B82-F25F-2CBA-4162D5DB780B}"/>
              </a:ext>
            </a:extLst>
          </p:cNvPr>
          <p:cNvSpPr txBox="1"/>
          <p:nvPr/>
        </p:nvSpPr>
        <p:spPr>
          <a:xfrm>
            <a:off x="4678385" y="3648599"/>
            <a:ext cx="2813993" cy="1466396"/>
          </a:xfrm>
          <a:prstGeom prst="rect">
            <a:avLst/>
          </a:prstGeom>
          <a:noFill/>
        </p:spPr>
        <p:txBody>
          <a:bodyPr wrap="square" lIns="0" tIns="0" rIns="0" bIns="0" anchor="t">
            <a:noAutofit/>
          </a:bodyPr>
          <a:lstStyle/>
          <a:p>
            <a:pPr marL="0" marR="0" lvl="0" indent="0" algn="ctr" defTabSz="914400" rtl="0" eaLnBrk="1" fontAlgn="auto" latinLnBrk="0" hangingPunct="1">
              <a:lnSpc>
                <a:spcPct val="100000"/>
              </a:lnSpc>
              <a:spcBef>
                <a:spcPts val="0"/>
              </a:spcBef>
              <a:spcAft>
                <a:spcPts val="700"/>
              </a:spcAft>
              <a:buClrTx/>
              <a:buSzTx/>
              <a:buFontTx/>
              <a:buNone/>
              <a:tabLst/>
              <a:defRPr/>
            </a:pPr>
            <a:r>
              <a:rPr lang="en-US" b="1">
                <a:solidFill>
                  <a:srgbClr val="8661C5"/>
                </a:solidFill>
                <a:latin typeface="Segoe UI Semibold" panose="020B0502040204020203" pitchFamily="34" charset="0"/>
                <a:cs typeface="Segoe UI Semibold" panose="020B0502040204020203" pitchFamily="34" charset="0"/>
              </a:rPr>
              <a:t>Tools, resources &amp; training </a:t>
            </a:r>
            <a:r>
              <a:rPr lang="en-US">
                <a:solidFill>
                  <a:prstClr val="black"/>
                </a:solidFill>
                <a:latin typeface="Segoe UI"/>
                <a:cs typeface="Segoe UI Semibold" panose="020B0502040204020203" pitchFamily="34" charset="0"/>
              </a:rPr>
              <a:t>on our Adoption Hub</a:t>
            </a:r>
          </a:p>
        </p:txBody>
      </p:sp>
      <p:sp>
        <p:nvSpPr>
          <p:cNvPr id="3" name="Rectangle: Rounded Corners 2">
            <a:extLst>
              <a:ext uri="{FF2B5EF4-FFF2-40B4-BE49-F238E27FC236}">
                <a16:creationId xmlns:a16="http://schemas.microsoft.com/office/drawing/2014/main" id="{F9388511-13A7-1A07-1A4C-D9DA82A01F6A}"/>
              </a:ext>
            </a:extLst>
          </p:cNvPr>
          <p:cNvSpPr/>
          <p:nvPr/>
        </p:nvSpPr>
        <p:spPr bwMode="auto">
          <a:xfrm>
            <a:off x="4756023" y="4660487"/>
            <a:ext cx="2658716" cy="454508"/>
          </a:xfrm>
          <a:prstGeom prst="roundRect">
            <a:avLst>
              <a:gd name="adj" fmla="val 50000"/>
            </a:avLst>
          </a:prstGeom>
          <a:gradFill flip="none" rotWithShape="1">
            <a:gsLst>
              <a:gs pos="82000">
                <a:srgbClr val="E77DC6"/>
              </a:gs>
              <a:gs pos="58000">
                <a:srgbClr val="D962FA">
                  <a:lumMod val="84000"/>
                </a:srgbClr>
              </a:gs>
              <a:gs pos="15000">
                <a:srgbClr val="0B87DE"/>
              </a:gs>
              <a:gs pos="100000">
                <a:srgbClr val="F69991"/>
              </a:gs>
            </a:gsLst>
            <a:lin ang="3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600">
                <a:ln w="3175">
                  <a:noFill/>
                </a:ln>
                <a:solidFill>
                  <a:srgbClr val="FFFFFF"/>
                </a:solidFill>
                <a:latin typeface="Segoe UI Semibold"/>
                <a:cs typeface="Segoe UI Semibold" panose="020B0502040204020203" pitchFamily="34" charset="0"/>
              </a:rPr>
              <a:t>a</a:t>
            </a:r>
            <a:r>
              <a:rPr kumimoji="0" lang="en-US" sz="1600" b="0" i="0" u="none" strike="noStrike" kern="1200" cap="none" spc="0" normalizeH="0" baseline="0" noProof="0">
                <a:ln w="3175">
                  <a:noFill/>
                </a:ln>
                <a:solidFill>
                  <a:srgbClr val="FFFFFF"/>
                </a:solidFill>
                <a:effectLst/>
                <a:uLnTx/>
                <a:uFillTx/>
                <a:latin typeface="Segoe UI Semibold"/>
                <a:ea typeface="+mn-ea"/>
                <a:cs typeface="Segoe UI Semibold" panose="020B0502040204020203" pitchFamily="34" charset="0"/>
              </a:rPr>
              <a:t>doption.microsoft.com</a:t>
            </a:r>
          </a:p>
        </p:txBody>
      </p:sp>
      <p:grpSp>
        <p:nvGrpSpPr>
          <p:cNvPr id="11" name="Group 10">
            <a:extLst>
              <a:ext uri="{FF2B5EF4-FFF2-40B4-BE49-F238E27FC236}">
                <a16:creationId xmlns:a16="http://schemas.microsoft.com/office/drawing/2014/main" id="{B034DB9B-16F5-F414-C0B4-6B9512691394}"/>
              </a:ext>
            </a:extLst>
          </p:cNvPr>
          <p:cNvGrpSpPr/>
          <p:nvPr/>
        </p:nvGrpSpPr>
        <p:grpSpPr>
          <a:xfrm>
            <a:off x="7868827" y="2270196"/>
            <a:ext cx="3074305" cy="3134588"/>
            <a:chOff x="7868827" y="2270196"/>
            <a:chExt cx="3074305" cy="3134588"/>
          </a:xfrm>
        </p:grpSpPr>
        <p:sp>
          <p:nvSpPr>
            <p:cNvPr id="22" name="Rounded Rectangle 1">
              <a:extLst>
                <a:ext uri="{FF2B5EF4-FFF2-40B4-BE49-F238E27FC236}">
                  <a16:creationId xmlns:a16="http://schemas.microsoft.com/office/drawing/2014/main" id="{F6379D70-B3AF-76B3-A431-EB6742534434}"/>
                </a:ext>
                <a:ext uri="{C183D7F6-B498-43B3-948B-1728B52AA6E4}">
                  <adec:decorative xmlns:adec="http://schemas.microsoft.com/office/drawing/2017/decorative" val="1"/>
                </a:ext>
              </a:extLst>
            </p:cNvPr>
            <p:cNvSpPr/>
            <p:nvPr/>
          </p:nvSpPr>
          <p:spPr bwMode="auto">
            <a:xfrm>
              <a:off x="7868827" y="2270196"/>
              <a:ext cx="3074305" cy="3134588"/>
            </a:xfrm>
            <a:prstGeom prst="roundRect">
              <a:avLst>
                <a:gd name="adj" fmla="val 2901"/>
              </a:avLst>
            </a:prstGeom>
            <a:solidFill>
              <a:schemeClr val="tx1"/>
            </a:solidFill>
            <a:ln w="12700"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ct val="0"/>
                </a:spcBef>
                <a:spcAft>
                  <a:spcPct val="0"/>
                </a:spcAft>
              </a:pPr>
              <a:endParaRPr lang="en-US" sz="2000">
                <a:solidFill>
                  <a:srgbClr val="FFFFFF"/>
                </a:solidFill>
                <a:cs typeface="Segoe UI" pitchFamily="34" charset="0"/>
              </a:endParaRPr>
            </a:p>
          </p:txBody>
        </p:sp>
        <p:sp>
          <p:nvSpPr>
            <p:cNvPr id="36" name="Graphic 32">
              <a:extLst>
                <a:ext uri="{FF2B5EF4-FFF2-40B4-BE49-F238E27FC236}">
                  <a16:creationId xmlns:a16="http://schemas.microsoft.com/office/drawing/2014/main" id="{3108AF80-9C74-98E5-AF26-93A53A5248E7}"/>
                </a:ext>
                <a:ext uri="{C183D7F6-B498-43B3-948B-1728B52AA6E4}">
                  <adec:decorative xmlns:adec="http://schemas.microsoft.com/office/drawing/2017/decorative" val="1"/>
                </a:ext>
              </a:extLst>
            </p:cNvPr>
            <p:cNvSpPr>
              <a:spLocks noChangeAspect="1"/>
            </p:cNvSpPr>
            <p:nvPr/>
          </p:nvSpPr>
          <p:spPr>
            <a:xfrm>
              <a:off x="9081428" y="2624777"/>
              <a:ext cx="649102" cy="632875"/>
            </a:xfrm>
            <a:custGeom>
              <a:avLst/>
              <a:gdLst>
                <a:gd name="connsiteX0" fmla="*/ 104775 w 381000"/>
                <a:gd name="connsiteY0" fmla="*/ 114300 h 371475"/>
                <a:gd name="connsiteX1" fmla="*/ 161925 w 381000"/>
                <a:gd name="connsiteY1" fmla="*/ 57150 h 371475"/>
                <a:gd name="connsiteX2" fmla="*/ 104775 w 381000"/>
                <a:gd name="connsiteY2" fmla="*/ 0 h 371475"/>
                <a:gd name="connsiteX3" fmla="*/ 47625 w 381000"/>
                <a:gd name="connsiteY3" fmla="*/ 57150 h 371475"/>
                <a:gd name="connsiteX4" fmla="*/ 104775 w 381000"/>
                <a:gd name="connsiteY4" fmla="*/ 114300 h 371475"/>
                <a:gd name="connsiteX5" fmla="*/ 276225 w 381000"/>
                <a:gd name="connsiteY5" fmla="*/ 114300 h 371475"/>
                <a:gd name="connsiteX6" fmla="*/ 333375 w 381000"/>
                <a:gd name="connsiteY6" fmla="*/ 57150 h 371475"/>
                <a:gd name="connsiteX7" fmla="*/ 276225 w 381000"/>
                <a:gd name="connsiteY7" fmla="*/ 0 h 371475"/>
                <a:gd name="connsiteX8" fmla="*/ 219075 w 381000"/>
                <a:gd name="connsiteY8" fmla="*/ 57150 h 371475"/>
                <a:gd name="connsiteX9" fmla="*/ 276225 w 381000"/>
                <a:gd name="connsiteY9" fmla="*/ 114300 h 371475"/>
                <a:gd name="connsiteX10" fmla="*/ 0 w 381000"/>
                <a:gd name="connsiteY10" fmla="*/ 166177 h 371475"/>
                <a:gd name="connsiteX11" fmla="*/ 32827 w 381000"/>
                <a:gd name="connsiteY11" fmla="*/ 133350 h 371475"/>
                <a:gd name="connsiteX12" fmla="*/ 124495 w 381000"/>
                <a:gd name="connsiteY12" fmla="*/ 133350 h 371475"/>
                <a:gd name="connsiteX13" fmla="*/ 114300 w 381000"/>
                <a:gd name="connsiteY13" fmla="*/ 171450 h 371475"/>
                <a:gd name="connsiteX14" fmla="*/ 140098 w 381000"/>
                <a:gd name="connsiteY14" fmla="*/ 228600 h 371475"/>
                <a:gd name="connsiteX15" fmla="*/ 118552 w 381000"/>
                <a:gd name="connsiteY15" fmla="*/ 228600 h 371475"/>
                <a:gd name="connsiteX16" fmla="*/ 73716 w 381000"/>
                <a:gd name="connsiteY16" fmla="*/ 254365 h 371475"/>
                <a:gd name="connsiteX17" fmla="*/ 13514 w 381000"/>
                <a:gd name="connsiteY17" fmla="*/ 216568 h 371475"/>
                <a:gd name="connsiteX18" fmla="*/ 0 w 381000"/>
                <a:gd name="connsiteY18" fmla="*/ 170283 h 371475"/>
                <a:gd name="connsiteX19" fmla="*/ 0 w 381000"/>
                <a:gd name="connsiteY19" fmla="*/ 166177 h 371475"/>
                <a:gd name="connsiteX20" fmla="*/ 262448 w 381000"/>
                <a:gd name="connsiteY20" fmla="*/ 228600 h 371475"/>
                <a:gd name="connsiteX21" fmla="*/ 307284 w 381000"/>
                <a:gd name="connsiteY21" fmla="*/ 254365 h 371475"/>
                <a:gd name="connsiteX22" fmla="*/ 367486 w 381000"/>
                <a:gd name="connsiteY22" fmla="*/ 216568 h 371475"/>
                <a:gd name="connsiteX23" fmla="*/ 381000 w 381000"/>
                <a:gd name="connsiteY23" fmla="*/ 170283 h 371475"/>
                <a:gd name="connsiteX24" fmla="*/ 381000 w 381000"/>
                <a:gd name="connsiteY24" fmla="*/ 166177 h 371475"/>
                <a:gd name="connsiteX25" fmla="*/ 348173 w 381000"/>
                <a:gd name="connsiteY25" fmla="*/ 133350 h 371475"/>
                <a:gd name="connsiteX26" fmla="*/ 256505 w 381000"/>
                <a:gd name="connsiteY26" fmla="*/ 133350 h 371475"/>
                <a:gd name="connsiteX27" fmla="*/ 266700 w 381000"/>
                <a:gd name="connsiteY27" fmla="*/ 171450 h 371475"/>
                <a:gd name="connsiteX28" fmla="*/ 240902 w 381000"/>
                <a:gd name="connsiteY28" fmla="*/ 228600 h 371475"/>
                <a:gd name="connsiteX29" fmla="*/ 262448 w 381000"/>
                <a:gd name="connsiteY29" fmla="*/ 228600 h 371475"/>
                <a:gd name="connsiteX30" fmla="*/ 247650 w 381000"/>
                <a:gd name="connsiteY30" fmla="*/ 171450 h 371475"/>
                <a:gd name="connsiteX31" fmla="*/ 190500 w 381000"/>
                <a:gd name="connsiteY31" fmla="*/ 228600 h 371475"/>
                <a:gd name="connsiteX32" fmla="*/ 133350 w 381000"/>
                <a:gd name="connsiteY32" fmla="*/ 171450 h 371475"/>
                <a:gd name="connsiteX33" fmla="*/ 190500 w 381000"/>
                <a:gd name="connsiteY33" fmla="*/ 114300 h 371475"/>
                <a:gd name="connsiteX34" fmla="*/ 247650 w 381000"/>
                <a:gd name="connsiteY34" fmla="*/ 171450 h 371475"/>
                <a:gd name="connsiteX35" fmla="*/ 85725 w 381000"/>
                <a:gd name="connsiteY35" fmla="*/ 280477 h 371475"/>
                <a:gd name="connsiteX36" fmla="*/ 118552 w 381000"/>
                <a:gd name="connsiteY36" fmla="*/ 247650 h 371475"/>
                <a:gd name="connsiteX37" fmla="*/ 262448 w 381000"/>
                <a:gd name="connsiteY37" fmla="*/ 247650 h 371475"/>
                <a:gd name="connsiteX38" fmla="*/ 295275 w 381000"/>
                <a:gd name="connsiteY38" fmla="*/ 280477 h 371475"/>
                <a:gd name="connsiteX39" fmla="*/ 295275 w 381000"/>
                <a:gd name="connsiteY39" fmla="*/ 284583 h 371475"/>
                <a:gd name="connsiteX40" fmla="*/ 281761 w 381000"/>
                <a:gd name="connsiteY40" fmla="*/ 330868 h 371475"/>
                <a:gd name="connsiteX41" fmla="*/ 190500 w 381000"/>
                <a:gd name="connsiteY41" fmla="*/ 371475 h 371475"/>
                <a:gd name="connsiteX42" fmla="*/ 99239 w 381000"/>
                <a:gd name="connsiteY42" fmla="*/ 330868 h 371475"/>
                <a:gd name="connsiteX43" fmla="*/ 85725 w 381000"/>
                <a:gd name="connsiteY43" fmla="*/ 284583 h 371475"/>
                <a:gd name="connsiteX44" fmla="*/ 85725 w 381000"/>
                <a:gd name="connsiteY44" fmla="*/ 280477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81000" h="371475">
                  <a:moveTo>
                    <a:pt x="104775" y="114300"/>
                  </a:moveTo>
                  <a:cubicBezTo>
                    <a:pt x="136338" y="114300"/>
                    <a:pt x="161925" y="88713"/>
                    <a:pt x="161925" y="57150"/>
                  </a:cubicBezTo>
                  <a:cubicBezTo>
                    <a:pt x="161925" y="25587"/>
                    <a:pt x="136338" y="0"/>
                    <a:pt x="104775" y="0"/>
                  </a:cubicBezTo>
                  <a:cubicBezTo>
                    <a:pt x="73212" y="0"/>
                    <a:pt x="47625" y="25587"/>
                    <a:pt x="47625" y="57150"/>
                  </a:cubicBezTo>
                  <a:cubicBezTo>
                    <a:pt x="47625" y="88713"/>
                    <a:pt x="73212" y="114300"/>
                    <a:pt x="104775" y="114300"/>
                  </a:cubicBezTo>
                  <a:close/>
                  <a:moveTo>
                    <a:pt x="276225" y="114300"/>
                  </a:moveTo>
                  <a:cubicBezTo>
                    <a:pt x="307788" y="114300"/>
                    <a:pt x="333375" y="88713"/>
                    <a:pt x="333375" y="57150"/>
                  </a:cubicBezTo>
                  <a:cubicBezTo>
                    <a:pt x="333375" y="25587"/>
                    <a:pt x="307788" y="0"/>
                    <a:pt x="276225" y="0"/>
                  </a:cubicBezTo>
                  <a:cubicBezTo>
                    <a:pt x="244662" y="0"/>
                    <a:pt x="219075" y="25587"/>
                    <a:pt x="219075" y="57150"/>
                  </a:cubicBezTo>
                  <a:cubicBezTo>
                    <a:pt x="219075" y="88713"/>
                    <a:pt x="244662" y="114300"/>
                    <a:pt x="276225" y="114300"/>
                  </a:cubicBezTo>
                  <a:close/>
                  <a:moveTo>
                    <a:pt x="0" y="166177"/>
                  </a:moveTo>
                  <a:cubicBezTo>
                    <a:pt x="0" y="148047"/>
                    <a:pt x="14697" y="133350"/>
                    <a:pt x="32827" y="133350"/>
                  </a:cubicBezTo>
                  <a:lnTo>
                    <a:pt x="124495" y="133350"/>
                  </a:lnTo>
                  <a:cubicBezTo>
                    <a:pt x="118011" y="144558"/>
                    <a:pt x="114300" y="157571"/>
                    <a:pt x="114300" y="171450"/>
                  </a:cubicBezTo>
                  <a:cubicBezTo>
                    <a:pt x="114300" y="194209"/>
                    <a:pt x="124277" y="214637"/>
                    <a:pt x="140098" y="228600"/>
                  </a:cubicBezTo>
                  <a:lnTo>
                    <a:pt x="118552" y="228600"/>
                  </a:lnTo>
                  <a:cubicBezTo>
                    <a:pt x="99422" y="228600"/>
                    <a:pt x="82710" y="238955"/>
                    <a:pt x="73716" y="254365"/>
                  </a:cubicBezTo>
                  <a:cubicBezTo>
                    <a:pt x="43022" y="248346"/>
                    <a:pt x="24375" y="233383"/>
                    <a:pt x="13514" y="216568"/>
                  </a:cubicBezTo>
                  <a:cubicBezTo>
                    <a:pt x="0" y="195647"/>
                    <a:pt x="0" y="174030"/>
                    <a:pt x="0" y="170283"/>
                  </a:cubicBezTo>
                  <a:lnTo>
                    <a:pt x="0" y="166177"/>
                  </a:lnTo>
                  <a:close/>
                  <a:moveTo>
                    <a:pt x="262448" y="228600"/>
                  </a:moveTo>
                  <a:cubicBezTo>
                    <a:pt x="281578" y="228600"/>
                    <a:pt x="298290" y="238955"/>
                    <a:pt x="307284" y="254365"/>
                  </a:cubicBezTo>
                  <a:cubicBezTo>
                    <a:pt x="337978" y="248346"/>
                    <a:pt x="356625" y="233383"/>
                    <a:pt x="367486" y="216568"/>
                  </a:cubicBezTo>
                  <a:cubicBezTo>
                    <a:pt x="381000" y="195647"/>
                    <a:pt x="381000" y="174030"/>
                    <a:pt x="381000" y="170283"/>
                  </a:cubicBezTo>
                  <a:lnTo>
                    <a:pt x="381000" y="166177"/>
                  </a:lnTo>
                  <a:cubicBezTo>
                    <a:pt x="381000" y="148047"/>
                    <a:pt x="366303" y="133350"/>
                    <a:pt x="348173" y="133350"/>
                  </a:cubicBezTo>
                  <a:lnTo>
                    <a:pt x="256505" y="133350"/>
                  </a:lnTo>
                  <a:cubicBezTo>
                    <a:pt x="262989" y="144558"/>
                    <a:pt x="266700" y="157571"/>
                    <a:pt x="266700" y="171450"/>
                  </a:cubicBezTo>
                  <a:cubicBezTo>
                    <a:pt x="266700" y="194209"/>
                    <a:pt x="256723" y="214637"/>
                    <a:pt x="240902" y="228600"/>
                  </a:cubicBezTo>
                  <a:lnTo>
                    <a:pt x="262448" y="228600"/>
                  </a:lnTo>
                  <a:close/>
                  <a:moveTo>
                    <a:pt x="247650" y="171450"/>
                  </a:moveTo>
                  <a:cubicBezTo>
                    <a:pt x="247650" y="203013"/>
                    <a:pt x="222063" y="228600"/>
                    <a:pt x="190500" y="228600"/>
                  </a:cubicBezTo>
                  <a:cubicBezTo>
                    <a:pt x="158937" y="228600"/>
                    <a:pt x="133350" y="203013"/>
                    <a:pt x="133350" y="171450"/>
                  </a:cubicBezTo>
                  <a:cubicBezTo>
                    <a:pt x="133350" y="139887"/>
                    <a:pt x="158937" y="114300"/>
                    <a:pt x="190500" y="114300"/>
                  </a:cubicBezTo>
                  <a:cubicBezTo>
                    <a:pt x="222063" y="114300"/>
                    <a:pt x="247650" y="139887"/>
                    <a:pt x="247650" y="171450"/>
                  </a:cubicBezTo>
                  <a:close/>
                  <a:moveTo>
                    <a:pt x="85725" y="280477"/>
                  </a:moveTo>
                  <a:cubicBezTo>
                    <a:pt x="85725" y="262347"/>
                    <a:pt x="100422" y="247650"/>
                    <a:pt x="118552" y="247650"/>
                  </a:cubicBezTo>
                  <a:lnTo>
                    <a:pt x="262448" y="247650"/>
                  </a:lnTo>
                  <a:cubicBezTo>
                    <a:pt x="280578" y="247650"/>
                    <a:pt x="295275" y="262347"/>
                    <a:pt x="295275" y="280477"/>
                  </a:cubicBezTo>
                  <a:lnTo>
                    <a:pt x="295275" y="284583"/>
                  </a:lnTo>
                  <a:cubicBezTo>
                    <a:pt x="295275" y="288330"/>
                    <a:pt x="295275" y="309947"/>
                    <a:pt x="281761" y="330868"/>
                  </a:cubicBezTo>
                  <a:cubicBezTo>
                    <a:pt x="267635" y="352736"/>
                    <a:pt x="240341" y="371475"/>
                    <a:pt x="190500" y="371475"/>
                  </a:cubicBezTo>
                  <a:cubicBezTo>
                    <a:pt x="140660" y="371475"/>
                    <a:pt x="113365" y="352736"/>
                    <a:pt x="99239" y="330868"/>
                  </a:cubicBezTo>
                  <a:cubicBezTo>
                    <a:pt x="85725" y="309947"/>
                    <a:pt x="85725" y="288330"/>
                    <a:pt x="85725" y="284583"/>
                  </a:cubicBezTo>
                  <a:lnTo>
                    <a:pt x="85725" y="280477"/>
                  </a:lnTo>
                  <a:close/>
                </a:path>
              </a:pathLst>
            </a:custGeom>
            <a:gradFill flip="none" rotWithShape="1">
              <a:gsLst>
                <a:gs pos="0">
                  <a:srgbClr val="C03BC4"/>
                </a:gs>
                <a:gs pos="80000">
                  <a:srgbClr val="0078D4"/>
                </a:gs>
              </a:gsLst>
              <a:path path="circle">
                <a:fillToRect l="100000" t="100000"/>
              </a:path>
              <a:tileRect r="-100000" b="-100000"/>
            </a:gradFill>
            <a:effectLst/>
          </p:spPr>
          <p:txBody>
            <a:bodyPr wrap="square" lIns="0" tIns="0" rIns="0" bIns="0" rtlCol="0" anchor="ctr" anchorCtr="0">
              <a:noAutofit/>
            </a:bodyPr>
            <a:lstStyle/>
            <a:p>
              <a:pPr algn="ctr" fontAlgn="base">
                <a:spcBef>
                  <a:spcPct val="0"/>
                </a:spcBef>
                <a:spcAft>
                  <a:spcPts val="1200"/>
                </a:spcAft>
                <a:buSzPct val="90000"/>
              </a:pPr>
              <a:endParaRPr lang="en-US" sz="1400" b="1">
                <a:solidFill>
                  <a:schemeClr val="bg1"/>
                </a:solidFill>
              </a:endParaRPr>
            </a:p>
          </p:txBody>
        </p:sp>
        <p:sp>
          <p:nvSpPr>
            <p:cNvPr id="23" name="TextBox 22">
              <a:extLst>
                <a:ext uri="{FF2B5EF4-FFF2-40B4-BE49-F238E27FC236}">
                  <a16:creationId xmlns:a16="http://schemas.microsoft.com/office/drawing/2014/main" id="{3F1D19A9-3108-B0E3-70B2-8D8BA06779CC}"/>
                </a:ext>
              </a:extLst>
            </p:cNvPr>
            <p:cNvSpPr txBox="1"/>
            <p:nvPr/>
          </p:nvSpPr>
          <p:spPr>
            <a:xfrm>
              <a:off x="8040227" y="3648599"/>
              <a:ext cx="2750075" cy="1311103"/>
            </a:xfrm>
            <a:prstGeom prst="rect">
              <a:avLst/>
            </a:prstGeom>
            <a:noFill/>
          </p:spPr>
          <p:txBody>
            <a:bodyPr wrap="square" lIns="0" tIns="0" rIns="0" bIns="0" anchor="t">
              <a:noAutofit/>
            </a:bodyPr>
            <a:lstStyle/>
            <a:p>
              <a:pPr algn="ctr">
                <a:spcAft>
                  <a:spcPts val="700"/>
                </a:spcAft>
                <a:defRPr/>
              </a:pPr>
              <a:r>
                <a:rPr lang="en-US">
                  <a:solidFill>
                    <a:prstClr val="black"/>
                  </a:solidFill>
                  <a:cs typeface="Segoe UI Semibold" panose="020B0502040204020203" pitchFamily="34" charset="0"/>
                </a:rPr>
                <a:t>Events and real-world knowledge in our </a:t>
              </a:r>
              <a:r>
                <a:rPr kumimoji="0" lang="en-US" sz="18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community</a:t>
              </a:r>
              <a:endParaRPr kumimoji="0" lang="en-US" sz="1800" b="0" i="0" u="none" strike="noStrike" kern="1200" cap="none" spc="0" normalizeH="0" baseline="0" noProof="0">
                <a:ln>
                  <a:noFill/>
                </a:ln>
                <a:solidFill>
                  <a:prstClr val="black"/>
                </a:solidFill>
                <a:effectLst/>
                <a:uLnTx/>
                <a:uFillTx/>
                <a:latin typeface="Segoe UI"/>
                <a:ea typeface="+mn-ea"/>
                <a:cs typeface="Segoe UI Semibold" panose="020B0502040204020203" pitchFamily="34" charset="0"/>
              </a:endParaRPr>
            </a:p>
          </p:txBody>
        </p:sp>
        <p:sp>
          <p:nvSpPr>
            <p:cNvPr id="4" name="Rectangle: Rounded Corners 3">
              <a:extLst>
                <a:ext uri="{FF2B5EF4-FFF2-40B4-BE49-F238E27FC236}">
                  <a16:creationId xmlns:a16="http://schemas.microsoft.com/office/drawing/2014/main" id="{09997C4F-9D8E-D3F1-5DFC-B8B9A10F7B51}"/>
                </a:ext>
              </a:extLst>
            </p:cNvPr>
            <p:cNvSpPr/>
            <p:nvPr/>
          </p:nvSpPr>
          <p:spPr bwMode="auto">
            <a:xfrm>
              <a:off x="8040227" y="4660487"/>
              <a:ext cx="2658716" cy="454508"/>
            </a:xfrm>
            <a:prstGeom prst="roundRect">
              <a:avLst>
                <a:gd name="adj" fmla="val 50000"/>
              </a:avLst>
            </a:prstGeom>
            <a:gradFill flip="none" rotWithShape="1">
              <a:gsLst>
                <a:gs pos="82000">
                  <a:srgbClr val="E77DC6"/>
                </a:gs>
                <a:gs pos="58000">
                  <a:srgbClr val="D962FA">
                    <a:lumMod val="84000"/>
                  </a:srgbClr>
                </a:gs>
                <a:gs pos="15000">
                  <a:srgbClr val="0B87DE"/>
                </a:gs>
                <a:gs pos="100000">
                  <a:srgbClr val="F69991"/>
                </a:gs>
              </a:gsLst>
              <a:lin ang="3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w="3175">
                    <a:noFill/>
                  </a:ln>
                  <a:solidFill>
                    <a:srgbClr val="FFFFFF"/>
                  </a:solidFill>
                  <a:effectLst/>
                  <a:uLnTx/>
                  <a:uFillTx/>
                  <a:latin typeface="Segoe UI Semibold"/>
                  <a:ea typeface="+mn-ea"/>
                  <a:cs typeface="Segoe UI Semibold" panose="020B0502040204020203" pitchFamily="34" charset="0"/>
                </a:rPr>
                <a:t>aka.ms/</a:t>
              </a:r>
              <a:r>
                <a:rPr kumimoji="0" lang="en-US" sz="1400" b="0" i="0" u="none" strike="noStrike" kern="1200" cap="none" spc="0" normalizeH="0" baseline="0" noProof="0" err="1">
                  <a:ln w="3175">
                    <a:noFill/>
                  </a:ln>
                  <a:solidFill>
                    <a:srgbClr val="FFFFFF"/>
                  </a:solidFill>
                  <a:effectLst/>
                  <a:uLnTx/>
                  <a:uFillTx/>
                  <a:latin typeface="Segoe UI Semibold"/>
                  <a:ea typeface="+mn-ea"/>
                  <a:cs typeface="Segoe UI Semibold" panose="020B0502040204020203" pitchFamily="34" charset="0"/>
                </a:rPr>
                <a:t>TechCommunity</a:t>
              </a:r>
              <a:endParaRPr kumimoji="0" lang="en-US" sz="1400" b="0" i="0" u="none" strike="noStrike" kern="1200" cap="none" spc="0" normalizeH="0" baseline="0" noProof="0">
                <a:ln w="3175">
                  <a:noFill/>
                </a:ln>
                <a:solidFill>
                  <a:srgbClr val="FFFFFF"/>
                </a:solidFill>
                <a:effectLst/>
                <a:uLnTx/>
                <a:uFillTx/>
                <a:latin typeface="Segoe UI Semibold"/>
                <a:ea typeface="+mn-ea"/>
                <a:cs typeface="Segoe UI Semibold" panose="020B0502040204020203" pitchFamily="34" charset="0"/>
              </a:endParaRPr>
            </a:p>
          </p:txBody>
        </p:sp>
      </p:grpSp>
    </p:spTree>
    <p:extLst>
      <p:ext uri="{BB962C8B-B14F-4D97-AF65-F5344CB8AC3E}">
        <p14:creationId xmlns:p14="http://schemas.microsoft.com/office/powerpoint/2010/main" val="3928631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01CC56B-028E-D142-1C1A-ACABB8392A3F}"/>
              </a:ext>
            </a:extLst>
          </p:cNvPr>
          <p:cNvSpPr>
            <a:spLocks noGrp="1"/>
          </p:cNvSpPr>
          <p:nvPr>
            <p:ph type="title"/>
          </p:nvPr>
        </p:nvSpPr>
        <p:spPr>
          <a:xfrm>
            <a:off x="389859" y="365126"/>
            <a:ext cx="11601511" cy="1072072"/>
          </a:xfrm>
        </p:spPr>
        <p:txBody>
          <a:bodyPr/>
          <a:lstStyle/>
          <a:p>
            <a:r>
              <a:rPr lang="en-US" dirty="0"/>
              <a:t>News &amp; </a:t>
            </a:r>
            <a:r>
              <a:rPr lang="en-US" dirty="0">
                <a:gradFill>
                  <a:gsLst>
                    <a:gs pos="2000">
                      <a:srgbClr val="0179D4"/>
                    </a:gs>
                    <a:gs pos="32000">
                      <a:srgbClr val="2CB6FF"/>
                    </a:gs>
                    <a:gs pos="44000">
                      <a:srgbClr val="2DB6FF"/>
                    </a:gs>
                    <a:gs pos="81000">
                      <a:srgbClr val="D962FA"/>
                    </a:gs>
                    <a:gs pos="96000">
                      <a:srgbClr val="F69991"/>
                    </a:gs>
                  </a:gsLst>
                  <a:lin ang="3600000" scaled="0"/>
                </a:gradFill>
              </a:rPr>
              <a:t>community content</a:t>
            </a:r>
            <a:endParaRPr lang="en-IN" dirty="0">
              <a:gradFill>
                <a:gsLst>
                  <a:gs pos="2000">
                    <a:srgbClr val="0179D4"/>
                  </a:gs>
                  <a:gs pos="32000">
                    <a:srgbClr val="2CB6FF"/>
                  </a:gs>
                  <a:gs pos="44000">
                    <a:srgbClr val="2DB6FF"/>
                  </a:gs>
                  <a:gs pos="81000">
                    <a:srgbClr val="D962FA"/>
                  </a:gs>
                  <a:gs pos="96000">
                    <a:srgbClr val="F69991"/>
                  </a:gs>
                </a:gsLst>
                <a:lin ang="3600000" scaled="0"/>
              </a:gradFill>
            </a:endParaRPr>
          </a:p>
        </p:txBody>
      </p:sp>
      <p:sp>
        <p:nvSpPr>
          <p:cNvPr id="8" name="Rectangle: Rounded Corners 7">
            <a:extLst>
              <a:ext uri="{FF2B5EF4-FFF2-40B4-BE49-F238E27FC236}">
                <a16:creationId xmlns:a16="http://schemas.microsoft.com/office/drawing/2014/main" id="{7EC4072C-BD84-3E71-4B66-298F9AE4D384}"/>
              </a:ext>
              <a:ext uri="{C183D7F6-B498-43B3-948B-1728B52AA6E4}">
                <adec:decorative xmlns:adec="http://schemas.microsoft.com/office/drawing/2017/decorative" val="1"/>
              </a:ext>
            </a:extLst>
          </p:cNvPr>
          <p:cNvSpPr/>
          <p:nvPr/>
        </p:nvSpPr>
        <p:spPr bwMode="auto">
          <a:xfrm>
            <a:off x="557435" y="1450682"/>
            <a:ext cx="11332152" cy="4874419"/>
          </a:xfrm>
          <a:prstGeom prst="roundRect">
            <a:avLst>
              <a:gd name="adj" fmla="val 3385"/>
            </a:avLst>
          </a:prstGeom>
          <a:solidFill>
            <a:schemeClr val="bg1"/>
          </a:solidFill>
          <a:ln w="12700"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rgbClr val="FFFFFF"/>
              </a:solidFill>
              <a:cs typeface="Segoe UI" pitchFamily="34" charset="0"/>
            </a:endParaRPr>
          </a:p>
        </p:txBody>
      </p:sp>
      <p:sp>
        <p:nvSpPr>
          <p:cNvPr id="19" name="Graphic 8" descr="Icon of an AI robot">
            <a:extLst>
              <a:ext uri="{FF2B5EF4-FFF2-40B4-BE49-F238E27FC236}">
                <a16:creationId xmlns:a16="http://schemas.microsoft.com/office/drawing/2014/main" id="{16A6E9CF-EECA-CF0B-CB02-E2EF11BB3605}"/>
              </a:ext>
            </a:extLst>
          </p:cNvPr>
          <p:cNvSpPr>
            <a:spLocks/>
          </p:cNvSpPr>
          <p:nvPr/>
        </p:nvSpPr>
        <p:spPr>
          <a:xfrm>
            <a:off x="1080395" y="1938695"/>
            <a:ext cx="425956" cy="532477"/>
          </a:xfrm>
          <a:custGeom>
            <a:avLst/>
            <a:gdLst>
              <a:gd name="connsiteX0" fmla="*/ 310304 w 361083"/>
              <a:gd name="connsiteY0" fmla="*/ 270807 h 451381"/>
              <a:gd name="connsiteX1" fmla="*/ 361083 w 361083"/>
              <a:gd name="connsiteY1" fmla="*/ 321586 h 451381"/>
              <a:gd name="connsiteX2" fmla="*/ 361083 w 361083"/>
              <a:gd name="connsiteY2" fmla="*/ 342013 h 451381"/>
              <a:gd name="connsiteX3" fmla="*/ 331579 w 361083"/>
              <a:gd name="connsiteY3" fmla="*/ 406227 h 451381"/>
              <a:gd name="connsiteX4" fmla="*/ 180468 w 361083"/>
              <a:gd name="connsiteY4" fmla="*/ 451382 h 451381"/>
              <a:gd name="connsiteX5" fmla="*/ 29458 w 361083"/>
              <a:gd name="connsiteY5" fmla="*/ 406238 h 451381"/>
              <a:gd name="connsiteX6" fmla="*/ 0 w 361083"/>
              <a:gd name="connsiteY6" fmla="*/ 342063 h 451381"/>
              <a:gd name="connsiteX7" fmla="*/ 0 w 361083"/>
              <a:gd name="connsiteY7" fmla="*/ 321586 h 451381"/>
              <a:gd name="connsiteX8" fmla="*/ 50779 w 361083"/>
              <a:gd name="connsiteY8" fmla="*/ 270807 h 451381"/>
              <a:gd name="connsiteX9" fmla="*/ 310304 w 361083"/>
              <a:gd name="connsiteY9" fmla="*/ 270807 h 451381"/>
              <a:gd name="connsiteX10" fmla="*/ 310304 w 361083"/>
              <a:gd name="connsiteY10" fmla="*/ 304660 h 451381"/>
              <a:gd name="connsiteX11" fmla="*/ 50779 w 361083"/>
              <a:gd name="connsiteY11" fmla="*/ 304660 h 451381"/>
              <a:gd name="connsiteX12" fmla="*/ 33853 w 361083"/>
              <a:gd name="connsiteY12" fmla="*/ 321586 h 451381"/>
              <a:gd name="connsiteX13" fmla="*/ 33853 w 361083"/>
              <a:gd name="connsiteY13" fmla="*/ 342063 h 451381"/>
              <a:gd name="connsiteX14" fmla="*/ 51527 w 361083"/>
              <a:gd name="connsiteY14" fmla="*/ 380569 h 451381"/>
              <a:gd name="connsiteX15" fmla="*/ 180468 w 361083"/>
              <a:gd name="connsiteY15" fmla="*/ 417529 h 451381"/>
              <a:gd name="connsiteX16" fmla="*/ 309530 w 361083"/>
              <a:gd name="connsiteY16" fmla="*/ 380542 h 451381"/>
              <a:gd name="connsiteX17" fmla="*/ 327231 w 361083"/>
              <a:gd name="connsiteY17" fmla="*/ 342013 h 451381"/>
              <a:gd name="connsiteX18" fmla="*/ 327231 w 361083"/>
              <a:gd name="connsiteY18" fmla="*/ 321586 h 451381"/>
              <a:gd name="connsiteX19" fmla="*/ 310304 w 361083"/>
              <a:gd name="connsiteY19" fmla="*/ 304660 h 451381"/>
              <a:gd name="connsiteX20" fmla="*/ 178177 w 361083"/>
              <a:gd name="connsiteY20" fmla="*/ 155 h 451381"/>
              <a:gd name="connsiteX21" fmla="*/ 180475 w 361083"/>
              <a:gd name="connsiteY21" fmla="*/ 0 h 451381"/>
              <a:gd name="connsiteX22" fmla="*/ 197245 w 361083"/>
              <a:gd name="connsiteY22" fmla="*/ 14630 h 451381"/>
              <a:gd name="connsiteX23" fmla="*/ 197401 w 361083"/>
              <a:gd name="connsiteY23" fmla="*/ 16926 h 451381"/>
              <a:gd name="connsiteX24" fmla="*/ 197383 w 361083"/>
              <a:gd name="connsiteY24" fmla="*/ 33830 h 451381"/>
              <a:gd name="connsiteX25" fmla="*/ 276384 w 361083"/>
              <a:gd name="connsiteY25" fmla="*/ 33842 h 451381"/>
              <a:gd name="connsiteX26" fmla="*/ 327163 w 361083"/>
              <a:gd name="connsiteY26" fmla="*/ 84621 h 451381"/>
              <a:gd name="connsiteX27" fmla="*/ 327163 w 361083"/>
              <a:gd name="connsiteY27" fmla="*/ 186282 h 451381"/>
              <a:gd name="connsiteX28" fmla="*/ 276384 w 361083"/>
              <a:gd name="connsiteY28" fmla="*/ 237061 h 451381"/>
              <a:gd name="connsiteX29" fmla="*/ 84551 w 361083"/>
              <a:gd name="connsiteY29" fmla="*/ 237061 h 451381"/>
              <a:gd name="connsiteX30" fmla="*/ 33773 w 361083"/>
              <a:gd name="connsiteY30" fmla="*/ 186282 h 451381"/>
              <a:gd name="connsiteX31" fmla="*/ 33773 w 361083"/>
              <a:gd name="connsiteY31" fmla="*/ 84621 h 451381"/>
              <a:gd name="connsiteX32" fmla="*/ 84551 w 361083"/>
              <a:gd name="connsiteY32" fmla="*/ 33842 h 451381"/>
              <a:gd name="connsiteX33" fmla="*/ 163531 w 361083"/>
              <a:gd name="connsiteY33" fmla="*/ 33830 h 451381"/>
              <a:gd name="connsiteX34" fmla="*/ 163549 w 361083"/>
              <a:gd name="connsiteY34" fmla="*/ 16926 h 451381"/>
              <a:gd name="connsiteX35" fmla="*/ 178177 w 361083"/>
              <a:gd name="connsiteY35" fmla="*/ 155 h 451381"/>
              <a:gd name="connsiteX36" fmla="*/ 180475 w 361083"/>
              <a:gd name="connsiteY36" fmla="*/ 0 h 451381"/>
              <a:gd name="connsiteX37" fmla="*/ 178177 w 361083"/>
              <a:gd name="connsiteY37" fmla="*/ 155 h 451381"/>
              <a:gd name="connsiteX38" fmla="*/ 276384 w 361083"/>
              <a:gd name="connsiteY38" fmla="*/ 67694 h 451381"/>
              <a:gd name="connsiteX39" fmla="*/ 84551 w 361083"/>
              <a:gd name="connsiteY39" fmla="*/ 67694 h 451381"/>
              <a:gd name="connsiteX40" fmla="*/ 67625 w 361083"/>
              <a:gd name="connsiteY40" fmla="*/ 84621 h 451381"/>
              <a:gd name="connsiteX41" fmla="*/ 67625 w 361083"/>
              <a:gd name="connsiteY41" fmla="*/ 186282 h 451381"/>
              <a:gd name="connsiteX42" fmla="*/ 84551 w 361083"/>
              <a:gd name="connsiteY42" fmla="*/ 203208 h 451381"/>
              <a:gd name="connsiteX43" fmla="*/ 276384 w 361083"/>
              <a:gd name="connsiteY43" fmla="*/ 203208 h 451381"/>
              <a:gd name="connsiteX44" fmla="*/ 293310 w 361083"/>
              <a:gd name="connsiteY44" fmla="*/ 186282 h 451381"/>
              <a:gd name="connsiteX45" fmla="*/ 293310 w 361083"/>
              <a:gd name="connsiteY45" fmla="*/ 84621 h 451381"/>
              <a:gd name="connsiteX46" fmla="*/ 276384 w 361083"/>
              <a:gd name="connsiteY46" fmla="*/ 67694 h 451381"/>
              <a:gd name="connsiteX47" fmla="*/ 129672 w 361083"/>
              <a:gd name="connsiteY47" fmla="*/ 101547 h 451381"/>
              <a:gd name="connsiteX48" fmla="*/ 157866 w 361083"/>
              <a:gd name="connsiteY48" fmla="*/ 129741 h 451381"/>
              <a:gd name="connsiteX49" fmla="*/ 129672 w 361083"/>
              <a:gd name="connsiteY49" fmla="*/ 157936 h 451381"/>
              <a:gd name="connsiteX50" fmla="*/ 101478 w 361083"/>
              <a:gd name="connsiteY50" fmla="*/ 129741 h 451381"/>
              <a:gd name="connsiteX51" fmla="*/ 129672 w 361083"/>
              <a:gd name="connsiteY51" fmla="*/ 101547 h 451381"/>
              <a:gd name="connsiteX52" fmla="*/ 231067 w 361083"/>
              <a:gd name="connsiteY52" fmla="*/ 101547 h 451381"/>
              <a:gd name="connsiteX53" fmla="*/ 259261 w 361083"/>
              <a:gd name="connsiteY53" fmla="*/ 129741 h 451381"/>
              <a:gd name="connsiteX54" fmla="*/ 231067 w 361083"/>
              <a:gd name="connsiteY54" fmla="*/ 157936 h 451381"/>
              <a:gd name="connsiteX55" fmla="*/ 202872 w 361083"/>
              <a:gd name="connsiteY55" fmla="*/ 129741 h 451381"/>
              <a:gd name="connsiteX56" fmla="*/ 231067 w 361083"/>
              <a:gd name="connsiteY56" fmla="*/ 101547 h 45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61083" h="451381">
                <a:moveTo>
                  <a:pt x="310304" y="270807"/>
                </a:moveTo>
                <a:cubicBezTo>
                  <a:pt x="338350" y="270807"/>
                  <a:pt x="361083" y="293543"/>
                  <a:pt x="361083" y="321586"/>
                </a:cubicBezTo>
                <a:lnTo>
                  <a:pt x="361083" y="342013"/>
                </a:lnTo>
                <a:cubicBezTo>
                  <a:pt x="361083" y="366696"/>
                  <a:pt x="350309" y="390149"/>
                  <a:pt x="331579" y="406227"/>
                </a:cubicBezTo>
                <a:cubicBezTo>
                  <a:pt x="296251" y="436557"/>
                  <a:pt x="245691" y="451382"/>
                  <a:pt x="180468" y="451382"/>
                </a:cubicBezTo>
                <a:cubicBezTo>
                  <a:pt x="115256" y="451382"/>
                  <a:pt x="64729" y="436563"/>
                  <a:pt x="29458" y="406238"/>
                </a:cubicBezTo>
                <a:cubicBezTo>
                  <a:pt x="10757" y="390161"/>
                  <a:pt x="0" y="366726"/>
                  <a:pt x="0" y="342063"/>
                </a:cubicBezTo>
                <a:lnTo>
                  <a:pt x="0" y="321586"/>
                </a:lnTo>
                <a:cubicBezTo>
                  <a:pt x="0" y="293543"/>
                  <a:pt x="22735" y="270807"/>
                  <a:pt x="50779" y="270807"/>
                </a:cubicBezTo>
                <a:lnTo>
                  <a:pt x="310304" y="270807"/>
                </a:lnTo>
                <a:close/>
                <a:moveTo>
                  <a:pt x="310304" y="304660"/>
                </a:moveTo>
                <a:lnTo>
                  <a:pt x="50779" y="304660"/>
                </a:lnTo>
                <a:cubicBezTo>
                  <a:pt x="41431" y="304660"/>
                  <a:pt x="33853" y="312239"/>
                  <a:pt x="33853" y="321586"/>
                </a:cubicBezTo>
                <a:lnTo>
                  <a:pt x="33853" y="342063"/>
                </a:lnTo>
                <a:cubicBezTo>
                  <a:pt x="33853" y="356861"/>
                  <a:pt x="40307" y="370921"/>
                  <a:pt x="51527" y="380569"/>
                </a:cubicBezTo>
                <a:cubicBezTo>
                  <a:pt x="79920" y="404979"/>
                  <a:pt x="122710" y="417529"/>
                  <a:pt x="180468" y="417529"/>
                </a:cubicBezTo>
                <a:cubicBezTo>
                  <a:pt x="238241" y="417529"/>
                  <a:pt x="281074" y="404972"/>
                  <a:pt x="309530" y="380542"/>
                </a:cubicBezTo>
                <a:cubicBezTo>
                  <a:pt x="320765" y="370894"/>
                  <a:pt x="327231" y="356822"/>
                  <a:pt x="327231" y="342013"/>
                </a:cubicBezTo>
                <a:lnTo>
                  <a:pt x="327231" y="321586"/>
                </a:lnTo>
                <a:cubicBezTo>
                  <a:pt x="327231" y="312239"/>
                  <a:pt x="319652" y="304660"/>
                  <a:pt x="310304" y="304660"/>
                </a:cubicBezTo>
                <a:close/>
                <a:moveTo>
                  <a:pt x="178177" y="155"/>
                </a:moveTo>
                <a:lnTo>
                  <a:pt x="180475" y="0"/>
                </a:lnTo>
                <a:cubicBezTo>
                  <a:pt x="189044" y="0"/>
                  <a:pt x="196126" y="6368"/>
                  <a:pt x="197245" y="14630"/>
                </a:cubicBezTo>
                <a:lnTo>
                  <a:pt x="197401" y="16926"/>
                </a:lnTo>
                <a:lnTo>
                  <a:pt x="197383" y="33830"/>
                </a:lnTo>
                <a:lnTo>
                  <a:pt x="276384" y="33842"/>
                </a:lnTo>
                <a:cubicBezTo>
                  <a:pt x="304427" y="33842"/>
                  <a:pt x="327163" y="56576"/>
                  <a:pt x="327163" y="84621"/>
                </a:cubicBezTo>
                <a:lnTo>
                  <a:pt x="327163" y="186282"/>
                </a:lnTo>
                <a:cubicBezTo>
                  <a:pt x="327163" y="214325"/>
                  <a:pt x="304427" y="237061"/>
                  <a:pt x="276384" y="237061"/>
                </a:cubicBezTo>
                <a:lnTo>
                  <a:pt x="84551" y="237061"/>
                </a:lnTo>
                <a:cubicBezTo>
                  <a:pt x="56507" y="237061"/>
                  <a:pt x="33773" y="214325"/>
                  <a:pt x="33773" y="186282"/>
                </a:cubicBezTo>
                <a:lnTo>
                  <a:pt x="33773" y="84621"/>
                </a:lnTo>
                <a:cubicBezTo>
                  <a:pt x="33773" y="56576"/>
                  <a:pt x="56507" y="33842"/>
                  <a:pt x="84551" y="33842"/>
                </a:cubicBezTo>
                <a:lnTo>
                  <a:pt x="163531" y="33830"/>
                </a:lnTo>
                <a:lnTo>
                  <a:pt x="163549" y="16926"/>
                </a:lnTo>
                <a:cubicBezTo>
                  <a:pt x="163549" y="8357"/>
                  <a:pt x="169915" y="1275"/>
                  <a:pt x="178177" y="155"/>
                </a:cubicBezTo>
                <a:lnTo>
                  <a:pt x="180475" y="0"/>
                </a:lnTo>
                <a:lnTo>
                  <a:pt x="178177" y="155"/>
                </a:lnTo>
                <a:close/>
                <a:moveTo>
                  <a:pt x="276384" y="67694"/>
                </a:moveTo>
                <a:lnTo>
                  <a:pt x="84551" y="67694"/>
                </a:lnTo>
                <a:cubicBezTo>
                  <a:pt x="75203" y="67694"/>
                  <a:pt x="67625" y="75272"/>
                  <a:pt x="67625" y="84621"/>
                </a:cubicBezTo>
                <a:lnTo>
                  <a:pt x="67625" y="186282"/>
                </a:lnTo>
                <a:cubicBezTo>
                  <a:pt x="67625" y="195630"/>
                  <a:pt x="75203" y="203208"/>
                  <a:pt x="84551" y="203208"/>
                </a:cubicBezTo>
                <a:lnTo>
                  <a:pt x="276384" y="203208"/>
                </a:lnTo>
                <a:cubicBezTo>
                  <a:pt x="285732" y="203208"/>
                  <a:pt x="293310" y="195630"/>
                  <a:pt x="293310" y="186282"/>
                </a:cubicBezTo>
                <a:lnTo>
                  <a:pt x="293310" y="84621"/>
                </a:lnTo>
                <a:cubicBezTo>
                  <a:pt x="293310" y="75272"/>
                  <a:pt x="285732" y="67694"/>
                  <a:pt x="276384" y="67694"/>
                </a:cubicBezTo>
                <a:close/>
                <a:moveTo>
                  <a:pt x="129672" y="101547"/>
                </a:moveTo>
                <a:cubicBezTo>
                  <a:pt x="145243" y="101547"/>
                  <a:pt x="157866" y="114170"/>
                  <a:pt x="157866" y="129741"/>
                </a:cubicBezTo>
                <a:cubicBezTo>
                  <a:pt x="157866" y="145313"/>
                  <a:pt x="145243" y="157936"/>
                  <a:pt x="129672" y="157936"/>
                </a:cubicBezTo>
                <a:cubicBezTo>
                  <a:pt x="114101" y="157936"/>
                  <a:pt x="101478" y="145313"/>
                  <a:pt x="101478" y="129741"/>
                </a:cubicBezTo>
                <a:cubicBezTo>
                  <a:pt x="101478" y="114170"/>
                  <a:pt x="114101" y="101547"/>
                  <a:pt x="129672" y="101547"/>
                </a:cubicBezTo>
                <a:close/>
                <a:moveTo>
                  <a:pt x="231067" y="101547"/>
                </a:moveTo>
                <a:cubicBezTo>
                  <a:pt x="246639" y="101547"/>
                  <a:pt x="259261" y="114170"/>
                  <a:pt x="259261" y="129741"/>
                </a:cubicBezTo>
                <a:cubicBezTo>
                  <a:pt x="259261" y="145313"/>
                  <a:pt x="246639" y="157936"/>
                  <a:pt x="231067" y="157936"/>
                </a:cubicBezTo>
                <a:cubicBezTo>
                  <a:pt x="215494" y="157936"/>
                  <a:pt x="202872" y="145313"/>
                  <a:pt x="202872" y="129741"/>
                </a:cubicBezTo>
                <a:cubicBezTo>
                  <a:pt x="202872" y="114170"/>
                  <a:pt x="215494" y="101547"/>
                  <a:pt x="231067" y="101547"/>
                </a:cubicBezTo>
                <a:close/>
              </a:path>
            </a:pathLst>
          </a:custGeom>
          <a:gradFill flip="none" rotWithShape="1">
            <a:gsLst>
              <a:gs pos="0">
                <a:srgbClr val="C03BC4"/>
              </a:gs>
              <a:gs pos="80000">
                <a:srgbClr val="0078D4"/>
              </a:gs>
            </a:gsLst>
            <a:path path="circle">
              <a:fillToRect l="100000" t="100000"/>
            </a:path>
            <a:tileRect r="-100000" b="-100000"/>
          </a:gradFill>
          <a:effectLst/>
        </p:spPr>
        <p:txBody>
          <a:bodyPr wrap="square" lIns="0" tIns="0" rIns="0" bIns="0" rtlCol="0" anchor="ctr" anchorCtr="0">
            <a:noAutofit/>
          </a:bodyPr>
          <a:lstStyle/>
          <a:p>
            <a:pPr algn="ctr" fontAlgn="base">
              <a:spcBef>
                <a:spcPct val="0"/>
              </a:spcBef>
              <a:spcAft>
                <a:spcPts val="1200"/>
              </a:spcAft>
              <a:buSzPct val="90000"/>
            </a:pPr>
            <a:endParaRPr lang="en-US" sz="1400" b="1">
              <a:solidFill>
                <a:schemeClr val="bg1"/>
              </a:solidFill>
            </a:endParaRPr>
          </a:p>
        </p:txBody>
      </p:sp>
      <p:cxnSp>
        <p:nvCxnSpPr>
          <p:cNvPr id="3" name="Straight Connector 2">
            <a:extLst>
              <a:ext uri="{FF2B5EF4-FFF2-40B4-BE49-F238E27FC236}">
                <a16:creationId xmlns:a16="http://schemas.microsoft.com/office/drawing/2014/main" id="{3CB66A91-61B6-F264-C068-31278F623AC7}"/>
              </a:ext>
              <a:ext uri="{C183D7F6-B498-43B3-948B-1728B52AA6E4}">
                <adec:decorative xmlns:adec="http://schemas.microsoft.com/office/drawing/2017/decorative" val="1"/>
              </a:ext>
            </a:extLst>
          </p:cNvPr>
          <p:cNvCxnSpPr/>
          <p:nvPr/>
        </p:nvCxnSpPr>
        <p:spPr>
          <a:xfrm>
            <a:off x="1000125" y="4029075"/>
            <a:ext cx="3929063" cy="0"/>
          </a:xfrm>
          <a:prstGeom prst="line">
            <a:avLst/>
          </a:prstGeom>
          <a:solidFill>
            <a:schemeClr val="bg1"/>
          </a:solidFill>
          <a:ln w="12700"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8" name="Graphic 86" descr="Icon of a person with a callout ">
            <a:extLst>
              <a:ext uri="{FF2B5EF4-FFF2-40B4-BE49-F238E27FC236}">
                <a16:creationId xmlns:a16="http://schemas.microsoft.com/office/drawing/2014/main" id="{5AAC9682-3D00-A6AC-E079-5B8C8F77C345}"/>
              </a:ext>
            </a:extLst>
          </p:cNvPr>
          <p:cNvSpPr/>
          <p:nvPr/>
        </p:nvSpPr>
        <p:spPr>
          <a:xfrm>
            <a:off x="1080395" y="4343486"/>
            <a:ext cx="565220" cy="537208"/>
          </a:xfrm>
          <a:custGeom>
            <a:avLst/>
            <a:gdLst>
              <a:gd name="connsiteX0" fmla="*/ 118070 w 269875"/>
              <a:gd name="connsiteY0" fmla="*/ 161925 h 256502"/>
              <a:gd name="connsiteX1" fmla="*/ 148431 w 269875"/>
              <a:gd name="connsiteY1" fmla="*/ 192286 h 256502"/>
              <a:gd name="connsiteX2" fmla="*/ 148431 w 269875"/>
              <a:gd name="connsiteY2" fmla="*/ 212554 h 256502"/>
              <a:gd name="connsiteX3" fmla="*/ 148323 w 269875"/>
              <a:gd name="connsiteY3" fmla="*/ 214011 h 256502"/>
              <a:gd name="connsiteX4" fmla="*/ 75120 w 269875"/>
              <a:gd name="connsiteY4" fmla="*/ 256503 h 256502"/>
              <a:gd name="connsiteX5" fmla="*/ 189 w 269875"/>
              <a:gd name="connsiteY5" fmla="*/ 214510 h 256502"/>
              <a:gd name="connsiteX6" fmla="*/ 0 w 269875"/>
              <a:gd name="connsiteY6" fmla="*/ 212527 h 256502"/>
              <a:gd name="connsiteX7" fmla="*/ 0 w 269875"/>
              <a:gd name="connsiteY7" fmla="*/ 192286 h 256502"/>
              <a:gd name="connsiteX8" fmla="*/ 30361 w 269875"/>
              <a:gd name="connsiteY8" fmla="*/ 161925 h 256502"/>
              <a:gd name="connsiteX9" fmla="*/ 118070 w 269875"/>
              <a:gd name="connsiteY9" fmla="*/ 161925 h 256502"/>
              <a:gd name="connsiteX10" fmla="*/ 118070 w 269875"/>
              <a:gd name="connsiteY10" fmla="*/ 182166 h 256502"/>
              <a:gd name="connsiteX11" fmla="*/ 30361 w 269875"/>
              <a:gd name="connsiteY11" fmla="*/ 182166 h 256502"/>
              <a:gd name="connsiteX12" fmla="*/ 20241 w 269875"/>
              <a:gd name="connsiteY12" fmla="*/ 192286 h 256502"/>
              <a:gd name="connsiteX13" fmla="*/ 20241 w 269875"/>
              <a:gd name="connsiteY13" fmla="*/ 211447 h 256502"/>
              <a:gd name="connsiteX14" fmla="*/ 75120 w 269875"/>
              <a:gd name="connsiteY14" fmla="*/ 236262 h 256502"/>
              <a:gd name="connsiteX15" fmla="*/ 128191 w 269875"/>
              <a:gd name="connsiteY15" fmla="*/ 211757 h 256502"/>
              <a:gd name="connsiteX16" fmla="*/ 128191 w 269875"/>
              <a:gd name="connsiteY16" fmla="*/ 192286 h 256502"/>
              <a:gd name="connsiteX17" fmla="*/ 118070 w 269875"/>
              <a:gd name="connsiteY17" fmla="*/ 182166 h 256502"/>
              <a:gd name="connsiteX18" fmla="*/ 74216 w 269875"/>
              <a:gd name="connsiteY18" fmla="*/ 53975 h 256502"/>
              <a:gd name="connsiteX19" fmla="*/ 121444 w 269875"/>
              <a:gd name="connsiteY19" fmla="*/ 101203 h 256502"/>
              <a:gd name="connsiteX20" fmla="*/ 74216 w 269875"/>
              <a:gd name="connsiteY20" fmla="*/ 148431 h 256502"/>
              <a:gd name="connsiteX21" fmla="*/ 26988 w 269875"/>
              <a:gd name="connsiteY21" fmla="*/ 101203 h 256502"/>
              <a:gd name="connsiteX22" fmla="*/ 74216 w 269875"/>
              <a:gd name="connsiteY22" fmla="*/ 53975 h 256502"/>
              <a:gd name="connsiteX23" fmla="*/ 239514 w 269875"/>
              <a:gd name="connsiteY23" fmla="*/ 0 h 256502"/>
              <a:gd name="connsiteX24" fmla="*/ 269875 w 269875"/>
              <a:gd name="connsiteY24" fmla="*/ 30361 h 256502"/>
              <a:gd name="connsiteX25" fmla="*/ 269875 w 269875"/>
              <a:gd name="connsiteY25" fmla="*/ 77589 h 256502"/>
              <a:gd name="connsiteX26" fmla="*/ 239514 w 269875"/>
              <a:gd name="connsiteY26" fmla="*/ 107950 h 256502"/>
              <a:gd name="connsiteX27" fmla="*/ 219881 w 269875"/>
              <a:gd name="connsiteY27" fmla="*/ 107950 h 256502"/>
              <a:gd name="connsiteX28" fmla="*/ 190653 w 269875"/>
              <a:gd name="connsiteY28" fmla="*/ 136840 h 256502"/>
              <a:gd name="connsiteX29" fmla="*/ 166800 w 269875"/>
              <a:gd name="connsiteY29" fmla="*/ 136709 h 256502"/>
              <a:gd name="connsiteX30" fmla="*/ 161925 w 269875"/>
              <a:gd name="connsiteY30" fmla="*/ 124858 h 256502"/>
              <a:gd name="connsiteX31" fmla="*/ 161925 w 269875"/>
              <a:gd name="connsiteY31" fmla="*/ 107761 h 256502"/>
              <a:gd name="connsiteX32" fmla="*/ 134938 w 269875"/>
              <a:gd name="connsiteY32" fmla="*/ 77589 h 256502"/>
              <a:gd name="connsiteX33" fmla="*/ 134938 w 269875"/>
              <a:gd name="connsiteY33" fmla="*/ 30361 h 256502"/>
              <a:gd name="connsiteX34" fmla="*/ 165298 w 269875"/>
              <a:gd name="connsiteY34" fmla="*/ 0 h 256502"/>
              <a:gd name="connsiteX35" fmla="*/ 239514 w 269875"/>
              <a:gd name="connsiteY35" fmla="*/ 0 h 256502"/>
              <a:gd name="connsiteX36" fmla="*/ 74216 w 269875"/>
              <a:gd name="connsiteY36" fmla="*/ 74216 h 256502"/>
              <a:gd name="connsiteX37" fmla="*/ 47228 w 269875"/>
              <a:gd name="connsiteY37" fmla="*/ 101203 h 256502"/>
              <a:gd name="connsiteX38" fmla="*/ 74216 w 269875"/>
              <a:gd name="connsiteY38" fmla="*/ 128191 h 256502"/>
              <a:gd name="connsiteX39" fmla="*/ 101203 w 269875"/>
              <a:gd name="connsiteY39" fmla="*/ 101203 h 256502"/>
              <a:gd name="connsiteX40" fmla="*/ 74216 w 269875"/>
              <a:gd name="connsiteY40" fmla="*/ 74216 h 256502"/>
              <a:gd name="connsiteX41" fmla="*/ 239514 w 269875"/>
              <a:gd name="connsiteY41" fmla="*/ 20241 h 256502"/>
              <a:gd name="connsiteX42" fmla="*/ 165298 w 269875"/>
              <a:gd name="connsiteY42" fmla="*/ 20241 h 256502"/>
              <a:gd name="connsiteX43" fmla="*/ 155178 w 269875"/>
              <a:gd name="connsiteY43" fmla="*/ 30361 h 256502"/>
              <a:gd name="connsiteX44" fmla="*/ 155178 w 269875"/>
              <a:gd name="connsiteY44" fmla="*/ 77589 h 256502"/>
              <a:gd name="connsiteX45" fmla="*/ 165298 w 269875"/>
              <a:gd name="connsiteY45" fmla="*/ 87709 h 256502"/>
              <a:gd name="connsiteX46" fmla="*/ 182152 w 269875"/>
              <a:gd name="connsiteY46" fmla="*/ 87709 h 256502"/>
              <a:gd name="connsiteX47" fmla="*/ 182152 w 269875"/>
              <a:gd name="connsiteY47" fmla="*/ 116775 h 256502"/>
              <a:gd name="connsiteX48" fmla="*/ 211582 w 269875"/>
              <a:gd name="connsiteY48" fmla="*/ 87709 h 256502"/>
              <a:gd name="connsiteX49" fmla="*/ 239528 w 269875"/>
              <a:gd name="connsiteY49" fmla="*/ 87709 h 256502"/>
              <a:gd name="connsiteX50" fmla="*/ 249648 w 269875"/>
              <a:gd name="connsiteY50" fmla="*/ 77589 h 256502"/>
              <a:gd name="connsiteX51" fmla="*/ 249648 w 269875"/>
              <a:gd name="connsiteY51" fmla="*/ 30361 h 256502"/>
              <a:gd name="connsiteX52" fmla="*/ 239528 w 269875"/>
              <a:gd name="connsiteY52" fmla="*/ 20241 h 256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269875" h="256502">
                <a:moveTo>
                  <a:pt x="118070" y="161925"/>
                </a:moveTo>
                <a:cubicBezTo>
                  <a:pt x="134838" y="161925"/>
                  <a:pt x="148431" y="175519"/>
                  <a:pt x="148431" y="192286"/>
                </a:cubicBezTo>
                <a:lnTo>
                  <a:pt x="148431" y="212554"/>
                </a:lnTo>
                <a:lnTo>
                  <a:pt x="148323" y="214011"/>
                </a:lnTo>
                <a:cubicBezTo>
                  <a:pt x="144140" y="242712"/>
                  <a:pt x="118367" y="256503"/>
                  <a:pt x="75120" y="256503"/>
                </a:cubicBezTo>
                <a:cubicBezTo>
                  <a:pt x="32034" y="256503"/>
                  <a:pt x="5843" y="242874"/>
                  <a:pt x="189" y="214510"/>
                </a:cubicBezTo>
                <a:lnTo>
                  <a:pt x="0" y="212527"/>
                </a:lnTo>
                <a:lnTo>
                  <a:pt x="0" y="192286"/>
                </a:lnTo>
                <a:cubicBezTo>
                  <a:pt x="0" y="175519"/>
                  <a:pt x="13593" y="161925"/>
                  <a:pt x="30361" y="161925"/>
                </a:cubicBezTo>
                <a:lnTo>
                  <a:pt x="118070" y="161925"/>
                </a:lnTo>
                <a:close/>
                <a:moveTo>
                  <a:pt x="118070" y="182166"/>
                </a:moveTo>
                <a:lnTo>
                  <a:pt x="30361" y="182166"/>
                </a:lnTo>
                <a:cubicBezTo>
                  <a:pt x="24772" y="182166"/>
                  <a:pt x="20241" y="186697"/>
                  <a:pt x="20241" y="192286"/>
                </a:cubicBezTo>
                <a:lnTo>
                  <a:pt x="20241" y="211447"/>
                </a:lnTo>
                <a:cubicBezTo>
                  <a:pt x="24019" y="227640"/>
                  <a:pt x="41156" y="236262"/>
                  <a:pt x="75120" y="236262"/>
                </a:cubicBezTo>
                <a:cubicBezTo>
                  <a:pt x="109070" y="236262"/>
                  <a:pt x="125451" y="227748"/>
                  <a:pt x="128191" y="211757"/>
                </a:cubicBezTo>
                <a:lnTo>
                  <a:pt x="128191" y="192286"/>
                </a:lnTo>
                <a:cubicBezTo>
                  <a:pt x="128191" y="186697"/>
                  <a:pt x="123659" y="182166"/>
                  <a:pt x="118070" y="182166"/>
                </a:cubicBezTo>
                <a:close/>
                <a:moveTo>
                  <a:pt x="74216" y="53975"/>
                </a:moveTo>
                <a:cubicBezTo>
                  <a:pt x="100299" y="53975"/>
                  <a:pt x="121444" y="75120"/>
                  <a:pt x="121444" y="101203"/>
                </a:cubicBezTo>
                <a:cubicBezTo>
                  <a:pt x="121444" y="127287"/>
                  <a:pt x="100299" y="148431"/>
                  <a:pt x="74216" y="148431"/>
                </a:cubicBezTo>
                <a:cubicBezTo>
                  <a:pt x="48132" y="148431"/>
                  <a:pt x="26988" y="127287"/>
                  <a:pt x="26988" y="101203"/>
                </a:cubicBezTo>
                <a:cubicBezTo>
                  <a:pt x="26988" y="75120"/>
                  <a:pt x="48132" y="53975"/>
                  <a:pt x="74216" y="53975"/>
                </a:cubicBezTo>
                <a:close/>
                <a:moveTo>
                  <a:pt x="239514" y="0"/>
                </a:moveTo>
                <a:cubicBezTo>
                  <a:pt x="256281" y="0"/>
                  <a:pt x="269875" y="13593"/>
                  <a:pt x="269875" y="30361"/>
                </a:cubicBezTo>
                <a:lnTo>
                  <a:pt x="269875" y="77589"/>
                </a:lnTo>
                <a:cubicBezTo>
                  <a:pt x="269875" y="94357"/>
                  <a:pt x="256281" y="107950"/>
                  <a:pt x="239514" y="107950"/>
                </a:cubicBezTo>
                <a:lnTo>
                  <a:pt x="219881" y="107950"/>
                </a:lnTo>
                <a:lnTo>
                  <a:pt x="190653" y="136840"/>
                </a:lnTo>
                <a:cubicBezTo>
                  <a:pt x="184030" y="143391"/>
                  <a:pt x="173350" y="143332"/>
                  <a:pt x="166800" y="136709"/>
                </a:cubicBezTo>
                <a:cubicBezTo>
                  <a:pt x="163679" y="133553"/>
                  <a:pt x="161928" y="129296"/>
                  <a:pt x="161925" y="124858"/>
                </a:cubicBezTo>
                <a:lnTo>
                  <a:pt x="161925" y="107761"/>
                </a:lnTo>
                <a:cubicBezTo>
                  <a:pt x="146558" y="106043"/>
                  <a:pt x="134938" y="93051"/>
                  <a:pt x="134938" y="77589"/>
                </a:cubicBezTo>
                <a:lnTo>
                  <a:pt x="134938" y="30361"/>
                </a:lnTo>
                <a:cubicBezTo>
                  <a:pt x="134938" y="13593"/>
                  <a:pt x="148531" y="0"/>
                  <a:pt x="165298" y="0"/>
                </a:cubicBezTo>
                <a:lnTo>
                  <a:pt x="239514" y="0"/>
                </a:lnTo>
                <a:close/>
                <a:moveTo>
                  <a:pt x="74216" y="74216"/>
                </a:moveTo>
                <a:cubicBezTo>
                  <a:pt x="59311" y="74216"/>
                  <a:pt x="47228" y="86298"/>
                  <a:pt x="47228" y="101203"/>
                </a:cubicBezTo>
                <a:cubicBezTo>
                  <a:pt x="47228" y="116108"/>
                  <a:pt x="59311" y="128191"/>
                  <a:pt x="74216" y="128191"/>
                </a:cubicBezTo>
                <a:cubicBezTo>
                  <a:pt x="89120" y="128191"/>
                  <a:pt x="101203" y="116108"/>
                  <a:pt x="101203" y="101203"/>
                </a:cubicBezTo>
                <a:cubicBezTo>
                  <a:pt x="101203" y="86298"/>
                  <a:pt x="89120" y="74216"/>
                  <a:pt x="74216" y="74216"/>
                </a:cubicBezTo>
                <a:close/>
                <a:moveTo>
                  <a:pt x="239514" y="20241"/>
                </a:moveTo>
                <a:lnTo>
                  <a:pt x="165298" y="20241"/>
                </a:lnTo>
                <a:cubicBezTo>
                  <a:pt x="159709" y="20241"/>
                  <a:pt x="155178" y="24772"/>
                  <a:pt x="155178" y="30361"/>
                </a:cubicBezTo>
                <a:lnTo>
                  <a:pt x="155178" y="77589"/>
                </a:lnTo>
                <a:cubicBezTo>
                  <a:pt x="155178" y="83175"/>
                  <a:pt x="159712" y="87709"/>
                  <a:pt x="165298" y="87709"/>
                </a:cubicBezTo>
                <a:lnTo>
                  <a:pt x="182152" y="87709"/>
                </a:lnTo>
                <a:lnTo>
                  <a:pt x="182152" y="116775"/>
                </a:lnTo>
                <a:lnTo>
                  <a:pt x="211582" y="87709"/>
                </a:lnTo>
                <a:lnTo>
                  <a:pt x="239528" y="87709"/>
                </a:lnTo>
                <a:cubicBezTo>
                  <a:pt x="245117" y="87709"/>
                  <a:pt x="249648" y="83178"/>
                  <a:pt x="249648" y="77589"/>
                </a:cubicBezTo>
                <a:lnTo>
                  <a:pt x="249648" y="30361"/>
                </a:lnTo>
                <a:cubicBezTo>
                  <a:pt x="249648" y="24772"/>
                  <a:pt x="245117" y="20241"/>
                  <a:pt x="239528" y="20241"/>
                </a:cubicBezTo>
                <a:close/>
              </a:path>
            </a:pathLst>
          </a:custGeom>
          <a:gradFill flip="none" rotWithShape="1">
            <a:gsLst>
              <a:gs pos="0">
                <a:srgbClr val="C03BC4"/>
              </a:gs>
              <a:gs pos="80000">
                <a:srgbClr val="0078D4"/>
              </a:gs>
            </a:gsLst>
            <a:path path="circle">
              <a:fillToRect l="100000" t="100000"/>
            </a:path>
            <a:tileRect r="-100000" b="-100000"/>
          </a:gradFill>
          <a:effectLst/>
        </p:spPr>
        <p:txBody>
          <a:bodyPr wrap="square" lIns="0" tIns="0" rIns="0" bIns="0" rtlCol="0" anchor="ctr" anchorCtr="0">
            <a:noAutofit/>
          </a:bodyPr>
          <a:lstStyle/>
          <a:p>
            <a:pPr algn="ctr" fontAlgn="base">
              <a:spcBef>
                <a:spcPct val="0"/>
              </a:spcBef>
              <a:spcAft>
                <a:spcPts val="1200"/>
              </a:spcAft>
              <a:buSzPct val="90000"/>
            </a:pPr>
            <a:endParaRPr lang="en-US" sz="1400" b="1">
              <a:solidFill>
                <a:schemeClr val="bg1"/>
              </a:solidFill>
            </a:endParaRPr>
          </a:p>
        </p:txBody>
      </p:sp>
      <p:pic>
        <p:nvPicPr>
          <p:cNvPr id="4" name="Picture 3" descr="Screenshot of the Microsoft 365 Copilot enablement hub on adoption.microsoft.com&#10;">
            <a:extLst>
              <a:ext uri="{FF2B5EF4-FFF2-40B4-BE49-F238E27FC236}">
                <a16:creationId xmlns:a16="http://schemas.microsoft.com/office/drawing/2014/main" id="{3A8B0C79-DD9B-52ED-7676-274AAF03804E}"/>
              </a:ext>
            </a:extLst>
          </p:cNvPr>
          <p:cNvPicPr>
            <a:picLocks noChangeAspect="1"/>
          </p:cNvPicPr>
          <p:nvPr/>
        </p:nvPicPr>
        <p:blipFill>
          <a:blip r:embed="rId3"/>
          <a:stretch>
            <a:fillRect/>
          </a:stretch>
        </p:blipFill>
        <p:spPr>
          <a:xfrm>
            <a:off x="5742420" y="1827708"/>
            <a:ext cx="4607234" cy="2060184"/>
          </a:xfrm>
          <a:prstGeom prst="roundRect">
            <a:avLst>
              <a:gd name="adj" fmla="val 4041"/>
            </a:avLst>
          </a:prstGeom>
          <a:ln>
            <a:solidFill>
              <a:schemeClr val="bg1">
                <a:lumMod val="85000"/>
              </a:schemeClr>
            </a:solidFill>
          </a:ln>
          <a:effectLst/>
        </p:spPr>
      </p:pic>
      <p:pic>
        <p:nvPicPr>
          <p:cNvPr id="6" name="Picture 5" descr="Screen shot of the Microsoft 365 Copilot community home page.">
            <a:extLst>
              <a:ext uri="{FF2B5EF4-FFF2-40B4-BE49-F238E27FC236}">
                <a16:creationId xmlns:a16="http://schemas.microsoft.com/office/drawing/2014/main" id="{C3878A09-DCE9-9CC0-DF8D-8023399E5D3A}"/>
              </a:ext>
            </a:extLst>
          </p:cNvPr>
          <p:cNvPicPr>
            <a:picLocks noChangeAspect="1"/>
          </p:cNvPicPr>
          <p:nvPr/>
        </p:nvPicPr>
        <p:blipFill>
          <a:blip r:embed="rId4"/>
          <a:srcRect t="18797" b="9819"/>
          <a:stretch/>
        </p:blipFill>
        <p:spPr>
          <a:xfrm>
            <a:off x="5745348" y="4160178"/>
            <a:ext cx="4604471" cy="1868722"/>
          </a:xfrm>
          <a:prstGeom prst="roundRect">
            <a:avLst>
              <a:gd name="adj" fmla="val 5989"/>
            </a:avLst>
          </a:prstGeom>
          <a:ln>
            <a:solidFill>
              <a:schemeClr val="bg1">
                <a:lumMod val="85000"/>
              </a:schemeClr>
            </a:solidFill>
          </a:ln>
          <a:effectLst/>
        </p:spPr>
      </p:pic>
      <p:sp>
        <p:nvSpPr>
          <p:cNvPr id="2" name="TextBox 1">
            <a:extLst>
              <a:ext uri="{FF2B5EF4-FFF2-40B4-BE49-F238E27FC236}">
                <a16:creationId xmlns:a16="http://schemas.microsoft.com/office/drawing/2014/main" id="{AFA09032-04EC-2040-77C6-6BE53E9B7B88}"/>
              </a:ext>
            </a:extLst>
          </p:cNvPr>
          <p:cNvSpPr txBox="1"/>
          <p:nvPr/>
        </p:nvSpPr>
        <p:spPr>
          <a:xfrm>
            <a:off x="1080395" y="2735856"/>
            <a:ext cx="3929063" cy="98488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Segoe UI Semibold"/>
                <a:ea typeface="+mn-ea"/>
                <a:cs typeface="+mn-cs"/>
              </a:rPr>
              <a:t>Microsoft Community Learning </a:t>
            </a:r>
            <a:r>
              <a:rPr kumimoji="0" lang="en-US" sz="1600" b="0" i="0" u="none" strike="noStrike" kern="1200" cap="none" spc="0" normalizeH="0" baseline="0" noProof="0" dirty="0">
                <a:ln>
                  <a:noFill/>
                </a:ln>
                <a:solidFill>
                  <a:srgbClr val="0B87DE"/>
                </a:solidFill>
                <a:effectLst/>
                <a:uLnTx/>
                <a:uFillTx/>
                <a:latin typeface="Segoe UI Semibold"/>
                <a:ea typeface="+mn-ea"/>
                <a:cs typeface="+mn-cs"/>
              </a:rPr>
              <a:t>aka.ms/Community/</a:t>
            </a:r>
            <a:r>
              <a:rPr kumimoji="0" lang="en-US" sz="1600" b="0" i="0" u="none" strike="noStrike" kern="1200" cap="none" spc="0" normalizeH="0" baseline="0" noProof="0" dirty="0" err="1">
                <a:ln>
                  <a:noFill/>
                </a:ln>
                <a:solidFill>
                  <a:srgbClr val="0B87DE"/>
                </a:solidFill>
                <a:effectLst/>
                <a:uLnTx/>
                <a:uFillTx/>
                <a:latin typeface="Segoe UI Semibold"/>
                <a:ea typeface="+mn-ea"/>
                <a:cs typeface="+mn-cs"/>
              </a:rPr>
              <a:t>LearningChannel</a:t>
            </a:r>
            <a:endParaRPr kumimoji="0" lang="en-US" sz="1600" b="0" i="0" u="none" strike="noStrike" kern="1200" cap="none" spc="0" normalizeH="0" baseline="0" noProof="0" dirty="0">
              <a:ln>
                <a:noFill/>
              </a:ln>
              <a:solidFill>
                <a:srgbClr val="0B87DE"/>
              </a:solidFill>
              <a:effectLst/>
              <a:uLnTx/>
              <a:uFillTx/>
              <a:latin typeface="Segoe UI Semibold"/>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mn-cs"/>
              </a:rPr>
              <a:t>Community led expert content on all your favorite</a:t>
            </a:r>
            <a:r>
              <a:rPr kumimoji="0" lang="en-US" sz="1600" b="0" i="0" u="none" strike="noStrike" kern="1200" cap="none" spc="0" normalizeH="0" noProof="0" dirty="0">
                <a:ln>
                  <a:noFill/>
                </a:ln>
                <a:solidFill>
                  <a:srgbClr val="000000"/>
                </a:solidFill>
                <a:effectLst/>
                <a:uLnTx/>
                <a:uFillTx/>
                <a:latin typeface="Segoe UI"/>
                <a:ea typeface="+mn-ea"/>
                <a:cs typeface="+mn-cs"/>
              </a:rPr>
              <a:t> Microsoft services.</a:t>
            </a: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TextBox 4">
            <a:extLst>
              <a:ext uri="{FF2B5EF4-FFF2-40B4-BE49-F238E27FC236}">
                <a16:creationId xmlns:a16="http://schemas.microsoft.com/office/drawing/2014/main" id="{9D354814-6A6C-B6E5-17C7-08E9267D9B9A}"/>
              </a:ext>
            </a:extLst>
          </p:cNvPr>
          <p:cNvSpPr txBox="1"/>
          <p:nvPr/>
        </p:nvSpPr>
        <p:spPr>
          <a:xfrm>
            <a:off x="1080395" y="5094539"/>
            <a:ext cx="3929063" cy="664797"/>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sz="1600" dirty="0">
                <a:solidFill>
                  <a:srgbClr val="000000"/>
                </a:solidFill>
                <a:latin typeface="Segoe UI"/>
              </a:rPr>
              <a:t>Start your week with l</a:t>
            </a:r>
            <a:r>
              <a:rPr kumimoji="0" lang="en-US" sz="1600" b="0" i="0" u="none" strike="noStrike" kern="1200" cap="none" spc="0" normalizeH="0" baseline="0" noProof="0" dirty="0" err="1">
                <a:ln>
                  <a:noFill/>
                </a:ln>
                <a:solidFill>
                  <a:srgbClr val="000000"/>
                </a:solidFill>
                <a:effectLst/>
                <a:uLnTx/>
                <a:uFillTx/>
                <a:latin typeface="Segoe UI"/>
                <a:ea typeface="+mn-ea"/>
                <a:cs typeface="+mn-cs"/>
              </a:rPr>
              <a:t>ive</a:t>
            </a:r>
            <a:r>
              <a:rPr kumimoji="0" lang="en-US" sz="1600" b="0" i="0" u="none" strike="noStrike" kern="1200" cap="none" spc="0" normalizeH="0" baseline="0" noProof="0" dirty="0">
                <a:ln>
                  <a:noFill/>
                </a:ln>
                <a:solidFill>
                  <a:srgbClr val="000000"/>
                </a:solidFill>
                <a:effectLst/>
                <a:uLnTx/>
                <a:uFillTx/>
                <a:latin typeface="Segoe UI"/>
                <a:ea typeface="+mn-ea"/>
                <a:cs typeface="+mn-cs"/>
              </a:rPr>
              <a:t> news and event</a:t>
            </a:r>
            <a:r>
              <a:rPr kumimoji="0" lang="en-US" sz="1600" b="0" i="0" u="none" strike="noStrike" kern="1200" cap="none" spc="0" normalizeH="0" noProof="0" dirty="0">
                <a:ln>
                  <a:noFill/>
                </a:ln>
                <a:solidFill>
                  <a:srgbClr val="000000"/>
                </a:solidFill>
                <a:effectLst/>
                <a:uLnTx/>
                <a:uFillTx/>
                <a:latin typeface="Segoe UI"/>
                <a:ea typeface="+mn-ea"/>
                <a:cs typeface="+mn-cs"/>
              </a:rPr>
              <a:t> updates </a:t>
            </a:r>
            <a:r>
              <a:rPr kumimoji="0" lang="en-US" sz="1600" b="0" i="0" u="none" strike="noStrike" kern="1200" cap="none" spc="0" normalizeH="0" baseline="0" noProof="0" dirty="0">
                <a:ln>
                  <a:noFill/>
                </a:ln>
                <a:solidFill>
                  <a:srgbClr val="0B87DE"/>
                </a:solidFill>
                <a:effectLst/>
                <a:uLnTx/>
                <a:uFillTx/>
                <a:latin typeface="Segoe UI Semibold"/>
                <a:ea typeface="+mn-ea"/>
                <a:cs typeface="+mn-cs"/>
                <a:hlinkClick r:id="rId5">
                  <a:extLst>
                    <a:ext uri="{A12FA001-AC4F-418D-AE19-62706E023703}">
                      <ahyp:hlinkClr xmlns:ahyp="http://schemas.microsoft.com/office/drawing/2018/hyperlinkcolor" val="tx"/>
                    </a:ext>
                  </a:extLst>
                </a:hlinkClick>
              </a:rPr>
              <a:t>aka.ms/</a:t>
            </a:r>
            <a:r>
              <a:rPr kumimoji="0" lang="en-US" sz="1600" b="0" i="0" u="none" strike="noStrike" kern="1200" cap="none" spc="0" normalizeH="0" baseline="0" noProof="0" dirty="0" err="1">
                <a:ln>
                  <a:noFill/>
                </a:ln>
                <a:solidFill>
                  <a:srgbClr val="0B87DE"/>
                </a:solidFill>
                <a:effectLst/>
                <a:uLnTx/>
                <a:uFillTx/>
                <a:latin typeface="Segoe UI Semibold"/>
                <a:ea typeface="+mn-ea"/>
                <a:cs typeface="+mn-cs"/>
                <a:hlinkClick r:id="rId5">
                  <a:extLst>
                    <a:ext uri="{A12FA001-AC4F-418D-AE19-62706E023703}">
                      <ahyp:hlinkClr xmlns:ahyp="http://schemas.microsoft.com/office/drawing/2018/hyperlinkcolor" val="tx"/>
                    </a:ext>
                  </a:extLst>
                </a:hlinkClick>
              </a:rPr>
              <a:t>MondaysatMicrosoft</a:t>
            </a:r>
            <a:endParaRPr kumimoji="0" lang="en-US" sz="1600" b="0" i="0" u="none" strike="noStrike" kern="1200" cap="none" spc="0" normalizeH="0" baseline="0" noProof="0" dirty="0">
              <a:ln>
                <a:noFill/>
              </a:ln>
              <a:solidFill>
                <a:srgbClr val="0B87DE"/>
              </a:solidFill>
              <a:effectLst/>
              <a:uLnTx/>
              <a:uFillTx/>
              <a:latin typeface="Segoe UI Semibold"/>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lang="en-US" sz="1600" dirty="0">
                <a:solidFill>
                  <a:srgbClr val="000000"/>
                </a:solidFill>
                <a:latin typeface="Segoe UI"/>
              </a:rPr>
              <a:t>Watch live or on-demand &amp; share our blog.</a:t>
            </a:r>
          </a:p>
        </p:txBody>
      </p:sp>
    </p:spTree>
    <p:extLst>
      <p:ext uri="{BB962C8B-B14F-4D97-AF65-F5344CB8AC3E}">
        <p14:creationId xmlns:p14="http://schemas.microsoft.com/office/powerpoint/2010/main" val="2389918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42" presetClass="path" presetSubtype="0" decel="100000" fill="hold" grpId="1" nodeType="withEffect">
                                  <p:stCondLst>
                                    <p:cond delay="0"/>
                                  </p:stCondLst>
                                  <p:childTnLst>
                                    <p:animMotion origin="layout" path="M 2.08333E-7 2.22222E-6 L 2.08333E-7 0.03541 " pathEditMode="relative" rAng="0" ptsTypes="AA">
                                      <p:cBhvr>
                                        <p:cTn id="9" dur="700" spd="-100000" fill="hold"/>
                                        <p:tgtEl>
                                          <p:spTgt spid="19"/>
                                        </p:tgtEl>
                                        <p:attrNameLst>
                                          <p:attrName>ppt_x</p:attrName>
                                          <p:attrName>ppt_y</p:attrName>
                                        </p:attrNameLst>
                                      </p:cBhvr>
                                      <p:rCtr x="0" y="1759"/>
                                    </p:animMotion>
                                  </p:childTnLst>
                                </p:cTn>
                              </p:par>
                              <p:par>
                                <p:cTn id="10" presetID="10" presetClass="entr" presetSubtype="0" fill="hold" grpId="0" nodeType="withEffect">
                                  <p:stCondLst>
                                    <p:cond delay="25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par>
                                <p:cTn id="13" presetID="42" presetClass="path" presetSubtype="0" decel="100000" fill="hold" grpId="1" nodeType="withEffect">
                                  <p:stCondLst>
                                    <p:cond delay="250"/>
                                  </p:stCondLst>
                                  <p:childTnLst>
                                    <p:animMotion origin="layout" path="M 1.04167E-6 -3.7037E-6 L 1.04167E-6 0.03542 " pathEditMode="relative" rAng="0" ptsTypes="AA">
                                      <p:cBhvr>
                                        <p:cTn id="14" dur="700" spd="-100000" fill="hold"/>
                                        <p:tgtEl>
                                          <p:spTgt spid="18"/>
                                        </p:tgtEl>
                                        <p:attrNameLst>
                                          <p:attrName>ppt_x</p:attrName>
                                          <p:attrName>ppt_y</p:attrName>
                                        </p:attrNameLst>
                                      </p:cBhvr>
                                      <p:rCtr x="0" y="1759"/>
                                    </p:animMotion>
                                  </p:childTnLst>
                                </p:cTn>
                              </p:par>
                              <p:par>
                                <p:cTn id="15" presetID="10" presetClass="entr" presetSubtype="0" fill="hold" nodeType="withEffect">
                                  <p:stCondLst>
                                    <p:cond delay="25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par>
                                <p:cTn id="18" presetID="42" presetClass="path" presetSubtype="0" decel="100000" fill="hold" nodeType="withEffect">
                                  <p:stCondLst>
                                    <p:cond delay="250"/>
                                  </p:stCondLst>
                                  <p:childTnLst>
                                    <p:animMotion origin="layout" path="M 1.04167E-6 -3.7037E-6 L 1.04167E-6 0.03542 " pathEditMode="relative" rAng="0" ptsTypes="AA">
                                      <p:cBhvr>
                                        <p:cTn id="19" dur="700" spd="-100000" fill="hold"/>
                                        <p:tgtEl>
                                          <p:spTgt spid="3"/>
                                        </p:tgtEl>
                                        <p:attrNameLst>
                                          <p:attrName>ppt_x</p:attrName>
                                          <p:attrName>ppt_y</p:attrName>
                                        </p:attrNameLst>
                                      </p:cBhvr>
                                      <p:rCtr x="0" y="1759"/>
                                    </p:animMotion>
                                  </p:childTnLst>
                                </p:cTn>
                              </p:par>
                              <p:par>
                                <p:cTn id="20" presetID="10" presetClass="entr" presetSubtype="0" fill="hold" grpId="0" nodeType="with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fade">
                                      <p:cBhvr>
                                        <p:cTn id="22" dur="500"/>
                                        <p:tgtEl>
                                          <p:spTgt spid="2"/>
                                        </p:tgtEl>
                                      </p:cBhvr>
                                    </p:animEffect>
                                  </p:childTnLst>
                                </p:cTn>
                              </p:par>
                              <p:par>
                                <p:cTn id="23" presetID="42" presetClass="path" presetSubtype="0" decel="100000" fill="hold" grpId="1" nodeType="withEffect">
                                  <p:stCondLst>
                                    <p:cond delay="0"/>
                                  </p:stCondLst>
                                  <p:childTnLst>
                                    <p:animMotion origin="layout" path="M 4.16667E-7 -1.85185E-6 L 4.16667E-7 0.03542 " pathEditMode="relative" rAng="0" ptsTypes="AA">
                                      <p:cBhvr>
                                        <p:cTn id="24" dur="700" spd="-100000" fill="hold"/>
                                        <p:tgtEl>
                                          <p:spTgt spid="2"/>
                                        </p:tgtEl>
                                        <p:attrNameLst>
                                          <p:attrName>ppt_x</p:attrName>
                                          <p:attrName>ppt_y</p:attrName>
                                        </p:attrNameLst>
                                      </p:cBhvr>
                                      <p:rCtr x="0" y="1759"/>
                                    </p:animMotion>
                                  </p:childTnLst>
                                </p:cTn>
                              </p:par>
                              <p:par>
                                <p:cTn id="25" presetID="10" presetClass="entr" presetSubtype="0" fill="hold" grpId="0" nodeType="withEffect">
                                  <p:stCondLst>
                                    <p:cond delay="25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500"/>
                                        <p:tgtEl>
                                          <p:spTgt spid="5"/>
                                        </p:tgtEl>
                                      </p:cBhvr>
                                    </p:animEffect>
                                  </p:childTnLst>
                                </p:cTn>
                              </p:par>
                              <p:par>
                                <p:cTn id="28" presetID="42" presetClass="path" presetSubtype="0" decel="100000" fill="hold" grpId="1" nodeType="withEffect">
                                  <p:stCondLst>
                                    <p:cond delay="250"/>
                                  </p:stCondLst>
                                  <p:childTnLst>
                                    <p:animMotion origin="layout" path="M 4.16667E-7 -3.7037E-6 L 4.16667E-7 0.03542 " pathEditMode="relative" rAng="0" ptsTypes="AA">
                                      <p:cBhvr>
                                        <p:cTn id="29" dur="700" spd="-100000" fill="hold"/>
                                        <p:tgtEl>
                                          <p:spTgt spid="5"/>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9" grpId="1" animBg="1"/>
      <p:bldP spid="18" grpId="0" animBg="1"/>
      <p:bldP spid="18" grpId="1" animBg="1"/>
      <p:bldP spid="2" grpId="0"/>
      <p:bldP spid="2" grpId="1"/>
      <p:bldP spid="5" grpId="0"/>
      <p:bldP spid="5" grpId="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541AC8-D361-78EB-67B1-99455110EF14}"/>
              </a:ext>
            </a:extLst>
          </p:cNvPr>
          <p:cNvSpPr>
            <a:spLocks noGrp="1"/>
          </p:cNvSpPr>
          <p:nvPr>
            <p:ph type="title" idx="4294967295"/>
          </p:nvPr>
        </p:nvSpPr>
        <p:spPr>
          <a:xfrm>
            <a:off x="3962401" y="848861"/>
            <a:ext cx="7733413" cy="633413"/>
          </a:xfrm>
        </p:spPr>
        <p:txBody>
          <a:bodyPr>
            <a:normAutofit fontScale="90000"/>
          </a:bodyPr>
          <a:lstStyle/>
          <a:p>
            <a:pPr algn="l"/>
            <a:r>
              <a:rPr lang="en-US" sz="4000" dirty="0"/>
              <a:t>Session feedback surveys</a:t>
            </a:r>
          </a:p>
        </p:txBody>
      </p:sp>
      <p:sp>
        <p:nvSpPr>
          <p:cNvPr id="3" name="Text Placeholder 2" descr="Instructions for submitting a survey">
            <a:extLst>
              <a:ext uri="{FF2B5EF4-FFF2-40B4-BE49-F238E27FC236}">
                <a16:creationId xmlns:a16="http://schemas.microsoft.com/office/drawing/2014/main" id="{46403AEF-0FC4-1DC9-2277-CD8177962343}"/>
              </a:ext>
            </a:extLst>
          </p:cNvPr>
          <p:cNvSpPr>
            <a:spLocks noGrp="1"/>
          </p:cNvSpPr>
          <p:nvPr>
            <p:ph type="body" idx="4294967295"/>
          </p:nvPr>
        </p:nvSpPr>
        <p:spPr>
          <a:xfrm>
            <a:off x="3962400" y="1602924"/>
            <a:ext cx="6904522" cy="5168900"/>
          </a:xfrm>
        </p:spPr>
        <p:txBody>
          <a:bodyPr>
            <a:normAutofit fontScale="25000" lnSpcReduction="20000"/>
          </a:bodyPr>
          <a:lstStyle/>
          <a:p>
            <a:pPr marL="0" indent="0">
              <a:lnSpc>
                <a:spcPct val="120000"/>
              </a:lnSpc>
              <a:buNone/>
            </a:pPr>
            <a:r>
              <a:rPr lang="en-US" sz="7200" b="0" dirty="0"/>
              <a:t>We want to hear from YOU!</a:t>
            </a:r>
          </a:p>
          <a:p>
            <a:pPr marL="0" indent="0">
              <a:lnSpc>
                <a:spcPct val="120000"/>
              </a:lnSpc>
              <a:spcAft>
                <a:spcPts val="1200"/>
              </a:spcAft>
              <a:buNone/>
            </a:pPr>
            <a:r>
              <a:rPr lang="en-US" sz="7200" b="0" dirty="0"/>
              <a:t>Share your feedback to make next years conference even better!</a:t>
            </a:r>
          </a:p>
          <a:p>
            <a:pPr marL="0" indent="0">
              <a:lnSpc>
                <a:spcPct val="120000"/>
              </a:lnSpc>
              <a:buNone/>
            </a:pPr>
            <a:r>
              <a:rPr lang="en-US" sz="7200" dirty="0"/>
              <a:t>Here’s how –</a:t>
            </a:r>
          </a:p>
          <a:p>
            <a:pPr>
              <a:lnSpc>
                <a:spcPct val="120000"/>
              </a:lnSpc>
            </a:pPr>
            <a:r>
              <a:rPr lang="en-US" sz="7200" b="0" dirty="0"/>
              <a:t>Simply go to the Whova App on your smartphone.</a:t>
            </a:r>
          </a:p>
          <a:p>
            <a:pPr>
              <a:lnSpc>
                <a:spcPct val="120000"/>
              </a:lnSpc>
            </a:pPr>
            <a:r>
              <a:rPr lang="en-US" sz="7200" b="0" dirty="0"/>
              <a:t>Scroll down on the M365 Community Conference Homepage to ‘Additional Resources’ to click “Surveys’.</a:t>
            </a:r>
          </a:p>
          <a:p>
            <a:pPr>
              <a:lnSpc>
                <a:spcPct val="120000"/>
              </a:lnSpc>
            </a:pPr>
            <a:r>
              <a:rPr lang="en-US" sz="7200" b="0" dirty="0"/>
              <a:t>Click Session Feedback.</a:t>
            </a:r>
          </a:p>
          <a:p>
            <a:pPr>
              <a:lnSpc>
                <a:spcPct val="120000"/>
              </a:lnSpc>
            </a:pPr>
            <a:r>
              <a:rPr lang="en-US" sz="7200" b="0" dirty="0"/>
              <a:t>Scroll down to find this session title.</a:t>
            </a:r>
          </a:p>
          <a:p>
            <a:pPr>
              <a:lnSpc>
                <a:spcPct val="120000"/>
              </a:lnSpc>
            </a:pPr>
            <a:r>
              <a:rPr lang="en-US" sz="7200" b="0" dirty="0"/>
              <a:t>Complete the session feedback survey.</a:t>
            </a:r>
          </a:p>
          <a:p>
            <a:pPr>
              <a:lnSpc>
                <a:spcPct val="120000"/>
              </a:lnSpc>
              <a:spcAft>
                <a:spcPts val="1200"/>
              </a:spcAft>
            </a:pPr>
            <a:r>
              <a:rPr lang="en-US" sz="7200" b="0" dirty="0"/>
              <a:t>Finally, click ‘Submit’.</a:t>
            </a:r>
          </a:p>
          <a:p>
            <a:pPr marL="0" indent="0">
              <a:lnSpc>
                <a:spcPct val="120000"/>
              </a:lnSpc>
              <a:buNone/>
            </a:pPr>
            <a:r>
              <a:rPr lang="en-US" sz="7200" dirty="0"/>
              <a:t>It’s just that easy!</a:t>
            </a:r>
          </a:p>
          <a:p>
            <a:endParaRPr lang="en-US" sz="2133" dirty="0"/>
          </a:p>
        </p:txBody>
      </p:sp>
      <p:pic>
        <p:nvPicPr>
          <p:cNvPr id="6" name="Picture 5">
            <a:extLst>
              <a:ext uri="{FF2B5EF4-FFF2-40B4-BE49-F238E27FC236}">
                <a16:creationId xmlns:a16="http://schemas.microsoft.com/office/drawing/2014/main" id="{BB06DC14-A1AD-69D8-21E5-934E2DB2F63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1499" y="548896"/>
            <a:ext cx="2844721" cy="5760207"/>
          </a:xfrm>
          <a:prstGeom prst="rect">
            <a:avLst/>
          </a:prstGeom>
        </p:spPr>
      </p:pic>
    </p:spTree>
    <p:extLst>
      <p:ext uri="{BB962C8B-B14F-4D97-AF65-F5344CB8AC3E}">
        <p14:creationId xmlns:p14="http://schemas.microsoft.com/office/powerpoint/2010/main" val="37205461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45202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itle 76">
            <a:extLst>
              <a:ext uri="{FF2B5EF4-FFF2-40B4-BE49-F238E27FC236}">
                <a16:creationId xmlns:a16="http://schemas.microsoft.com/office/drawing/2014/main" id="{2AC47EAD-E728-A3A6-17E7-247AD419822F}"/>
              </a:ext>
            </a:extLst>
          </p:cNvPr>
          <p:cNvSpPr>
            <a:spLocks noGrp="1"/>
          </p:cNvSpPr>
          <p:nvPr>
            <p:ph type="title"/>
          </p:nvPr>
        </p:nvSpPr>
        <p:spPr/>
        <p:txBody>
          <a:bodyPr/>
          <a:lstStyle/>
          <a:p>
            <a:r>
              <a:rPr lang="en-US" sz="3200" dirty="0">
                <a:latin typeface="Segoe Sans Display Semibold" pitchFamily="2" charset="0"/>
                <a:cs typeface="Segoe Sans Display Semibold" pitchFamily="2" charset="0"/>
              </a:rPr>
              <a:t>Attacks have become more complex &amp; sophisticated</a:t>
            </a:r>
          </a:p>
        </p:txBody>
      </p:sp>
      <p:sp>
        <p:nvSpPr>
          <p:cNvPr id="2" name="Content Placeholder 1">
            <a:extLst>
              <a:ext uri="{FF2B5EF4-FFF2-40B4-BE49-F238E27FC236}">
                <a16:creationId xmlns:a16="http://schemas.microsoft.com/office/drawing/2014/main" id="{770235AB-5E85-EBD9-5895-B41B5ED37B03}"/>
              </a:ext>
            </a:extLst>
          </p:cNvPr>
          <p:cNvSpPr>
            <a:spLocks noGrp="1"/>
          </p:cNvSpPr>
          <p:nvPr>
            <p:ph idx="1"/>
          </p:nvPr>
        </p:nvSpPr>
        <p:spPr/>
        <p:txBody>
          <a:bodyPr/>
          <a:lstStyle/>
          <a:p>
            <a:endParaRPr lang="en-US"/>
          </a:p>
        </p:txBody>
      </p:sp>
      <p:sp>
        <p:nvSpPr>
          <p:cNvPr id="10" name="Rectangle 9">
            <a:extLst>
              <a:ext uri="{FF2B5EF4-FFF2-40B4-BE49-F238E27FC236}">
                <a16:creationId xmlns:a16="http://schemas.microsoft.com/office/drawing/2014/main" id="{218C67A3-34EF-830B-A04B-E8F4F047F55D}"/>
              </a:ext>
              <a:ext uri="{C183D7F6-B498-43B3-948B-1728B52AA6E4}">
                <adec:decorative xmlns:adec="http://schemas.microsoft.com/office/drawing/2017/decorative" val="1"/>
              </a:ext>
            </a:extLst>
          </p:cNvPr>
          <p:cNvSpPr/>
          <p:nvPr/>
        </p:nvSpPr>
        <p:spPr bwMode="auto">
          <a:xfrm flipH="1">
            <a:off x="585220" y="1538764"/>
            <a:ext cx="2664361" cy="3902057"/>
          </a:xfrm>
          <a:prstGeom prst="rect">
            <a:avLst/>
          </a:prstGeom>
          <a:gradFill flip="none" rotWithShape="1">
            <a:gsLst>
              <a:gs pos="100000">
                <a:schemeClr val="bg1">
                  <a:alpha val="95000"/>
                </a:schemeClr>
              </a:gs>
              <a:gs pos="42000">
                <a:schemeClr val="bg1">
                  <a:alpha val="90000"/>
                </a:schemeClr>
              </a:gs>
            </a:gsLst>
            <a:path path="circle">
              <a:fillToRect l="50000" t="50000" r="50000" b="50000"/>
            </a:path>
            <a:tileRect/>
          </a:gradFill>
          <a:ln w="9525" cap="flat" cmpd="sng" algn="ctr">
            <a:noFill/>
            <a:prstDash val="solid"/>
            <a:headEnd type="none" w="med" len="med"/>
            <a:tailEnd type="none" w="med" len="med"/>
          </a:ln>
          <a:effectLst>
            <a:outerShdw blurRad="254000" dist="190500" dir="3300000" algn="ctr" rotWithShape="0">
              <a:srgbClr val="000000">
                <a:alpha val="40000"/>
              </a:srgbClr>
            </a:outerShdw>
          </a:effectLst>
        </p:spPr>
        <p:txBody>
          <a:bodyPr rot="0" spcFirstLastPara="0" vertOverflow="overflow" horzOverflow="overflow" vert="horz" wrap="square" lIns="137160" tIns="91440" rIns="137160" bIns="137160" numCol="1" spcCol="0" rtlCol="0" fromWordArt="0" anchor="t" anchorCtr="0" forceAA="0" compatLnSpc="1">
            <a:prstTxWarp prst="textNoShape">
              <a:avLst/>
            </a:prstTxWarp>
            <a:noAutofit/>
          </a:bodyPr>
          <a:lstStyle/>
          <a:p>
            <a:pPr defTabSz="932754">
              <a:spcAft>
                <a:spcPts val="600"/>
              </a:spcAft>
              <a:buSzPct val="90000"/>
            </a:pPr>
            <a:endParaRPr lang="en-US" sz="1900" kern="0">
              <a:gradFill>
                <a:gsLst>
                  <a:gs pos="0">
                    <a:srgbClr val="091F2C"/>
                  </a:gs>
                  <a:gs pos="100000">
                    <a:srgbClr val="091F2C"/>
                  </a:gs>
                </a:gsLst>
                <a:lin ang="0" scaled="0"/>
              </a:gradFill>
              <a:cs typeface="Segoe Sans Display Semilight" pitchFamily="2" charset="0"/>
            </a:endParaRPr>
          </a:p>
        </p:txBody>
      </p:sp>
      <p:sp>
        <p:nvSpPr>
          <p:cNvPr id="16" name="Rectangle 15">
            <a:extLst>
              <a:ext uri="{FF2B5EF4-FFF2-40B4-BE49-F238E27FC236}">
                <a16:creationId xmlns:a16="http://schemas.microsoft.com/office/drawing/2014/main" id="{D6A24B51-3343-53DA-22B6-935AE9FAC25C}"/>
              </a:ext>
              <a:ext uri="{C183D7F6-B498-43B3-948B-1728B52AA6E4}">
                <adec:decorative xmlns:adec="http://schemas.microsoft.com/office/drawing/2017/decorative" val="1"/>
              </a:ext>
            </a:extLst>
          </p:cNvPr>
          <p:cNvSpPr/>
          <p:nvPr/>
        </p:nvSpPr>
        <p:spPr bwMode="auto">
          <a:xfrm flipH="1">
            <a:off x="3371459" y="1538764"/>
            <a:ext cx="2664361" cy="3902057"/>
          </a:xfrm>
          <a:prstGeom prst="rect">
            <a:avLst/>
          </a:prstGeom>
          <a:gradFill flip="none" rotWithShape="1">
            <a:gsLst>
              <a:gs pos="100000">
                <a:schemeClr val="bg1">
                  <a:alpha val="95000"/>
                </a:schemeClr>
              </a:gs>
              <a:gs pos="42000">
                <a:schemeClr val="bg1">
                  <a:alpha val="90000"/>
                </a:schemeClr>
              </a:gs>
            </a:gsLst>
            <a:path path="circle">
              <a:fillToRect l="50000" t="50000" r="50000" b="50000"/>
            </a:path>
            <a:tileRect/>
          </a:gradFill>
          <a:ln w="9525" cap="flat" cmpd="sng" algn="ctr">
            <a:noFill/>
            <a:prstDash val="solid"/>
            <a:headEnd type="none" w="med" len="med"/>
            <a:tailEnd type="none" w="med" len="med"/>
          </a:ln>
          <a:effectLst>
            <a:outerShdw blurRad="254000" dist="190500" dir="3300000" algn="ctr" rotWithShape="0">
              <a:srgbClr val="000000">
                <a:alpha val="40000"/>
              </a:srgbClr>
            </a:outerShdw>
          </a:effectLst>
        </p:spPr>
        <p:txBody>
          <a:bodyPr rot="0" spcFirstLastPara="0" vertOverflow="overflow" horzOverflow="overflow" vert="horz" wrap="square" lIns="137160" tIns="91440" rIns="137160" bIns="137160" numCol="1" spcCol="0" rtlCol="0" fromWordArt="0" anchor="t" anchorCtr="0" forceAA="0" compatLnSpc="1">
            <a:prstTxWarp prst="textNoShape">
              <a:avLst/>
            </a:prstTxWarp>
            <a:noAutofit/>
          </a:bodyPr>
          <a:lstStyle/>
          <a:p>
            <a:pPr defTabSz="932754">
              <a:spcAft>
                <a:spcPts val="600"/>
              </a:spcAft>
              <a:buSzPct val="90000"/>
            </a:pPr>
            <a:endParaRPr lang="en-US" sz="1900" kern="0">
              <a:gradFill>
                <a:gsLst>
                  <a:gs pos="0">
                    <a:srgbClr val="091F2C"/>
                  </a:gs>
                  <a:gs pos="100000">
                    <a:srgbClr val="091F2C"/>
                  </a:gs>
                </a:gsLst>
                <a:lin ang="0" scaled="0"/>
              </a:gradFill>
              <a:cs typeface="Segoe Sans Display Semilight" pitchFamily="2" charset="0"/>
            </a:endParaRPr>
          </a:p>
        </p:txBody>
      </p:sp>
      <p:sp>
        <p:nvSpPr>
          <p:cNvPr id="19" name="Rectangle 18">
            <a:extLst>
              <a:ext uri="{FF2B5EF4-FFF2-40B4-BE49-F238E27FC236}">
                <a16:creationId xmlns:a16="http://schemas.microsoft.com/office/drawing/2014/main" id="{02A6C7CD-6074-49CE-072B-316BDA6A12E1}"/>
              </a:ext>
              <a:ext uri="{C183D7F6-B498-43B3-948B-1728B52AA6E4}">
                <adec:decorative xmlns:adec="http://schemas.microsoft.com/office/drawing/2017/decorative" val="1"/>
              </a:ext>
            </a:extLst>
          </p:cNvPr>
          <p:cNvSpPr/>
          <p:nvPr/>
        </p:nvSpPr>
        <p:spPr bwMode="auto">
          <a:xfrm flipH="1">
            <a:off x="6157699" y="1538764"/>
            <a:ext cx="2664361" cy="3902057"/>
          </a:xfrm>
          <a:prstGeom prst="rect">
            <a:avLst/>
          </a:prstGeom>
          <a:gradFill flip="none" rotWithShape="1">
            <a:gsLst>
              <a:gs pos="100000">
                <a:schemeClr val="bg1">
                  <a:alpha val="95000"/>
                </a:schemeClr>
              </a:gs>
              <a:gs pos="42000">
                <a:schemeClr val="bg1">
                  <a:alpha val="90000"/>
                </a:schemeClr>
              </a:gs>
            </a:gsLst>
            <a:path path="circle">
              <a:fillToRect l="50000" t="50000" r="50000" b="50000"/>
            </a:path>
            <a:tileRect/>
          </a:gradFill>
          <a:ln w="9525" cap="flat" cmpd="sng" algn="ctr">
            <a:noFill/>
            <a:prstDash val="solid"/>
            <a:headEnd type="none" w="med" len="med"/>
            <a:tailEnd type="none" w="med" len="med"/>
          </a:ln>
          <a:effectLst>
            <a:outerShdw blurRad="254000" dist="190500" dir="3300000" algn="ctr" rotWithShape="0">
              <a:srgbClr val="000000">
                <a:alpha val="40000"/>
              </a:srgbClr>
            </a:outerShdw>
          </a:effectLst>
        </p:spPr>
        <p:txBody>
          <a:bodyPr rot="0" spcFirstLastPara="0" vertOverflow="overflow" horzOverflow="overflow" vert="horz" wrap="square" lIns="137160" tIns="91440" rIns="137160" bIns="137160" numCol="1" spcCol="0" rtlCol="0" fromWordArt="0" anchor="t" anchorCtr="0" forceAA="0" compatLnSpc="1">
            <a:prstTxWarp prst="textNoShape">
              <a:avLst/>
            </a:prstTxWarp>
            <a:noAutofit/>
          </a:bodyPr>
          <a:lstStyle/>
          <a:p>
            <a:pPr defTabSz="932754">
              <a:spcAft>
                <a:spcPts val="600"/>
              </a:spcAft>
              <a:buSzPct val="90000"/>
            </a:pPr>
            <a:endParaRPr lang="en-US" sz="1900" kern="0">
              <a:gradFill>
                <a:gsLst>
                  <a:gs pos="0">
                    <a:srgbClr val="091F2C"/>
                  </a:gs>
                  <a:gs pos="100000">
                    <a:srgbClr val="091F2C"/>
                  </a:gs>
                </a:gsLst>
                <a:lin ang="0" scaled="0"/>
              </a:gradFill>
              <a:cs typeface="Segoe Sans Display Semilight" pitchFamily="2" charset="0"/>
            </a:endParaRPr>
          </a:p>
        </p:txBody>
      </p:sp>
      <p:sp>
        <p:nvSpPr>
          <p:cNvPr id="21" name="Rectangle 20">
            <a:extLst>
              <a:ext uri="{FF2B5EF4-FFF2-40B4-BE49-F238E27FC236}">
                <a16:creationId xmlns:a16="http://schemas.microsoft.com/office/drawing/2014/main" id="{E05A529A-9E2B-B83B-AF3B-BB1C673F5D73}"/>
              </a:ext>
              <a:ext uri="{C183D7F6-B498-43B3-948B-1728B52AA6E4}">
                <adec:decorative xmlns:adec="http://schemas.microsoft.com/office/drawing/2017/decorative" val="1"/>
              </a:ext>
            </a:extLst>
          </p:cNvPr>
          <p:cNvSpPr/>
          <p:nvPr/>
        </p:nvSpPr>
        <p:spPr bwMode="auto">
          <a:xfrm flipH="1">
            <a:off x="8942418" y="1538764"/>
            <a:ext cx="2664361" cy="3902057"/>
          </a:xfrm>
          <a:prstGeom prst="rect">
            <a:avLst/>
          </a:prstGeom>
          <a:gradFill flip="none" rotWithShape="1">
            <a:gsLst>
              <a:gs pos="100000">
                <a:schemeClr val="bg1">
                  <a:alpha val="95000"/>
                </a:schemeClr>
              </a:gs>
              <a:gs pos="42000">
                <a:schemeClr val="bg1">
                  <a:alpha val="90000"/>
                </a:schemeClr>
              </a:gs>
            </a:gsLst>
            <a:path path="circle">
              <a:fillToRect l="50000" t="50000" r="50000" b="50000"/>
            </a:path>
            <a:tileRect/>
          </a:gradFill>
          <a:ln w="9525" cap="flat" cmpd="sng" algn="ctr">
            <a:noFill/>
            <a:prstDash val="solid"/>
            <a:headEnd type="none" w="med" len="med"/>
            <a:tailEnd type="none" w="med" len="med"/>
          </a:ln>
          <a:effectLst>
            <a:outerShdw blurRad="254000" dist="190500" dir="3300000" algn="ctr" rotWithShape="0">
              <a:srgbClr val="000000">
                <a:alpha val="40000"/>
              </a:srgbClr>
            </a:outerShdw>
          </a:effectLst>
        </p:spPr>
        <p:txBody>
          <a:bodyPr rot="0" spcFirstLastPara="0" vertOverflow="overflow" horzOverflow="overflow" vert="horz" wrap="square" lIns="137160" tIns="91440" rIns="137160" bIns="137160" numCol="1" spcCol="0" rtlCol="0" fromWordArt="0" anchor="t" anchorCtr="0" forceAA="0" compatLnSpc="1">
            <a:prstTxWarp prst="textNoShape">
              <a:avLst/>
            </a:prstTxWarp>
            <a:noAutofit/>
          </a:bodyPr>
          <a:lstStyle/>
          <a:p>
            <a:pPr defTabSz="932754">
              <a:spcAft>
                <a:spcPts val="600"/>
              </a:spcAft>
              <a:buSzPct val="90000"/>
            </a:pPr>
            <a:endParaRPr lang="en-US" sz="1900" kern="0">
              <a:gradFill>
                <a:gsLst>
                  <a:gs pos="0">
                    <a:srgbClr val="091F2C"/>
                  </a:gs>
                  <a:gs pos="100000">
                    <a:srgbClr val="091F2C"/>
                  </a:gs>
                </a:gsLst>
                <a:lin ang="0" scaled="0"/>
              </a:gradFill>
              <a:cs typeface="Segoe Sans Display Semilight" pitchFamily="2" charset="0"/>
            </a:endParaRPr>
          </a:p>
        </p:txBody>
      </p:sp>
      <p:sp>
        <p:nvSpPr>
          <p:cNvPr id="28" name="Rectangle 27">
            <a:extLst>
              <a:ext uri="{FF2B5EF4-FFF2-40B4-BE49-F238E27FC236}">
                <a16:creationId xmlns:a16="http://schemas.microsoft.com/office/drawing/2014/main" id="{B07C9A07-6769-AE8E-DDED-19FE6B4B5F34}"/>
              </a:ext>
              <a:ext uri="{C183D7F6-B498-43B3-948B-1728B52AA6E4}">
                <adec:decorative xmlns:adec="http://schemas.microsoft.com/office/drawing/2017/decorative" val="1"/>
              </a:ext>
            </a:extLst>
          </p:cNvPr>
          <p:cNvSpPr/>
          <p:nvPr/>
        </p:nvSpPr>
        <p:spPr bwMode="auto">
          <a:xfrm flipH="1">
            <a:off x="585220" y="1538764"/>
            <a:ext cx="2664361" cy="3902057"/>
          </a:xfrm>
          <a:prstGeom prst="rect">
            <a:avLst/>
          </a:prstGeom>
          <a:solidFill>
            <a:schemeClr val="bg1"/>
          </a:solidFill>
          <a:ln w="6350" cap="flat" cmpd="sng" algn="ctr">
            <a:noFill/>
            <a:prstDash val="solid"/>
            <a:headEnd type="none" w="med" len="med"/>
            <a:tailEnd type="none" w="med" len="med"/>
          </a:ln>
          <a:effectLst>
            <a:innerShdw blurRad="1270000" dist="508000" dir="18600000">
              <a:srgbClr val="599FFD">
                <a:alpha val="20000"/>
              </a:srgbClr>
            </a:innerShdw>
          </a:effectLst>
        </p:spPr>
        <p:txBody>
          <a:bodyPr rot="0" spcFirstLastPara="0" vertOverflow="overflow" horzOverflow="overflow" vert="horz" wrap="square" lIns="182880" tIns="1737360" rIns="182880" bIns="548640" numCol="1" spcCol="0" rtlCol="0" fromWordArt="0" anchor="ctr" anchorCtr="0" forceAA="0" compatLnSpc="1">
            <a:prstTxWarp prst="textNoShape">
              <a:avLst/>
            </a:prstTxWarp>
            <a:noAutofit/>
          </a:bodyPr>
          <a:lstStyle/>
          <a:p>
            <a:pPr algn="ctr" defTabSz="1403951" fontAlgn="base">
              <a:spcBef>
                <a:spcPct val="0"/>
              </a:spcBef>
              <a:spcAft>
                <a:spcPts val="300"/>
              </a:spcAft>
            </a:pPr>
            <a:endParaRPr lang="en-US" sz="2400" kern="0">
              <a:solidFill>
                <a:srgbClr val="FFFFFF"/>
              </a:solidFill>
              <a:cs typeface="Segoe UI Semibold"/>
            </a:endParaRPr>
          </a:p>
        </p:txBody>
      </p:sp>
      <p:sp>
        <p:nvSpPr>
          <p:cNvPr id="31" name="Rectangle 30">
            <a:extLst>
              <a:ext uri="{FF2B5EF4-FFF2-40B4-BE49-F238E27FC236}">
                <a16:creationId xmlns:a16="http://schemas.microsoft.com/office/drawing/2014/main" id="{CA4A1DB1-329E-F45B-3F34-E2992200E02B}"/>
              </a:ext>
              <a:ext uri="{C183D7F6-B498-43B3-948B-1728B52AA6E4}">
                <adec:decorative xmlns:adec="http://schemas.microsoft.com/office/drawing/2017/decorative" val="1"/>
              </a:ext>
            </a:extLst>
          </p:cNvPr>
          <p:cNvSpPr/>
          <p:nvPr/>
        </p:nvSpPr>
        <p:spPr bwMode="auto">
          <a:xfrm flipH="1">
            <a:off x="3371459" y="1538764"/>
            <a:ext cx="2664361" cy="3902057"/>
          </a:xfrm>
          <a:prstGeom prst="rect">
            <a:avLst/>
          </a:prstGeom>
          <a:solidFill>
            <a:schemeClr val="bg1"/>
          </a:solidFill>
          <a:ln w="6350" cap="flat" cmpd="sng" algn="ctr">
            <a:noFill/>
            <a:prstDash val="solid"/>
            <a:headEnd type="none" w="med" len="med"/>
            <a:tailEnd type="none" w="med" len="med"/>
          </a:ln>
          <a:effectLst>
            <a:innerShdw blurRad="1270000" dist="508000" dir="18600000">
              <a:srgbClr val="599FFD">
                <a:alpha val="20000"/>
              </a:srgbClr>
            </a:innerShdw>
          </a:effectLst>
        </p:spPr>
        <p:txBody>
          <a:bodyPr rot="0" spcFirstLastPara="0" vertOverflow="overflow" horzOverflow="overflow" vert="horz" wrap="square" lIns="182880" tIns="1737360" rIns="182880" bIns="548640" numCol="1" spcCol="0" rtlCol="0" fromWordArt="0" anchor="ctr" anchorCtr="0" forceAA="0" compatLnSpc="1">
            <a:prstTxWarp prst="textNoShape">
              <a:avLst/>
            </a:prstTxWarp>
            <a:noAutofit/>
          </a:bodyPr>
          <a:lstStyle/>
          <a:p>
            <a:pPr algn="ctr" defTabSz="1403951" fontAlgn="base">
              <a:spcBef>
                <a:spcPct val="0"/>
              </a:spcBef>
              <a:spcAft>
                <a:spcPts val="300"/>
              </a:spcAft>
            </a:pPr>
            <a:endParaRPr lang="en-US" sz="2400" kern="0">
              <a:solidFill>
                <a:srgbClr val="FFFFFF"/>
              </a:solidFill>
              <a:cs typeface="Segoe UI Semibold"/>
            </a:endParaRPr>
          </a:p>
        </p:txBody>
      </p:sp>
      <p:sp>
        <p:nvSpPr>
          <p:cNvPr id="33" name="Rectangle 32">
            <a:extLst>
              <a:ext uri="{FF2B5EF4-FFF2-40B4-BE49-F238E27FC236}">
                <a16:creationId xmlns:a16="http://schemas.microsoft.com/office/drawing/2014/main" id="{9D7C8AF4-F826-37A0-5531-61593FBE1087}"/>
              </a:ext>
              <a:ext uri="{C183D7F6-B498-43B3-948B-1728B52AA6E4}">
                <adec:decorative xmlns:adec="http://schemas.microsoft.com/office/drawing/2017/decorative" val="1"/>
              </a:ext>
            </a:extLst>
          </p:cNvPr>
          <p:cNvSpPr/>
          <p:nvPr/>
        </p:nvSpPr>
        <p:spPr bwMode="auto">
          <a:xfrm flipH="1">
            <a:off x="6157699" y="1538764"/>
            <a:ext cx="2664361" cy="3902057"/>
          </a:xfrm>
          <a:prstGeom prst="rect">
            <a:avLst/>
          </a:prstGeom>
          <a:solidFill>
            <a:schemeClr val="bg1"/>
          </a:solidFill>
          <a:ln w="6350" cap="flat" cmpd="sng" algn="ctr">
            <a:noFill/>
            <a:prstDash val="solid"/>
            <a:headEnd type="none" w="med" len="med"/>
            <a:tailEnd type="none" w="med" len="med"/>
          </a:ln>
          <a:effectLst>
            <a:innerShdw blurRad="1270000" dist="508000" dir="18600000">
              <a:srgbClr val="599FFD">
                <a:alpha val="20000"/>
              </a:srgbClr>
            </a:innerShdw>
          </a:effectLst>
        </p:spPr>
        <p:txBody>
          <a:bodyPr rot="0" spcFirstLastPara="0" vertOverflow="overflow" horzOverflow="overflow" vert="horz" wrap="square" lIns="182880" tIns="1737360" rIns="182880" bIns="548640" numCol="1" spcCol="0" rtlCol="0" fromWordArt="0" anchor="ctr" anchorCtr="0" forceAA="0" compatLnSpc="1">
            <a:prstTxWarp prst="textNoShape">
              <a:avLst/>
            </a:prstTxWarp>
            <a:noAutofit/>
          </a:bodyPr>
          <a:lstStyle/>
          <a:p>
            <a:pPr algn="ctr" defTabSz="1403951" fontAlgn="base">
              <a:spcBef>
                <a:spcPct val="0"/>
              </a:spcBef>
              <a:spcAft>
                <a:spcPts val="300"/>
              </a:spcAft>
            </a:pPr>
            <a:endParaRPr lang="en-US" sz="2400" kern="0">
              <a:solidFill>
                <a:srgbClr val="FFFFFF"/>
              </a:solidFill>
              <a:cs typeface="Segoe UI Semibold"/>
            </a:endParaRPr>
          </a:p>
        </p:txBody>
      </p:sp>
      <p:sp>
        <p:nvSpPr>
          <p:cNvPr id="37" name="Rectangle 36">
            <a:extLst>
              <a:ext uri="{FF2B5EF4-FFF2-40B4-BE49-F238E27FC236}">
                <a16:creationId xmlns:a16="http://schemas.microsoft.com/office/drawing/2014/main" id="{A78B1818-C3A9-B80F-C62F-758ADD08715C}"/>
              </a:ext>
              <a:ext uri="{C183D7F6-B498-43B3-948B-1728B52AA6E4}">
                <adec:decorative xmlns:adec="http://schemas.microsoft.com/office/drawing/2017/decorative" val="1"/>
              </a:ext>
            </a:extLst>
          </p:cNvPr>
          <p:cNvSpPr/>
          <p:nvPr/>
        </p:nvSpPr>
        <p:spPr bwMode="auto">
          <a:xfrm flipH="1">
            <a:off x="8942418" y="1538764"/>
            <a:ext cx="2664361" cy="3902057"/>
          </a:xfrm>
          <a:prstGeom prst="rect">
            <a:avLst/>
          </a:prstGeom>
          <a:solidFill>
            <a:schemeClr val="bg1"/>
          </a:solidFill>
          <a:ln w="6350" cap="flat" cmpd="sng" algn="ctr">
            <a:noFill/>
            <a:prstDash val="solid"/>
            <a:headEnd type="none" w="med" len="med"/>
            <a:tailEnd type="none" w="med" len="med"/>
          </a:ln>
          <a:effectLst>
            <a:innerShdw blurRad="1270000" dist="508000" dir="18600000">
              <a:srgbClr val="599FFD">
                <a:alpha val="20000"/>
              </a:srgbClr>
            </a:innerShdw>
          </a:effectLst>
        </p:spPr>
        <p:txBody>
          <a:bodyPr rot="0" spcFirstLastPara="0" vertOverflow="overflow" horzOverflow="overflow" vert="horz" wrap="square" lIns="182880" tIns="1737360" rIns="182880" bIns="548640" numCol="1" spcCol="0" rtlCol="0" fromWordArt="0" anchor="ctr" anchorCtr="0" forceAA="0" compatLnSpc="1">
            <a:prstTxWarp prst="textNoShape">
              <a:avLst/>
            </a:prstTxWarp>
            <a:noAutofit/>
          </a:bodyPr>
          <a:lstStyle/>
          <a:p>
            <a:pPr algn="ctr" defTabSz="1403951" fontAlgn="base">
              <a:spcBef>
                <a:spcPct val="0"/>
              </a:spcBef>
              <a:spcAft>
                <a:spcPts val="300"/>
              </a:spcAft>
            </a:pPr>
            <a:endParaRPr lang="en-US" sz="2400" kern="0">
              <a:solidFill>
                <a:srgbClr val="FFFFFF"/>
              </a:solidFill>
              <a:cs typeface="Segoe UI Semibold"/>
            </a:endParaRPr>
          </a:p>
        </p:txBody>
      </p:sp>
      <p:sp>
        <p:nvSpPr>
          <p:cNvPr id="40" name="Rectangle 39">
            <a:extLst>
              <a:ext uri="{FF2B5EF4-FFF2-40B4-BE49-F238E27FC236}">
                <a16:creationId xmlns:a16="http://schemas.microsoft.com/office/drawing/2014/main" id="{9D045118-1A45-C824-5627-CB168F93A2A1}"/>
              </a:ext>
              <a:ext uri="{C183D7F6-B498-43B3-948B-1728B52AA6E4}">
                <adec:decorative xmlns:adec="http://schemas.microsoft.com/office/drawing/2017/decorative" val="1"/>
              </a:ext>
            </a:extLst>
          </p:cNvPr>
          <p:cNvSpPr/>
          <p:nvPr/>
        </p:nvSpPr>
        <p:spPr bwMode="auto">
          <a:xfrm>
            <a:off x="585220" y="1538764"/>
            <a:ext cx="2664360" cy="27432"/>
          </a:xfrm>
          <a:prstGeom prst="rect">
            <a:avLst/>
          </a:prstGeom>
          <a:gradFill>
            <a:gsLst>
              <a:gs pos="0">
                <a:srgbClr val="599FFD"/>
              </a:gs>
              <a:gs pos="85000">
                <a:srgbClr val="FADC14"/>
              </a:gs>
            </a:gsLst>
            <a:lin ang="2700000" scaled="1"/>
          </a:gradFill>
          <a:ln w="19050" cap="flat" cmpd="sng" algn="ctr">
            <a:noFill/>
            <a:prstDash val="solid"/>
            <a:headEnd type="none" w="med" len="sm"/>
            <a:tailEnd type="arrow" w="lg" len="med"/>
          </a:ln>
          <a:effectLst/>
        </p:spPr>
        <p:txBody>
          <a:bodyPr rot="0" spcFirstLastPara="0" vertOverflow="overflow" horzOverflow="overflow" vert="horz" wrap="square" lIns="137160" tIns="91440" rIns="137160" bIns="137160" numCol="1" spcCol="0" rtlCol="0" fromWordArt="0" anchor="ctr" anchorCtr="0" forceAA="0" compatLnSpc="1">
            <a:prstTxWarp prst="textNoShape">
              <a:avLst/>
            </a:prstTxWarp>
            <a:noAutofit/>
          </a:bodyPr>
          <a:lstStyle/>
          <a:p>
            <a:pPr defTabSz="932754">
              <a:spcAft>
                <a:spcPts val="600"/>
              </a:spcAft>
              <a:buSzPct val="90000"/>
            </a:pPr>
            <a:endParaRPr lang="en-US" sz="1900" kern="0" err="1">
              <a:solidFill>
                <a:srgbClr val="FFFFFF"/>
              </a:solidFill>
              <a:cs typeface="Segoe Sans Display Semilight" pitchFamily="2" charset="0"/>
            </a:endParaRPr>
          </a:p>
        </p:txBody>
      </p:sp>
      <p:sp>
        <p:nvSpPr>
          <p:cNvPr id="42" name="Rectangle 41">
            <a:extLst>
              <a:ext uri="{FF2B5EF4-FFF2-40B4-BE49-F238E27FC236}">
                <a16:creationId xmlns:a16="http://schemas.microsoft.com/office/drawing/2014/main" id="{ED1CC13C-B036-5D83-51D2-3C508E3C0AE9}"/>
              </a:ext>
              <a:ext uri="{C183D7F6-B498-43B3-948B-1728B52AA6E4}">
                <adec:decorative xmlns:adec="http://schemas.microsoft.com/office/drawing/2017/decorative" val="1"/>
              </a:ext>
            </a:extLst>
          </p:cNvPr>
          <p:cNvSpPr/>
          <p:nvPr/>
        </p:nvSpPr>
        <p:spPr bwMode="auto">
          <a:xfrm>
            <a:off x="3371460" y="1538764"/>
            <a:ext cx="2664360" cy="27432"/>
          </a:xfrm>
          <a:prstGeom prst="rect">
            <a:avLst/>
          </a:prstGeom>
          <a:gradFill>
            <a:gsLst>
              <a:gs pos="0">
                <a:srgbClr val="599FFD"/>
              </a:gs>
              <a:gs pos="85000">
                <a:srgbClr val="FADC14"/>
              </a:gs>
            </a:gsLst>
            <a:lin ang="2700000" scaled="1"/>
          </a:gradFill>
          <a:ln w="19050" cap="flat" cmpd="sng" algn="ctr">
            <a:noFill/>
            <a:prstDash val="solid"/>
            <a:headEnd type="none" w="med" len="sm"/>
            <a:tailEnd type="arrow" w="lg" len="med"/>
          </a:ln>
          <a:effectLst/>
        </p:spPr>
        <p:txBody>
          <a:bodyPr rot="0" spcFirstLastPara="0" vertOverflow="overflow" horzOverflow="overflow" vert="horz" wrap="square" lIns="137160" tIns="91440" rIns="137160" bIns="137160" numCol="1" spcCol="0" rtlCol="0" fromWordArt="0" anchor="ctr" anchorCtr="0" forceAA="0" compatLnSpc="1">
            <a:prstTxWarp prst="textNoShape">
              <a:avLst/>
            </a:prstTxWarp>
            <a:noAutofit/>
          </a:bodyPr>
          <a:lstStyle/>
          <a:p>
            <a:pPr defTabSz="932754">
              <a:spcAft>
                <a:spcPts val="600"/>
              </a:spcAft>
              <a:buSzPct val="90000"/>
            </a:pPr>
            <a:endParaRPr lang="en-US" sz="1900" kern="0" err="1">
              <a:solidFill>
                <a:srgbClr val="FFFFFF"/>
              </a:solidFill>
              <a:cs typeface="Segoe Sans Display Semilight" pitchFamily="2" charset="0"/>
            </a:endParaRPr>
          </a:p>
        </p:txBody>
      </p:sp>
      <p:sp>
        <p:nvSpPr>
          <p:cNvPr id="50" name="Rectangle 49">
            <a:extLst>
              <a:ext uri="{FF2B5EF4-FFF2-40B4-BE49-F238E27FC236}">
                <a16:creationId xmlns:a16="http://schemas.microsoft.com/office/drawing/2014/main" id="{D347D793-9A53-47AE-98BC-5FEACDECDDCC}"/>
              </a:ext>
              <a:ext uri="{C183D7F6-B498-43B3-948B-1728B52AA6E4}">
                <adec:decorative xmlns:adec="http://schemas.microsoft.com/office/drawing/2017/decorative" val="1"/>
              </a:ext>
            </a:extLst>
          </p:cNvPr>
          <p:cNvSpPr/>
          <p:nvPr/>
        </p:nvSpPr>
        <p:spPr bwMode="auto">
          <a:xfrm>
            <a:off x="6157700" y="1538764"/>
            <a:ext cx="2664360" cy="27432"/>
          </a:xfrm>
          <a:prstGeom prst="rect">
            <a:avLst/>
          </a:prstGeom>
          <a:gradFill>
            <a:gsLst>
              <a:gs pos="0">
                <a:srgbClr val="599FFD"/>
              </a:gs>
              <a:gs pos="85000">
                <a:srgbClr val="FADC14"/>
              </a:gs>
            </a:gsLst>
            <a:lin ang="2700000" scaled="1"/>
          </a:gradFill>
          <a:ln w="19050" cap="flat" cmpd="sng" algn="ctr">
            <a:noFill/>
            <a:prstDash val="solid"/>
            <a:headEnd type="none" w="med" len="sm"/>
            <a:tailEnd type="arrow" w="lg" len="med"/>
          </a:ln>
          <a:effectLst/>
        </p:spPr>
        <p:txBody>
          <a:bodyPr rot="0" spcFirstLastPara="0" vertOverflow="overflow" horzOverflow="overflow" vert="horz" wrap="square" lIns="137160" tIns="91440" rIns="137160" bIns="137160" numCol="1" spcCol="0" rtlCol="0" fromWordArt="0" anchor="ctr" anchorCtr="0" forceAA="0" compatLnSpc="1">
            <a:prstTxWarp prst="textNoShape">
              <a:avLst/>
            </a:prstTxWarp>
            <a:noAutofit/>
          </a:bodyPr>
          <a:lstStyle/>
          <a:p>
            <a:pPr defTabSz="932754">
              <a:spcAft>
                <a:spcPts val="600"/>
              </a:spcAft>
              <a:buSzPct val="90000"/>
            </a:pPr>
            <a:endParaRPr lang="en-US" sz="1900" kern="0" err="1">
              <a:solidFill>
                <a:srgbClr val="FFFFFF"/>
              </a:solidFill>
              <a:cs typeface="Segoe Sans Display Semilight" pitchFamily="2" charset="0"/>
            </a:endParaRPr>
          </a:p>
        </p:txBody>
      </p:sp>
      <p:sp>
        <p:nvSpPr>
          <p:cNvPr id="51" name="Rectangle 50">
            <a:extLst>
              <a:ext uri="{FF2B5EF4-FFF2-40B4-BE49-F238E27FC236}">
                <a16:creationId xmlns:a16="http://schemas.microsoft.com/office/drawing/2014/main" id="{1C5BC6DF-E02A-5366-E2A2-97386A115AE5}"/>
              </a:ext>
              <a:ext uri="{C183D7F6-B498-43B3-948B-1728B52AA6E4}">
                <adec:decorative xmlns:adec="http://schemas.microsoft.com/office/drawing/2017/decorative" val="1"/>
              </a:ext>
            </a:extLst>
          </p:cNvPr>
          <p:cNvSpPr/>
          <p:nvPr/>
        </p:nvSpPr>
        <p:spPr bwMode="auto">
          <a:xfrm>
            <a:off x="8942419" y="1538764"/>
            <a:ext cx="2664360" cy="27432"/>
          </a:xfrm>
          <a:prstGeom prst="rect">
            <a:avLst/>
          </a:prstGeom>
          <a:gradFill>
            <a:gsLst>
              <a:gs pos="0">
                <a:srgbClr val="599FFD"/>
              </a:gs>
              <a:gs pos="85000">
                <a:srgbClr val="FADC14"/>
              </a:gs>
            </a:gsLst>
            <a:lin ang="2700000" scaled="1"/>
          </a:gradFill>
          <a:ln w="19050" cap="flat" cmpd="sng" algn="ctr">
            <a:noFill/>
            <a:prstDash val="solid"/>
            <a:headEnd type="none" w="med" len="sm"/>
            <a:tailEnd type="arrow" w="lg" len="med"/>
          </a:ln>
          <a:effectLst/>
        </p:spPr>
        <p:txBody>
          <a:bodyPr rot="0" spcFirstLastPara="0" vertOverflow="overflow" horzOverflow="overflow" vert="horz" wrap="square" lIns="137160" tIns="91440" rIns="137160" bIns="137160" numCol="1" spcCol="0" rtlCol="0" fromWordArt="0" anchor="ctr" anchorCtr="0" forceAA="0" compatLnSpc="1">
            <a:prstTxWarp prst="textNoShape">
              <a:avLst/>
            </a:prstTxWarp>
            <a:noAutofit/>
          </a:bodyPr>
          <a:lstStyle/>
          <a:p>
            <a:pPr defTabSz="932754">
              <a:spcAft>
                <a:spcPts val="600"/>
              </a:spcAft>
              <a:buSzPct val="90000"/>
            </a:pPr>
            <a:endParaRPr lang="en-US" sz="1900" kern="0" err="1">
              <a:solidFill>
                <a:srgbClr val="FFFFFF"/>
              </a:solidFill>
              <a:cs typeface="Segoe Sans Display Semilight" pitchFamily="2" charset="0"/>
            </a:endParaRPr>
          </a:p>
        </p:txBody>
      </p:sp>
      <p:sp>
        <p:nvSpPr>
          <p:cNvPr id="52" name="TextBox 51">
            <a:extLst>
              <a:ext uri="{FF2B5EF4-FFF2-40B4-BE49-F238E27FC236}">
                <a16:creationId xmlns:a16="http://schemas.microsoft.com/office/drawing/2014/main" id="{78820008-7753-1BF7-E752-B4DEE149E791}"/>
              </a:ext>
            </a:extLst>
          </p:cNvPr>
          <p:cNvSpPr txBox="1"/>
          <p:nvPr/>
        </p:nvSpPr>
        <p:spPr>
          <a:xfrm>
            <a:off x="762940" y="3347057"/>
            <a:ext cx="2308921" cy="492443"/>
          </a:xfrm>
          <a:prstGeom prst="rect">
            <a:avLst/>
          </a:prstGeom>
          <a:noFill/>
          <a:ln w="1079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effectLst/>
                <a:uLnTx/>
                <a:uFillTx/>
                <a:latin typeface="Segoe Sans Display Semibold"/>
                <a:ea typeface="+mn-ea"/>
                <a:cs typeface="Segoe UI Semibold" panose="020B0502040204020203" pitchFamily="34" charset="0"/>
              </a:rPr>
              <a:t>Unaddressed internet attack paths</a:t>
            </a:r>
            <a:endParaRPr kumimoji="0" lang="en-US" sz="1600" b="0" i="0" u="none" strike="noStrike" kern="0" cap="none" spc="0" normalizeH="0" baseline="0" noProof="0">
              <a:ln>
                <a:noFill/>
              </a:ln>
              <a:effectLst/>
              <a:uLnTx/>
              <a:uFillTx/>
              <a:latin typeface="Segoe Sans Display Semibold"/>
              <a:ea typeface="+mn-ea"/>
              <a:cs typeface="Segoe UI" panose="020B0502040204020203" pitchFamily="34" charset="0"/>
            </a:endParaRPr>
          </a:p>
        </p:txBody>
      </p:sp>
      <p:sp>
        <p:nvSpPr>
          <p:cNvPr id="53" name="TextBox 52">
            <a:extLst>
              <a:ext uri="{FF2B5EF4-FFF2-40B4-BE49-F238E27FC236}">
                <a16:creationId xmlns:a16="http://schemas.microsoft.com/office/drawing/2014/main" id="{5374F038-7808-0206-78FA-07049DDAB54C}"/>
              </a:ext>
            </a:extLst>
          </p:cNvPr>
          <p:cNvSpPr txBox="1"/>
          <p:nvPr/>
        </p:nvSpPr>
        <p:spPr>
          <a:xfrm>
            <a:off x="820120" y="3964280"/>
            <a:ext cx="2194560" cy="1015663"/>
          </a:xfrm>
          <a:prstGeom prst="rect">
            <a:avLst/>
          </a:prstGeom>
          <a:noFill/>
        </p:spPr>
        <p:txBody>
          <a:bodyPr wrap="square">
            <a:spAutoFit/>
          </a:bodyPr>
          <a:lstStyle/>
          <a:p>
            <a:pPr algn="ctr">
              <a:defRPr/>
            </a:pPr>
            <a:r>
              <a:rPr lang="en-US" sz="3200">
                <a:ln w="3175">
                  <a:noFill/>
                </a:ln>
                <a:gradFill flip="none" rotWithShape="1">
                  <a:gsLst>
                    <a:gs pos="100000">
                      <a:srgbClr val="599FFD"/>
                    </a:gs>
                    <a:gs pos="42000">
                      <a:srgbClr val="0360DB"/>
                    </a:gs>
                  </a:gsLst>
                  <a:lin ang="2700000" scaled="1"/>
                  <a:tileRect/>
                </a:gradFill>
                <a:latin typeface="Segoe Sans Display Semibold"/>
                <a:cs typeface="Segoe UI" panose="020B0502040204020203" pitchFamily="34" charset="0"/>
              </a:rPr>
              <a:t>84%</a:t>
            </a:r>
            <a:br>
              <a:rPr lang="en-US" sz="3200">
                <a:latin typeface="Segoe UI" panose="020B0502040204020203" pitchFamily="34" charset="0"/>
                <a:cs typeface="Segoe UI" panose="020B0502040204020203" pitchFamily="34" charset="0"/>
              </a:rPr>
            </a:br>
            <a:r>
              <a:rPr lang="en-US" sz="1400">
                <a:cs typeface="Segoe UI" panose="020B0502040204020203" pitchFamily="34" charset="0"/>
              </a:rPr>
              <a:t>of attack paths involve internet exposure</a:t>
            </a:r>
          </a:p>
        </p:txBody>
      </p:sp>
      <p:sp>
        <p:nvSpPr>
          <p:cNvPr id="54" name="TextBox 53">
            <a:extLst>
              <a:ext uri="{FF2B5EF4-FFF2-40B4-BE49-F238E27FC236}">
                <a16:creationId xmlns:a16="http://schemas.microsoft.com/office/drawing/2014/main" id="{4882D4CE-AB81-09C7-AA37-00251111259B}"/>
              </a:ext>
            </a:extLst>
          </p:cNvPr>
          <p:cNvSpPr txBox="1"/>
          <p:nvPr/>
        </p:nvSpPr>
        <p:spPr>
          <a:xfrm>
            <a:off x="3549179" y="3347057"/>
            <a:ext cx="2308921" cy="492443"/>
          </a:xfrm>
          <a:prstGeom prst="rect">
            <a:avLst/>
          </a:prstGeom>
          <a:noFill/>
          <a:ln w="1079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effectLst/>
                <a:uLnTx/>
                <a:uFillTx/>
                <a:latin typeface="Segoe Sans Display Semibold"/>
                <a:ea typeface="+mn-ea"/>
              </a:rPr>
              <a:t>Unaddressed identity attack paths​</a:t>
            </a:r>
            <a:endParaRPr kumimoji="0" lang="en-US" sz="1600" b="0" i="0" u="none" strike="noStrike" kern="0" cap="none" spc="0" normalizeH="0" baseline="0" noProof="0">
              <a:ln>
                <a:noFill/>
              </a:ln>
              <a:effectLst/>
              <a:uLnTx/>
              <a:uFillTx/>
              <a:latin typeface="Segoe Sans Display Semibold"/>
              <a:ea typeface="+mn-ea"/>
              <a:cs typeface="Segoe UI" panose="020B0502040204020203" pitchFamily="34" charset="0"/>
            </a:endParaRPr>
          </a:p>
        </p:txBody>
      </p:sp>
      <p:sp>
        <p:nvSpPr>
          <p:cNvPr id="56" name="TextBox 55">
            <a:extLst>
              <a:ext uri="{FF2B5EF4-FFF2-40B4-BE49-F238E27FC236}">
                <a16:creationId xmlns:a16="http://schemas.microsoft.com/office/drawing/2014/main" id="{668D3A8C-6FFA-17E8-94A7-6B8D1E0D74B3}"/>
              </a:ext>
            </a:extLst>
          </p:cNvPr>
          <p:cNvSpPr txBox="1"/>
          <p:nvPr/>
        </p:nvSpPr>
        <p:spPr>
          <a:xfrm>
            <a:off x="3606359" y="3964280"/>
            <a:ext cx="2194560" cy="1015663"/>
          </a:xfrm>
          <a:prstGeom prst="rect">
            <a:avLst/>
          </a:prstGeom>
          <a:noFill/>
        </p:spPr>
        <p:txBody>
          <a:bodyPr wrap="square">
            <a:spAutoFit/>
          </a:bodyPr>
          <a:lstStyle/>
          <a:p>
            <a:pPr algn="ctr">
              <a:defRPr/>
            </a:pPr>
            <a:r>
              <a:rPr lang="en-US" sz="3200">
                <a:ln w="3175">
                  <a:noFill/>
                </a:ln>
                <a:gradFill flip="none" rotWithShape="1">
                  <a:gsLst>
                    <a:gs pos="100000">
                      <a:srgbClr val="599FFD"/>
                    </a:gs>
                    <a:gs pos="42000">
                      <a:srgbClr val="0360DB"/>
                    </a:gs>
                  </a:gsLst>
                  <a:lin ang="2700000" scaled="1"/>
                  <a:tileRect/>
                </a:gradFill>
                <a:latin typeface="Segoe Sans Display Semibold"/>
                <a:cs typeface="Segoe UI" panose="020B0502040204020203" pitchFamily="34" charset="0"/>
              </a:rPr>
              <a:t>66% ​</a:t>
            </a:r>
            <a:br>
              <a:rPr lang="en-US" sz="3200">
                <a:ln w="3175">
                  <a:noFill/>
                </a:ln>
                <a:gradFill flip="none" rotWithShape="1">
                  <a:gsLst>
                    <a:gs pos="100000">
                      <a:srgbClr val="599FFD"/>
                    </a:gs>
                    <a:gs pos="42000">
                      <a:srgbClr val="0360DB"/>
                    </a:gs>
                  </a:gsLst>
                  <a:lin ang="2700000" scaled="1"/>
                  <a:tileRect/>
                </a:gradFill>
                <a:latin typeface="Segoe Sans Display Semibold"/>
                <a:cs typeface="Segoe UI" panose="020B0502040204020203" pitchFamily="34" charset="0"/>
              </a:rPr>
            </a:br>
            <a:r>
              <a:rPr lang="en-US" sz="1400">
                <a:cs typeface="Segoe UI" panose="020B0502040204020203" pitchFamily="34" charset="0"/>
              </a:rPr>
              <a:t>of attach paths involve identity compromise​</a:t>
            </a:r>
          </a:p>
        </p:txBody>
      </p:sp>
      <p:sp>
        <p:nvSpPr>
          <p:cNvPr id="57" name="TextBox 56">
            <a:extLst>
              <a:ext uri="{FF2B5EF4-FFF2-40B4-BE49-F238E27FC236}">
                <a16:creationId xmlns:a16="http://schemas.microsoft.com/office/drawing/2014/main" id="{1F4903FC-1130-1C71-9FED-FD381B6AF234}"/>
              </a:ext>
            </a:extLst>
          </p:cNvPr>
          <p:cNvSpPr txBox="1"/>
          <p:nvPr/>
        </p:nvSpPr>
        <p:spPr>
          <a:xfrm>
            <a:off x="6335419" y="3347057"/>
            <a:ext cx="2308921" cy="492443"/>
          </a:xfrm>
          <a:prstGeom prst="rect">
            <a:avLst/>
          </a:prstGeom>
          <a:noFill/>
          <a:ln w="1079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effectLst/>
                <a:uLnTx/>
                <a:uFillTx/>
                <a:latin typeface="Segoe Sans Display Semibold"/>
                <a:ea typeface="+mn-ea"/>
                <a:cs typeface="Segoe UI Semibold" panose="020B0502040204020203" pitchFamily="34" charset="0"/>
              </a:rPr>
              <a:t>Increase in </a:t>
            </a:r>
            <a:br>
              <a:rPr kumimoji="0" lang="en-US" sz="1600" b="1" i="0" u="none" strike="noStrike" kern="0" cap="none" spc="0" normalizeH="0" baseline="0" noProof="0">
                <a:ln>
                  <a:noFill/>
                </a:ln>
                <a:effectLst/>
                <a:uLnTx/>
                <a:uFillTx/>
                <a:latin typeface="Segoe Sans Display Semibold"/>
                <a:ea typeface="+mn-ea"/>
                <a:cs typeface="Segoe UI Semibold" panose="020B0502040204020203" pitchFamily="34" charset="0"/>
              </a:rPr>
            </a:br>
            <a:r>
              <a:rPr kumimoji="0" lang="en-US" sz="1600" b="1" i="0" u="none" strike="noStrike" kern="0" cap="none" spc="0" normalizeH="0" baseline="0" noProof="0">
                <a:ln>
                  <a:noFill/>
                </a:ln>
                <a:effectLst/>
                <a:uLnTx/>
                <a:uFillTx/>
                <a:latin typeface="Segoe Sans Display Semibold"/>
                <a:ea typeface="+mn-ea"/>
                <a:cs typeface="Segoe UI Semibold" panose="020B0502040204020203" pitchFamily="34" charset="0"/>
              </a:rPr>
              <a:t>cybercrime</a:t>
            </a:r>
            <a:endParaRPr kumimoji="0" lang="en-US" sz="1600" b="0" i="0" u="none" strike="noStrike" kern="0" cap="none" spc="0" normalizeH="0" baseline="0" noProof="0">
              <a:ln>
                <a:noFill/>
              </a:ln>
              <a:effectLst/>
              <a:uLnTx/>
              <a:uFillTx/>
              <a:latin typeface="Segoe Sans Display Semibold"/>
              <a:ea typeface="+mn-ea"/>
              <a:cs typeface="Segoe UI" panose="020B0502040204020203" pitchFamily="34" charset="0"/>
            </a:endParaRPr>
          </a:p>
        </p:txBody>
      </p:sp>
      <p:sp>
        <p:nvSpPr>
          <p:cNvPr id="58" name="TextBox 57">
            <a:extLst>
              <a:ext uri="{FF2B5EF4-FFF2-40B4-BE49-F238E27FC236}">
                <a16:creationId xmlns:a16="http://schemas.microsoft.com/office/drawing/2014/main" id="{479FDB63-B0CC-C392-C4C8-C6745EFFEA41}"/>
              </a:ext>
            </a:extLst>
          </p:cNvPr>
          <p:cNvSpPr txBox="1"/>
          <p:nvPr/>
        </p:nvSpPr>
        <p:spPr>
          <a:xfrm>
            <a:off x="6392599" y="3964280"/>
            <a:ext cx="2194560" cy="1015663"/>
          </a:xfrm>
          <a:prstGeom prst="rect">
            <a:avLst/>
          </a:prstGeom>
          <a:noFill/>
        </p:spPr>
        <p:txBody>
          <a:bodyPr wrap="square">
            <a:spAutoFit/>
          </a:bodyPr>
          <a:lstStyle/>
          <a:p>
            <a:pPr algn="ctr">
              <a:defRPr/>
            </a:pPr>
            <a:r>
              <a:rPr lang="en-US" sz="3200">
                <a:ln w="3175">
                  <a:noFill/>
                </a:ln>
                <a:gradFill flip="none" rotWithShape="1">
                  <a:gsLst>
                    <a:gs pos="100000">
                      <a:srgbClr val="599FFD"/>
                    </a:gs>
                    <a:gs pos="42000">
                      <a:srgbClr val="0360DB"/>
                    </a:gs>
                  </a:gsLst>
                  <a:lin ang="2700000" scaled="1"/>
                  <a:tileRect/>
                </a:gradFill>
                <a:latin typeface="Segoe Sans Display Semibold"/>
                <a:cs typeface="Segoe UI" panose="020B0502040204020203" pitchFamily="34" charset="0"/>
              </a:rPr>
              <a:t>7,000 </a:t>
            </a:r>
            <a:br>
              <a:rPr lang="en-US" sz="3200">
                <a:ln w="3175">
                  <a:noFill/>
                </a:ln>
                <a:gradFill flip="none" rotWithShape="1">
                  <a:gsLst>
                    <a:gs pos="100000">
                      <a:srgbClr val="599FFD"/>
                    </a:gs>
                    <a:gs pos="42000">
                      <a:srgbClr val="0360DB"/>
                    </a:gs>
                  </a:gsLst>
                  <a:lin ang="2700000" scaled="1"/>
                  <a:tileRect/>
                </a:gradFill>
                <a:latin typeface="Segoe Sans Display Semibold"/>
                <a:cs typeface="Segoe UI" panose="020B0502040204020203" pitchFamily="34" charset="0"/>
              </a:rPr>
            </a:br>
            <a:r>
              <a:rPr lang="en-US" sz="1400">
                <a:cs typeface="Segoe UI" panose="020B0502040204020203" pitchFamily="34" charset="0"/>
              </a:rPr>
              <a:t>password attacks</a:t>
            </a:r>
            <a:br>
              <a:rPr lang="en-US" sz="1400">
                <a:cs typeface="Segoe UI" panose="020B0502040204020203" pitchFamily="34" charset="0"/>
              </a:rPr>
            </a:br>
            <a:r>
              <a:rPr lang="en-US" sz="1400">
                <a:cs typeface="Segoe UI" panose="020B0502040204020203" pitchFamily="34" charset="0"/>
              </a:rPr>
              <a:t> per second in 2024</a:t>
            </a:r>
          </a:p>
        </p:txBody>
      </p:sp>
      <p:sp>
        <p:nvSpPr>
          <p:cNvPr id="59" name="TextBox 58">
            <a:extLst>
              <a:ext uri="{FF2B5EF4-FFF2-40B4-BE49-F238E27FC236}">
                <a16:creationId xmlns:a16="http://schemas.microsoft.com/office/drawing/2014/main" id="{8361A2BE-D5F7-C021-242F-7F859F602498}"/>
              </a:ext>
            </a:extLst>
          </p:cNvPr>
          <p:cNvSpPr txBox="1"/>
          <p:nvPr/>
        </p:nvSpPr>
        <p:spPr>
          <a:xfrm>
            <a:off x="9120138" y="3347057"/>
            <a:ext cx="2308921" cy="492443"/>
          </a:xfrm>
          <a:prstGeom prst="rect">
            <a:avLst/>
          </a:prstGeom>
          <a:noFill/>
          <a:ln w="1079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effectLst/>
                <a:uLnTx/>
                <a:uFillTx/>
                <a:latin typeface="Segoe Sans Display Semibold"/>
                <a:ea typeface="+mn-ea"/>
                <a:cs typeface="Segoe UI Semibold" panose="020B0502040204020203" pitchFamily="34" charset="0"/>
              </a:rPr>
              <a:t>Increase in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effectLst/>
                <a:uLnTx/>
                <a:uFillTx/>
                <a:latin typeface="Segoe Sans Display Semibold"/>
                <a:ea typeface="+mn-ea"/>
                <a:cs typeface="Segoe UI Semibold" panose="020B0502040204020203" pitchFamily="34" charset="0"/>
              </a:rPr>
              <a:t>AI risks</a:t>
            </a:r>
            <a:endParaRPr kumimoji="0" lang="en-US" sz="1600" b="0" i="0" u="none" strike="noStrike" kern="0" cap="none" spc="0" normalizeH="0" baseline="0" noProof="0">
              <a:ln>
                <a:noFill/>
              </a:ln>
              <a:effectLst/>
              <a:uLnTx/>
              <a:uFillTx/>
              <a:latin typeface="Segoe Sans Display Semibold"/>
              <a:ea typeface="+mn-ea"/>
              <a:cs typeface="Segoe UI" panose="020B0502040204020203" pitchFamily="34" charset="0"/>
            </a:endParaRPr>
          </a:p>
        </p:txBody>
      </p:sp>
      <p:sp>
        <p:nvSpPr>
          <p:cNvPr id="60" name="TextBox 59">
            <a:extLst>
              <a:ext uri="{FF2B5EF4-FFF2-40B4-BE49-F238E27FC236}">
                <a16:creationId xmlns:a16="http://schemas.microsoft.com/office/drawing/2014/main" id="{EF907019-DF4A-F4B5-F8D8-FE173BC844E4}"/>
              </a:ext>
            </a:extLst>
          </p:cNvPr>
          <p:cNvSpPr txBox="1"/>
          <p:nvPr/>
        </p:nvSpPr>
        <p:spPr>
          <a:xfrm>
            <a:off x="9177318" y="3964280"/>
            <a:ext cx="2194560" cy="1231106"/>
          </a:xfrm>
          <a:prstGeom prst="rect">
            <a:avLst/>
          </a:prstGeom>
          <a:noFill/>
        </p:spPr>
        <p:txBody>
          <a:bodyPr wrap="square">
            <a:spAutoFit/>
          </a:bodyPr>
          <a:lstStyle/>
          <a:p>
            <a:pPr algn="ctr">
              <a:defRPr/>
            </a:pPr>
            <a:r>
              <a:rPr lang="en-US" sz="3200">
                <a:ln w="3175">
                  <a:noFill/>
                </a:ln>
                <a:gradFill flip="none" rotWithShape="1">
                  <a:gsLst>
                    <a:gs pos="100000">
                      <a:srgbClr val="599FFD"/>
                    </a:gs>
                    <a:gs pos="42000">
                      <a:srgbClr val="0360DB"/>
                    </a:gs>
                  </a:gsLst>
                  <a:lin ang="2700000" scaled="1"/>
                  <a:tileRect/>
                </a:gradFill>
                <a:latin typeface="Segoe Sans Display Semibold"/>
                <a:cs typeface="Segoe UI" panose="020B0502040204020203" pitchFamily="34" charset="0"/>
              </a:rPr>
              <a:t>57% </a:t>
            </a:r>
            <a:br>
              <a:rPr lang="en-US" sz="3200">
                <a:ln w="3175">
                  <a:noFill/>
                </a:ln>
                <a:latin typeface="Segoe UI Semibold"/>
                <a:cs typeface="Segoe UI" panose="020B0502040204020203" pitchFamily="34" charset="0"/>
              </a:rPr>
            </a:br>
            <a:r>
              <a:rPr lang="en-US" sz="1400">
                <a:cs typeface="Segoe UI" panose="020B0502040204020203" pitchFamily="34" charset="0"/>
              </a:rPr>
              <a:t>of security leaders report an increase in security incidents due to AI usage</a:t>
            </a:r>
          </a:p>
        </p:txBody>
      </p:sp>
      <p:sp>
        <p:nvSpPr>
          <p:cNvPr id="61" name="TextBox 48">
            <a:extLst>
              <a:ext uri="{FF2B5EF4-FFF2-40B4-BE49-F238E27FC236}">
                <a16:creationId xmlns:a16="http://schemas.microsoft.com/office/drawing/2014/main" id="{013A2328-C243-6AC7-FA09-CE25D85B73D0}"/>
              </a:ext>
            </a:extLst>
          </p:cNvPr>
          <p:cNvSpPr txBox="1"/>
          <p:nvPr/>
        </p:nvSpPr>
        <p:spPr>
          <a:xfrm>
            <a:off x="588963" y="5730321"/>
            <a:ext cx="8072575" cy="707886"/>
          </a:xfrm>
          <a:prstGeom prst="rect">
            <a:avLst/>
          </a:prstGeom>
          <a:noFill/>
        </p:spPr>
        <p:txBody>
          <a:bodyPr wrap="square" lIns="0" tIns="45720" rIns="0" bIns="45720" numCol="1"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effectLst/>
                <a:uLnTx/>
                <a:uFillTx/>
                <a:latin typeface="Segoe Sans Display"/>
                <a:ea typeface="+mn-ea"/>
                <a:cs typeface="+mn-cs"/>
                <a:hlinkClick r:id="rId3">
                  <a:extLst>
                    <a:ext uri="{A12FA001-AC4F-418D-AE19-62706E023703}">
                      <ahyp:hlinkClr xmlns:ahyp="http://schemas.microsoft.com/office/drawing/2018/hyperlinkcolor" val="tx"/>
                    </a:ext>
                  </a:extLst>
                </a:hlinkClick>
              </a:rPr>
              <a:t>State of Multicloud Security Risk, Microsoft, 2024</a:t>
            </a:r>
            <a:endParaRPr kumimoji="0" lang="en-US" sz="1000" b="0" i="0" u="none" strike="noStrike" kern="1200" cap="none" spc="0" normalizeH="0" baseline="0" noProof="0">
              <a:ln>
                <a:noFill/>
              </a:ln>
              <a:effectLst/>
              <a:uLnTx/>
              <a:uFillTx/>
              <a:latin typeface="Segoe Sans Display"/>
              <a:ea typeface="+mn-ea"/>
              <a:cs typeface="+mn-cs"/>
              <a:hlinkClick r:id="" action="ppaction://noaction">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effectLst/>
                <a:uLnTx/>
                <a:uFillTx/>
                <a:latin typeface="Segoe Sans Display"/>
                <a:ea typeface="+mn-ea"/>
                <a:cs typeface="+mn-cs"/>
                <a:hlinkClick r:id="" action="ppaction://noaction">
                  <a:extLst>
                    <a:ext uri="{A12FA001-AC4F-418D-AE19-62706E023703}">
                      <ahyp:hlinkClr xmlns:ahyp="http://schemas.microsoft.com/office/drawing/2018/hyperlinkcolor" val="tx"/>
                    </a:ext>
                  </a:extLst>
                </a:hlinkClick>
              </a:rPr>
              <a:t>Microsoft Digital Defense Report 20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effectLst/>
                <a:uLnTx/>
                <a:uFillTx/>
                <a:latin typeface="Segoe Sans Display"/>
                <a:ea typeface="+mn-ea"/>
                <a:cs typeface="Segoe UI" panose="020B0502040204020203" pitchFamily="34" charset="0"/>
                <a:hlinkClick r:id="rId4">
                  <a:extLst>
                    <a:ext uri="{A12FA001-AC4F-418D-AE19-62706E023703}">
                      <ahyp:hlinkClr xmlns:ahyp="http://schemas.microsoft.com/office/drawing/2018/hyperlinkcolor" val="tx"/>
                    </a:ext>
                  </a:extLst>
                </a:hlinkClick>
              </a:rPr>
              <a:t>How to break the token theft cyber attack chain (2024 Microsoft blog)</a:t>
            </a:r>
            <a:endParaRPr kumimoji="0" lang="en-US" sz="1000" b="0" i="0" u="none" strike="noStrike" kern="1200" cap="none" spc="0" normalizeH="0" baseline="0" noProof="0">
              <a:ln>
                <a:noFill/>
              </a:ln>
              <a:effectLst/>
              <a:uLnTx/>
              <a:uFillTx/>
              <a:latin typeface="Segoe Sans Display"/>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effectLst/>
                <a:uLnTx/>
                <a:uFillTx/>
                <a:latin typeface="Segoe Sans Display"/>
                <a:ea typeface="+mn-ea"/>
                <a:cs typeface="Segoe UI" panose="020B0502040204020203" pitchFamily="34" charset="0"/>
                <a:hlinkClick r:id="rId5">
                  <a:extLst>
                    <a:ext uri="{A12FA001-AC4F-418D-AE19-62706E023703}">
                      <ahyp:hlinkClr xmlns:ahyp="http://schemas.microsoft.com/office/drawing/2018/hyperlinkcolor" val="tx"/>
                    </a:ext>
                  </a:extLst>
                </a:hlinkClick>
              </a:rPr>
              <a:t>Insights from the Secure Employee Access report reveal the need for unified access security (2025 Microsoft blog)</a:t>
            </a:r>
            <a:endParaRPr kumimoji="0" lang="en-US" sz="1000" b="0" i="0" u="none" strike="noStrike" kern="1200" cap="none" spc="0" normalizeH="0" baseline="0" noProof="0">
              <a:ln>
                <a:noFill/>
              </a:ln>
              <a:effectLst/>
              <a:uLnTx/>
              <a:uFillTx/>
              <a:latin typeface="Segoe Sans Display"/>
              <a:ea typeface="+mn-ea"/>
              <a:cs typeface="Segoe UI" panose="020B0502040204020203" pitchFamily="34" charset="0"/>
            </a:endParaRPr>
          </a:p>
        </p:txBody>
      </p:sp>
      <p:grpSp>
        <p:nvGrpSpPr>
          <p:cNvPr id="63" name="Group 62">
            <a:extLst>
              <a:ext uri="{FF2B5EF4-FFF2-40B4-BE49-F238E27FC236}">
                <a16:creationId xmlns:a16="http://schemas.microsoft.com/office/drawing/2014/main" id="{97A16701-F762-BD69-49CA-055F5D10DCBD}"/>
              </a:ext>
              <a:ext uri="{C183D7F6-B498-43B3-948B-1728B52AA6E4}">
                <adec:decorative xmlns:adec="http://schemas.microsoft.com/office/drawing/2017/decorative" val="1"/>
              </a:ext>
            </a:extLst>
          </p:cNvPr>
          <p:cNvGrpSpPr/>
          <p:nvPr/>
        </p:nvGrpSpPr>
        <p:grpSpPr>
          <a:xfrm>
            <a:off x="1300180" y="1878382"/>
            <a:ext cx="1234440" cy="1234440"/>
            <a:chOff x="2850603" y="-1007057"/>
            <a:chExt cx="822960" cy="822960"/>
          </a:xfrm>
        </p:grpSpPr>
        <p:grpSp>
          <p:nvGrpSpPr>
            <p:cNvPr id="64" name="Group 63">
              <a:extLst>
                <a:ext uri="{FF2B5EF4-FFF2-40B4-BE49-F238E27FC236}">
                  <a16:creationId xmlns:a16="http://schemas.microsoft.com/office/drawing/2014/main" id="{77A7D131-4C40-F935-5D90-9D0121F9C35D}"/>
                </a:ext>
              </a:extLst>
            </p:cNvPr>
            <p:cNvGrpSpPr/>
            <p:nvPr/>
          </p:nvGrpSpPr>
          <p:grpSpPr>
            <a:xfrm>
              <a:off x="2850603" y="-1007057"/>
              <a:ext cx="822960" cy="822960"/>
              <a:chOff x="1303496" y="2241231"/>
              <a:chExt cx="1233888" cy="1233888"/>
            </a:xfrm>
            <a:solidFill>
              <a:srgbClr val="052252"/>
            </a:solidFill>
          </p:grpSpPr>
          <p:sp>
            <p:nvSpPr>
              <p:cNvPr id="70" name="Oval 69">
                <a:extLst>
                  <a:ext uri="{FF2B5EF4-FFF2-40B4-BE49-F238E27FC236}">
                    <a16:creationId xmlns:a16="http://schemas.microsoft.com/office/drawing/2014/main" id="{B2C09F15-9EF5-3AA7-F746-73D6584BC5FD}"/>
                  </a:ext>
                </a:extLst>
              </p:cNvPr>
              <p:cNvSpPr/>
              <p:nvPr/>
            </p:nvSpPr>
            <p:spPr bwMode="auto">
              <a:xfrm>
                <a:off x="1303496" y="2241231"/>
                <a:ext cx="1233888" cy="1233888"/>
              </a:xfrm>
              <a:prstGeom prst="ellipse">
                <a:avLst/>
              </a:prstGeom>
              <a:gradFill>
                <a:gsLst>
                  <a:gs pos="0">
                    <a:srgbClr val="0360DB">
                      <a:alpha val="50000"/>
                    </a:srgbClr>
                  </a:gs>
                  <a:gs pos="85000">
                    <a:srgbClr val="FADC14">
                      <a:alpha val="50000"/>
                    </a:srgbClr>
                  </a:gs>
                </a:gsLst>
                <a:lin ang="2700000" scaled="1"/>
              </a:gradFill>
              <a:ln w="19050" cap="flat" cmpd="sng" algn="ctr">
                <a:noFill/>
                <a:prstDash val="solid"/>
                <a:headEnd type="none" w="med" len="sm"/>
                <a:tailEnd type="arrow" w="lg" len="med"/>
              </a:ln>
              <a:effectLst/>
            </p:spPr>
            <p:txBody>
              <a:bodyPr rot="0" spcFirstLastPara="0" vertOverflow="overflow" horzOverflow="overflow" vert="horz" wrap="square" lIns="137160" tIns="91440" rIns="137160" bIns="137160" numCol="1" spcCol="0" rtlCol="0" fromWordArt="0" anchor="ctr" anchorCtr="0" forceAA="0" compatLnSpc="1">
                <a:prstTxWarp prst="textNoShape">
                  <a:avLst/>
                </a:prstTxWarp>
                <a:noAutofit/>
              </a:bodyPr>
              <a:lstStyle/>
              <a:p>
                <a:pPr defTabSz="932754">
                  <a:spcAft>
                    <a:spcPts val="600"/>
                  </a:spcAft>
                  <a:buSzPct val="90000"/>
                </a:pPr>
                <a:endParaRPr lang="en-US" sz="1900" kern="0">
                  <a:solidFill>
                    <a:srgbClr val="FFFFFF"/>
                  </a:solidFill>
                  <a:cs typeface="Segoe Sans Display Semilight" pitchFamily="2" charset="0"/>
                </a:endParaRPr>
              </a:p>
            </p:txBody>
          </p:sp>
          <p:sp>
            <p:nvSpPr>
              <p:cNvPr id="71" name="Oval 70">
                <a:extLst>
                  <a:ext uri="{FF2B5EF4-FFF2-40B4-BE49-F238E27FC236}">
                    <a16:creationId xmlns:a16="http://schemas.microsoft.com/office/drawing/2014/main" id="{89B68099-BD7A-EE10-8388-E0039871B884}"/>
                  </a:ext>
                </a:extLst>
              </p:cNvPr>
              <p:cNvSpPr/>
              <p:nvPr/>
            </p:nvSpPr>
            <p:spPr bwMode="auto">
              <a:xfrm>
                <a:off x="1457488" y="2395223"/>
                <a:ext cx="925905" cy="925905"/>
              </a:xfrm>
              <a:prstGeom prst="ellipse">
                <a:avLst/>
              </a:prstGeom>
              <a:solidFill>
                <a:srgbClr val="FFFFFF"/>
              </a:solidFill>
              <a:ln w="19050" cap="flat" cmpd="sng" algn="ctr">
                <a:gradFill>
                  <a:gsLst>
                    <a:gs pos="0">
                      <a:srgbClr val="599FFD"/>
                    </a:gs>
                    <a:gs pos="100000">
                      <a:srgbClr val="FADC14"/>
                    </a:gs>
                  </a:gsLst>
                  <a:lin ang="5400000" scaled="1"/>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kern="0">
                  <a:solidFill>
                    <a:srgbClr val="091F2C"/>
                  </a:solidFill>
                  <a:latin typeface="Segoe UI Variable Display"/>
                  <a:cs typeface="Segoe UI" pitchFamily="34" charset="0"/>
                </a:endParaRPr>
              </a:p>
            </p:txBody>
          </p:sp>
        </p:grpSp>
        <p:pic>
          <p:nvPicPr>
            <p:cNvPr id="65" name="Graphic 64">
              <a:extLst>
                <a:ext uri="{FF2B5EF4-FFF2-40B4-BE49-F238E27FC236}">
                  <a16:creationId xmlns:a16="http://schemas.microsoft.com/office/drawing/2014/main" id="{D9414BC8-3501-8D8F-8751-6541ABA0C559}"/>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063044" y="-794616"/>
              <a:ext cx="398079" cy="398079"/>
            </a:xfrm>
            <a:prstGeom prst="rect">
              <a:avLst/>
            </a:prstGeom>
            <a:effectLst/>
          </p:spPr>
        </p:pic>
      </p:grpSp>
      <p:grpSp>
        <p:nvGrpSpPr>
          <p:cNvPr id="72" name="Group 71">
            <a:extLst>
              <a:ext uri="{FF2B5EF4-FFF2-40B4-BE49-F238E27FC236}">
                <a16:creationId xmlns:a16="http://schemas.microsoft.com/office/drawing/2014/main" id="{E1D20B83-5180-CFC5-A7A5-F5212176CC98}"/>
              </a:ext>
              <a:ext uri="{C183D7F6-B498-43B3-948B-1728B52AA6E4}">
                <adec:decorative xmlns:adec="http://schemas.microsoft.com/office/drawing/2017/decorative" val="1"/>
              </a:ext>
            </a:extLst>
          </p:cNvPr>
          <p:cNvGrpSpPr/>
          <p:nvPr/>
        </p:nvGrpSpPr>
        <p:grpSpPr>
          <a:xfrm>
            <a:off x="4086419" y="1878382"/>
            <a:ext cx="1234440" cy="1234440"/>
            <a:chOff x="4891319" y="-1007057"/>
            <a:chExt cx="822960" cy="822960"/>
          </a:xfrm>
        </p:grpSpPr>
        <p:grpSp>
          <p:nvGrpSpPr>
            <p:cNvPr id="73" name="Group 72">
              <a:extLst>
                <a:ext uri="{FF2B5EF4-FFF2-40B4-BE49-F238E27FC236}">
                  <a16:creationId xmlns:a16="http://schemas.microsoft.com/office/drawing/2014/main" id="{6546C31A-32F0-651A-DC9A-6153EC3F42A7}"/>
                </a:ext>
              </a:extLst>
            </p:cNvPr>
            <p:cNvGrpSpPr/>
            <p:nvPr/>
          </p:nvGrpSpPr>
          <p:grpSpPr>
            <a:xfrm>
              <a:off x="4891319" y="-1007057"/>
              <a:ext cx="822960" cy="822960"/>
              <a:chOff x="1303496" y="2241231"/>
              <a:chExt cx="1233888" cy="1233888"/>
            </a:xfrm>
            <a:solidFill>
              <a:srgbClr val="2965AF"/>
            </a:solidFill>
          </p:grpSpPr>
          <p:sp>
            <p:nvSpPr>
              <p:cNvPr id="75" name="Oval 74">
                <a:extLst>
                  <a:ext uri="{FF2B5EF4-FFF2-40B4-BE49-F238E27FC236}">
                    <a16:creationId xmlns:a16="http://schemas.microsoft.com/office/drawing/2014/main" id="{4AF62D47-5847-47D6-398A-172A4444629D}"/>
                  </a:ext>
                </a:extLst>
              </p:cNvPr>
              <p:cNvSpPr/>
              <p:nvPr/>
            </p:nvSpPr>
            <p:spPr bwMode="auto">
              <a:xfrm>
                <a:off x="1303496" y="2241231"/>
                <a:ext cx="1233888" cy="1233888"/>
              </a:xfrm>
              <a:prstGeom prst="ellipse">
                <a:avLst/>
              </a:prstGeom>
              <a:gradFill>
                <a:gsLst>
                  <a:gs pos="0">
                    <a:srgbClr val="0360DB">
                      <a:alpha val="50000"/>
                    </a:srgbClr>
                  </a:gs>
                  <a:gs pos="85000">
                    <a:srgbClr val="FADC14">
                      <a:alpha val="50000"/>
                    </a:srgbClr>
                  </a:gs>
                </a:gsLst>
                <a:lin ang="2700000" scaled="1"/>
              </a:gradFill>
              <a:ln w="19050" cap="flat" cmpd="sng" algn="ctr">
                <a:noFill/>
                <a:prstDash val="solid"/>
                <a:headEnd type="none" w="med" len="sm"/>
                <a:tailEnd type="arrow" w="lg" len="med"/>
              </a:ln>
              <a:effectLst/>
            </p:spPr>
            <p:txBody>
              <a:bodyPr rot="0" spcFirstLastPara="0" vertOverflow="overflow" horzOverflow="overflow" vert="horz" wrap="square" lIns="137160" tIns="91440" rIns="137160" bIns="137160" numCol="1" spcCol="0" rtlCol="0" fromWordArt="0" anchor="ctr" anchorCtr="0" forceAA="0" compatLnSpc="1">
                <a:prstTxWarp prst="textNoShape">
                  <a:avLst/>
                </a:prstTxWarp>
                <a:noAutofit/>
              </a:bodyPr>
              <a:lstStyle/>
              <a:p>
                <a:pPr defTabSz="932754">
                  <a:spcAft>
                    <a:spcPts val="600"/>
                  </a:spcAft>
                  <a:buSzPct val="90000"/>
                </a:pPr>
                <a:endParaRPr lang="en-US" sz="1900" kern="0">
                  <a:solidFill>
                    <a:srgbClr val="FFFFFF"/>
                  </a:solidFill>
                  <a:cs typeface="Segoe Sans Display Semilight" pitchFamily="2" charset="0"/>
                </a:endParaRPr>
              </a:p>
            </p:txBody>
          </p:sp>
          <p:sp>
            <p:nvSpPr>
              <p:cNvPr id="76" name="Oval 75">
                <a:extLst>
                  <a:ext uri="{FF2B5EF4-FFF2-40B4-BE49-F238E27FC236}">
                    <a16:creationId xmlns:a16="http://schemas.microsoft.com/office/drawing/2014/main" id="{3E4261E8-C025-7660-EB00-E8CA6C38AC17}"/>
                  </a:ext>
                </a:extLst>
              </p:cNvPr>
              <p:cNvSpPr/>
              <p:nvPr/>
            </p:nvSpPr>
            <p:spPr bwMode="auto">
              <a:xfrm>
                <a:off x="1457488" y="2395223"/>
                <a:ext cx="925905" cy="925905"/>
              </a:xfrm>
              <a:prstGeom prst="ellipse">
                <a:avLst/>
              </a:prstGeom>
              <a:solidFill>
                <a:srgbClr val="FFFFFF"/>
              </a:solidFill>
              <a:ln w="19050" cap="flat" cmpd="sng" algn="ctr">
                <a:gradFill>
                  <a:gsLst>
                    <a:gs pos="0">
                      <a:srgbClr val="599FFD"/>
                    </a:gs>
                    <a:gs pos="100000">
                      <a:srgbClr val="FADC14"/>
                    </a:gs>
                  </a:gsLst>
                  <a:lin ang="5400000" scaled="1"/>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kern="0">
                  <a:solidFill>
                    <a:srgbClr val="091F2C"/>
                  </a:solidFill>
                  <a:latin typeface="Segoe UI Variable Display"/>
                  <a:cs typeface="Segoe UI" pitchFamily="34" charset="0"/>
                </a:endParaRPr>
              </a:p>
            </p:txBody>
          </p:sp>
        </p:grpSp>
        <p:sp>
          <p:nvSpPr>
            <p:cNvPr id="74" name="Graphic 53">
              <a:extLst>
                <a:ext uri="{FF2B5EF4-FFF2-40B4-BE49-F238E27FC236}">
                  <a16:creationId xmlns:a16="http://schemas.microsoft.com/office/drawing/2014/main" id="{E6A8964B-DF54-A1EF-8177-557325F36FD5}"/>
                </a:ext>
                <a:ext uri="{C183D7F6-B498-43B3-948B-1728B52AA6E4}">
                  <adec:decorative xmlns:adec="http://schemas.microsoft.com/office/drawing/2017/decorative" val="1"/>
                </a:ext>
              </a:extLst>
            </p:cNvPr>
            <p:cNvSpPr/>
            <p:nvPr/>
          </p:nvSpPr>
          <p:spPr>
            <a:xfrm>
              <a:off x="5133144" y="-765232"/>
              <a:ext cx="339311" cy="339311"/>
            </a:xfrm>
            <a:custGeom>
              <a:avLst/>
              <a:gdLst>
                <a:gd name="connsiteX0" fmla="*/ 299694 w 353737"/>
                <a:gd name="connsiteY0" fmla="*/ 0 h 353737"/>
                <a:gd name="connsiteX1" fmla="*/ 353738 w 353737"/>
                <a:gd name="connsiteY1" fmla="*/ 54043 h 353737"/>
                <a:gd name="connsiteX2" fmla="*/ 353738 w 353737"/>
                <a:gd name="connsiteY2" fmla="*/ 299694 h 353737"/>
                <a:gd name="connsiteX3" fmla="*/ 299694 w 353737"/>
                <a:gd name="connsiteY3" fmla="*/ 353738 h 353737"/>
                <a:gd name="connsiteX4" fmla="*/ 54043 w 353737"/>
                <a:gd name="connsiteY4" fmla="*/ 353738 h 353737"/>
                <a:gd name="connsiteX5" fmla="*/ 0 w 353737"/>
                <a:gd name="connsiteY5" fmla="*/ 299694 h 353737"/>
                <a:gd name="connsiteX6" fmla="*/ 0 w 353737"/>
                <a:gd name="connsiteY6" fmla="*/ 54043 h 353737"/>
                <a:gd name="connsiteX7" fmla="*/ 54043 w 353737"/>
                <a:gd name="connsiteY7" fmla="*/ 0 h 353737"/>
                <a:gd name="connsiteX8" fmla="*/ 299694 w 353737"/>
                <a:gd name="connsiteY8" fmla="*/ 0 h 353737"/>
                <a:gd name="connsiteX9" fmla="*/ 299694 w 353737"/>
                <a:gd name="connsiteY9" fmla="*/ 29478 h 353737"/>
                <a:gd name="connsiteX10" fmla="*/ 54043 w 353737"/>
                <a:gd name="connsiteY10" fmla="*/ 29478 h 353737"/>
                <a:gd name="connsiteX11" fmla="*/ 29478 w 353737"/>
                <a:gd name="connsiteY11" fmla="*/ 54043 h 353737"/>
                <a:gd name="connsiteX12" fmla="*/ 29478 w 353737"/>
                <a:gd name="connsiteY12" fmla="*/ 299694 h 353737"/>
                <a:gd name="connsiteX13" fmla="*/ 54043 w 353737"/>
                <a:gd name="connsiteY13" fmla="*/ 324259 h 353737"/>
                <a:gd name="connsiteX14" fmla="*/ 299694 w 353737"/>
                <a:gd name="connsiteY14" fmla="*/ 324259 h 353737"/>
                <a:gd name="connsiteX15" fmla="*/ 324259 w 353737"/>
                <a:gd name="connsiteY15" fmla="*/ 299694 h 353737"/>
                <a:gd name="connsiteX16" fmla="*/ 324259 w 353737"/>
                <a:gd name="connsiteY16" fmla="*/ 54043 h 353737"/>
                <a:gd name="connsiteX17" fmla="*/ 299694 w 353737"/>
                <a:gd name="connsiteY17" fmla="*/ 29478 h 353737"/>
                <a:gd name="connsiteX18" fmla="*/ 132691 w 353737"/>
                <a:gd name="connsiteY18" fmla="*/ 186695 h 353737"/>
                <a:gd name="connsiteX19" fmla="*/ 167082 w 353737"/>
                <a:gd name="connsiteY19" fmla="*/ 221086 h 353737"/>
                <a:gd name="connsiteX20" fmla="*/ 167082 w 353737"/>
                <a:gd name="connsiteY20" fmla="*/ 260390 h 353737"/>
                <a:gd name="connsiteX21" fmla="*/ 132691 w 353737"/>
                <a:gd name="connsiteY21" fmla="*/ 294781 h 353737"/>
                <a:gd name="connsiteX22" fmla="*/ 93387 w 353737"/>
                <a:gd name="connsiteY22" fmla="*/ 294781 h 353737"/>
                <a:gd name="connsiteX23" fmla="*/ 58996 w 353737"/>
                <a:gd name="connsiteY23" fmla="*/ 260390 h 353737"/>
                <a:gd name="connsiteX24" fmla="*/ 58996 w 353737"/>
                <a:gd name="connsiteY24" fmla="*/ 221086 h 353737"/>
                <a:gd name="connsiteX25" fmla="*/ 93387 w 353737"/>
                <a:gd name="connsiteY25" fmla="*/ 186695 h 353737"/>
                <a:gd name="connsiteX26" fmla="*/ 132691 w 353737"/>
                <a:gd name="connsiteY26" fmla="*/ 186695 h 353737"/>
                <a:gd name="connsiteX27" fmla="*/ 260370 w 353737"/>
                <a:gd name="connsiteY27" fmla="*/ 186695 h 353737"/>
                <a:gd name="connsiteX28" fmla="*/ 294762 w 353737"/>
                <a:gd name="connsiteY28" fmla="*/ 221086 h 353737"/>
                <a:gd name="connsiteX29" fmla="*/ 294762 w 353737"/>
                <a:gd name="connsiteY29" fmla="*/ 260390 h 353737"/>
                <a:gd name="connsiteX30" fmla="*/ 260390 w 353737"/>
                <a:gd name="connsiteY30" fmla="*/ 294781 h 353737"/>
                <a:gd name="connsiteX31" fmla="*/ 221086 w 353737"/>
                <a:gd name="connsiteY31" fmla="*/ 294781 h 353737"/>
                <a:gd name="connsiteX32" fmla="*/ 186695 w 353737"/>
                <a:gd name="connsiteY32" fmla="*/ 260390 h 353737"/>
                <a:gd name="connsiteX33" fmla="*/ 186695 w 353737"/>
                <a:gd name="connsiteY33" fmla="*/ 221086 h 353737"/>
                <a:gd name="connsiteX34" fmla="*/ 221086 w 353737"/>
                <a:gd name="connsiteY34" fmla="*/ 186695 h 353737"/>
                <a:gd name="connsiteX35" fmla="*/ 260390 w 353737"/>
                <a:gd name="connsiteY35" fmla="*/ 186695 h 353737"/>
                <a:gd name="connsiteX36" fmla="*/ 132671 w 353737"/>
                <a:gd name="connsiteY36" fmla="*/ 58956 h 353737"/>
                <a:gd name="connsiteX37" fmla="*/ 167062 w 353737"/>
                <a:gd name="connsiteY37" fmla="*/ 93347 h 353737"/>
                <a:gd name="connsiteX38" fmla="*/ 167062 w 353737"/>
                <a:gd name="connsiteY38" fmla="*/ 132652 h 353737"/>
                <a:gd name="connsiteX39" fmla="*/ 132671 w 353737"/>
                <a:gd name="connsiteY39" fmla="*/ 167043 h 353737"/>
                <a:gd name="connsiteX40" fmla="*/ 93367 w 353737"/>
                <a:gd name="connsiteY40" fmla="*/ 167043 h 353737"/>
                <a:gd name="connsiteX41" fmla="*/ 58956 w 353737"/>
                <a:gd name="connsiteY41" fmla="*/ 132671 h 353737"/>
                <a:gd name="connsiteX42" fmla="*/ 58956 w 353737"/>
                <a:gd name="connsiteY42" fmla="*/ 132652 h 353737"/>
                <a:gd name="connsiteX43" fmla="*/ 58956 w 353737"/>
                <a:gd name="connsiteY43" fmla="*/ 93347 h 353737"/>
                <a:gd name="connsiteX44" fmla="*/ 93347 w 353737"/>
                <a:gd name="connsiteY44" fmla="*/ 58956 h 353737"/>
                <a:gd name="connsiteX45" fmla="*/ 132652 w 353737"/>
                <a:gd name="connsiteY45" fmla="*/ 58956 h 353737"/>
                <a:gd name="connsiteX46" fmla="*/ 260351 w 353737"/>
                <a:gd name="connsiteY46" fmla="*/ 58956 h 353737"/>
                <a:gd name="connsiteX47" fmla="*/ 294742 w 353737"/>
                <a:gd name="connsiteY47" fmla="*/ 93347 h 353737"/>
                <a:gd name="connsiteX48" fmla="*/ 294742 w 353737"/>
                <a:gd name="connsiteY48" fmla="*/ 132652 h 353737"/>
                <a:gd name="connsiteX49" fmla="*/ 260351 w 353737"/>
                <a:gd name="connsiteY49" fmla="*/ 167043 h 353737"/>
                <a:gd name="connsiteX50" fmla="*/ 221047 w 353737"/>
                <a:gd name="connsiteY50" fmla="*/ 167043 h 353737"/>
                <a:gd name="connsiteX51" fmla="*/ 186655 w 353737"/>
                <a:gd name="connsiteY51" fmla="*/ 132652 h 353737"/>
                <a:gd name="connsiteX52" fmla="*/ 186655 w 353737"/>
                <a:gd name="connsiteY52" fmla="*/ 93347 h 353737"/>
                <a:gd name="connsiteX53" fmla="*/ 221047 w 353737"/>
                <a:gd name="connsiteY53" fmla="*/ 58956 h 353737"/>
                <a:gd name="connsiteX54" fmla="*/ 260351 w 353737"/>
                <a:gd name="connsiteY54" fmla="*/ 58956 h 353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353737" h="353737">
                  <a:moveTo>
                    <a:pt x="299694" y="0"/>
                  </a:moveTo>
                  <a:cubicBezTo>
                    <a:pt x="329542" y="0"/>
                    <a:pt x="353738" y="24196"/>
                    <a:pt x="353738" y="54043"/>
                  </a:cubicBezTo>
                  <a:lnTo>
                    <a:pt x="353738" y="299694"/>
                  </a:lnTo>
                  <a:cubicBezTo>
                    <a:pt x="353738" y="329542"/>
                    <a:pt x="329542" y="353738"/>
                    <a:pt x="299694" y="353738"/>
                  </a:cubicBezTo>
                  <a:lnTo>
                    <a:pt x="54043" y="353738"/>
                  </a:lnTo>
                  <a:cubicBezTo>
                    <a:pt x="24196" y="353738"/>
                    <a:pt x="0" y="329542"/>
                    <a:pt x="0" y="299694"/>
                  </a:cubicBezTo>
                  <a:lnTo>
                    <a:pt x="0" y="54043"/>
                  </a:lnTo>
                  <a:cubicBezTo>
                    <a:pt x="0" y="24196"/>
                    <a:pt x="24196" y="0"/>
                    <a:pt x="54043" y="0"/>
                  </a:cubicBezTo>
                  <a:lnTo>
                    <a:pt x="299694" y="0"/>
                  </a:lnTo>
                  <a:close/>
                  <a:moveTo>
                    <a:pt x="299694" y="29478"/>
                  </a:moveTo>
                  <a:lnTo>
                    <a:pt x="54043" y="29478"/>
                  </a:lnTo>
                  <a:cubicBezTo>
                    <a:pt x="40483" y="29478"/>
                    <a:pt x="29478" y="40483"/>
                    <a:pt x="29478" y="54043"/>
                  </a:cubicBezTo>
                  <a:lnTo>
                    <a:pt x="29478" y="299694"/>
                  </a:lnTo>
                  <a:cubicBezTo>
                    <a:pt x="29478" y="313254"/>
                    <a:pt x="40483" y="324259"/>
                    <a:pt x="54043" y="324259"/>
                  </a:cubicBezTo>
                  <a:lnTo>
                    <a:pt x="299694" y="324259"/>
                  </a:lnTo>
                  <a:cubicBezTo>
                    <a:pt x="313254" y="324259"/>
                    <a:pt x="324259" y="313254"/>
                    <a:pt x="324259" y="299694"/>
                  </a:cubicBezTo>
                  <a:lnTo>
                    <a:pt x="324259" y="54043"/>
                  </a:lnTo>
                  <a:cubicBezTo>
                    <a:pt x="324259" y="40483"/>
                    <a:pt x="313254" y="29478"/>
                    <a:pt x="299694" y="29478"/>
                  </a:cubicBezTo>
                  <a:close/>
                  <a:moveTo>
                    <a:pt x="132691" y="186695"/>
                  </a:moveTo>
                  <a:cubicBezTo>
                    <a:pt x="151675" y="186695"/>
                    <a:pt x="167082" y="202102"/>
                    <a:pt x="167082" y="221086"/>
                  </a:cubicBezTo>
                  <a:lnTo>
                    <a:pt x="167082" y="260390"/>
                  </a:lnTo>
                  <a:cubicBezTo>
                    <a:pt x="167082" y="279384"/>
                    <a:pt x="151685" y="294781"/>
                    <a:pt x="132691" y="294781"/>
                  </a:cubicBezTo>
                  <a:lnTo>
                    <a:pt x="93387" y="294781"/>
                  </a:lnTo>
                  <a:cubicBezTo>
                    <a:pt x="74393" y="294781"/>
                    <a:pt x="58996" y="279384"/>
                    <a:pt x="58996" y="260390"/>
                  </a:cubicBezTo>
                  <a:lnTo>
                    <a:pt x="58996" y="221086"/>
                  </a:lnTo>
                  <a:cubicBezTo>
                    <a:pt x="58996" y="202102"/>
                    <a:pt x="74383" y="186695"/>
                    <a:pt x="93387" y="186695"/>
                  </a:cubicBezTo>
                  <a:lnTo>
                    <a:pt x="132691" y="186695"/>
                  </a:lnTo>
                  <a:close/>
                  <a:moveTo>
                    <a:pt x="260370" y="186695"/>
                  </a:moveTo>
                  <a:cubicBezTo>
                    <a:pt x="279374" y="186695"/>
                    <a:pt x="294762" y="202102"/>
                    <a:pt x="294762" y="221086"/>
                  </a:cubicBezTo>
                  <a:lnTo>
                    <a:pt x="294762" y="260390"/>
                  </a:lnTo>
                  <a:cubicBezTo>
                    <a:pt x="294762" y="279376"/>
                    <a:pt x="279376" y="294770"/>
                    <a:pt x="260390" y="294781"/>
                  </a:cubicBezTo>
                  <a:lnTo>
                    <a:pt x="221086" y="294781"/>
                  </a:lnTo>
                  <a:cubicBezTo>
                    <a:pt x="202092" y="294781"/>
                    <a:pt x="186695" y="279384"/>
                    <a:pt x="186695" y="260390"/>
                  </a:cubicBezTo>
                  <a:lnTo>
                    <a:pt x="186695" y="221086"/>
                  </a:lnTo>
                  <a:cubicBezTo>
                    <a:pt x="186695" y="202102"/>
                    <a:pt x="202102" y="186695"/>
                    <a:pt x="221086" y="186695"/>
                  </a:cubicBezTo>
                  <a:lnTo>
                    <a:pt x="260390" y="186695"/>
                  </a:lnTo>
                  <a:close/>
                  <a:moveTo>
                    <a:pt x="132671" y="58956"/>
                  </a:moveTo>
                  <a:cubicBezTo>
                    <a:pt x="151655" y="58956"/>
                    <a:pt x="167062" y="74363"/>
                    <a:pt x="167062" y="93347"/>
                  </a:cubicBezTo>
                  <a:lnTo>
                    <a:pt x="167062" y="132652"/>
                  </a:lnTo>
                  <a:cubicBezTo>
                    <a:pt x="167062" y="151645"/>
                    <a:pt x="151665" y="167043"/>
                    <a:pt x="132671" y="167043"/>
                  </a:cubicBezTo>
                  <a:lnTo>
                    <a:pt x="93367" y="167043"/>
                  </a:lnTo>
                  <a:cubicBezTo>
                    <a:pt x="74373" y="167054"/>
                    <a:pt x="58967" y="151665"/>
                    <a:pt x="58956" y="132671"/>
                  </a:cubicBezTo>
                  <a:cubicBezTo>
                    <a:pt x="58956" y="132665"/>
                    <a:pt x="58956" y="132658"/>
                    <a:pt x="58956" y="132652"/>
                  </a:cubicBezTo>
                  <a:lnTo>
                    <a:pt x="58956" y="93347"/>
                  </a:lnTo>
                  <a:cubicBezTo>
                    <a:pt x="58956" y="74363"/>
                    <a:pt x="74363" y="58956"/>
                    <a:pt x="93347" y="58956"/>
                  </a:cubicBezTo>
                  <a:lnTo>
                    <a:pt x="132652" y="58956"/>
                  </a:lnTo>
                  <a:close/>
                  <a:moveTo>
                    <a:pt x="260351" y="58956"/>
                  </a:moveTo>
                  <a:cubicBezTo>
                    <a:pt x="279354" y="58956"/>
                    <a:pt x="294742" y="74363"/>
                    <a:pt x="294742" y="93347"/>
                  </a:cubicBezTo>
                  <a:lnTo>
                    <a:pt x="294742" y="132652"/>
                  </a:lnTo>
                  <a:cubicBezTo>
                    <a:pt x="294742" y="151645"/>
                    <a:pt x="279344" y="167043"/>
                    <a:pt x="260351" y="167043"/>
                  </a:cubicBezTo>
                  <a:lnTo>
                    <a:pt x="221047" y="167043"/>
                  </a:lnTo>
                  <a:cubicBezTo>
                    <a:pt x="202053" y="167043"/>
                    <a:pt x="186655" y="151645"/>
                    <a:pt x="186655" y="132652"/>
                  </a:cubicBezTo>
                  <a:lnTo>
                    <a:pt x="186655" y="93347"/>
                  </a:lnTo>
                  <a:cubicBezTo>
                    <a:pt x="186655" y="74363"/>
                    <a:pt x="202063" y="58956"/>
                    <a:pt x="221047" y="58956"/>
                  </a:cubicBezTo>
                  <a:lnTo>
                    <a:pt x="260351" y="58956"/>
                  </a:lnTo>
                  <a:close/>
                </a:path>
              </a:pathLst>
            </a:custGeom>
            <a:solidFill>
              <a:schemeClr val="tx1"/>
            </a:solidFill>
            <a:ln w="30509" cap="flat">
              <a:noFill/>
              <a:prstDash val="solid"/>
              <a:miter/>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nvGrpSpPr>
          <p:cNvPr id="78" name="Group 77">
            <a:extLst>
              <a:ext uri="{FF2B5EF4-FFF2-40B4-BE49-F238E27FC236}">
                <a16:creationId xmlns:a16="http://schemas.microsoft.com/office/drawing/2014/main" id="{5BC0F52C-34DC-77C8-F72A-1250501B6F63}"/>
              </a:ext>
              <a:ext uri="{C183D7F6-B498-43B3-948B-1728B52AA6E4}">
                <adec:decorative xmlns:adec="http://schemas.microsoft.com/office/drawing/2017/decorative" val="1"/>
              </a:ext>
            </a:extLst>
          </p:cNvPr>
          <p:cNvGrpSpPr/>
          <p:nvPr/>
        </p:nvGrpSpPr>
        <p:grpSpPr>
          <a:xfrm>
            <a:off x="6872659" y="1878382"/>
            <a:ext cx="1234440" cy="1234440"/>
            <a:chOff x="6718792" y="-1007057"/>
            <a:chExt cx="822960" cy="822960"/>
          </a:xfrm>
        </p:grpSpPr>
        <p:grpSp>
          <p:nvGrpSpPr>
            <p:cNvPr id="79" name="Group 78">
              <a:extLst>
                <a:ext uri="{FF2B5EF4-FFF2-40B4-BE49-F238E27FC236}">
                  <a16:creationId xmlns:a16="http://schemas.microsoft.com/office/drawing/2014/main" id="{0A38D195-FD7E-26EA-02C8-73DBF1B9B5AD}"/>
                </a:ext>
              </a:extLst>
            </p:cNvPr>
            <p:cNvGrpSpPr/>
            <p:nvPr/>
          </p:nvGrpSpPr>
          <p:grpSpPr>
            <a:xfrm>
              <a:off x="6718792" y="-1007057"/>
              <a:ext cx="822960" cy="822960"/>
              <a:chOff x="1303496" y="2241231"/>
              <a:chExt cx="1233888" cy="1233888"/>
            </a:xfrm>
            <a:solidFill>
              <a:srgbClr val="56AEF9"/>
            </a:solidFill>
          </p:grpSpPr>
          <p:sp>
            <p:nvSpPr>
              <p:cNvPr id="81" name="Oval 80">
                <a:extLst>
                  <a:ext uri="{FF2B5EF4-FFF2-40B4-BE49-F238E27FC236}">
                    <a16:creationId xmlns:a16="http://schemas.microsoft.com/office/drawing/2014/main" id="{D4D6CDCD-5A2E-47D4-4B76-EED3A0D6E1E8}"/>
                  </a:ext>
                </a:extLst>
              </p:cNvPr>
              <p:cNvSpPr/>
              <p:nvPr/>
            </p:nvSpPr>
            <p:spPr bwMode="auto">
              <a:xfrm>
                <a:off x="1303496" y="2241231"/>
                <a:ext cx="1233888" cy="1233888"/>
              </a:xfrm>
              <a:prstGeom prst="ellipse">
                <a:avLst/>
              </a:prstGeom>
              <a:gradFill>
                <a:gsLst>
                  <a:gs pos="0">
                    <a:srgbClr val="0360DB">
                      <a:alpha val="50000"/>
                    </a:srgbClr>
                  </a:gs>
                  <a:gs pos="85000">
                    <a:srgbClr val="FADC14">
                      <a:alpha val="50000"/>
                    </a:srgbClr>
                  </a:gs>
                </a:gsLst>
                <a:lin ang="2700000" scaled="1"/>
              </a:gradFill>
              <a:ln w="19050" cap="flat" cmpd="sng" algn="ctr">
                <a:noFill/>
                <a:prstDash val="solid"/>
                <a:headEnd type="none" w="med" len="sm"/>
                <a:tailEnd type="arrow" w="lg" len="med"/>
              </a:ln>
              <a:effectLst/>
            </p:spPr>
            <p:txBody>
              <a:bodyPr rot="0" spcFirstLastPara="0" vertOverflow="overflow" horzOverflow="overflow" vert="horz" wrap="square" lIns="137160" tIns="91440" rIns="137160" bIns="137160" numCol="1" spcCol="0" rtlCol="0" fromWordArt="0" anchor="ctr" anchorCtr="0" forceAA="0" compatLnSpc="1">
                <a:prstTxWarp prst="textNoShape">
                  <a:avLst/>
                </a:prstTxWarp>
                <a:noAutofit/>
              </a:bodyPr>
              <a:lstStyle/>
              <a:p>
                <a:pPr defTabSz="932754">
                  <a:spcAft>
                    <a:spcPts val="600"/>
                  </a:spcAft>
                  <a:buSzPct val="90000"/>
                </a:pPr>
                <a:endParaRPr lang="en-US" sz="1900" kern="0">
                  <a:solidFill>
                    <a:srgbClr val="FFFFFF"/>
                  </a:solidFill>
                  <a:cs typeface="Segoe Sans Display Semilight" pitchFamily="2" charset="0"/>
                </a:endParaRPr>
              </a:p>
            </p:txBody>
          </p:sp>
          <p:sp>
            <p:nvSpPr>
              <p:cNvPr id="82" name="Oval 81">
                <a:extLst>
                  <a:ext uri="{FF2B5EF4-FFF2-40B4-BE49-F238E27FC236}">
                    <a16:creationId xmlns:a16="http://schemas.microsoft.com/office/drawing/2014/main" id="{13B5B36B-DE4C-4B21-28DA-3EF12161EE87}"/>
                  </a:ext>
                </a:extLst>
              </p:cNvPr>
              <p:cNvSpPr/>
              <p:nvPr/>
            </p:nvSpPr>
            <p:spPr bwMode="auto">
              <a:xfrm>
                <a:off x="1457488" y="2395223"/>
                <a:ext cx="925905" cy="925905"/>
              </a:xfrm>
              <a:prstGeom prst="ellipse">
                <a:avLst/>
              </a:prstGeom>
              <a:solidFill>
                <a:srgbClr val="FFFFFF"/>
              </a:solidFill>
              <a:ln w="19050" cap="flat" cmpd="sng" algn="ctr">
                <a:gradFill>
                  <a:gsLst>
                    <a:gs pos="0">
                      <a:srgbClr val="599FFD"/>
                    </a:gs>
                    <a:gs pos="100000">
                      <a:srgbClr val="FADC14"/>
                    </a:gs>
                  </a:gsLst>
                  <a:lin ang="5400000" scaled="1"/>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kern="0">
                  <a:solidFill>
                    <a:srgbClr val="091F2C"/>
                  </a:solidFill>
                  <a:latin typeface="Segoe UI Variable Display"/>
                  <a:cs typeface="Segoe UI" pitchFamily="34" charset="0"/>
                </a:endParaRPr>
              </a:p>
            </p:txBody>
          </p:sp>
        </p:grpSp>
        <p:sp>
          <p:nvSpPr>
            <p:cNvPr id="80" name="Freeform 61">
              <a:extLst>
                <a:ext uri="{FF2B5EF4-FFF2-40B4-BE49-F238E27FC236}">
                  <a16:creationId xmlns:a16="http://schemas.microsoft.com/office/drawing/2014/main" id="{1B6E92AD-00F1-E69A-3793-776DA96B3062}"/>
                </a:ext>
                <a:ext uri="{C183D7F6-B498-43B3-948B-1728B52AA6E4}">
                  <adec:decorative xmlns:adec="http://schemas.microsoft.com/office/drawing/2017/decorative" val="1"/>
                </a:ext>
              </a:extLst>
            </p:cNvPr>
            <p:cNvSpPr/>
            <p:nvPr/>
          </p:nvSpPr>
          <p:spPr>
            <a:xfrm>
              <a:off x="6963273" y="-762567"/>
              <a:ext cx="333998" cy="333981"/>
            </a:xfrm>
            <a:custGeom>
              <a:avLst/>
              <a:gdLst>
                <a:gd name="connsiteX0" fmla="*/ 195875 w 270171"/>
                <a:gd name="connsiteY0" fmla="*/ 229646 h 270158"/>
                <a:gd name="connsiteX1" fmla="*/ 185744 w 270171"/>
                <a:gd name="connsiteY1" fmla="*/ 239777 h 270158"/>
                <a:gd name="connsiteX2" fmla="*/ 195875 w 270171"/>
                <a:gd name="connsiteY2" fmla="*/ 249909 h 270158"/>
                <a:gd name="connsiteX3" fmla="*/ 206006 w 270171"/>
                <a:gd name="connsiteY3" fmla="*/ 239777 h 270158"/>
                <a:gd name="connsiteX4" fmla="*/ 195875 w 270171"/>
                <a:gd name="connsiteY4" fmla="*/ 229646 h 270158"/>
                <a:gd name="connsiteX5" fmla="*/ 195821 w 270171"/>
                <a:gd name="connsiteY5" fmla="*/ 162103 h 270158"/>
                <a:gd name="connsiteX6" fmla="*/ 189067 w 270171"/>
                <a:gd name="connsiteY6" fmla="*/ 168857 h 270158"/>
                <a:gd name="connsiteX7" fmla="*/ 189067 w 270171"/>
                <a:gd name="connsiteY7" fmla="*/ 209383 h 270158"/>
                <a:gd name="connsiteX8" fmla="*/ 195821 w 270171"/>
                <a:gd name="connsiteY8" fmla="*/ 216137 h 270158"/>
                <a:gd name="connsiteX9" fmla="*/ 202575 w 270171"/>
                <a:gd name="connsiteY9" fmla="*/ 209383 h 270158"/>
                <a:gd name="connsiteX10" fmla="*/ 202575 w 270171"/>
                <a:gd name="connsiteY10" fmla="*/ 168857 h 270158"/>
                <a:gd name="connsiteX11" fmla="*/ 195821 w 270171"/>
                <a:gd name="connsiteY11" fmla="*/ 162103 h 270158"/>
                <a:gd name="connsiteX12" fmla="*/ 64166 w 270171"/>
                <a:gd name="connsiteY12" fmla="*/ 158726 h 270158"/>
                <a:gd name="connsiteX13" fmla="*/ 50657 w 270171"/>
                <a:gd name="connsiteY13" fmla="*/ 172234 h 270158"/>
                <a:gd name="connsiteX14" fmla="*/ 64166 w 270171"/>
                <a:gd name="connsiteY14" fmla="*/ 185743 h 270158"/>
                <a:gd name="connsiteX15" fmla="*/ 77674 w 270171"/>
                <a:gd name="connsiteY15" fmla="*/ 172234 h 270158"/>
                <a:gd name="connsiteX16" fmla="*/ 64166 w 270171"/>
                <a:gd name="connsiteY16" fmla="*/ 158726 h 270158"/>
                <a:gd name="connsiteX17" fmla="*/ 190580 w 270171"/>
                <a:gd name="connsiteY17" fmla="*/ 135802 h 270158"/>
                <a:gd name="connsiteX18" fmla="*/ 213409 w 270171"/>
                <a:gd name="connsiteY18" fmla="*/ 145285 h 270158"/>
                <a:gd name="connsiteX19" fmla="*/ 267498 w 270171"/>
                <a:gd name="connsiteY19" fmla="*/ 239818 h 270158"/>
                <a:gd name="connsiteX20" fmla="*/ 269456 w 270171"/>
                <a:gd name="connsiteY20" fmla="*/ 255204 h 270158"/>
                <a:gd name="connsiteX21" fmla="*/ 249950 w 270171"/>
                <a:gd name="connsiteY21" fmla="*/ 270158 h 270158"/>
                <a:gd name="connsiteX22" fmla="*/ 141800 w 270171"/>
                <a:gd name="connsiteY22" fmla="*/ 270158 h 270158"/>
                <a:gd name="connsiteX23" fmla="*/ 127508 w 270171"/>
                <a:gd name="connsiteY23" fmla="*/ 264214 h 270158"/>
                <a:gd name="connsiteX24" fmla="*/ 124266 w 270171"/>
                <a:gd name="connsiteY24" fmla="*/ 239818 h 270158"/>
                <a:gd name="connsiteX25" fmla="*/ 178327 w 270171"/>
                <a:gd name="connsiteY25" fmla="*/ 145271 h 270158"/>
                <a:gd name="connsiteX26" fmla="*/ 190580 w 270171"/>
                <a:gd name="connsiteY26" fmla="*/ 135802 h 270158"/>
                <a:gd name="connsiteX27" fmla="*/ 64166 w 270171"/>
                <a:gd name="connsiteY27" fmla="*/ 108069 h 270158"/>
                <a:gd name="connsiteX28" fmla="*/ 50657 w 270171"/>
                <a:gd name="connsiteY28" fmla="*/ 121577 h 270158"/>
                <a:gd name="connsiteX29" fmla="*/ 64166 w 270171"/>
                <a:gd name="connsiteY29" fmla="*/ 135086 h 270158"/>
                <a:gd name="connsiteX30" fmla="*/ 77674 w 270171"/>
                <a:gd name="connsiteY30" fmla="*/ 121577 h 270158"/>
                <a:gd name="connsiteX31" fmla="*/ 64166 w 270171"/>
                <a:gd name="connsiteY31" fmla="*/ 108069 h 270158"/>
                <a:gd name="connsiteX32" fmla="*/ 111446 w 270171"/>
                <a:gd name="connsiteY32" fmla="*/ 60789 h 270158"/>
                <a:gd name="connsiteX33" fmla="*/ 101314 w 270171"/>
                <a:gd name="connsiteY33" fmla="*/ 70920 h 270158"/>
                <a:gd name="connsiteX34" fmla="*/ 111446 w 270171"/>
                <a:gd name="connsiteY34" fmla="*/ 81052 h 270158"/>
                <a:gd name="connsiteX35" fmla="*/ 185743 w 270171"/>
                <a:gd name="connsiteY35" fmla="*/ 81052 h 270158"/>
                <a:gd name="connsiteX36" fmla="*/ 195874 w 270171"/>
                <a:gd name="connsiteY36" fmla="*/ 70920 h 270158"/>
                <a:gd name="connsiteX37" fmla="*/ 185743 w 270171"/>
                <a:gd name="connsiteY37" fmla="*/ 60789 h 270158"/>
                <a:gd name="connsiteX38" fmla="*/ 64166 w 270171"/>
                <a:gd name="connsiteY38" fmla="*/ 57411 h 270158"/>
                <a:gd name="connsiteX39" fmla="*/ 50657 w 270171"/>
                <a:gd name="connsiteY39" fmla="*/ 70920 h 270158"/>
                <a:gd name="connsiteX40" fmla="*/ 64166 w 270171"/>
                <a:gd name="connsiteY40" fmla="*/ 84429 h 270158"/>
                <a:gd name="connsiteX41" fmla="*/ 77674 w 270171"/>
                <a:gd name="connsiteY41" fmla="*/ 70920 h 270158"/>
                <a:gd name="connsiteX42" fmla="*/ 64166 w 270171"/>
                <a:gd name="connsiteY42" fmla="*/ 57411 h 270158"/>
                <a:gd name="connsiteX43" fmla="*/ 30394 w 270171"/>
                <a:gd name="connsiteY43" fmla="*/ 0 h 270158"/>
                <a:gd name="connsiteX44" fmla="*/ 212760 w 270171"/>
                <a:gd name="connsiteY44" fmla="*/ 0 h 270158"/>
                <a:gd name="connsiteX45" fmla="*/ 243155 w 270171"/>
                <a:gd name="connsiteY45" fmla="*/ 30394 h 270158"/>
                <a:gd name="connsiteX46" fmla="*/ 243155 w 270171"/>
                <a:gd name="connsiteY46" fmla="*/ 170060 h 270158"/>
                <a:gd name="connsiteX47" fmla="*/ 225148 w 270171"/>
                <a:gd name="connsiteY47" fmla="*/ 138571 h 270158"/>
                <a:gd name="connsiteX48" fmla="*/ 195874 w 270171"/>
                <a:gd name="connsiteY48" fmla="*/ 121577 h 270158"/>
                <a:gd name="connsiteX49" fmla="*/ 185743 w 270171"/>
                <a:gd name="connsiteY49" fmla="*/ 111446 h 270158"/>
                <a:gd name="connsiteX50" fmla="*/ 111446 w 270171"/>
                <a:gd name="connsiteY50" fmla="*/ 111446 h 270158"/>
                <a:gd name="connsiteX51" fmla="*/ 101314 w 270171"/>
                <a:gd name="connsiteY51" fmla="*/ 121577 h 270158"/>
                <a:gd name="connsiteX52" fmla="*/ 111446 w 270171"/>
                <a:gd name="connsiteY52" fmla="*/ 131709 h 270158"/>
                <a:gd name="connsiteX53" fmla="*/ 171775 w 270171"/>
                <a:gd name="connsiteY53" fmla="*/ 131709 h 270158"/>
                <a:gd name="connsiteX54" fmla="*/ 166601 w 270171"/>
                <a:gd name="connsiteY54" fmla="*/ 138571 h 270158"/>
                <a:gd name="connsiteX55" fmla="*/ 153147 w 270171"/>
                <a:gd name="connsiteY55" fmla="*/ 162103 h 270158"/>
                <a:gd name="connsiteX56" fmla="*/ 111446 w 270171"/>
                <a:gd name="connsiteY56" fmla="*/ 162103 h 270158"/>
                <a:gd name="connsiteX57" fmla="*/ 101314 w 270171"/>
                <a:gd name="connsiteY57" fmla="*/ 172234 h 270158"/>
                <a:gd name="connsiteX58" fmla="*/ 111446 w 270171"/>
                <a:gd name="connsiteY58" fmla="*/ 182366 h 270158"/>
                <a:gd name="connsiteX59" fmla="*/ 141570 w 270171"/>
                <a:gd name="connsiteY59" fmla="*/ 182366 h 270158"/>
                <a:gd name="connsiteX60" fmla="*/ 112527 w 270171"/>
                <a:gd name="connsiteY60" fmla="*/ 233104 h 270158"/>
                <a:gd name="connsiteX61" fmla="*/ 108744 w 270171"/>
                <a:gd name="connsiteY61" fmla="*/ 243155 h 270158"/>
                <a:gd name="connsiteX62" fmla="*/ 30394 w 270171"/>
                <a:gd name="connsiteY62" fmla="*/ 243155 h 270158"/>
                <a:gd name="connsiteX63" fmla="*/ 0 w 270171"/>
                <a:gd name="connsiteY63" fmla="*/ 212760 h 270158"/>
                <a:gd name="connsiteX64" fmla="*/ 0 w 270171"/>
                <a:gd name="connsiteY64" fmla="*/ 30394 h 270158"/>
                <a:gd name="connsiteX65" fmla="*/ 30394 w 270171"/>
                <a:gd name="connsiteY65" fmla="*/ 0 h 270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270171" h="270158">
                  <a:moveTo>
                    <a:pt x="195875" y="229646"/>
                  </a:moveTo>
                  <a:cubicBezTo>
                    <a:pt x="190280" y="229646"/>
                    <a:pt x="185744" y="234182"/>
                    <a:pt x="185744" y="239777"/>
                  </a:cubicBezTo>
                  <a:cubicBezTo>
                    <a:pt x="185744" y="245373"/>
                    <a:pt x="190280" y="249909"/>
                    <a:pt x="195875" y="249909"/>
                  </a:cubicBezTo>
                  <a:cubicBezTo>
                    <a:pt x="201470" y="249909"/>
                    <a:pt x="206006" y="245373"/>
                    <a:pt x="206006" y="239777"/>
                  </a:cubicBezTo>
                  <a:cubicBezTo>
                    <a:pt x="206006" y="234182"/>
                    <a:pt x="201470" y="229646"/>
                    <a:pt x="195875" y="229646"/>
                  </a:cubicBezTo>
                  <a:close/>
                  <a:moveTo>
                    <a:pt x="195821" y="162103"/>
                  </a:moveTo>
                  <a:cubicBezTo>
                    <a:pt x="192091" y="162103"/>
                    <a:pt x="189067" y="165127"/>
                    <a:pt x="189067" y="168857"/>
                  </a:cubicBezTo>
                  <a:lnTo>
                    <a:pt x="189067" y="209383"/>
                  </a:lnTo>
                  <a:cubicBezTo>
                    <a:pt x="189067" y="213113"/>
                    <a:pt x="192091" y="216137"/>
                    <a:pt x="195821" y="216137"/>
                  </a:cubicBezTo>
                  <a:cubicBezTo>
                    <a:pt x="199551" y="216137"/>
                    <a:pt x="202575" y="213113"/>
                    <a:pt x="202575" y="209383"/>
                  </a:cubicBezTo>
                  <a:lnTo>
                    <a:pt x="202575" y="168857"/>
                  </a:lnTo>
                  <a:cubicBezTo>
                    <a:pt x="202575" y="165127"/>
                    <a:pt x="199551" y="162103"/>
                    <a:pt x="195821" y="162103"/>
                  </a:cubicBezTo>
                  <a:close/>
                  <a:moveTo>
                    <a:pt x="64166" y="158726"/>
                  </a:moveTo>
                  <a:cubicBezTo>
                    <a:pt x="56705" y="158726"/>
                    <a:pt x="50657" y="164774"/>
                    <a:pt x="50657" y="172234"/>
                  </a:cubicBezTo>
                  <a:cubicBezTo>
                    <a:pt x="50657" y="179695"/>
                    <a:pt x="56705" y="185743"/>
                    <a:pt x="64166" y="185743"/>
                  </a:cubicBezTo>
                  <a:cubicBezTo>
                    <a:pt x="71626" y="185743"/>
                    <a:pt x="77674" y="179695"/>
                    <a:pt x="77674" y="172234"/>
                  </a:cubicBezTo>
                  <a:cubicBezTo>
                    <a:pt x="77674" y="164774"/>
                    <a:pt x="71626" y="158726"/>
                    <a:pt x="64166" y="158726"/>
                  </a:cubicBezTo>
                  <a:close/>
                  <a:moveTo>
                    <a:pt x="190580" y="135802"/>
                  </a:moveTo>
                  <a:cubicBezTo>
                    <a:pt x="199460" y="133407"/>
                    <a:pt x="208839" y="137303"/>
                    <a:pt x="213409" y="145285"/>
                  </a:cubicBezTo>
                  <a:lnTo>
                    <a:pt x="267498" y="239818"/>
                  </a:lnTo>
                  <a:cubicBezTo>
                    <a:pt x="270267" y="244681"/>
                    <a:pt x="270821" y="250192"/>
                    <a:pt x="269456" y="255204"/>
                  </a:cubicBezTo>
                  <a:cubicBezTo>
                    <a:pt x="267093" y="264033"/>
                    <a:pt x="259089" y="270169"/>
                    <a:pt x="249950" y="270158"/>
                  </a:cubicBezTo>
                  <a:lnTo>
                    <a:pt x="141800" y="270158"/>
                  </a:lnTo>
                  <a:cubicBezTo>
                    <a:pt x="136221" y="270158"/>
                    <a:pt x="131169" y="267902"/>
                    <a:pt x="127508" y="264214"/>
                  </a:cubicBezTo>
                  <a:cubicBezTo>
                    <a:pt x="121025" y="257756"/>
                    <a:pt x="119694" y="247745"/>
                    <a:pt x="124266" y="239818"/>
                  </a:cubicBezTo>
                  <a:lnTo>
                    <a:pt x="178327" y="145271"/>
                  </a:lnTo>
                  <a:cubicBezTo>
                    <a:pt x="180985" y="140607"/>
                    <a:pt x="185396" y="137198"/>
                    <a:pt x="190580" y="135802"/>
                  </a:cubicBezTo>
                  <a:close/>
                  <a:moveTo>
                    <a:pt x="64166" y="108069"/>
                  </a:moveTo>
                  <a:cubicBezTo>
                    <a:pt x="56705" y="108069"/>
                    <a:pt x="50657" y="114117"/>
                    <a:pt x="50657" y="121577"/>
                  </a:cubicBezTo>
                  <a:cubicBezTo>
                    <a:pt x="50657" y="129038"/>
                    <a:pt x="56705" y="135086"/>
                    <a:pt x="64166" y="135086"/>
                  </a:cubicBezTo>
                  <a:cubicBezTo>
                    <a:pt x="71626" y="135086"/>
                    <a:pt x="77674" y="129038"/>
                    <a:pt x="77674" y="121577"/>
                  </a:cubicBezTo>
                  <a:cubicBezTo>
                    <a:pt x="77674" y="114117"/>
                    <a:pt x="71626" y="108069"/>
                    <a:pt x="64166" y="108069"/>
                  </a:cubicBezTo>
                  <a:close/>
                  <a:moveTo>
                    <a:pt x="111446" y="60789"/>
                  </a:moveTo>
                  <a:cubicBezTo>
                    <a:pt x="105850" y="60789"/>
                    <a:pt x="101314" y="65325"/>
                    <a:pt x="101314" y="70920"/>
                  </a:cubicBezTo>
                  <a:cubicBezTo>
                    <a:pt x="101314" y="76515"/>
                    <a:pt x="105850" y="81052"/>
                    <a:pt x="111446" y="81052"/>
                  </a:cubicBezTo>
                  <a:lnTo>
                    <a:pt x="185743" y="81052"/>
                  </a:lnTo>
                  <a:cubicBezTo>
                    <a:pt x="191338" y="81052"/>
                    <a:pt x="195874" y="76515"/>
                    <a:pt x="195874" y="70920"/>
                  </a:cubicBezTo>
                  <a:cubicBezTo>
                    <a:pt x="195874" y="65325"/>
                    <a:pt x="191338" y="60789"/>
                    <a:pt x="185743" y="60789"/>
                  </a:cubicBezTo>
                  <a:close/>
                  <a:moveTo>
                    <a:pt x="64166" y="57411"/>
                  </a:moveTo>
                  <a:cubicBezTo>
                    <a:pt x="56705" y="57411"/>
                    <a:pt x="50657" y="63459"/>
                    <a:pt x="50657" y="70920"/>
                  </a:cubicBezTo>
                  <a:cubicBezTo>
                    <a:pt x="50657" y="78381"/>
                    <a:pt x="56705" y="84429"/>
                    <a:pt x="64166" y="84429"/>
                  </a:cubicBezTo>
                  <a:cubicBezTo>
                    <a:pt x="71626" y="84429"/>
                    <a:pt x="77674" y="78381"/>
                    <a:pt x="77674" y="70920"/>
                  </a:cubicBezTo>
                  <a:cubicBezTo>
                    <a:pt x="77674" y="63459"/>
                    <a:pt x="71626" y="57411"/>
                    <a:pt x="64166" y="57411"/>
                  </a:cubicBezTo>
                  <a:close/>
                  <a:moveTo>
                    <a:pt x="30394" y="0"/>
                  </a:moveTo>
                  <a:lnTo>
                    <a:pt x="212760" y="0"/>
                  </a:lnTo>
                  <a:cubicBezTo>
                    <a:pt x="229547" y="0"/>
                    <a:pt x="243155" y="13608"/>
                    <a:pt x="243155" y="30394"/>
                  </a:cubicBezTo>
                  <a:lnTo>
                    <a:pt x="243155" y="170060"/>
                  </a:lnTo>
                  <a:lnTo>
                    <a:pt x="225148" y="138571"/>
                  </a:lnTo>
                  <a:cubicBezTo>
                    <a:pt x="219144" y="128066"/>
                    <a:pt x="207974" y="121582"/>
                    <a:pt x="195874" y="121577"/>
                  </a:cubicBezTo>
                  <a:cubicBezTo>
                    <a:pt x="195874" y="115982"/>
                    <a:pt x="191338" y="111446"/>
                    <a:pt x="185743" y="111446"/>
                  </a:cubicBezTo>
                  <a:lnTo>
                    <a:pt x="111446" y="111446"/>
                  </a:lnTo>
                  <a:cubicBezTo>
                    <a:pt x="105850" y="111446"/>
                    <a:pt x="101314" y="115982"/>
                    <a:pt x="101314" y="121577"/>
                  </a:cubicBezTo>
                  <a:cubicBezTo>
                    <a:pt x="101314" y="127173"/>
                    <a:pt x="105850" y="131709"/>
                    <a:pt x="111446" y="131709"/>
                  </a:cubicBezTo>
                  <a:lnTo>
                    <a:pt x="171775" y="131709"/>
                  </a:lnTo>
                  <a:cubicBezTo>
                    <a:pt x="169816" y="133721"/>
                    <a:pt x="168060" y="136004"/>
                    <a:pt x="166601" y="138571"/>
                  </a:cubicBezTo>
                  <a:lnTo>
                    <a:pt x="153147" y="162103"/>
                  </a:lnTo>
                  <a:lnTo>
                    <a:pt x="111446" y="162103"/>
                  </a:lnTo>
                  <a:cubicBezTo>
                    <a:pt x="105850" y="162103"/>
                    <a:pt x="101314" y="166639"/>
                    <a:pt x="101314" y="172234"/>
                  </a:cubicBezTo>
                  <a:cubicBezTo>
                    <a:pt x="101314" y="177830"/>
                    <a:pt x="105850" y="182366"/>
                    <a:pt x="111446" y="182366"/>
                  </a:cubicBezTo>
                  <a:lnTo>
                    <a:pt x="141570" y="182366"/>
                  </a:lnTo>
                  <a:lnTo>
                    <a:pt x="112527" y="233104"/>
                  </a:lnTo>
                  <a:cubicBezTo>
                    <a:pt x="110730" y="236252"/>
                    <a:pt x="109460" y="239642"/>
                    <a:pt x="108744" y="243155"/>
                  </a:cubicBezTo>
                  <a:lnTo>
                    <a:pt x="30394" y="243155"/>
                  </a:lnTo>
                  <a:cubicBezTo>
                    <a:pt x="13608" y="243155"/>
                    <a:pt x="0" y="229547"/>
                    <a:pt x="0" y="212760"/>
                  </a:cubicBezTo>
                  <a:lnTo>
                    <a:pt x="0" y="30394"/>
                  </a:lnTo>
                  <a:cubicBezTo>
                    <a:pt x="0" y="13608"/>
                    <a:pt x="13608" y="0"/>
                    <a:pt x="30394" y="0"/>
                  </a:cubicBezTo>
                  <a:close/>
                </a:path>
              </a:pathLst>
            </a:custGeom>
            <a:solidFill>
              <a:schemeClr val="tx1"/>
            </a:solidFill>
            <a:ln w="30509" cap="flat">
              <a:noFill/>
              <a:prstDash val="solid"/>
              <a:miter/>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nvGrpSpPr>
          <p:cNvPr id="83" name="Group 82">
            <a:extLst>
              <a:ext uri="{FF2B5EF4-FFF2-40B4-BE49-F238E27FC236}">
                <a16:creationId xmlns:a16="http://schemas.microsoft.com/office/drawing/2014/main" id="{44BE18D2-2C2F-BF4B-CC45-4B340EEF7994}"/>
              </a:ext>
              <a:ext uri="{C183D7F6-B498-43B3-948B-1728B52AA6E4}">
                <adec:decorative xmlns:adec="http://schemas.microsoft.com/office/drawing/2017/decorative" val="1"/>
              </a:ext>
            </a:extLst>
          </p:cNvPr>
          <p:cNvGrpSpPr/>
          <p:nvPr/>
        </p:nvGrpSpPr>
        <p:grpSpPr>
          <a:xfrm>
            <a:off x="9657378" y="1878382"/>
            <a:ext cx="1234440" cy="1234440"/>
            <a:chOff x="10842887" y="1514449"/>
            <a:chExt cx="822960" cy="822960"/>
          </a:xfrm>
        </p:grpSpPr>
        <p:grpSp>
          <p:nvGrpSpPr>
            <p:cNvPr id="84" name="Group 83">
              <a:extLst>
                <a:ext uri="{FF2B5EF4-FFF2-40B4-BE49-F238E27FC236}">
                  <a16:creationId xmlns:a16="http://schemas.microsoft.com/office/drawing/2014/main" id="{C358E7C9-321A-A12B-9D72-ED0C215280AD}"/>
                </a:ext>
              </a:extLst>
            </p:cNvPr>
            <p:cNvGrpSpPr/>
            <p:nvPr/>
          </p:nvGrpSpPr>
          <p:grpSpPr>
            <a:xfrm>
              <a:off x="10842887" y="1514449"/>
              <a:ext cx="822960" cy="822960"/>
              <a:chOff x="1303496" y="2241231"/>
              <a:chExt cx="1233888" cy="1233888"/>
            </a:xfrm>
            <a:solidFill>
              <a:srgbClr val="F3CAF7"/>
            </a:solidFill>
          </p:grpSpPr>
          <p:sp>
            <p:nvSpPr>
              <p:cNvPr id="88" name="Oval 87">
                <a:extLst>
                  <a:ext uri="{FF2B5EF4-FFF2-40B4-BE49-F238E27FC236}">
                    <a16:creationId xmlns:a16="http://schemas.microsoft.com/office/drawing/2014/main" id="{48676F11-BD67-DDAC-23E9-C87306DFEE37}"/>
                  </a:ext>
                </a:extLst>
              </p:cNvPr>
              <p:cNvSpPr/>
              <p:nvPr/>
            </p:nvSpPr>
            <p:spPr bwMode="auto">
              <a:xfrm>
                <a:off x="1303496" y="2241231"/>
                <a:ext cx="1233888" cy="1233888"/>
              </a:xfrm>
              <a:prstGeom prst="ellipse">
                <a:avLst/>
              </a:prstGeom>
              <a:gradFill>
                <a:gsLst>
                  <a:gs pos="0">
                    <a:srgbClr val="0360DB">
                      <a:alpha val="50000"/>
                    </a:srgbClr>
                  </a:gs>
                  <a:gs pos="85000">
                    <a:srgbClr val="FADC14">
                      <a:alpha val="50000"/>
                    </a:srgbClr>
                  </a:gs>
                </a:gsLst>
                <a:lin ang="2700000" scaled="1"/>
              </a:gradFill>
              <a:ln w="19050" cap="flat" cmpd="sng" algn="ctr">
                <a:noFill/>
                <a:prstDash val="solid"/>
                <a:headEnd type="none" w="med" len="sm"/>
                <a:tailEnd type="arrow" w="lg" len="med"/>
              </a:ln>
              <a:effectLst/>
            </p:spPr>
            <p:txBody>
              <a:bodyPr rot="0" spcFirstLastPara="0" vertOverflow="overflow" horzOverflow="overflow" vert="horz" wrap="square" lIns="137160" tIns="91440" rIns="137160" bIns="137160" numCol="1" spcCol="0" rtlCol="0" fromWordArt="0" anchor="ctr" anchorCtr="0" forceAA="0" compatLnSpc="1">
                <a:prstTxWarp prst="textNoShape">
                  <a:avLst/>
                </a:prstTxWarp>
                <a:noAutofit/>
              </a:bodyPr>
              <a:lstStyle/>
              <a:p>
                <a:pPr defTabSz="932754">
                  <a:spcAft>
                    <a:spcPts val="600"/>
                  </a:spcAft>
                  <a:buSzPct val="90000"/>
                </a:pPr>
                <a:endParaRPr lang="en-US" sz="1900" kern="0">
                  <a:solidFill>
                    <a:srgbClr val="FFFFFF"/>
                  </a:solidFill>
                  <a:cs typeface="Segoe Sans Display Semilight" pitchFamily="2" charset="0"/>
                </a:endParaRPr>
              </a:p>
            </p:txBody>
          </p:sp>
          <p:sp>
            <p:nvSpPr>
              <p:cNvPr id="89" name="Oval 88">
                <a:extLst>
                  <a:ext uri="{FF2B5EF4-FFF2-40B4-BE49-F238E27FC236}">
                    <a16:creationId xmlns:a16="http://schemas.microsoft.com/office/drawing/2014/main" id="{184DB894-FAB1-1D70-4DC3-7E5C67B05F3E}"/>
                  </a:ext>
                </a:extLst>
              </p:cNvPr>
              <p:cNvSpPr/>
              <p:nvPr/>
            </p:nvSpPr>
            <p:spPr bwMode="auto">
              <a:xfrm>
                <a:off x="1457488" y="2395223"/>
                <a:ext cx="925905" cy="925905"/>
              </a:xfrm>
              <a:prstGeom prst="ellipse">
                <a:avLst/>
              </a:prstGeom>
              <a:solidFill>
                <a:srgbClr val="FFFFFF"/>
              </a:solidFill>
              <a:ln w="19050" cap="flat" cmpd="sng" algn="ctr">
                <a:gradFill>
                  <a:gsLst>
                    <a:gs pos="0">
                      <a:srgbClr val="599FFD"/>
                    </a:gs>
                    <a:gs pos="100000">
                      <a:srgbClr val="FADC14"/>
                    </a:gs>
                  </a:gsLst>
                  <a:lin ang="5400000" scaled="1"/>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kern="0">
                  <a:solidFill>
                    <a:srgbClr val="091F2C"/>
                  </a:solidFill>
                  <a:latin typeface="Segoe UI Variable Display"/>
                  <a:cs typeface="Segoe UI" pitchFamily="34" charset="0"/>
                </a:endParaRPr>
              </a:p>
            </p:txBody>
          </p:sp>
        </p:grpSp>
        <p:grpSp>
          <p:nvGrpSpPr>
            <p:cNvPr id="85" name="Group 84">
              <a:extLst>
                <a:ext uri="{FF2B5EF4-FFF2-40B4-BE49-F238E27FC236}">
                  <a16:creationId xmlns:a16="http://schemas.microsoft.com/office/drawing/2014/main" id="{DDF2A97E-9F76-80C8-56A5-1AA80D755092}"/>
                </a:ext>
              </a:extLst>
            </p:cNvPr>
            <p:cNvGrpSpPr/>
            <p:nvPr/>
          </p:nvGrpSpPr>
          <p:grpSpPr>
            <a:xfrm>
              <a:off x="11005930" y="1677492"/>
              <a:ext cx="496874" cy="496874"/>
              <a:chOff x="9163442" y="3625658"/>
              <a:chExt cx="659766" cy="659766"/>
            </a:xfrm>
          </p:grpSpPr>
          <p:pic>
            <p:nvPicPr>
              <p:cNvPr id="86" name="Graphic 85">
                <a:extLst>
                  <a:ext uri="{FF2B5EF4-FFF2-40B4-BE49-F238E27FC236}">
                    <a16:creationId xmlns:a16="http://schemas.microsoft.com/office/drawing/2014/main" id="{5133C99C-D0AB-9477-91CB-8C3C46C2996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163442" y="3625658"/>
                <a:ext cx="659766" cy="659766"/>
              </a:xfrm>
              <a:prstGeom prst="rect">
                <a:avLst/>
              </a:prstGeom>
            </p:spPr>
          </p:pic>
          <p:pic>
            <p:nvPicPr>
              <p:cNvPr id="87" name="Graphic 86">
                <a:extLst>
                  <a:ext uri="{FF2B5EF4-FFF2-40B4-BE49-F238E27FC236}">
                    <a16:creationId xmlns:a16="http://schemas.microsoft.com/office/drawing/2014/main" id="{63279F2C-DF9E-4633-3770-4C6EA085566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387756" y="3806836"/>
                <a:ext cx="211139" cy="211139"/>
              </a:xfrm>
              <a:prstGeom prst="rect">
                <a:avLst/>
              </a:prstGeom>
            </p:spPr>
          </p:pic>
        </p:grpSp>
      </p:grpSp>
    </p:spTree>
    <p:extLst>
      <p:ext uri="{BB962C8B-B14F-4D97-AF65-F5344CB8AC3E}">
        <p14:creationId xmlns:p14="http://schemas.microsoft.com/office/powerpoint/2010/main" val="2473013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7"/>
                                        </p:tgtEl>
                                        <p:attrNameLst>
                                          <p:attrName>style.visibility</p:attrName>
                                        </p:attrNameLst>
                                      </p:cBhvr>
                                      <p:to>
                                        <p:strVal val="visible"/>
                                      </p:to>
                                    </p:set>
                                    <p:animEffect transition="in" filter="fade">
                                      <p:cBhvr>
                                        <p:cTn id="7" dur="500"/>
                                        <p:tgtEl>
                                          <p:spTgt spid="77"/>
                                        </p:tgtEl>
                                      </p:cBhvr>
                                    </p:animEffect>
                                  </p:childTnLst>
                                </p:cTn>
                              </p:par>
                              <p:par>
                                <p:cTn id="8" presetID="42" presetClass="path" presetSubtype="0" decel="100000" fill="hold" grpId="1" nodeType="withEffect">
                                  <p:stCondLst>
                                    <p:cond delay="0"/>
                                  </p:stCondLst>
                                  <p:childTnLst>
                                    <p:animMotion origin="layout" path="M 0 -2.96296E-6 L 0 0.03542 " pathEditMode="relative" rAng="0" ptsTypes="AA">
                                      <p:cBhvr>
                                        <p:cTn id="9" dur="700" spd="-100000" fill="hold"/>
                                        <p:tgtEl>
                                          <p:spTgt spid="77"/>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52"/>
                                        </p:tgtEl>
                                        <p:attrNameLst>
                                          <p:attrName>style.visibility</p:attrName>
                                        </p:attrNameLst>
                                      </p:cBhvr>
                                      <p:to>
                                        <p:strVal val="visible"/>
                                      </p:to>
                                    </p:set>
                                    <p:animEffect transition="in" filter="fade">
                                      <p:cBhvr>
                                        <p:cTn id="12" dur="500"/>
                                        <p:tgtEl>
                                          <p:spTgt spid="52"/>
                                        </p:tgtEl>
                                      </p:cBhvr>
                                    </p:animEffect>
                                  </p:childTnLst>
                                </p:cTn>
                              </p:par>
                              <p:par>
                                <p:cTn id="13" presetID="42" presetClass="path" presetSubtype="0" decel="100000" fill="hold" grpId="1" nodeType="withEffect">
                                  <p:stCondLst>
                                    <p:cond delay="100"/>
                                  </p:stCondLst>
                                  <p:childTnLst>
                                    <p:animMotion origin="layout" path="M -1.66667E-6 -2.59259E-6 L -1.66667E-6 0.03542 " pathEditMode="relative" rAng="0" ptsTypes="AA">
                                      <p:cBhvr>
                                        <p:cTn id="14" dur="700" spd="-100000" fill="hold"/>
                                        <p:tgtEl>
                                          <p:spTgt spid="52"/>
                                        </p:tgtEl>
                                        <p:attrNameLst>
                                          <p:attrName>ppt_x</p:attrName>
                                          <p:attrName>ppt_y</p:attrName>
                                        </p:attrNameLst>
                                      </p:cBhvr>
                                      <p:rCtr x="0" y="1759"/>
                                    </p:animMotion>
                                  </p:childTnLst>
                                </p:cTn>
                              </p:par>
                              <p:par>
                                <p:cTn id="15" presetID="10" presetClass="entr" presetSubtype="0" fill="hold" grpId="0" nodeType="withEffect">
                                  <p:stCondLst>
                                    <p:cond delay="100"/>
                                  </p:stCondLst>
                                  <p:childTnLst>
                                    <p:set>
                                      <p:cBhvr>
                                        <p:cTn id="16" dur="1" fill="hold">
                                          <p:stCondLst>
                                            <p:cond delay="0"/>
                                          </p:stCondLst>
                                        </p:cTn>
                                        <p:tgtEl>
                                          <p:spTgt spid="53"/>
                                        </p:tgtEl>
                                        <p:attrNameLst>
                                          <p:attrName>style.visibility</p:attrName>
                                        </p:attrNameLst>
                                      </p:cBhvr>
                                      <p:to>
                                        <p:strVal val="visible"/>
                                      </p:to>
                                    </p:set>
                                    <p:animEffect transition="in" filter="fade">
                                      <p:cBhvr>
                                        <p:cTn id="17" dur="500"/>
                                        <p:tgtEl>
                                          <p:spTgt spid="53"/>
                                        </p:tgtEl>
                                      </p:cBhvr>
                                    </p:animEffect>
                                  </p:childTnLst>
                                </p:cTn>
                              </p:par>
                              <p:par>
                                <p:cTn id="18" presetID="42" presetClass="path" presetSubtype="0" decel="100000" fill="hold" grpId="1" nodeType="withEffect">
                                  <p:stCondLst>
                                    <p:cond delay="100"/>
                                  </p:stCondLst>
                                  <p:childTnLst>
                                    <p:animMotion origin="layout" path="M -1.66667E-6 -3.33333E-6 L -1.66667E-6 0.03542 " pathEditMode="relative" rAng="0" ptsTypes="AA">
                                      <p:cBhvr>
                                        <p:cTn id="19" dur="700" spd="-100000" fill="hold"/>
                                        <p:tgtEl>
                                          <p:spTgt spid="53"/>
                                        </p:tgtEl>
                                        <p:attrNameLst>
                                          <p:attrName>ppt_x</p:attrName>
                                          <p:attrName>ppt_y</p:attrName>
                                        </p:attrNameLst>
                                      </p:cBhvr>
                                      <p:rCtr x="0" y="1759"/>
                                    </p:animMotion>
                                  </p:childTnLst>
                                </p:cTn>
                              </p:par>
                              <p:par>
                                <p:cTn id="20" presetID="10" presetClass="entr" presetSubtype="0" fill="hold" grpId="0" nodeType="withEffect">
                                  <p:stCondLst>
                                    <p:cond delay="200"/>
                                  </p:stCondLst>
                                  <p:childTnLst>
                                    <p:set>
                                      <p:cBhvr>
                                        <p:cTn id="21" dur="1" fill="hold">
                                          <p:stCondLst>
                                            <p:cond delay="0"/>
                                          </p:stCondLst>
                                        </p:cTn>
                                        <p:tgtEl>
                                          <p:spTgt spid="54"/>
                                        </p:tgtEl>
                                        <p:attrNameLst>
                                          <p:attrName>style.visibility</p:attrName>
                                        </p:attrNameLst>
                                      </p:cBhvr>
                                      <p:to>
                                        <p:strVal val="visible"/>
                                      </p:to>
                                    </p:set>
                                    <p:animEffect transition="in" filter="fade">
                                      <p:cBhvr>
                                        <p:cTn id="22" dur="500"/>
                                        <p:tgtEl>
                                          <p:spTgt spid="54"/>
                                        </p:tgtEl>
                                      </p:cBhvr>
                                    </p:animEffect>
                                  </p:childTnLst>
                                </p:cTn>
                              </p:par>
                              <p:par>
                                <p:cTn id="23" presetID="42" presetClass="path" presetSubtype="0" decel="100000" fill="hold" grpId="1" nodeType="withEffect">
                                  <p:stCondLst>
                                    <p:cond delay="200"/>
                                  </p:stCondLst>
                                  <p:childTnLst>
                                    <p:animMotion origin="layout" path="M 2.70833E-6 -2.59259E-6 L 2.70833E-6 0.03542 " pathEditMode="relative" rAng="0" ptsTypes="AA">
                                      <p:cBhvr>
                                        <p:cTn id="24" dur="700" spd="-100000" fill="hold"/>
                                        <p:tgtEl>
                                          <p:spTgt spid="54"/>
                                        </p:tgtEl>
                                        <p:attrNameLst>
                                          <p:attrName>ppt_x</p:attrName>
                                          <p:attrName>ppt_y</p:attrName>
                                        </p:attrNameLst>
                                      </p:cBhvr>
                                      <p:rCtr x="0" y="1759"/>
                                    </p:animMotion>
                                  </p:childTnLst>
                                </p:cTn>
                              </p:par>
                              <p:par>
                                <p:cTn id="25" presetID="10" presetClass="entr" presetSubtype="0" fill="hold" grpId="0" nodeType="withEffect">
                                  <p:stCondLst>
                                    <p:cond delay="200"/>
                                  </p:stCondLst>
                                  <p:childTnLst>
                                    <p:set>
                                      <p:cBhvr>
                                        <p:cTn id="26" dur="1" fill="hold">
                                          <p:stCondLst>
                                            <p:cond delay="0"/>
                                          </p:stCondLst>
                                        </p:cTn>
                                        <p:tgtEl>
                                          <p:spTgt spid="56"/>
                                        </p:tgtEl>
                                        <p:attrNameLst>
                                          <p:attrName>style.visibility</p:attrName>
                                        </p:attrNameLst>
                                      </p:cBhvr>
                                      <p:to>
                                        <p:strVal val="visible"/>
                                      </p:to>
                                    </p:set>
                                    <p:animEffect transition="in" filter="fade">
                                      <p:cBhvr>
                                        <p:cTn id="27" dur="500"/>
                                        <p:tgtEl>
                                          <p:spTgt spid="56"/>
                                        </p:tgtEl>
                                      </p:cBhvr>
                                    </p:animEffect>
                                  </p:childTnLst>
                                </p:cTn>
                              </p:par>
                              <p:par>
                                <p:cTn id="28" presetID="42" presetClass="path" presetSubtype="0" decel="100000" fill="hold" grpId="1" nodeType="withEffect">
                                  <p:stCondLst>
                                    <p:cond delay="200"/>
                                  </p:stCondLst>
                                  <p:childTnLst>
                                    <p:animMotion origin="layout" path="M 2.70833E-6 -3.33333E-6 L 2.70833E-6 0.03542 " pathEditMode="relative" rAng="0" ptsTypes="AA">
                                      <p:cBhvr>
                                        <p:cTn id="29" dur="700" spd="-100000" fill="hold"/>
                                        <p:tgtEl>
                                          <p:spTgt spid="56"/>
                                        </p:tgtEl>
                                        <p:attrNameLst>
                                          <p:attrName>ppt_x</p:attrName>
                                          <p:attrName>ppt_y</p:attrName>
                                        </p:attrNameLst>
                                      </p:cBhvr>
                                      <p:rCtr x="0" y="1759"/>
                                    </p:animMotion>
                                  </p:childTnLst>
                                </p:cTn>
                              </p:par>
                              <p:par>
                                <p:cTn id="30" presetID="10" presetClass="entr" presetSubtype="0" fill="hold" grpId="0" nodeType="withEffect">
                                  <p:stCondLst>
                                    <p:cond delay="300"/>
                                  </p:stCondLst>
                                  <p:childTnLst>
                                    <p:set>
                                      <p:cBhvr>
                                        <p:cTn id="31" dur="1" fill="hold">
                                          <p:stCondLst>
                                            <p:cond delay="0"/>
                                          </p:stCondLst>
                                        </p:cTn>
                                        <p:tgtEl>
                                          <p:spTgt spid="57"/>
                                        </p:tgtEl>
                                        <p:attrNameLst>
                                          <p:attrName>style.visibility</p:attrName>
                                        </p:attrNameLst>
                                      </p:cBhvr>
                                      <p:to>
                                        <p:strVal val="visible"/>
                                      </p:to>
                                    </p:set>
                                    <p:animEffect transition="in" filter="fade">
                                      <p:cBhvr>
                                        <p:cTn id="32" dur="500"/>
                                        <p:tgtEl>
                                          <p:spTgt spid="57"/>
                                        </p:tgtEl>
                                      </p:cBhvr>
                                    </p:animEffect>
                                  </p:childTnLst>
                                </p:cTn>
                              </p:par>
                              <p:par>
                                <p:cTn id="33" presetID="42" presetClass="path" presetSubtype="0" decel="100000" fill="hold" grpId="1" nodeType="withEffect">
                                  <p:stCondLst>
                                    <p:cond delay="300"/>
                                  </p:stCondLst>
                                  <p:childTnLst>
                                    <p:animMotion origin="layout" path="M -2.91667E-6 -2.59259E-6 L -2.91667E-6 0.03542 " pathEditMode="relative" rAng="0" ptsTypes="AA">
                                      <p:cBhvr>
                                        <p:cTn id="34" dur="700" spd="-100000" fill="hold"/>
                                        <p:tgtEl>
                                          <p:spTgt spid="57"/>
                                        </p:tgtEl>
                                        <p:attrNameLst>
                                          <p:attrName>ppt_x</p:attrName>
                                          <p:attrName>ppt_y</p:attrName>
                                        </p:attrNameLst>
                                      </p:cBhvr>
                                      <p:rCtr x="0" y="1759"/>
                                    </p:animMotion>
                                  </p:childTnLst>
                                </p:cTn>
                              </p:par>
                              <p:par>
                                <p:cTn id="35" presetID="10" presetClass="entr" presetSubtype="0" fill="hold" grpId="0" nodeType="withEffect">
                                  <p:stCondLst>
                                    <p:cond delay="300"/>
                                  </p:stCondLst>
                                  <p:childTnLst>
                                    <p:set>
                                      <p:cBhvr>
                                        <p:cTn id="36" dur="1" fill="hold">
                                          <p:stCondLst>
                                            <p:cond delay="0"/>
                                          </p:stCondLst>
                                        </p:cTn>
                                        <p:tgtEl>
                                          <p:spTgt spid="58"/>
                                        </p:tgtEl>
                                        <p:attrNameLst>
                                          <p:attrName>style.visibility</p:attrName>
                                        </p:attrNameLst>
                                      </p:cBhvr>
                                      <p:to>
                                        <p:strVal val="visible"/>
                                      </p:to>
                                    </p:set>
                                    <p:animEffect transition="in" filter="fade">
                                      <p:cBhvr>
                                        <p:cTn id="37" dur="500"/>
                                        <p:tgtEl>
                                          <p:spTgt spid="58"/>
                                        </p:tgtEl>
                                      </p:cBhvr>
                                    </p:animEffect>
                                  </p:childTnLst>
                                </p:cTn>
                              </p:par>
                              <p:par>
                                <p:cTn id="38" presetID="42" presetClass="path" presetSubtype="0" decel="100000" fill="hold" grpId="1" nodeType="withEffect">
                                  <p:stCondLst>
                                    <p:cond delay="300"/>
                                  </p:stCondLst>
                                  <p:childTnLst>
                                    <p:animMotion origin="layout" path="M -2.91667E-6 -3.33333E-6 L -2.91667E-6 0.03542 " pathEditMode="relative" rAng="0" ptsTypes="AA">
                                      <p:cBhvr>
                                        <p:cTn id="39" dur="700" spd="-100000" fill="hold"/>
                                        <p:tgtEl>
                                          <p:spTgt spid="58"/>
                                        </p:tgtEl>
                                        <p:attrNameLst>
                                          <p:attrName>ppt_x</p:attrName>
                                          <p:attrName>ppt_y</p:attrName>
                                        </p:attrNameLst>
                                      </p:cBhvr>
                                      <p:rCtr x="0" y="1759"/>
                                    </p:animMotion>
                                  </p:childTnLst>
                                </p:cTn>
                              </p:par>
                              <p:par>
                                <p:cTn id="40" presetID="10" presetClass="entr" presetSubtype="0" fill="hold" grpId="0" nodeType="withEffect">
                                  <p:stCondLst>
                                    <p:cond delay="400"/>
                                  </p:stCondLst>
                                  <p:childTnLst>
                                    <p:set>
                                      <p:cBhvr>
                                        <p:cTn id="41" dur="1" fill="hold">
                                          <p:stCondLst>
                                            <p:cond delay="0"/>
                                          </p:stCondLst>
                                        </p:cTn>
                                        <p:tgtEl>
                                          <p:spTgt spid="60"/>
                                        </p:tgtEl>
                                        <p:attrNameLst>
                                          <p:attrName>style.visibility</p:attrName>
                                        </p:attrNameLst>
                                      </p:cBhvr>
                                      <p:to>
                                        <p:strVal val="visible"/>
                                      </p:to>
                                    </p:set>
                                    <p:animEffect transition="in" filter="fade">
                                      <p:cBhvr>
                                        <p:cTn id="42" dur="500"/>
                                        <p:tgtEl>
                                          <p:spTgt spid="60"/>
                                        </p:tgtEl>
                                      </p:cBhvr>
                                    </p:animEffect>
                                  </p:childTnLst>
                                </p:cTn>
                              </p:par>
                              <p:par>
                                <p:cTn id="43" presetID="42" presetClass="path" presetSubtype="0" decel="100000" fill="hold" grpId="1" nodeType="withEffect">
                                  <p:stCondLst>
                                    <p:cond delay="400"/>
                                  </p:stCondLst>
                                  <p:childTnLst>
                                    <p:animMotion origin="layout" path="M 1.66667E-6 -4.07407E-6 L 1.66667E-6 0.03542 " pathEditMode="relative" rAng="0" ptsTypes="AA">
                                      <p:cBhvr>
                                        <p:cTn id="44" dur="700" spd="-100000" fill="hold"/>
                                        <p:tgtEl>
                                          <p:spTgt spid="60"/>
                                        </p:tgtEl>
                                        <p:attrNameLst>
                                          <p:attrName>ppt_x</p:attrName>
                                          <p:attrName>ppt_y</p:attrName>
                                        </p:attrNameLst>
                                      </p:cBhvr>
                                      <p:rCtr x="0" y="1759"/>
                                    </p:animMotion>
                                  </p:childTnLst>
                                </p:cTn>
                              </p:par>
                              <p:par>
                                <p:cTn id="45" presetID="10" presetClass="entr" presetSubtype="0" fill="hold" grpId="0" nodeType="withEffect">
                                  <p:stCondLst>
                                    <p:cond delay="400"/>
                                  </p:stCondLst>
                                  <p:childTnLst>
                                    <p:set>
                                      <p:cBhvr>
                                        <p:cTn id="46" dur="1" fill="hold">
                                          <p:stCondLst>
                                            <p:cond delay="0"/>
                                          </p:stCondLst>
                                        </p:cTn>
                                        <p:tgtEl>
                                          <p:spTgt spid="61"/>
                                        </p:tgtEl>
                                        <p:attrNameLst>
                                          <p:attrName>style.visibility</p:attrName>
                                        </p:attrNameLst>
                                      </p:cBhvr>
                                      <p:to>
                                        <p:strVal val="visible"/>
                                      </p:to>
                                    </p:set>
                                    <p:animEffect transition="in" filter="fade">
                                      <p:cBhvr>
                                        <p:cTn id="47" dur="500"/>
                                        <p:tgtEl>
                                          <p:spTgt spid="61"/>
                                        </p:tgtEl>
                                      </p:cBhvr>
                                    </p:animEffect>
                                  </p:childTnLst>
                                </p:cTn>
                              </p:par>
                              <p:par>
                                <p:cTn id="48" presetID="10" presetClass="entr" presetSubtype="0" fill="hold" grpId="0" nodeType="withEffect">
                                  <p:stCondLst>
                                    <p:cond delay="400"/>
                                  </p:stCondLst>
                                  <p:childTnLst>
                                    <p:set>
                                      <p:cBhvr>
                                        <p:cTn id="49" dur="1" fill="hold">
                                          <p:stCondLst>
                                            <p:cond delay="0"/>
                                          </p:stCondLst>
                                        </p:cTn>
                                        <p:tgtEl>
                                          <p:spTgt spid="59"/>
                                        </p:tgtEl>
                                        <p:attrNameLst>
                                          <p:attrName>style.visibility</p:attrName>
                                        </p:attrNameLst>
                                      </p:cBhvr>
                                      <p:to>
                                        <p:strVal val="visible"/>
                                      </p:to>
                                    </p:set>
                                    <p:animEffect transition="in" filter="fade">
                                      <p:cBhvr>
                                        <p:cTn id="50" dur="500"/>
                                        <p:tgtEl>
                                          <p:spTgt spid="59"/>
                                        </p:tgtEl>
                                      </p:cBhvr>
                                    </p:animEffect>
                                  </p:childTnLst>
                                </p:cTn>
                              </p:par>
                              <p:par>
                                <p:cTn id="51" presetID="42" presetClass="path" presetSubtype="0" decel="100000" fill="hold" grpId="1" nodeType="withEffect">
                                  <p:stCondLst>
                                    <p:cond delay="400"/>
                                  </p:stCondLst>
                                  <p:childTnLst>
                                    <p:animMotion origin="layout" path="M 1.66667E-6 -2.59259E-6 L 1.66667E-6 0.03542 " pathEditMode="relative" rAng="0" ptsTypes="AA">
                                      <p:cBhvr>
                                        <p:cTn id="52" dur="700" spd="-100000" fill="hold"/>
                                        <p:tgtEl>
                                          <p:spTgt spid="59"/>
                                        </p:tgtEl>
                                        <p:attrNameLst>
                                          <p:attrName>ppt_x</p:attrName>
                                          <p:attrName>ppt_y</p:attrName>
                                        </p:attrNameLst>
                                      </p:cBhvr>
                                      <p:rCtr x="0" y="1759"/>
                                    </p:animMotion>
                                  </p:childTnLst>
                                </p:cTn>
                              </p:par>
                              <p:par>
                                <p:cTn id="53" presetID="10" presetClass="entr" presetSubtype="0" fill="hold" nodeType="withEffect">
                                  <p:stCondLst>
                                    <p:cond delay="100"/>
                                  </p:stCondLst>
                                  <p:childTnLst>
                                    <p:set>
                                      <p:cBhvr>
                                        <p:cTn id="54" dur="1" fill="hold">
                                          <p:stCondLst>
                                            <p:cond delay="0"/>
                                          </p:stCondLst>
                                        </p:cTn>
                                        <p:tgtEl>
                                          <p:spTgt spid="63"/>
                                        </p:tgtEl>
                                        <p:attrNameLst>
                                          <p:attrName>style.visibility</p:attrName>
                                        </p:attrNameLst>
                                      </p:cBhvr>
                                      <p:to>
                                        <p:strVal val="visible"/>
                                      </p:to>
                                    </p:set>
                                    <p:animEffect transition="in" filter="fade">
                                      <p:cBhvr>
                                        <p:cTn id="55" dur="500"/>
                                        <p:tgtEl>
                                          <p:spTgt spid="63"/>
                                        </p:tgtEl>
                                      </p:cBhvr>
                                    </p:animEffect>
                                  </p:childTnLst>
                                </p:cTn>
                              </p:par>
                              <p:par>
                                <p:cTn id="56" presetID="42" presetClass="path" presetSubtype="0" decel="100000" fill="hold" nodeType="withEffect">
                                  <p:stCondLst>
                                    <p:cond delay="100"/>
                                  </p:stCondLst>
                                  <p:childTnLst>
                                    <p:animMotion origin="layout" path="M -1.66667E-6 1.11111E-6 L -1.66667E-6 0.03542 " pathEditMode="relative" rAng="0" ptsTypes="AA">
                                      <p:cBhvr>
                                        <p:cTn id="57" dur="700" spd="-100000" fill="hold"/>
                                        <p:tgtEl>
                                          <p:spTgt spid="63"/>
                                        </p:tgtEl>
                                        <p:attrNameLst>
                                          <p:attrName>ppt_x</p:attrName>
                                          <p:attrName>ppt_y</p:attrName>
                                        </p:attrNameLst>
                                      </p:cBhvr>
                                      <p:rCtr x="0" y="1759"/>
                                    </p:animMotion>
                                  </p:childTnLst>
                                </p:cTn>
                              </p:par>
                              <p:par>
                                <p:cTn id="58" presetID="10" presetClass="entr" presetSubtype="0" fill="hold" nodeType="withEffect">
                                  <p:stCondLst>
                                    <p:cond delay="200"/>
                                  </p:stCondLst>
                                  <p:childTnLst>
                                    <p:set>
                                      <p:cBhvr>
                                        <p:cTn id="59" dur="1" fill="hold">
                                          <p:stCondLst>
                                            <p:cond delay="0"/>
                                          </p:stCondLst>
                                        </p:cTn>
                                        <p:tgtEl>
                                          <p:spTgt spid="72"/>
                                        </p:tgtEl>
                                        <p:attrNameLst>
                                          <p:attrName>style.visibility</p:attrName>
                                        </p:attrNameLst>
                                      </p:cBhvr>
                                      <p:to>
                                        <p:strVal val="visible"/>
                                      </p:to>
                                    </p:set>
                                    <p:animEffect transition="in" filter="fade">
                                      <p:cBhvr>
                                        <p:cTn id="60" dur="500"/>
                                        <p:tgtEl>
                                          <p:spTgt spid="72"/>
                                        </p:tgtEl>
                                      </p:cBhvr>
                                    </p:animEffect>
                                  </p:childTnLst>
                                </p:cTn>
                              </p:par>
                              <p:par>
                                <p:cTn id="61" presetID="42" presetClass="path" presetSubtype="0" decel="100000" fill="hold" nodeType="withEffect">
                                  <p:stCondLst>
                                    <p:cond delay="200"/>
                                  </p:stCondLst>
                                  <p:childTnLst>
                                    <p:animMotion origin="layout" path="M 2.70833E-6 1.11111E-6 L 2.70833E-6 0.03542 " pathEditMode="relative" rAng="0" ptsTypes="AA">
                                      <p:cBhvr>
                                        <p:cTn id="62" dur="700" spd="-100000" fill="hold"/>
                                        <p:tgtEl>
                                          <p:spTgt spid="72"/>
                                        </p:tgtEl>
                                        <p:attrNameLst>
                                          <p:attrName>ppt_x</p:attrName>
                                          <p:attrName>ppt_y</p:attrName>
                                        </p:attrNameLst>
                                      </p:cBhvr>
                                      <p:rCtr x="0" y="1759"/>
                                    </p:animMotion>
                                  </p:childTnLst>
                                </p:cTn>
                              </p:par>
                              <p:par>
                                <p:cTn id="63" presetID="10" presetClass="entr" presetSubtype="0" fill="hold" nodeType="withEffect">
                                  <p:stCondLst>
                                    <p:cond delay="300"/>
                                  </p:stCondLst>
                                  <p:childTnLst>
                                    <p:set>
                                      <p:cBhvr>
                                        <p:cTn id="64" dur="1" fill="hold">
                                          <p:stCondLst>
                                            <p:cond delay="0"/>
                                          </p:stCondLst>
                                        </p:cTn>
                                        <p:tgtEl>
                                          <p:spTgt spid="78"/>
                                        </p:tgtEl>
                                        <p:attrNameLst>
                                          <p:attrName>style.visibility</p:attrName>
                                        </p:attrNameLst>
                                      </p:cBhvr>
                                      <p:to>
                                        <p:strVal val="visible"/>
                                      </p:to>
                                    </p:set>
                                    <p:animEffect transition="in" filter="fade">
                                      <p:cBhvr>
                                        <p:cTn id="65" dur="500"/>
                                        <p:tgtEl>
                                          <p:spTgt spid="78"/>
                                        </p:tgtEl>
                                      </p:cBhvr>
                                    </p:animEffect>
                                  </p:childTnLst>
                                </p:cTn>
                              </p:par>
                              <p:par>
                                <p:cTn id="66" presetID="42" presetClass="path" presetSubtype="0" decel="100000" fill="hold" nodeType="withEffect">
                                  <p:stCondLst>
                                    <p:cond delay="300"/>
                                  </p:stCondLst>
                                  <p:childTnLst>
                                    <p:animMotion origin="layout" path="M -2.91667E-6 1.11111E-6 L -2.91667E-6 0.03542 " pathEditMode="relative" rAng="0" ptsTypes="AA">
                                      <p:cBhvr>
                                        <p:cTn id="67" dur="700" spd="-100000" fill="hold"/>
                                        <p:tgtEl>
                                          <p:spTgt spid="78"/>
                                        </p:tgtEl>
                                        <p:attrNameLst>
                                          <p:attrName>ppt_x</p:attrName>
                                          <p:attrName>ppt_y</p:attrName>
                                        </p:attrNameLst>
                                      </p:cBhvr>
                                      <p:rCtr x="0" y="1759"/>
                                    </p:animMotion>
                                  </p:childTnLst>
                                </p:cTn>
                              </p:par>
                              <p:par>
                                <p:cTn id="68" presetID="10" presetClass="entr" presetSubtype="0" fill="hold" nodeType="withEffect">
                                  <p:stCondLst>
                                    <p:cond delay="400"/>
                                  </p:stCondLst>
                                  <p:childTnLst>
                                    <p:set>
                                      <p:cBhvr>
                                        <p:cTn id="69" dur="1" fill="hold">
                                          <p:stCondLst>
                                            <p:cond delay="0"/>
                                          </p:stCondLst>
                                        </p:cTn>
                                        <p:tgtEl>
                                          <p:spTgt spid="83"/>
                                        </p:tgtEl>
                                        <p:attrNameLst>
                                          <p:attrName>style.visibility</p:attrName>
                                        </p:attrNameLst>
                                      </p:cBhvr>
                                      <p:to>
                                        <p:strVal val="visible"/>
                                      </p:to>
                                    </p:set>
                                    <p:animEffect transition="in" filter="fade">
                                      <p:cBhvr>
                                        <p:cTn id="70" dur="500"/>
                                        <p:tgtEl>
                                          <p:spTgt spid="83"/>
                                        </p:tgtEl>
                                      </p:cBhvr>
                                    </p:animEffect>
                                  </p:childTnLst>
                                </p:cTn>
                              </p:par>
                              <p:par>
                                <p:cTn id="71" presetID="42" presetClass="path" presetSubtype="0" decel="100000" fill="hold" nodeType="withEffect">
                                  <p:stCondLst>
                                    <p:cond delay="400"/>
                                  </p:stCondLst>
                                  <p:childTnLst>
                                    <p:animMotion origin="layout" path="M 1.66667E-6 1.11111E-6 L 1.66667E-6 0.03542 " pathEditMode="relative" rAng="0" ptsTypes="AA">
                                      <p:cBhvr>
                                        <p:cTn id="72" dur="700" spd="-100000" fill="hold"/>
                                        <p:tgtEl>
                                          <p:spTgt spid="83"/>
                                        </p:tgtEl>
                                        <p:attrNameLst>
                                          <p:attrName>ppt_x</p:attrName>
                                          <p:attrName>ppt_y</p:attrName>
                                        </p:attrNameLst>
                                      </p:cBhvr>
                                      <p:rCtr x="0" y="1759"/>
                                    </p:animMotion>
                                  </p:childTnLst>
                                </p:cTn>
                              </p:par>
                              <p:par>
                                <p:cTn id="73" presetID="10" presetClass="entr" presetSubtype="0" fill="hold" grpId="0" nodeType="withEffect">
                                  <p:stCondLst>
                                    <p:cond delay="100"/>
                                  </p:stCondLst>
                                  <p:childTnLst>
                                    <p:set>
                                      <p:cBhvr>
                                        <p:cTn id="74" dur="1" fill="hold">
                                          <p:stCondLst>
                                            <p:cond delay="0"/>
                                          </p:stCondLst>
                                        </p:cTn>
                                        <p:tgtEl>
                                          <p:spTgt spid="28"/>
                                        </p:tgtEl>
                                        <p:attrNameLst>
                                          <p:attrName>style.visibility</p:attrName>
                                        </p:attrNameLst>
                                      </p:cBhvr>
                                      <p:to>
                                        <p:strVal val="visible"/>
                                      </p:to>
                                    </p:set>
                                    <p:animEffect transition="in" filter="fade">
                                      <p:cBhvr>
                                        <p:cTn id="75" dur="500"/>
                                        <p:tgtEl>
                                          <p:spTgt spid="28"/>
                                        </p:tgtEl>
                                      </p:cBhvr>
                                    </p:animEffect>
                                  </p:childTnLst>
                                </p:cTn>
                              </p:par>
                              <p:par>
                                <p:cTn id="76" presetID="42" presetClass="path" presetSubtype="0" decel="100000" fill="hold" grpId="1" nodeType="withEffect">
                                  <p:stCondLst>
                                    <p:cond delay="100"/>
                                  </p:stCondLst>
                                  <p:childTnLst>
                                    <p:animMotion origin="layout" path="M -1.66667E-6 -1.48148E-6 L -1.66667E-6 0.03542 " pathEditMode="relative" rAng="0" ptsTypes="AA">
                                      <p:cBhvr>
                                        <p:cTn id="77" dur="700" spd="-100000" fill="hold"/>
                                        <p:tgtEl>
                                          <p:spTgt spid="28"/>
                                        </p:tgtEl>
                                        <p:attrNameLst>
                                          <p:attrName>ppt_x</p:attrName>
                                          <p:attrName>ppt_y</p:attrName>
                                        </p:attrNameLst>
                                      </p:cBhvr>
                                      <p:rCtr x="0" y="1759"/>
                                    </p:animMotion>
                                  </p:childTnLst>
                                </p:cTn>
                              </p:par>
                              <p:par>
                                <p:cTn id="78" presetID="10" presetClass="entr" presetSubtype="0" fill="hold" grpId="0" nodeType="withEffect">
                                  <p:stCondLst>
                                    <p:cond delay="200"/>
                                  </p:stCondLst>
                                  <p:childTnLst>
                                    <p:set>
                                      <p:cBhvr>
                                        <p:cTn id="79" dur="1" fill="hold">
                                          <p:stCondLst>
                                            <p:cond delay="0"/>
                                          </p:stCondLst>
                                        </p:cTn>
                                        <p:tgtEl>
                                          <p:spTgt spid="31"/>
                                        </p:tgtEl>
                                        <p:attrNameLst>
                                          <p:attrName>style.visibility</p:attrName>
                                        </p:attrNameLst>
                                      </p:cBhvr>
                                      <p:to>
                                        <p:strVal val="visible"/>
                                      </p:to>
                                    </p:set>
                                    <p:animEffect transition="in" filter="fade">
                                      <p:cBhvr>
                                        <p:cTn id="80" dur="500"/>
                                        <p:tgtEl>
                                          <p:spTgt spid="31"/>
                                        </p:tgtEl>
                                      </p:cBhvr>
                                    </p:animEffect>
                                  </p:childTnLst>
                                </p:cTn>
                              </p:par>
                              <p:par>
                                <p:cTn id="81" presetID="42" presetClass="path" presetSubtype="0" decel="100000" fill="hold" grpId="1" nodeType="withEffect">
                                  <p:stCondLst>
                                    <p:cond delay="200"/>
                                  </p:stCondLst>
                                  <p:childTnLst>
                                    <p:animMotion origin="layout" path="M 2.70833E-6 -1.48148E-6 L 2.70833E-6 0.03542 " pathEditMode="relative" rAng="0" ptsTypes="AA">
                                      <p:cBhvr>
                                        <p:cTn id="82" dur="700" spd="-100000" fill="hold"/>
                                        <p:tgtEl>
                                          <p:spTgt spid="31"/>
                                        </p:tgtEl>
                                        <p:attrNameLst>
                                          <p:attrName>ppt_x</p:attrName>
                                          <p:attrName>ppt_y</p:attrName>
                                        </p:attrNameLst>
                                      </p:cBhvr>
                                      <p:rCtr x="0" y="1759"/>
                                    </p:animMotion>
                                  </p:childTnLst>
                                </p:cTn>
                              </p:par>
                              <p:par>
                                <p:cTn id="83" presetID="10" presetClass="entr" presetSubtype="0" fill="hold" grpId="0" nodeType="withEffect">
                                  <p:stCondLst>
                                    <p:cond delay="300"/>
                                  </p:stCondLst>
                                  <p:childTnLst>
                                    <p:set>
                                      <p:cBhvr>
                                        <p:cTn id="84" dur="1" fill="hold">
                                          <p:stCondLst>
                                            <p:cond delay="0"/>
                                          </p:stCondLst>
                                        </p:cTn>
                                        <p:tgtEl>
                                          <p:spTgt spid="33"/>
                                        </p:tgtEl>
                                        <p:attrNameLst>
                                          <p:attrName>style.visibility</p:attrName>
                                        </p:attrNameLst>
                                      </p:cBhvr>
                                      <p:to>
                                        <p:strVal val="visible"/>
                                      </p:to>
                                    </p:set>
                                    <p:animEffect transition="in" filter="fade">
                                      <p:cBhvr>
                                        <p:cTn id="85" dur="500"/>
                                        <p:tgtEl>
                                          <p:spTgt spid="33"/>
                                        </p:tgtEl>
                                      </p:cBhvr>
                                    </p:animEffect>
                                  </p:childTnLst>
                                </p:cTn>
                              </p:par>
                              <p:par>
                                <p:cTn id="86" presetID="42" presetClass="path" presetSubtype="0" decel="100000" fill="hold" grpId="1" nodeType="withEffect">
                                  <p:stCondLst>
                                    <p:cond delay="300"/>
                                  </p:stCondLst>
                                  <p:childTnLst>
                                    <p:animMotion origin="layout" path="M -2.91667E-6 -1.48148E-6 L -2.91667E-6 0.03542 " pathEditMode="relative" rAng="0" ptsTypes="AA">
                                      <p:cBhvr>
                                        <p:cTn id="87" dur="700" spd="-100000" fill="hold"/>
                                        <p:tgtEl>
                                          <p:spTgt spid="33"/>
                                        </p:tgtEl>
                                        <p:attrNameLst>
                                          <p:attrName>ppt_x</p:attrName>
                                          <p:attrName>ppt_y</p:attrName>
                                        </p:attrNameLst>
                                      </p:cBhvr>
                                      <p:rCtr x="0" y="1759"/>
                                    </p:animMotion>
                                  </p:childTnLst>
                                </p:cTn>
                              </p:par>
                              <p:par>
                                <p:cTn id="88" presetID="10" presetClass="entr" presetSubtype="0" fill="hold" grpId="0" nodeType="withEffect">
                                  <p:stCondLst>
                                    <p:cond delay="100"/>
                                  </p:stCondLst>
                                  <p:childTnLst>
                                    <p:set>
                                      <p:cBhvr>
                                        <p:cTn id="89" dur="1" fill="hold">
                                          <p:stCondLst>
                                            <p:cond delay="0"/>
                                          </p:stCondLst>
                                        </p:cTn>
                                        <p:tgtEl>
                                          <p:spTgt spid="40"/>
                                        </p:tgtEl>
                                        <p:attrNameLst>
                                          <p:attrName>style.visibility</p:attrName>
                                        </p:attrNameLst>
                                      </p:cBhvr>
                                      <p:to>
                                        <p:strVal val="visible"/>
                                      </p:to>
                                    </p:set>
                                    <p:animEffect transition="in" filter="fade">
                                      <p:cBhvr>
                                        <p:cTn id="90" dur="500"/>
                                        <p:tgtEl>
                                          <p:spTgt spid="40"/>
                                        </p:tgtEl>
                                      </p:cBhvr>
                                    </p:animEffect>
                                  </p:childTnLst>
                                </p:cTn>
                              </p:par>
                              <p:par>
                                <p:cTn id="91" presetID="42" presetClass="path" presetSubtype="0" decel="100000" fill="hold" grpId="1" nodeType="withEffect">
                                  <p:stCondLst>
                                    <p:cond delay="100"/>
                                  </p:stCondLst>
                                  <p:childTnLst>
                                    <p:animMotion origin="layout" path="M -1.66667E-6 1.11111E-6 L -1.66667E-6 0.03542 " pathEditMode="relative" rAng="0" ptsTypes="AA">
                                      <p:cBhvr>
                                        <p:cTn id="92" dur="700" spd="-100000" fill="hold"/>
                                        <p:tgtEl>
                                          <p:spTgt spid="40"/>
                                        </p:tgtEl>
                                        <p:attrNameLst>
                                          <p:attrName>ppt_x</p:attrName>
                                          <p:attrName>ppt_y</p:attrName>
                                        </p:attrNameLst>
                                      </p:cBhvr>
                                      <p:rCtr x="0" y="1759"/>
                                    </p:animMotion>
                                  </p:childTnLst>
                                </p:cTn>
                              </p:par>
                              <p:par>
                                <p:cTn id="93" presetID="10" presetClass="entr" presetSubtype="0" fill="hold" grpId="0" nodeType="withEffect">
                                  <p:stCondLst>
                                    <p:cond delay="200"/>
                                  </p:stCondLst>
                                  <p:childTnLst>
                                    <p:set>
                                      <p:cBhvr>
                                        <p:cTn id="94" dur="1" fill="hold">
                                          <p:stCondLst>
                                            <p:cond delay="0"/>
                                          </p:stCondLst>
                                        </p:cTn>
                                        <p:tgtEl>
                                          <p:spTgt spid="42"/>
                                        </p:tgtEl>
                                        <p:attrNameLst>
                                          <p:attrName>style.visibility</p:attrName>
                                        </p:attrNameLst>
                                      </p:cBhvr>
                                      <p:to>
                                        <p:strVal val="visible"/>
                                      </p:to>
                                    </p:set>
                                    <p:animEffect transition="in" filter="fade">
                                      <p:cBhvr>
                                        <p:cTn id="95" dur="500"/>
                                        <p:tgtEl>
                                          <p:spTgt spid="42"/>
                                        </p:tgtEl>
                                      </p:cBhvr>
                                    </p:animEffect>
                                  </p:childTnLst>
                                </p:cTn>
                              </p:par>
                              <p:par>
                                <p:cTn id="96" presetID="42" presetClass="path" presetSubtype="0" decel="100000" fill="hold" grpId="1" nodeType="withEffect">
                                  <p:stCondLst>
                                    <p:cond delay="200"/>
                                  </p:stCondLst>
                                  <p:childTnLst>
                                    <p:animMotion origin="layout" path="M 2.70833E-6 1.11111E-6 L 2.70833E-6 0.03542 " pathEditMode="relative" rAng="0" ptsTypes="AA">
                                      <p:cBhvr>
                                        <p:cTn id="97" dur="700" spd="-100000" fill="hold"/>
                                        <p:tgtEl>
                                          <p:spTgt spid="42"/>
                                        </p:tgtEl>
                                        <p:attrNameLst>
                                          <p:attrName>ppt_x</p:attrName>
                                          <p:attrName>ppt_y</p:attrName>
                                        </p:attrNameLst>
                                      </p:cBhvr>
                                      <p:rCtr x="0" y="1759"/>
                                    </p:animMotion>
                                  </p:childTnLst>
                                </p:cTn>
                              </p:par>
                              <p:par>
                                <p:cTn id="98" presetID="10" presetClass="entr" presetSubtype="0" fill="hold" grpId="0" nodeType="withEffect">
                                  <p:stCondLst>
                                    <p:cond delay="300"/>
                                  </p:stCondLst>
                                  <p:childTnLst>
                                    <p:set>
                                      <p:cBhvr>
                                        <p:cTn id="99" dur="1" fill="hold">
                                          <p:stCondLst>
                                            <p:cond delay="0"/>
                                          </p:stCondLst>
                                        </p:cTn>
                                        <p:tgtEl>
                                          <p:spTgt spid="50"/>
                                        </p:tgtEl>
                                        <p:attrNameLst>
                                          <p:attrName>style.visibility</p:attrName>
                                        </p:attrNameLst>
                                      </p:cBhvr>
                                      <p:to>
                                        <p:strVal val="visible"/>
                                      </p:to>
                                    </p:set>
                                    <p:animEffect transition="in" filter="fade">
                                      <p:cBhvr>
                                        <p:cTn id="100" dur="500"/>
                                        <p:tgtEl>
                                          <p:spTgt spid="50"/>
                                        </p:tgtEl>
                                      </p:cBhvr>
                                    </p:animEffect>
                                  </p:childTnLst>
                                </p:cTn>
                              </p:par>
                              <p:par>
                                <p:cTn id="101" presetID="42" presetClass="path" presetSubtype="0" decel="100000" fill="hold" grpId="1" nodeType="withEffect">
                                  <p:stCondLst>
                                    <p:cond delay="300"/>
                                  </p:stCondLst>
                                  <p:childTnLst>
                                    <p:animMotion origin="layout" path="M -2.91667E-6 1.11111E-6 L -2.91667E-6 0.03542 " pathEditMode="relative" rAng="0" ptsTypes="AA">
                                      <p:cBhvr>
                                        <p:cTn id="102" dur="700" spd="-100000" fill="hold"/>
                                        <p:tgtEl>
                                          <p:spTgt spid="50"/>
                                        </p:tgtEl>
                                        <p:attrNameLst>
                                          <p:attrName>ppt_x</p:attrName>
                                          <p:attrName>ppt_y</p:attrName>
                                        </p:attrNameLst>
                                      </p:cBhvr>
                                      <p:rCtr x="0" y="1759"/>
                                    </p:animMotion>
                                  </p:childTnLst>
                                </p:cTn>
                              </p:par>
                              <p:par>
                                <p:cTn id="103" presetID="10" presetClass="entr" presetSubtype="0" fill="hold" grpId="0" nodeType="withEffect">
                                  <p:stCondLst>
                                    <p:cond delay="400"/>
                                  </p:stCondLst>
                                  <p:childTnLst>
                                    <p:set>
                                      <p:cBhvr>
                                        <p:cTn id="104" dur="1" fill="hold">
                                          <p:stCondLst>
                                            <p:cond delay="0"/>
                                          </p:stCondLst>
                                        </p:cTn>
                                        <p:tgtEl>
                                          <p:spTgt spid="37"/>
                                        </p:tgtEl>
                                        <p:attrNameLst>
                                          <p:attrName>style.visibility</p:attrName>
                                        </p:attrNameLst>
                                      </p:cBhvr>
                                      <p:to>
                                        <p:strVal val="visible"/>
                                      </p:to>
                                    </p:set>
                                    <p:animEffect transition="in" filter="fade">
                                      <p:cBhvr>
                                        <p:cTn id="105" dur="500"/>
                                        <p:tgtEl>
                                          <p:spTgt spid="37"/>
                                        </p:tgtEl>
                                      </p:cBhvr>
                                    </p:animEffect>
                                  </p:childTnLst>
                                </p:cTn>
                              </p:par>
                              <p:par>
                                <p:cTn id="106" presetID="42" presetClass="path" presetSubtype="0" decel="100000" fill="hold" grpId="1" nodeType="withEffect">
                                  <p:stCondLst>
                                    <p:cond delay="400"/>
                                  </p:stCondLst>
                                  <p:childTnLst>
                                    <p:animMotion origin="layout" path="M 1.66667E-6 -1.48148E-6 L 1.66667E-6 0.03542 " pathEditMode="relative" rAng="0" ptsTypes="AA">
                                      <p:cBhvr>
                                        <p:cTn id="107" dur="700" spd="-100000" fill="hold"/>
                                        <p:tgtEl>
                                          <p:spTgt spid="37"/>
                                        </p:tgtEl>
                                        <p:attrNameLst>
                                          <p:attrName>ppt_x</p:attrName>
                                          <p:attrName>ppt_y</p:attrName>
                                        </p:attrNameLst>
                                      </p:cBhvr>
                                      <p:rCtr x="0" y="1759"/>
                                    </p:animMotion>
                                  </p:childTnLst>
                                </p:cTn>
                              </p:par>
                              <p:par>
                                <p:cTn id="108" presetID="10" presetClass="entr" presetSubtype="0" fill="hold" grpId="0" nodeType="withEffect">
                                  <p:stCondLst>
                                    <p:cond delay="400"/>
                                  </p:stCondLst>
                                  <p:childTnLst>
                                    <p:set>
                                      <p:cBhvr>
                                        <p:cTn id="109" dur="1" fill="hold">
                                          <p:stCondLst>
                                            <p:cond delay="0"/>
                                          </p:stCondLst>
                                        </p:cTn>
                                        <p:tgtEl>
                                          <p:spTgt spid="51"/>
                                        </p:tgtEl>
                                        <p:attrNameLst>
                                          <p:attrName>style.visibility</p:attrName>
                                        </p:attrNameLst>
                                      </p:cBhvr>
                                      <p:to>
                                        <p:strVal val="visible"/>
                                      </p:to>
                                    </p:set>
                                    <p:animEffect transition="in" filter="fade">
                                      <p:cBhvr>
                                        <p:cTn id="110" dur="500"/>
                                        <p:tgtEl>
                                          <p:spTgt spid="51"/>
                                        </p:tgtEl>
                                      </p:cBhvr>
                                    </p:animEffect>
                                  </p:childTnLst>
                                </p:cTn>
                              </p:par>
                              <p:par>
                                <p:cTn id="111" presetID="42" presetClass="path" presetSubtype="0" decel="100000" fill="hold" grpId="1" nodeType="withEffect">
                                  <p:stCondLst>
                                    <p:cond delay="400"/>
                                  </p:stCondLst>
                                  <p:childTnLst>
                                    <p:animMotion origin="layout" path="M 1.66667E-6 1.11111E-6 L 1.66667E-6 0.03542 " pathEditMode="relative" rAng="0" ptsTypes="AA">
                                      <p:cBhvr>
                                        <p:cTn id="112" dur="700" spd="-100000" fill="hold"/>
                                        <p:tgtEl>
                                          <p:spTgt spid="51"/>
                                        </p:tgtEl>
                                        <p:attrNameLst>
                                          <p:attrName>ppt_x</p:attrName>
                                          <p:attrName>ppt_y</p:attrName>
                                        </p:attrNameLst>
                                      </p:cBhvr>
                                      <p:rCtr x="0" y="1759"/>
                                    </p:animMotion>
                                  </p:childTnLst>
                                </p:cTn>
                              </p:par>
                              <p:par>
                                <p:cTn id="113" presetID="10" presetClass="entr" presetSubtype="0" fill="hold" grpId="0" nodeType="withEffect">
                                  <p:stCondLst>
                                    <p:cond delay="100"/>
                                  </p:stCondLst>
                                  <p:childTnLst>
                                    <p:set>
                                      <p:cBhvr>
                                        <p:cTn id="114" dur="1" fill="hold">
                                          <p:stCondLst>
                                            <p:cond delay="0"/>
                                          </p:stCondLst>
                                        </p:cTn>
                                        <p:tgtEl>
                                          <p:spTgt spid="10"/>
                                        </p:tgtEl>
                                        <p:attrNameLst>
                                          <p:attrName>style.visibility</p:attrName>
                                        </p:attrNameLst>
                                      </p:cBhvr>
                                      <p:to>
                                        <p:strVal val="visible"/>
                                      </p:to>
                                    </p:set>
                                    <p:animEffect transition="in" filter="fade">
                                      <p:cBhvr>
                                        <p:cTn id="115" dur="500"/>
                                        <p:tgtEl>
                                          <p:spTgt spid="10"/>
                                        </p:tgtEl>
                                      </p:cBhvr>
                                    </p:animEffect>
                                  </p:childTnLst>
                                </p:cTn>
                              </p:par>
                              <p:par>
                                <p:cTn id="116" presetID="42" presetClass="path" presetSubtype="0" decel="100000" fill="hold" grpId="1" nodeType="withEffect">
                                  <p:stCondLst>
                                    <p:cond delay="100"/>
                                  </p:stCondLst>
                                  <p:childTnLst>
                                    <p:animMotion origin="layout" path="M -1.66667E-6 3.7037E-6 L -1.66667E-6 0.03541 " pathEditMode="relative" rAng="0" ptsTypes="AA">
                                      <p:cBhvr>
                                        <p:cTn id="117" dur="700" spd="-100000" fill="hold"/>
                                        <p:tgtEl>
                                          <p:spTgt spid="10"/>
                                        </p:tgtEl>
                                        <p:attrNameLst>
                                          <p:attrName>ppt_x</p:attrName>
                                          <p:attrName>ppt_y</p:attrName>
                                        </p:attrNameLst>
                                      </p:cBhvr>
                                      <p:rCtr x="0" y="1759"/>
                                    </p:animMotion>
                                  </p:childTnLst>
                                </p:cTn>
                              </p:par>
                              <p:par>
                                <p:cTn id="118" presetID="10" presetClass="entr" presetSubtype="0" fill="hold" grpId="0" nodeType="withEffect">
                                  <p:stCondLst>
                                    <p:cond delay="200"/>
                                  </p:stCondLst>
                                  <p:childTnLst>
                                    <p:set>
                                      <p:cBhvr>
                                        <p:cTn id="119" dur="1" fill="hold">
                                          <p:stCondLst>
                                            <p:cond delay="0"/>
                                          </p:stCondLst>
                                        </p:cTn>
                                        <p:tgtEl>
                                          <p:spTgt spid="16"/>
                                        </p:tgtEl>
                                        <p:attrNameLst>
                                          <p:attrName>style.visibility</p:attrName>
                                        </p:attrNameLst>
                                      </p:cBhvr>
                                      <p:to>
                                        <p:strVal val="visible"/>
                                      </p:to>
                                    </p:set>
                                    <p:animEffect transition="in" filter="fade">
                                      <p:cBhvr>
                                        <p:cTn id="120" dur="500"/>
                                        <p:tgtEl>
                                          <p:spTgt spid="16"/>
                                        </p:tgtEl>
                                      </p:cBhvr>
                                    </p:animEffect>
                                  </p:childTnLst>
                                </p:cTn>
                              </p:par>
                              <p:par>
                                <p:cTn id="121" presetID="42" presetClass="path" presetSubtype="0" decel="100000" fill="hold" grpId="1" nodeType="withEffect">
                                  <p:stCondLst>
                                    <p:cond delay="200"/>
                                  </p:stCondLst>
                                  <p:childTnLst>
                                    <p:animMotion origin="layout" path="M 2.70833E-6 3.7037E-6 L 2.70833E-6 0.03541 " pathEditMode="relative" rAng="0" ptsTypes="AA">
                                      <p:cBhvr>
                                        <p:cTn id="122" dur="700" spd="-100000" fill="hold"/>
                                        <p:tgtEl>
                                          <p:spTgt spid="16"/>
                                        </p:tgtEl>
                                        <p:attrNameLst>
                                          <p:attrName>ppt_x</p:attrName>
                                          <p:attrName>ppt_y</p:attrName>
                                        </p:attrNameLst>
                                      </p:cBhvr>
                                      <p:rCtr x="0" y="1759"/>
                                    </p:animMotion>
                                  </p:childTnLst>
                                </p:cTn>
                              </p:par>
                              <p:par>
                                <p:cTn id="123" presetID="10" presetClass="entr" presetSubtype="0" fill="hold" grpId="0" nodeType="withEffect">
                                  <p:stCondLst>
                                    <p:cond delay="300"/>
                                  </p:stCondLst>
                                  <p:childTnLst>
                                    <p:set>
                                      <p:cBhvr>
                                        <p:cTn id="124" dur="1" fill="hold">
                                          <p:stCondLst>
                                            <p:cond delay="0"/>
                                          </p:stCondLst>
                                        </p:cTn>
                                        <p:tgtEl>
                                          <p:spTgt spid="19"/>
                                        </p:tgtEl>
                                        <p:attrNameLst>
                                          <p:attrName>style.visibility</p:attrName>
                                        </p:attrNameLst>
                                      </p:cBhvr>
                                      <p:to>
                                        <p:strVal val="visible"/>
                                      </p:to>
                                    </p:set>
                                    <p:animEffect transition="in" filter="fade">
                                      <p:cBhvr>
                                        <p:cTn id="125" dur="500"/>
                                        <p:tgtEl>
                                          <p:spTgt spid="19"/>
                                        </p:tgtEl>
                                      </p:cBhvr>
                                    </p:animEffect>
                                  </p:childTnLst>
                                </p:cTn>
                              </p:par>
                              <p:par>
                                <p:cTn id="126" presetID="42" presetClass="path" presetSubtype="0" decel="100000" fill="hold" grpId="1" nodeType="withEffect">
                                  <p:stCondLst>
                                    <p:cond delay="300"/>
                                  </p:stCondLst>
                                  <p:childTnLst>
                                    <p:animMotion origin="layout" path="M -2.91667E-6 3.7037E-6 L -2.91667E-6 0.03541 " pathEditMode="relative" rAng="0" ptsTypes="AA">
                                      <p:cBhvr>
                                        <p:cTn id="127" dur="700" spd="-100000" fill="hold"/>
                                        <p:tgtEl>
                                          <p:spTgt spid="19"/>
                                        </p:tgtEl>
                                        <p:attrNameLst>
                                          <p:attrName>ppt_x</p:attrName>
                                          <p:attrName>ppt_y</p:attrName>
                                        </p:attrNameLst>
                                      </p:cBhvr>
                                      <p:rCtr x="0" y="1759"/>
                                    </p:animMotion>
                                  </p:childTnLst>
                                </p:cTn>
                              </p:par>
                              <p:par>
                                <p:cTn id="128" presetID="10" presetClass="entr" presetSubtype="0" fill="hold" grpId="0" nodeType="withEffect">
                                  <p:stCondLst>
                                    <p:cond delay="400"/>
                                  </p:stCondLst>
                                  <p:childTnLst>
                                    <p:set>
                                      <p:cBhvr>
                                        <p:cTn id="129" dur="1" fill="hold">
                                          <p:stCondLst>
                                            <p:cond delay="0"/>
                                          </p:stCondLst>
                                        </p:cTn>
                                        <p:tgtEl>
                                          <p:spTgt spid="21"/>
                                        </p:tgtEl>
                                        <p:attrNameLst>
                                          <p:attrName>style.visibility</p:attrName>
                                        </p:attrNameLst>
                                      </p:cBhvr>
                                      <p:to>
                                        <p:strVal val="visible"/>
                                      </p:to>
                                    </p:set>
                                    <p:animEffect transition="in" filter="fade">
                                      <p:cBhvr>
                                        <p:cTn id="130" dur="500"/>
                                        <p:tgtEl>
                                          <p:spTgt spid="21"/>
                                        </p:tgtEl>
                                      </p:cBhvr>
                                    </p:animEffect>
                                  </p:childTnLst>
                                </p:cTn>
                              </p:par>
                              <p:par>
                                <p:cTn id="131" presetID="42" presetClass="path" presetSubtype="0" decel="100000" fill="hold" grpId="1" nodeType="withEffect">
                                  <p:stCondLst>
                                    <p:cond delay="400"/>
                                  </p:stCondLst>
                                  <p:childTnLst>
                                    <p:animMotion origin="layout" path="M 1.66667E-6 3.7037E-6 L 1.66667E-6 0.03541 " pathEditMode="relative" rAng="0" ptsTypes="AA">
                                      <p:cBhvr>
                                        <p:cTn id="132" dur="700" spd="-100000" fill="hold"/>
                                        <p:tgtEl>
                                          <p:spTgt spid="21"/>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77" grpId="1"/>
      <p:bldP spid="10" grpId="0" animBg="1"/>
      <p:bldP spid="10" grpId="1" animBg="1"/>
      <p:bldP spid="16" grpId="0" animBg="1"/>
      <p:bldP spid="16" grpId="1" animBg="1"/>
      <p:bldP spid="19" grpId="0" animBg="1"/>
      <p:bldP spid="19" grpId="1" animBg="1"/>
      <p:bldP spid="21" grpId="0" animBg="1"/>
      <p:bldP spid="21" grpId="1" animBg="1"/>
      <p:bldP spid="28" grpId="0" animBg="1"/>
      <p:bldP spid="28" grpId="1" animBg="1"/>
      <p:bldP spid="31" grpId="0" animBg="1"/>
      <p:bldP spid="31" grpId="1" animBg="1"/>
      <p:bldP spid="33" grpId="0" animBg="1"/>
      <p:bldP spid="33" grpId="1" animBg="1"/>
      <p:bldP spid="37" grpId="0" animBg="1"/>
      <p:bldP spid="37" grpId="1" animBg="1"/>
      <p:bldP spid="40" grpId="0" animBg="1"/>
      <p:bldP spid="40" grpId="1" animBg="1"/>
      <p:bldP spid="42" grpId="0" animBg="1"/>
      <p:bldP spid="42" grpId="1" animBg="1"/>
      <p:bldP spid="50" grpId="0" animBg="1"/>
      <p:bldP spid="50" grpId="1" animBg="1"/>
      <p:bldP spid="51" grpId="0" animBg="1"/>
      <p:bldP spid="51" grpId="1" animBg="1"/>
      <p:bldP spid="52" grpId="0"/>
      <p:bldP spid="52" grpId="1"/>
      <p:bldP spid="53" grpId="0"/>
      <p:bldP spid="53" grpId="1"/>
      <p:bldP spid="54" grpId="0"/>
      <p:bldP spid="54" grpId="1"/>
      <p:bldP spid="56" grpId="0"/>
      <p:bldP spid="56" grpId="1"/>
      <p:bldP spid="57" grpId="0"/>
      <p:bldP spid="57" grpId="1"/>
      <p:bldP spid="58" grpId="0"/>
      <p:bldP spid="58" grpId="1"/>
      <p:bldP spid="59" grpId="0"/>
      <p:bldP spid="59" grpId="1"/>
      <p:bldP spid="60" grpId="0"/>
      <p:bldP spid="60" grpId="1"/>
      <p:bldP spid="61"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7B9C3F6-59C7-82DC-9A99-8FB031B83754}"/>
              </a:ext>
            </a:extLst>
          </p:cNvPr>
          <p:cNvSpPr>
            <a:spLocks noGrp="1"/>
          </p:cNvSpPr>
          <p:nvPr>
            <p:ph type="title"/>
          </p:nvPr>
        </p:nvSpPr>
        <p:spPr/>
        <p:txBody>
          <a:bodyPr>
            <a:normAutofit fontScale="90000"/>
          </a:bodyPr>
          <a:lstStyle/>
          <a:p>
            <a:r>
              <a:rPr lang="en-US"/>
              <a:t>Closing slide</a:t>
            </a:r>
          </a:p>
        </p:txBody>
      </p:sp>
    </p:spTree>
    <p:extLst>
      <p:ext uri="{BB962C8B-B14F-4D97-AF65-F5344CB8AC3E}">
        <p14:creationId xmlns:p14="http://schemas.microsoft.com/office/powerpoint/2010/main" val="11688977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51A898-3689-944C-C60E-AA5FD286D9EF}"/>
            </a:ext>
          </a:extLst>
        </p:cNvPr>
        <p:cNvGrpSpPr/>
        <p:nvPr/>
      </p:nvGrpSpPr>
      <p:grpSpPr>
        <a:xfrm>
          <a:off x="0" y="0"/>
          <a:ext cx="0" cy="0"/>
          <a:chOff x="0" y="0"/>
          <a:chExt cx="0" cy="0"/>
        </a:xfrm>
      </p:grpSpPr>
      <p:sp>
        <p:nvSpPr>
          <p:cNvPr id="11" name="Title 10">
            <a:extLst>
              <a:ext uri="{FF2B5EF4-FFF2-40B4-BE49-F238E27FC236}">
                <a16:creationId xmlns:a16="http://schemas.microsoft.com/office/drawing/2014/main" id="{8F38AFA9-2D18-D1C7-9FD6-A22783A51CD0}"/>
              </a:ext>
            </a:extLst>
          </p:cNvPr>
          <p:cNvSpPr>
            <a:spLocks noGrp="1"/>
          </p:cNvSpPr>
          <p:nvPr>
            <p:ph type="title"/>
          </p:nvPr>
        </p:nvSpPr>
        <p:spPr/>
        <p:txBody>
          <a:bodyPr anchor="t">
            <a:noAutofit/>
          </a:bodyPr>
          <a:lstStyle/>
          <a:p>
            <a:pPr algn="ctr"/>
            <a:r>
              <a:rPr lang="en-US" sz="3200" dirty="0">
                <a:latin typeface="Segoe Sans Display Semibold" pitchFamily="2" charset="0"/>
                <a:cs typeface="Segoe Sans Display Semibold" pitchFamily="2" charset="0"/>
              </a:rPr>
              <a:t>Security teams are often working in silos </a:t>
            </a:r>
          </a:p>
        </p:txBody>
      </p:sp>
      <p:pic>
        <p:nvPicPr>
          <p:cNvPr id="15" name="Picture 14">
            <a:extLst>
              <a:ext uri="{FF2B5EF4-FFF2-40B4-BE49-F238E27FC236}">
                <a16:creationId xmlns:a16="http://schemas.microsoft.com/office/drawing/2014/main" id="{C8477389-AE42-9965-7DE2-314EE78A517B}"/>
              </a:ext>
              <a:ext uri="{C183D7F6-B498-43B3-948B-1728B52AA6E4}">
                <adec:decorative xmlns:adec="http://schemas.microsoft.com/office/drawing/2017/decorative" val="1"/>
              </a:ext>
            </a:extLst>
          </p:cNvPr>
          <p:cNvPicPr>
            <a:picLocks noChangeAspect="1"/>
          </p:cNvPicPr>
          <p:nvPr/>
        </p:nvPicPr>
        <p:blipFill>
          <a:blip r:embed="rId3">
            <a:alphaModFix amt="0"/>
          </a:blip>
          <a:stretch>
            <a:fillRect/>
          </a:stretch>
        </p:blipFill>
        <p:spPr>
          <a:xfrm>
            <a:off x="5682501" y="3794738"/>
            <a:ext cx="826999" cy="826999"/>
          </a:xfrm>
          <a:prstGeom prst="rect">
            <a:avLst/>
          </a:prstGeom>
        </p:spPr>
      </p:pic>
      <p:sp>
        <p:nvSpPr>
          <p:cNvPr id="16" name="Rectangle 15">
            <a:extLst>
              <a:ext uri="{FF2B5EF4-FFF2-40B4-BE49-F238E27FC236}">
                <a16:creationId xmlns:a16="http://schemas.microsoft.com/office/drawing/2014/main" id="{74D6292E-8913-CB1C-DB0D-2AB44054D5BC}"/>
              </a:ext>
              <a:ext uri="{C183D7F6-B498-43B3-948B-1728B52AA6E4}">
                <adec:decorative xmlns:adec="http://schemas.microsoft.com/office/drawing/2017/decorative" val="1"/>
              </a:ext>
            </a:extLst>
          </p:cNvPr>
          <p:cNvSpPr/>
          <p:nvPr/>
        </p:nvSpPr>
        <p:spPr bwMode="auto">
          <a:xfrm>
            <a:off x="2535230" y="3952875"/>
            <a:ext cx="7124586" cy="196310"/>
          </a:xfrm>
          <a:prstGeom prst="rect">
            <a:avLst/>
          </a:prstGeom>
          <a:solidFill>
            <a:srgbClr val="091F2C">
              <a:alpha val="0"/>
            </a:srgbClr>
          </a:solidFill>
          <a:ln w="6350" cap="flat" cmpd="sng" algn="ctr">
            <a:solidFill>
              <a:srgbClr val="56AEF9">
                <a:alpha val="0"/>
              </a:srgbClr>
            </a:solidFill>
            <a:prstDash val="solid"/>
            <a:headEnd type="none" w="med" len="med"/>
            <a:tailEnd type="none" w="med" len="med"/>
          </a:ln>
          <a:effectLst>
            <a:innerShdw blurRad="1016000" dist="508000" dir="18600000">
              <a:srgbClr val="56AEF9">
                <a:alpha val="60000"/>
              </a:srgbClr>
            </a:innerShdw>
          </a:effectLst>
        </p:spPr>
        <p:txBody>
          <a:bodyPr rot="0" spcFirstLastPara="0" vertOverflow="overflow" horzOverflow="overflow" vert="horz" wrap="square" lIns="0" tIns="13716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FFFFFF">
                    <a:alpha val="0"/>
                  </a:srgbClr>
                </a:solidFill>
                <a:effectLst/>
                <a:uLnTx/>
                <a:uFillTx/>
                <a:latin typeface="Segoe Sans Display"/>
                <a:ea typeface="+mn-ea"/>
                <a:cs typeface="Segoe UI" pitchFamily="34" charset="0"/>
              </a:rPr>
              <a:t>Identity and access management team</a:t>
            </a:r>
          </a:p>
        </p:txBody>
      </p:sp>
      <p:grpSp>
        <p:nvGrpSpPr>
          <p:cNvPr id="32" name="Group 31">
            <a:extLst>
              <a:ext uri="{FF2B5EF4-FFF2-40B4-BE49-F238E27FC236}">
                <a16:creationId xmlns:a16="http://schemas.microsoft.com/office/drawing/2014/main" id="{49432248-14F6-31AA-49B5-40C9FB36F0EC}"/>
              </a:ext>
              <a:ext uri="{C183D7F6-B498-43B3-948B-1728B52AA6E4}">
                <adec:decorative xmlns:adec="http://schemas.microsoft.com/office/drawing/2017/decorative" val="1"/>
              </a:ext>
            </a:extLst>
          </p:cNvPr>
          <p:cNvGrpSpPr/>
          <p:nvPr/>
        </p:nvGrpSpPr>
        <p:grpSpPr>
          <a:xfrm>
            <a:off x="2551175" y="1810749"/>
            <a:ext cx="7092696" cy="2103120"/>
            <a:chOff x="2535230" y="1810749"/>
            <a:chExt cx="3931920" cy="4480559"/>
          </a:xfrm>
        </p:grpSpPr>
        <p:sp>
          <p:nvSpPr>
            <p:cNvPr id="35" name="Rectangle: Top Corners Rounded 34">
              <a:extLst>
                <a:ext uri="{FF2B5EF4-FFF2-40B4-BE49-F238E27FC236}">
                  <a16:creationId xmlns:a16="http://schemas.microsoft.com/office/drawing/2014/main" id="{6922092F-5E03-A09E-60B1-710D4E48EC80}"/>
                </a:ext>
              </a:extLst>
            </p:cNvPr>
            <p:cNvSpPr/>
            <p:nvPr/>
          </p:nvSpPr>
          <p:spPr bwMode="auto">
            <a:xfrm>
              <a:off x="2535230" y="1810749"/>
              <a:ext cx="3931920" cy="4480559"/>
            </a:xfrm>
            <a:prstGeom prst="round2SameRect">
              <a:avLst>
                <a:gd name="adj1" fmla="val 0"/>
                <a:gd name="adj2" fmla="val 0"/>
              </a:avLst>
            </a:prstGeom>
            <a:solidFill>
              <a:sysClr val="window" lastClr="FFFFFF"/>
            </a:solidFill>
            <a:ln w="6350" cap="flat" cmpd="sng" algn="ctr">
              <a:noFill/>
              <a:prstDash val="solid"/>
              <a:headEnd type="none" w="med" len="med"/>
              <a:tailEnd type="none" w="med" len="med"/>
            </a:ln>
            <a:effectLst>
              <a:innerShdw blurRad="1016000" dist="508000" dir="18600000">
                <a:srgbClr val="FADC14">
                  <a:alpha val="60000"/>
                </a:srgbClr>
              </a:innerShdw>
            </a:effectLst>
          </p:spPr>
          <p:txBody>
            <a:bodyPr rot="0" spcFirstLastPara="0" vertOverflow="overflow" horzOverflow="overflow" vert="horz" wrap="square" lIns="0" tIns="18288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prstClr val="black"/>
                  </a:solidFill>
                  <a:effectLst/>
                  <a:uLnTx/>
                  <a:uFillTx/>
                  <a:latin typeface="Segoe Sans Display"/>
                  <a:ea typeface="+mn-ea"/>
                  <a:cs typeface="Segoe UI" pitchFamily="34" charset="0"/>
                </a:rPr>
                <a:t>Identity and access management team</a:t>
              </a:r>
            </a:p>
          </p:txBody>
        </p:sp>
        <p:cxnSp>
          <p:nvCxnSpPr>
            <p:cNvPr id="36" name="Straight Connector 35">
              <a:extLst>
                <a:ext uri="{FF2B5EF4-FFF2-40B4-BE49-F238E27FC236}">
                  <a16:creationId xmlns:a16="http://schemas.microsoft.com/office/drawing/2014/main" id="{79B24F15-4D6A-B584-1984-B5D3B7CC6A25}"/>
                </a:ext>
              </a:extLst>
            </p:cNvPr>
            <p:cNvCxnSpPr>
              <a:cxnSpLocks/>
            </p:cNvCxnSpPr>
            <p:nvPr/>
          </p:nvCxnSpPr>
          <p:spPr>
            <a:xfrm>
              <a:off x="2535230" y="6291308"/>
              <a:ext cx="3931920" cy="0"/>
            </a:xfrm>
            <a:prstGeom prst="line">
              <a:avLst/>
            </a:prstGeom>
            <a:noFill/>
            <a:ln w="22225" cap="flat" cmpd="sng" algn="ctr">
              <a:solidFill>
                <a:srgbClr val="FADC14"/>
              </a:solidFill>
              <a:prstDash val="solid"/>
              <a:headEnd type="none" w="lg" len="med"/>
              <a:tailEnd type="none" w="lg" len="med"/>
            </a:ln>
            <a:effectLst/>
          </p:spPr>
        </p:cxnSp>
      </p:grpSp>
      <p:sp>
        <p:nvSpPr>
          <p:cNvPr id="40" name="Rectangle: Rounded Corners 39">
            <a:extLst>
              <a:ext uri="{FF2B5EF4-FFF2-40B4-BE49-F238E27FC236}">
                <a16:creationId xmlns:a16="http://schemas.microsoft.com/office/drawing/2014/main" id="{B81849FC-3162-9CD4-4BB5-72A3F8036880}"/>
              </a:ext>
              <a:ext uri="{C183D7F6-B498-43B3-948B-1728B52AA6E4}">
                <adec:decorative xmlns:adec="http://schemas.microsoft.com/office/drawing/2017/decorative" val="1"/>
              </a:ext>
            </a:extLst>
          </p:cNvPr>
          <p:cNvSpPr>
            <a:spLocks/>
          </p:cNvSpPr>
          <p:nvPr/>
        </p:nvSpPr>
        <p:spPr bwMode="auto">
          <a:xfrm rot="16200000">
            <a:off x="-783337" y="3182350"/>
            <a:ext cx="4480560" cy="1737360"/>
          </a:xfrm>
          <a:prstGeom prst="roundRect">
            <a:avLst>
              <a:gd name="adj" fmla="val 10088"/>
            </a:avLst>
          </a:prstGeom>
          <a:solidFill>
            <a:sysClr val="window" lastClr="FFFFFF"/>
          </a:solidFill>
          <a:ln w="12700" cap="flat" cmpd="sng" algn="ctr">
            <a:noFill/>
            <a:prstDash val="solid"/>
            <a:miter lim="800000"/>
            <a:headEnd type="none" w="med" len="med"/>
            <a:tailEnd type="none" w="med" len="med"/>
          </a:ln>
          <a:effectLst>
            <a:innerShdw blurRad="508000" dist="63500" dir="16200000">
              <a:srgbClr val="B1B3B3">
                <a:alpha val="25000"/>
              </a:srgbClr>
            </a:inn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Sans Display"/>
              <a:ea typeface="+mn-ea"/>
              <a:cs typeface="Segoe UI" pitchFamily="34" charset="0"/>
            </a:endParaRPr>
          </a:p>
        </p:txBody>
      </p:sp>
      <p:sp>
        <p:nvSpPr>
          <p:cNvPr id="42" name="TextBox 41">
            <a:extLst>
              <a:ext uri="{FF2B5EF4-FFF2-40B4-BE49-F238E27FC236}">
                <a16:creationId xmlns:a16="http://schemas.microsoft.com/office/drawing/2014/main" id="{3134B900-6EC2-959D-F489-F5B45E67EF11}"/>
              </a:ext>
            </a:extLst>
          </p:cNvPr>
          <p:cNvSpPr txBox="1"/>
          <p:nvPr/>
        </p:nvSpPr>
        <p:spPr>
          <a:xfrm>
            <a:off x="612646" y="2672429"/>
            <a:ext cx="168859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Sans Display Semibold"/>
                <a:ea typeface="+mn-ea"/>
                <a:cs typeface="+mn-cs"/>
              </a:rPr>
              <a:t>Employees</a:t>
            </a:r>
          </a:p>
        </p:txBody>
      </p:sp>
      <p:sp>
        <p:nvSpPr>
          <p:cNvPr id="43" name="TextBox 42">
            <a:extLst>
              <a:ext uri="{FF2B5EF4-FFF2-40B4-BE49-F238E27FC236}">
                <a16:creationId xmlns:a16="http://schemas.microsoft.com/office/drawing/2014/main" id="{669F7419-0702-D8CB-0972-29B086600B3D}"/>
              </a:ext>
            </a:extLst>
          </p:cNvPr>
          <p:cNvSpPr txBox="1"/>
          <p:nvPr/>
        </p:nvSpPr>
        <p:spPr>
          <a:xfrm>
            <a:off x="612646" y="3730499"/>
            <a:ext cx="168859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Sans Display Semibold"/>
                <a:ea typeface="+mn-ea"/>
                <a:cs typeface="+mn-cs"/>
              </a:rPr>
              <a:t>Locations</a:t>
            </a:r>
          </a:p>
        </p:txBody>
      </p:sp>
      <p:sp>
        <p:nvSpPr>
          <p:cNvPr id="44" name="TextBox 43">
            <a:extLst>
              <a:ext uri="{FF2B5EF4-FFF2-40B4-BE49-F238E27FC236}">
                <a16:creationId xmlns:a16="http://schemas.microsoft.com/office/drawing/2014/main" id="{F6788243-4573-5004-D1F2-D18237E51E3D}"/>
              </a:ext>
            </a:extLst>
          </p:cNvPr>
          <p:cNvSpPr txBox="1"/>
          <p:nvPr/>
        </p:nvSpPr>
        <p:spPr>
          <a:xfrm>
            <a:off x="612646" y="4788569"/>
            <a:ext cx="168859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Sans Display Semibold"/>
                <a:ea typeface="+mn-ea"/>
                <a:cs typeface="+mn-cs"/>
              </a:rPr>
              <a:t>Platforms</a:t>
            </a:r>
          </a:p>
        </p:txBody>
      </p:sp>
      <p:sp>
        <p:nvSpPr>
          <p:cNvPr id="45" name="TextBox 44">
            <a:extLst>
              <a:ext uri="{FF2B5EF4-FFF2-40B4-BE49-F238E27FC236}">
                <a16:creationId xmlns:a16="http://schemas.microsoft.com/office/drawing/2014/main" id="{DDC760EE-FA4B-E59B-5665-A172424985B1}"/>
              </a:ext>
            </a:extLst>
          </p:cNvPr>
          <p:cNvSpPr txBox="1"/>
          <p:nvPr/>
        </p:nvSpPr>
        <p:spPr>
          <a:xfrm>
            <a:off x="612646" y="5846639"/>
            <a:ext cx="168859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Sans Display Semibold"/>
                <a:ea typeface="+mn-ea"/>
                <a:cs typeface="+mn-cs"/>
              </a:rPr>
              <a:t>Devices</a:t>
            </a:r>
          </a:p>
        </p:txBody>
      </p:sp>
      <p:grpSp>
        <p:nvGrpSpPr>
          <p:cNvPr id="46" name="Group 45">
            <a:extLst>
              <a:ext uri="{FF2B5EF4-FFF2-40B4-BE49-F238E27FC236}">
                <a16:creationId xmlns:a16="http://schemas.microsoft.com/office/drawing/2014/main" id="{726E9DAE-B6A3-4C91-907E-24A488A369D2}"/>
              </a:ext>
              <a:ext uri="{C183D7F6-B498-43B3-948B-1728B52AA6E4}">
                <adec:decorative xmlns:adec="http://schemas.microsoft.com/office/drawing/2017/decorative" val="1"/>
              </a:ext>
            </a:extLst>
          </p:cNvPr>
          <p:cNvGrpSpPr/>
          <p:nvPr/>
        </p:nvGrpSpPr>
        <p:grpSpPr>
          <a:xfrm>
            <a:off x="1182623" y="2039978"/>
            <a:ext cx="548640" cy="548640"/>
            <a:chOff x="1303496" y="2241231"/>
            <a:chExt cx="1233888" cy="1233888"/>
          </a:xfrm>
          <a:solidFill>
            <a:srgbClr val="052252"/>
          </a:solidFill>
        </p:grpSpPr>
        <p:sp>
          <p:nvSpPr>
            <p:cNvPr id="48" name="Oval 47">
              <a:extLst>
                <a:ext uri="{FF2B5EF4-FFF2-40B4-BE49-F238E27FC236}">
                  <a16:creationId xmlns:a16="http://schemas.microsoft.com/office/drawing/2014/main" id="{C470D675-0B57-E1CD-6041-C9B9C7E4F842}"/>
                </a:ext>
              </a:extLst>
            </p:cNvPr>
            <p:cNvSpPr/>
            <p:nvPr/>
          </p:nvSpPr>
          <p:spPr bwMode="auto">
            <a:xfrm>
              <a:off x="1303496" y="2241231"/>
              <a:ext cx="1233888" cy="1233888"/>
            </a:xfrm>
            <a:prstGeom prst="ellipse">
              <a:avLst/>
            </a:prstGeom>
            <a:gradFill>
              <a:gsLst>
                <a:gs pos="0">
                  <a:srgbClr val="0360DB">
                    <a:alpha val="50000"/>
                  </a:srgbClr>
                </a:gs>
                <a:gs pos="85000">
                  <a:srgbClr val="FADC14">
                    <a:alpha val="50000"/>
                  </a:srgbClr>
                </a:gs>
              </a:gsLst>
              <a:lin ang="2700000" scaled="1"/>
            </a:gradFill>
            <a:ln w="19050" cap="flat" cmpd="sng" algn="ctr">
              <a:noFill/>
              <a:prstDash val="solid"/>
              <a:headEnd type="none" w="med" len="sm"/>
              <a:tailEnd type="arrow" w="lg" len="med"/>
            </a:ln>
            <a:effectLst/>
          </p:spPr>
          <p:txBody>
            <a:bodyPr rot="0" spcFirstLastPara="0" vertOverflow="overflow" horzOverflow="overflow" vert="horz" wrap="square" lIns="137160" tIns="91440" rIns="137160" bIns="137160" numCol="1" spcCol="0" rtlCol="0" fromWordArt="0" anchor="ctr" anchorCtr="0" forceAA="0" compatLnSpc="1">
              <a:prstTxWarp prst="textNoShape">
                <a:avLst/>
              </a:prstTxWarp>
              <a:noAutofit/>
            </a:bodyPr>
            <a:lstStyle/>
            <a:p>
              <a:pPr marL="0" marR="0" lvl="0" indent="0" algn="l" defTabSz="932754" rtl="0" eaLnBrk="1" fontAlgn="auto" latinLnBrk="0" hangingPunct="1">
                <a:lnSpc>
                  <a:spcPct val="100000"/>
                </a:lnSpc>
                <a:spcBef>
                  <a:spcPts val="0"/>
                </a:spcBef>
                <a:spcAft>
                  <a:spcPts val="600"/>
                </a:spcAft>
                <a:buClrTx/>
                <a:buSzPct val="90000"/>
                <a:buFontTx/>
                <a:buNone/>
                <a:tabLst/>
                <a:defRPr/>
              </a:pPr>
              <a:endParaRPr kumimoji="0" lang="en-US" sz="1900" b="0" i="0" u="none" strike="noStrike" kern="0" cap="none" spc="0" normalizeH="0" baseline="0" noProof="0">
                <a:ln>
                  <a:noFill/>
                </a:ln>
                <a:solidFill>
                  <a:srgbClr val="FFFFFF"/>
                </a:solidFill>
                <a:effectLst/>
                <a:uLnTx/>
                <a:uFillTx/>
                <a:latin typeface="Segoe Sans Display"/>
                <a:ea typeface="+mn-ea"/>
                <a:cs typeface="Segoe Sans Display Semilight" pitchFamily="2" charset="0"/>
              </a:endParaRPr>
            </a:p>
          </p:txBody>
        </p:sp>
        <p:sp>
          <p:nvSpPr>
            <p:cNvPr id="51" name="Oval 50">
              <a:extLst>
                <a:ext uri="{FF2B5EF4-FFF2-40B4-BE49-F238E27FC236}">
                  <a16:creationId xmlns:a16="http://schemas.microsoft.com/office/drawing/2014/main" id="{47851D55-EBED-9002-AFEA-201ED432FE78}"/>
                </a:ext>
              </a:extLst>
            </p:cNvPr>
            <p:cNvSpPr/>
            <p:nvPr/>
          </p:nvSpPr>
          <p:spPr bwMode="auto">
            <a:xfrm>
              <a:off x="1457488" y="2395223"/>
              <a:ext cx="925905" cy="925905"/>
            </a:xfrm>
            <a:prstGeom prst="ellipse">
              <a:avLst/>
            </a:prstGeom>
            <a:solidFill>
              <a:srgbClr val="FFFFFF"/>
            </a:solidFill>
            <a:ln w="19050" cap="flat" cmpd="sng" algn="ctr">
              <a:gradFill>
                <a:gsLst>
                  <a:gs pos="0">
                    <a:srgbClr val="599FFD"/>
                  </a:gs>
                  <a:gs pos="100000">
                    <a:srgbClr val="FADC14"/>
                  </a:gs>
                </a:gsLst>
                <a:lin ang="5400000" scaled="1"/>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Variable Display"/>
                <a:ea typeface="+mn-ea"/>
                <a:cs typeface="Segoe UI" pitchFamily="34" charset="0"/>
              </a:endParaRPr>
            </a:p>
          </p:txBody>
        </p:sp>
      </p:grpSp>
      <p:pic>
        <p:nvPicPr>
          <p:cNvPr id="52" name="Graphic 51">
            <a:extLst>
              <a:ext uri="{FF2B5EF4-FFF2-40B4-BE49-F238E27FC236}">
                <a16:creationId xmlns:a16="http://schemas.microsoft.com/office/drawing/2014/main" id="{481372CB-3CCE-859A-B78F-543AB8FD990B}"/>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14692" y="2172047"/>
            <a:ext cx="284502" cy="284502"/>
          </a:xfrm>
          <a:prstGeom prst="rect">
            <a:avLst/>
          </a:prstGeom>
        </p:spPr>
      </p:pic>
      <p:grpSp>
        <p:nvGrpSpPr>
          <p:cNvPr id="54" name="Group 53">
            <a:extLst>
              <a:ext uri="{FF2B5EF4-FFF2-40B4-BE49-F238E27FC236}">
                <a16:creationId xmlns:a16="http://schemas.microsoft.com/office/drawing/2014/main" id="{20C606C2-168E-591A-34C8-1ED569D82193}"/>
              </a:ext>
              <a:ext uri="{C183D7F6-B498-43B3-948B-1728B52AA6E4}">
                <adec:decorative xmlns:adec="http://schemas.microsoft.com/office/drawing/2017/decorative" val="1"/>
              </a:ext>
            </a:extLst>
          </p:cNvPr>
          <p:cNvGrpSpPr/>
          <p:nvPr/>
        </p:nvGrpSpPr>
        <p:grpSpPr>
          <a:xfrm>
            <a:off x="1182623" y="3098048"/>
            <a:ext cx="548640" cy="548640"/>
            <a:chOff x="1303496" y="2241231"/>
            <a:chExt cx="1233888" cy="1233888"/>
          </a:xfrm>
          <a:solidFill>
            <a:srgbClr val="052252"/>
          </a:solidFill>
        </p:grpSpPr>
        <p:sp>
          <p:nvSpPr>
            <p:cNvPr id="55" name="Oval 54">
              <a:extLst>
                <a:ext uri="{FF2B5EF4-FFF2-40B4-BE49-F238E27FC236}">
                  <a16:creationId xmlns:a16="http://schemas.microsoft.com/office/drawing/2014/main" id="{0F93B4EC-74FB-B95A-4F84-5287D542C64D}"/>
                </a:ext>
              </a:extLst>
            </p:cNvPr>
            <p:cNvSpPr/>
            <p:nvPr/>
          </p:nvSpPr>
          <p:spPr bwMode="auto">
            <a:xfrm>
              <a:off x="1303496" y="2241231"/>
              <a:ext cx="1233888" cy="1233888"/>
            </a:xfrm>
            <a:prstGeom prst="ellipse">
              <a:avLst/>
            </a:prstGeom>
            <a:gradFill>
              <a:gsLst>
                <a:gs pos="0">
                  <a:srgbClr val="0360DB">
                    <a:alpha val="50000"/>
                  </a:srgbClr>
                </a:gs>
                <a:gs pos="85000">
                  <a:srgbClr val="FADC14">
                    <a:alpha val="50000"/>
                  </a:srgbClr>
                </a:gs>
              </a:gsLst>
              <a:lin ang="2700000" scaled="1"/>
            </a:gradFill>
            <a:ln w="19050" cap="flat" cmpd="sng" algn="ctr">
              <a:noFill/>
              <a:prstDash val="solid"/>
              <a:headEnd type="none" w="med" len="sm"/>
              <a:tailEnd type="arrow" w="lg" len="med"/>
            </a:ln>
            <a:effectLst/>
          </p:spPr>
          <p:txBody>
            <a:bodyPr rot="0" spcFirstLastPara="0" vertOverflow="overflow" horzOverflow="overflow" vert="horz" wrap="square" lIns="137160" tIns="91440" rIns="137160" bIns="137160" numCol="1" spcCol="0" rtlCol="0" fromWordArt="0" anchor="ctr" anchorCtr="0" forceAA="0" compatLnSpc="1">
              <a:prstTxWarp prst="textNoShape">
                <a:avLst/>
              </a:prstTxWarp>
              <a:noAutofit/>
            </a:bodyPr>
            <a:lstStyle/>
            <a:p>
              <a:pPr marL="0" marR="0" lvl="0" indent="0" algn="l" defTabSz="932754" rtl="0" eaLnBrk="1" fontAlgn="auto" latinLnBrk="0" hangingPunct="1">
                <a:lnSpc>
                  <a:spcPct val="100000"/>
                </a:lnSpc>
                <a:spcBef>
                  <a:spcPts val="0"/>
                </a:spcBef>
                <a:spcAft>
                  <a:spcPts val="600"/>
                </a:spcAft>
                <a:buClrTx/>
                <a:buSzPct val="90000"/>
                <a:buFontTx/>
                <a:buNone/>
                <a:tabLst/>
                <a:defRPr/>
              </a:pPr>
              <a:endParaRPr kumimoji="0" lang="en-US" sz="1900" b="0" i="0" u="none" strike="noStrike" kern="0" cap="none" spc="0" normalizeH="0" baseline="0" noProof="0">
                <a:ln>
                  <a:noFill/>
                </a:ln>
                <a:solidFill>
                  <a:srgbClr val="FFFFFF"/>
                </a:solidFill>
                <a:effectLst/>
                <a:uLnTx/>
                <a:uFillTx/>
                <a:latin typeface="Segoe Sans Display"/>
                <a:ea typeface="+mn-ea"/>
                <a:cs typeface="Segoe Sans Display Semilight" pitchFamily="2" charset="0"/>
              </a:endParaRPr>
            </a:p>
          </p:txBody>
        </p:sp>
        <p:sp>
          <p:nvSpPr>
            <p:cNvPr id="56" name="Oval 55">
              <a:extLst>
                <a:ext uri="{FF2B5EF4-FFF2-40B4-BE49-F238E27FC236}">
                  <a16:creationId xmlns:a16="http://schemas.microsoft.com/office/drawing/2014/main" id="{B53F5C86-FA01-149D-B2D0-0EDD9E06233F}"/>
                </a:ext>
              </a:extLst>
            </p:cNvPr>
            <p:cNvSpPr/>
            <p:nvPr/>
          </p:nvSpPr>
          <p:spPr bwMode="auto">
            <a:xfrm>
              <a:off x="1457488" y="2395223"/>
              <a:ext cx="925905" cy="925905"/>
            </a:xfrm>
            <a:prstGeom prst="ellipse">
              <a:avLst/>
            </a:prstGeom>
            <a:solidFill>
              <a:srgbClr val="FFFFFF"/>
            </a:solidFill>
            <a:ln w="19050" cap="flat" cmpd="sng" algn="ctr">
              <a:gradFill>
                <a:gsLst>
                  <a:gs pos="0">
                    <a:srgbClr val="599FFD"/>
                  </a:gs>
                  <a:gs pos="100000">
                    <a:srgbClr val="FADC14"/>
                  </a:gs>
                </a:gsLst>
                <a:lin ang="5400000" scaled="1"/>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Variable Display"/>
                <a:ea typeface="+mn-ea"/>
                <a:cs typeface="Segoe UI" pitchFamily="34" charset="0"/>
              </a:endParaRPr>
            </a:p>
          </p:txBody>
        </p:sp>
      </p:grpSp>
      <p:pic>
        <p:nvPicPr>
          <p:cNvPr id="57" name="Graphic 56">
            <a:extLst>
              <a:ext uri="{FF2B5EF4-FFF2-40B4-BE49-F238E27FC236}">
                <a16:creationId xmlns:a16="http://schemas.microsoft.com/office/drawing/2014/main" id="{F65305D4-365D-9B92-0289-700232C0B5F7}"/>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330262" y="3245687"/>
            <a:ext cx="253363" cy="253363"/>
          </a:xfrm>
          <a:prstGeom prst="rect">
            <a:avLst/>
          </a:prstGeom>
        </p:spPr>
      </p:pic>
      <p:grpSp>
        <p:nvGrpSpPr>
          <p:cNvPr id="58" name="Group 57">
            <a:extLst>
              <a:ext uri="{FF2B5EF4-FFF2-40B4-BE49-F238E27FC236}">
                <a16:creationId xmlns:a16="http://schemas.microsoft.com/office/drawing/2014/main" id="{C59EF25B-6637-88F6-D446-E14F5F2E4709}"/>
              </a:ext>
              <a:ext uri="{C183D7F6-B498-43B3-948B-1728B52AA6E4}">
                <adec:decorative xmlns:adec="http://schemas.microsoft.com/office/drawing/2017/decorative" val="1"/>
              </a:ext>
            </a:extLst>
          </p:cNvPr>
          <p:cNvGrpSpPr/>
          <p:nvPr/>
        </p:nvGrpSpPr>
        <p:grpSpPr>
          <a:xfrm>
            <a:off x="1182623" y="4156118"/>
            <a:ext cx="548640" cy="548640"/>
            <a:chOff x="1303496" y="2241231"/>
            <a:chExt cx="1233888" cy="1233888"/>
          </a:xfrm>
          <a:solidFill>
            <a:srgbClr val="052252"/>
          </a:solidFill>
        </p:grpSpPr>
        <p:sp>
          <p:nvSpPr>
            <p:cNvPr id="59" name="Oval 58">
              <a:extLst>
                <a:ext uri="{FF2B5EF4-FFF2-40B4-BE49-F238E27FC236}">
                  <a16:creationId xmlns:a16="http://schemas.microsoft.com/office/drawing/2014/main" id="{B08B626A-ECF5-0AF0-1116-FD8BB400956F}"/>
                </a:ext>
              </a:extLst>
            </p:cNvPr>
            <p:cNvSpPr/>
            <p:nvPr/>
          </p:nvSpPr>
          <p:spPr bwMode="auto">
            <a:xfrm>
              <a:off x="1303496" y="2241231"/>
              <a:ext cx="1233888" cy="1233888"/>
            </a:xfrm>
            <a:prstGeom prst="ellipse">
              <a:avLst/>
            </a:prstGeom>
            <a:gradFill>
              <a:gsLst>
                <a:gs pos="0">
                  <a:srgbClr val="0360DB">
                    <a:alpha val="50000"/>
                  </a:srgbClr>
                </a:gs>
                <a:gs pos="85000">
                  <a:srgbClr val="FADC14">
                    <a:alpha val="50000"/>
                  </a:srgbClr>
                </a:gs>
              </a:gsLst>
              <a:lin ang="2700000" scaled="1"/>
            </a:gradFill>
            <a:ln w="19050" cap="flat" cmpd="sng" algn="ctr">
              <a:noFill/>
              <a:prstDash val="solid"/>
              <a:headEnd type="none" w="med" len="sm"/>
              <a:tailEnd type="arrow" w="lg" len="med"/>
            </a:ln>
            <a:effectLst/>
          </p:spPr>
          <p:txBody>
            <a:bodyPr rot="0" spcFirstLastPara="0" vertOverflow="overflow" horzOverflow="overflow" vert="horz" wrap="square" lIns="137160" tIns="91440" rIns="137160" bIns="137160" numCol="1" spcCol="0" rtlCol="0" fromWordArt="0" anchor="ctr" anchorCtr="0" forceAA="0" compatLnSpc="1">
              <a:prstTxWarp prst="textNoShape">
                <a:avLst/>
              </a:prstTxWarp>
              <a:noAutofit/>
            </a:bodyPr>
            <a:lstStyle/>
            <a:p>
              <a:pPr marL="0" marR="0" lvl="0" indent="0" algn="l" defTabSz="932754" rtl="0" eaLnBrk="1" fontAlgn="auto" latinLnBrk="0" hangingPunct="1">
                <a:lnSpc>
                  <a:spcPct val="100000"/>
                </a:lnSpc>
                <a:spcBef>
                  <a:spcPts val="0"/>
                </a:spcBef>
                <a:spcAft>
                  <a:spcPts val="600"/>
                </a:spcAft>
                <a:buClrTx/>
                <a:buSzPct val="90000"/>
                <a:buFontTx/>
                <a:buNone/>
                <a:tabLst/>
                <a:defRPr/>
              </a:pPr>
              <a:endParaRPr kumimoji="0" lang="en-US" sz="1900" b="0" i="0" u="none" strike="noStrike" kern="0" cap="none" spc="0" normalizeH="0" baseline="0" noProof="0">
                <a:ln>
                  <a:noFill/>
                </a:ln>
                <a:solidFill>
                  <a:srgbClr val="FFFFFF"/>
                </a:solidFill>
                <a:effectLst/>
                <a:uLnTx/>
                <a:uFillTx/>
                <a:latin typeface="Segoe Sans Display"/>
                <a:ea typeface="+mn-ea"/>
                <a:cs typeface="Segoe Sans Display Semilight" pitchFamily="2" charset="0"/>
              </a:endParaRPr>
            </a:p>
          </p:txBody>
        </p:sp>
        <p:sp>
          <p:nvSpPr>
            <p:cNvPr id="130" name="Oval 129">
              <a:extLst>
                <a:ext uri="{FF2B5EF4-FFF2-40B4-BE49-F238E27FC236}">
                  <a16:creationId xmlns:a16="http://schemas.microsoft.com/office/drawing/2014/main" id="{BB00A930-CFC2-83F9-96A3-FA8A9C434265}"/>
                </a:ext>
              </a:extLst>
            </p:cNvPr>
            <p:cNvSpPr/>
            <p:nvPr/>
          </p:nvSpPr>
          <p:spPr bwMode="auto">
            <a:xfrm>
              <a:off x="1457488" y="2395223"/>
              <a:ext cx="925905" cy="925905"/>
            </a:xfrm>
            <a:prstGeom prst="ellipse">
              <a:avLst/>
            </a:prstGeom>
            <a:solidFill>
              <a:srgbClr val="FFFFFF"/>
            </a:solidFill>
            <a:ln w="19050" cap="flat" cmpd="sng" algn="ctr">
              <a:gradFill>
                <a:gsLst>
                  <a:gs pos="0">
                    <a:srgbClr val="599FFD"/>
                  </a:gs>
                  <a:gs pos="100000">
                    <a:srgbClr val="FADC14"/>
                  </a:gs>
                </a:gsLst>
                <a:lin ang="5400000" scaled="1"/>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Variable Display"/>
                <a:ea typeface="+mn-ea"/>
                <a:cs typeface="Segoe UI" pitchFamily="34" charset="0"/>
              </a:endParaRPr>
            </a:p>
          </p:txBody>
        </p:sp>
      </p:grpSp>
      <p:pic>
        <p:nvPicPr>
          <p:cNvPr id="131" name="Graphic 130">
            <a:extLst>
              <a:ext uri="{FF2B5EF4-FFF2-40B4-BE49-F238E27FC236}">
                <a16:creationId xmlns:a16="http://schemas.microsoft.com/office/drawing/2014/main" id="{4613828E-F98D-FD3C-3B5E-43D61DDFBB0F}"/>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310833" y="4284328"/>
            <a:ext cx="292220" cy="292220"/>
          </a:xfrm>
          <a:prstGeom prst="rect">
            <a:avLst/>
          </a:prstGeom>
        </p:spPr>
      </p:pic>
      <p:grpSp>
        <p:nvGrpSpPr>
          <p:cNvPr id="133" name="Group 132">
            <a:extLst>
              <a:ext uri="{FF2B5EF4-FFF2-40B4-BE49-F238E27FC236}">
                <a16:creationId xmlns:a16="http://schemas.microsoft.com/office/drawing/2014/main" id="{DDF7E582-E2CB-AE80-B698-A05FB02A9FB9}"/>
              </a:ext>
              <a:ext uri="{C183D7F6-B498-43B3-948B-1728B52AA6E4}">
                <adec:decorative xmlns:adec="http://schemas.microsoft.com/office/drawing/2017/decorative" val="1"/>
              </a:ext>
            </a:extLst>
          </p:cNvPr>
          <p:cNvGrpSpPr/>
          <p:nvPr/>
        </p:nvGrpSpPr>
        <p:grpSpPr>
          <a:xfrm>
            <a:off x="1182623" y="5214188"/>
            <a:ext cx="548640" cy="548640"/>
            <a:chOff x="1303496" y="2241231"/>
            <a:chExt cx="1233888" cy="1233888"/>
          </a:xfrm>
          <a:solidFill>
            <a:srgbClr val="052252"/>
          </a:solidFill>
        </p:grpSpPr>
        <p:sp>
          <p:nvSpPr>
            <p:cNvPr id="144" name="Oval 143">
              <a:extLst>
                <a:ext uri="{FF2B5EF4-FFF2-40B4-BE49-F238E27FC236}">
                  <a16:creationId xmlns:a16="http://schemas.microsoft.com/office/drawing/2014/main" id="{D958639F-8887-E2D5-1117-965E286E3B0C}"/>
                </a:ext>
              </a:extLst>
            </p:cNvPr>
            <p:cNvSpPr/>
            <p:nvPr/>
          </p:nvSpPr>
          <p:spPr bwMode="auto">
            <a:xfrm>
              <a:off x="1303496" y="2241231"/>
              <a:ext cx="1233888" cy="1233888"/>
            </a:xfrm>
            <a:prstGeom prst="ellipse">
              <a:avLst/>
            </a:prstGeom>
            <a:gradFill>
              <a:gsLst>
                <a:gs pos="0">
                  <a:srgbClr val="0360DB">
                    <a:alpha val="50000"/>
                  </a:srgbClr>
                </a:gs>
                <a:gs pos="85000">
                  <a:srgbClr val="FADC14">
                    <a:alpha val="50000"/>
                  </a:srgbClr>
                </a:gs>
              </a:gsLst>
              <a:lin ang="2700000" scaled="1"/>
            </a:gradFill>
            <a:ln w="19050" cap="flat" cmpd="sng" algn="ctr">
              <a:noFill/>
              <a:prstDash val="solid"/>
              <a:headEnd type="none" w="med" len="sm"/>
              <a:tailEnd type="arrow" w="lg" len="med"/>
            </a:ln>
            <a:effectLst/>
          </p:spPr>
          <p:txBody>
            <a:bodyPr rot="0" spcFirstLastPara="0" vertOverflow="overflow" horzOverflow="overflow" vert="horz" wrap="square" lIns="137160" tIns="91440" rIns="137160" bIns="137160" numCol="1" spcCol="0" rtlCol="0" fromWordArt="0" anchor="ctr" anchorCtr="0" forceAA="0" compatLnSpc="1">
              <a:prstTxWarp prst="textNoShape">
                <a:avLst/>
              </a:prstTxWarp>
              <a:noAutofit/>
            </a:bodyPr>
            <a:lstStyle/>
            <a:p>
              <a:pPr marL="0" marR="0" lvl="0" indent="0" algn="l" defTabSz="932754" rtl="0" eaLnBrk="1" fontAlgn="auto" latinLnBrk="0" hangingPunct="1">
                <a:lnSpc>
                  <a:spcPct val="100000"/>
                </a:lnSpc>
                <a:spcBef>
                  <a:spcPts val="0"/>
                </a:spcBef>
                <a:spcAft>
                  <a:spcPts val="600"/>
                </a:spcAft>
                <a:buClrTx/>
                <a:buSzPct val="90000"/>
                <a:buFontTx/>
                <a:buNone/>
                <a:tabLst/>
                <a:defRPr/>
              </a:pPr>
              <a:endParaRPr kumimoji="0" lang="en-US" sz="1900" b="0" i="0" u="none" strike="noStrike" kern="0" cap="none" spc="0" normalizeH="0" baseline="0" noProof="0">
                <a:ln>
                  <a:noFill/>
                </a:ln>
                <a:solidFill>
                  <a:srgbClr val="FFFFFF"/>
                </a:solidFill>
                <a:effectLst/>
                <a:uLnTx/>
                <a:uFillTx/>
                <a:latin typeface="Segoe Sans Display"/>
                <a:ea typeface="+mn-ea"/>
                <a:cs typeface="Segoe Sans Display Semilight" pitchFamily="2" charset="0"/>
              </a:endParaRPr>
            </a:p>
          </p:txBody>
        </p:sp>
        <p:sp>
          <p:nvSpPr>
            <p:cNvPr id="146" name="Oval 145">
              <a:extLst>
                <a:ext uri="{FF2B5EF4-FFF2-40B4-BE49-F238E27FC236}">
                  <a16:creationId xmlns:a16="http://schemas.microsoft.com/office/drawing/2014/main" id="{2287DF4E-1067-D433-6490-7D434D1BF810}"/>
                </a:ext>
              </a:extLst>
            </p:cNvPr>
            <p:cNvSpPr/>
            <p:nvPr/>
          </p:nvSpPr>
          <p:spPr bwMode="auto">
            <a:xfrm>
              <a:off x="1457488" y="2395223"/>
              <a:ext cx="925905" cy="925905"/>
            </a:xfrm>
            <a:prstGeom prst="ellipse">
              <a:avLst/>
            </a:prstGeom>
            <a:solidFill>
              <a:srgbClr val="FFFFFF"/>
            </a:solidFill>
            <a:ln w="19050" cap="flat" cmpd="sng" algn="ctr">
              <a:gradFill>
                <a:gsLst>
                  <a:gs pos="0">
                    <a:srgbClr val="599FFD"/>
                  </a:gs>
                  <a:gs pos="100000">
                    <a:srgbClr val="FADC14"/>
                  </a:gs>
                </a:gsLst>
                <a:lin ang="5400000" scaled="1"/>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Variable Display"/>
                <a:ea typeface="+mn-ea"/>
                <a:cs typeface="Segoe UI" pitchFamily="34" charset="0"/>
              </a:endParaRPr>
            </a:p>
          </p:txBody>
        </p:sp>
      </p:grpSp>
      <p:pic>
        <p:nvPicPr>
          <p:cNvPr id="153" name="Graphic 152">
            <a:extLst>
              <a:ext uri="{FF2B5EF4-FFF2-40B4-BE49-F238E27FC236}">
                <a16:creationId xmlns:a16="http://schemas.microsoft.com/office/drawing/2014/main" id="{99B021F6-4D00-6C2C-DB41-3F775294F94B}"/>
              </a:ext>
              <a:ext uri="{C183D7F6-B498-43B3-948B-1728B52AA6E4}">
                <adec:decorative xmlns:adec="http://schemas.microsoft.com/office/drawing/2017/decorative" val="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311391" y="5342956"/>
            <a:ext cx="291105" cy="291105"/>
          </a:xfrm>
          <a:prstGeom prst="rect">
            <a:avLst/>
          </a:prstGeom>
        </p:spPr>
      </p:pic>
      <p:sp>
        <p:nvSpPr>
          <p:cNvPr id="157" name="Rectangle: Rounded Corners 156">
            <a:extLst>
              <a:ext uri="{FF2B5EF4-FFF2-40B4-BE49-F238E27FC236}">
                <a16:creationId xmlns:a16="http://schemas.microsoft.com/office/drawing/2014/main" id="{010F084D-47C9-E60F-5BE3-5C8362709CF5}"/>
              </a:ext>
              <a:ext uri="{C183D7F6-B498-43B3-948B-1728B52AA6E4}">
                <adec:decorative xmlns:adec="http://schemas.microsoft.com/office/drawing/2017/decorative" val="1"/>
              </a:ext>
            </a:extLst>
          </p:cNvPr>
          <p:cNvSpPr>
            <a:spLocks/>
          </p:cNvSpPr>
          <p:nvPr/>
        </p:nvSpPr>
        <p:spPr bwMode="auto">
          <a:xfrm rot="16200000">
            <a:off x="8497823" y="3182350"/>
            <a:ext cx="4480560" cy="1737360"/>
          </a:xfrm>
          <a:prstGeom prst="roundRect">
            <a:avLst>
              <a:gd name="adj" fmla="val 11550"/>
            </a:avLst>
          </a:prstGeom>
          <a:solidFill>
            <a:sysClr val="window" lastClr="FFFFFF"/>
          </a:solidFill>
          <a:ln w="12700" cap="flat" cmpd="sng" algn="ctr">
            <a:noFill/>
            <a:prstDash val="solid"/>
            <a:miter lim="800000"/>
            <a:headEnd type="none" w="med" len="med"/>
            <a:tailEnd type="none" w="med" len="med"/>
          </a:ln>
          <a:effectLst>
            <a:innerShdw blurRad="508000" dist="63500" dir="16200000">
              <a:srgbClr val="B1B3B3">
                <a:alpha val="25000"/>
              </a:srgbClr>
            </a:inn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Sans Display"/>
              <a:ea typeface="+mn-ea"/>
              <a:cs typeface="Segoe UI" pitchFamily="34" charset="0"/>
            </a:endParaRPr>
          </a:p>
        </p:txBody>
      </p:sp>
      <p:sp>
        <p:nvSpPr>
          <p:cNvPr id="164" name="TextBox 163">
            <a:extLst>
              <a:ext uri="{FF2B5EF4-FFF2-40B4-BE49-F238E27FC236}">
                <a16:creationId xmlns:a16="http://schemas.microsoft.com/office/drawing/2014/main" id="{A3C57663-ED96-B5AC-7C0C-BF64B821F761}"/>
              </a:ext>
            </a:extLst>
          </p:cNvPr>
          <p:cNvSpPr txBox="1"/>
          <p:nvPr/>
        </p:nvSpPr>
        <p:spPr>
          <a:xfrm>
            <a:off x="9921941" y="1935666"/>
            <a:ext cx="1632324"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40" normalizeH="0" baseline="0" noProof="0">
                <a:ln>
                  <a:noFill/>
                </a:ln>
                <a:solidFill>
                  <a:prstClr val="black"/>
                </a:solidFill>
                <a:effectLst/>
                <a:uLnTx/>
                <a:uFillTx/>
                <a:latin typeface="Segoe Sans Display"/>
                <a:ea typeface="+mn-ea"/>
                <a:cs typeface="+mn-cs"/>
              </a:rPr>
              <a:t>Access to all </a:t>
            </a:r>
            <a:br>
              <a:rPr kumimoji="0" lang="en-US" sz="1600" b="0" i="0" u="none" strike="noStrike" kern="0" cap="none" spc="-40" normalizeH="0" baseline="0" noProof="0">
                <a:ln>
                  <a:noFill/>
                </a:ln>
                <a:solidFill>
                  <a:prstClr val="black"/>
                </a:solidFill>
                <a:effectLst/>
                <a:uLnTx/>
                <a:uFillTx/>
                <a:latin typeface="Segoe Sans Display"/>
                <a:ea typeface="+mn-ea"/>
                <a:cs typeface="+mn-cs"/>
              </a:rPr>
            </a:br>
            <a:r>
              <a:rPr kumimoji="0" lang="en-US" sz="1600" b="0" i="0" u="none" strike="noStrike" kern="0" cap="none" spc="-60" normalizeH="0" baseline="0" noProof="0">
                <a:ln>
                  <a:noFill/>
                </a:ln>
                <a:solidFill>
                  <a:prstClr val="black"/>
                </a:solidFill>
                <a:effectLst/>
                <a:uLnTx/>
                <a:uFillTx/>
                <a:latin typeface="Segoe Sans Display"/>
                <a:ea typeface="+mn-ea"/>
                <a:cs typeface="+mn-cs"/>
              </a:rPr>
              <a:t>apps &amp; resources</a:t>
            </a:r>
          </a:p>
        </p:txBody>
      </p:sp>
      <p:sp>
        <p:nvSpPr>
          <p:cNvPr id="166" name="TextBox 165">
            <a:extLst>
              <a:ext uri="{FF2B5EF4-FFF2-40B4-BE49-F238E27FC236}">
                <a16:creationId xmlns:a16="http://schemas.microsoft.com/office/drawing/2014/main" id="{05869F41-CFE2-A25F-F94F-9897E1288D86}"/>
              </a:ext>
            </a:extLst>
          </p:cNvPr>
          <p:cNvSpPr txBox="1"/>
          <p:nvPr/>
        </p:nvSpPr>
        <p:spPr>
          <a:xfrm>
            <a:off x="10091925" y="2623302"/>
            <a:ext cx="129235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40" normalizeH="0" baseline="0" noProof="0">
                <a:ln w="3175">
                  <a:noFill/>
                </a:ln>
                <a:gradFill>
                  <a:gsLst>
                    <a:gs pos="0">
                      <a:srgbClr val="0360DB"/>
                    </a:gs>
                    <a:gs pos="80000">
                      <a:srgbClr val="207EFC"/>
                    </a:gs>
                  </a:gsLst>
                  <a:path path="circle">
                    <a:fillToRect l="100000" t="100000"/>
                  </a:path>
                </a:gradFill>
                <a:effectLst/>
                <a:uLnTx/>
                <a:uFillTx/>
                <a:latin typeface="Segoe Sans Display Semibold"/>
                <a:ea typeface="+mn-ea"/>
                <a:cs typeface="Segoe UI" panose="020B0502040204020203" pitchFamily="34" charset="0"/>
              </a:rPr>
              <a:t>AI</a:t>
            </a:r>
          </a:p>
        </p:txBody>
      </p:sp>
      <p:sp>
        <p:nvSpPr>
          <p:cNvPr id="168" name="TextBox 167">
            <a:extLst>
              <a:ext uri="{FF2B5EF4-FFF2-40B4-BE49-F238E27FC236}">
                <a16:creationId xmlns:a16="http://schemas.microsoft.com/office/drawing/2014/main" id="{3DE305AB-307A-9B45-5C99-DC3DD4A98C2E}"/>
              </a:ext>
            </a:extLst>
          </p:cNvPr>
          <p:cNvSpPr txBox="1"/>
          <p:nvPr/>
        </p:nvSpPr>
        <p:spPr>
          <a:xfrm>
            <a:off x="10104625" y="3320370"/>
            <a:ext cx="126695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40" normalizeH="0" baseline="0" noProof="0">
                <a:ln w="3175">
                  <a:noFill/>
                </a:ln>
                <a:gradFill>
                  <a:gsLst>
                    <a:gs pos="0">
                      <a:srgbClr val="0360DB"/>
                    </a:gs>
                    <a:gs pos="80000">
                      <a:srgbClr val="207EFC"/>
                    </a:gs>
                  </a:gsLst>
                  <a:path path="circle">
                    <a:fillToRect l="100000" t="100000"/>
                  </a:path>
                </a:gradFill>
                <a:effectLst/>
                <a:uLnTx/>
                <a:uFillTx/>
                <a:latin typeface="Segoe Sans Display Semibold"/>
                <a:ea typeface="+mn-ea"/>
                <a:cs typeface="Segoe UI" panose="020B0502040204020203" pitchFamily="34" charset="0"/>
              </a:rPr>
              <a:t>IaaS, PaaS, Datacenter</a:t>
            </a:r>
          </a:p>
        </p:txBody>
      </p:sp>
      <p:sp>
        <p:nvSpPr>
          <p:cNvPr id="170" name="TextBox 169">
            <a:extLst>
              <a:ext uri="{FF2B5EF4-FFF2-40B4-BE49-F238E27FC236}">
                <a16:creationId xmlns:a16="http://schemas.microsoft.com/office/drawing/2014/main" id="{2AC0C809-153C-0CEF-D3F0-8AAC0C65D055}"/>
              </a:ext>
            </a:extLst>
          </p:cNvPr>
          <p:cNvSpPr txBox="1"/>
          <p:nvPr/>
        </p:nvSpPr>
        <p:spPr>
          <a:xfrm>
            <a:off x="10091925" y="4232881"/>
            <a:ext cx="129235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40" normalizeH="0" baseline="0" noProof="0">
                <a:ln w="3175">
                  <a:noFill/>
                </a:ln>
                <a:gradFill>
                  <a:gsLst>
                    <a:gs pos="0">
                      <a:srgbClr val="0360DB"/>
                    </a:gs>
                    <a:gs pos="80000">
                      <a:srgbClr val="207EFC"/>
                    </a:gs>
                  </a:gsLst>
                  <a:path path="circle">
                    <a:fillToRect l="100000" t="100000"/>
                  </a:path>
                </a:gradFill>
                <a:effectLst/>
                <a:uLnTx/>
                <a:uFillTx/>
                <a:latin typeface="Segoe Sans Display Semibold"/>
                <a:ea typeface="+mn-ea"/>
                <a:cs typeface="Segoe UI" panose="020B0502040204020203" pitchFamily="34" charset="0"/>
              </a:rPr>
              <a:t>Microsoft 365</a:t>
            </a:r>
          </a:p>
        </p:txBody>
      </p:sp>
      <p:sp>
        <p:nvSpPr>
          <p:cNvPr id="172" name="TextBox 171">
            <a:extLst>
              <a:ext uri="{FF2B5EF4-FFF2-40B4-BE49-F238E27FC236}">
                <a16:creationId xmlns:a16="http://schemas.microsoft.com/office/drawing/2014/main" id="{F0B4F29B-39F7-2799-4BC6-C0D26CB7D7F5}"/>
              </a:ext>
            </a:extLst>
          </p:cNvPr>
          <p:cNvSpPr txBox="1"/>
          <p:nvPr/>
        </p:nvSpPr>
        <p:spPr>
          <a:xfrm>
            <a:off x="10221466" y="4929949"/>
            <a:ext cx="1033274"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40" normalizeH="0" baseline="0" noProof="0">
                <a:ln w="3175">
                  <a:noFill/>
                </a:ln>
                <a:gradFill>
                  <a:gsLst>
                    <a:gs pos="0">
                      <a:srgbClr val="0360DB"/>
                    </a:gs>
                    <a:gs pos="80000">
                      <a:srgbClr val="207EFC"/>
                    </a:gs>
                  </a:gsLst>
                  <a:path path="circle">
                    <a:fillToRect l="100000" t="100000"/>
                  </a:path>
                </a:gradFill>
                <a:effectLst/>
                <a:uLnTx/>
                <a:uFillTx/>
                <a:latin typeface="Segoe Sans Display Semibold"/>
                <a:ea typeface="+mn-ea"/>
                <a:cs typeface="Segoe UI" panose="020B0502040204020203" pitchFamily="34" charset="0"/>
              </a:rPr>
              <a:t>SaaS, websites</a:t>
            </a:r>
          </a:p>
        </p:txBody>
      </p:sp>
      <p:sp>
        <p:nvSpPr>
          <p:cNvPr id="175" name="TextBox 174">
            <a:extLst>
              <a:ext uri="{FF2B5EF4-FFF2-40B4-BE49-F238E27FC236}">
                <a16:creationId xmlns:a16="http://schemas.microsoft.com/office/drawing/2014/main" id="{1BEB401C-0809-4F5B-5899-EE78E9E4372C}"/>
              </a:ext>
            </a:extLst>
          </p:cNvPr>
          <p:cNvSpPr txBox="1"/>
          <p:nvPr/>
        </p:nvSpPr>
        <p:spPr>
          <a:xfrm>
            <a:off x="10091925" y="5842462"/>
            <a:ext cx="129235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40" normalizeH="0" baseline="0" noProof="0">
                <a:ln w="3175">
                  <a:noFill/>
                </a:ln>
                <a:gradFill>
                  <a:gsLst>
                    <a:gs pos="0">
                      <a:srgbClr val="0360DB"/>
                    </a:gs>
                    <a:gs pos="80000">
                      <a:srgbClr val="207EFC"/>
                    </a:gs>
                  </a:gsLst>
                  <a:path path="circle">
                    <a:fillToRect l="100000" t="100000"/>
                  </a:path>
                </a:gradFill>
                <a:effectLst/>
                <a:uLnTx/>
                <a:uFillTx/>
                <a:latin typeface="Segoe Sans Display Semibold"/>
                <a:ea typeface="+mn-ea"/>
                <a:cs typeface="Segoe UI" panose="020B0502040204020203" pitchFamily="34" charset="0"/>
              </a:rPr>
              <a:t>On-premises</a:t>
            </a:r>
          </a:p>
        </p:txBody>
      </p:sp>
      <p:cxnSp>
        <p:nvCxnSpPr>
          <p:cNvPr id="176" name="Straight Connector 175">
            <a:extLst>
              <a:ext uri="{FF2B5EF4-FFF2-40B4-BE49-F238E27FC236}">
                <a16:creationId xmlns:a16="http://schemas.microsoft.com/office/drawing/2014/main" id="{0C7ABCA5-E714-EF26-9850-4BBCC55D4EA5}"/>
              </a:ext>
              <a:ext uri="{C183D7F6-B498-43B3-948B-1728B52AA6E4}">
                <adec:decorative xmlns:adec="http://schemas.microsoft.com/office/drawing/2017/decorative" val="1"/>
              </a:ext>
            </a:extLst>
          </p:cNvPr>
          <p:cNvCxnSpPr>
            <a:cxnSpLocks/>
          </p:cNvCxnSpPr>
          <p:nvPr/>
        </p:nvCxnSpPr>
        <p:spPr>
          <a:xfrm>
            <a:off x="10122407" y="3079558"/>
            <a:ext cx="1231392" cy="0"/>
          </a:xfrm>
          <a:prstGeom prst="line">
            <a:avLst/>
          </a:prstGeom>
          <a:solidFill>
            <a:srgbClr val="091F2C">
              <a:lumMod val="90000"/>
              <a:lumOff val="10000"/>
            </a:srgbClr>
          </a:solidFill>
          <a:ln w="9525" cap="flat">
            <a:solidFill>
              <a:srgbClr val="F4F3F5"/>
            </a:solidFill>
            <a:prstDash val="solid"/>
            <a:miter/>
          </a:ln>
          <a:scene3d>
            <a:camera prst="isometricOffAxis1Right">
              <a:rot lat="0" lon="0" rev="0"/>
            </a:camera>
            <a:lightRig rig="flood" dir="t"/>
          </a:scene3d>
        </p:spPr>
      </p:cxnSp>
      <p:cxnSp>
        <p:nvCxnSpPr>
          <p:cNvPr id="177" name="Straight Connector 176">
            <a:extLst>
              <a:ext uri="{FF2B5EF4-FFF2-40B4-BE49-F238E27FC236}">
                <a16:creationId xmlns:a16="http://schemas.microsoft.com/office/drawing/2014/main" id="{7FABBD5D-6A73-92EC-CA6E-C1A65DF28F76}"/>
              </a:ext>
              <a:ext uri="{C183D7F6-B498-43B3-948B-1728B52AA6E4}">
                <adec:decorative xmlns:adec="http://schemas.microsoft.com/office/drawing/2017/decorative" val="1"/>
              </a:ext>
            </a:extLst>
          </p:cNvPr>
          <p:cNvCxnSpPr>
            <a:cxnSpLocks/>
          </p:cNvCxnSpPr>
          <p:nvPr/>
        </p:nvCxnSpPr>
        <p:spPr>
          <a:xfrm>
            <a:off x="10122407" y="3992069"/>
            <a:ext cx="1231392" cy="0"/>
          </a:xfrm>
          <a:prstGeom prst="line">
            <a:avLst/>
          </a:prstGeom>
          <a:solidFill>
            <a:srgbClr val="091F2C">
              <a:lumMod val="90000"/>
              <a:lumOff val="10000"/>
            </a:srgbClr>
          </a:solidFill>
          <a:ln w="9525" cap="flat">
            <a:solidFill>
              <a:srgbClr val="F4F3F5"/>
            </a:solidFill>
            <a:prstDash val="solid"/>
            <a:miter/>
          </a:ln>
          <a:scene3d>
            <a:camera prst="isometricOffAxis1Right">
              <a:rot lat="0" lon="0" rev="0"/>
            </a:camera>
            <a:lightRig rig="flood" dir="t"/>
          </a:scene3d>
        </p:spPr>
      </p:cxnSp>
      <p:cxnSp>
        <p:nvCxnSpPr>
          <p:cNvPr id="178" name="Straight Connector 177">
            <a:extLst>
              <a:ext uri="{FF2B5EF4-FFF2-40B4-BE49-F238E27FC236}">
                <a16:creationId xmlns:a16="http://schemas.microsoft.com/office/drawing/2014/main" id="{AD18E138-24EF-BF09-BB92-875FB5526A6F}"/>
              </a:ext>
              <a:ext uri="{C183D7F6-B498-43B3-948B-1728B52AA6E4}">
                <adec:decorative xmlns:adec="http://schemas.microsoft.com/office/drawing/2017/decorative" val="1"/>
              </a:ext>
            </a:extLst>
          </p:cNvPr>
          <p:cNvCxnSpPr>
            <a:cxnSpLocks/>
          </p:cNvCxnSpPr>
          <p:nvPr/>
        </p:nvCxnSpPr>
        <p:spPr>
          <a:xfrm>
            <a:off x="10122407" y="4689137"/>
            <a:ext cx="1231392" cy="0"/>
          </a:xfrm>
          <a:prstGeom prst="line">
            <a:avLst/>
          </a:prstGeom>
          <a:solidFill>
            <a:srgbClr val="091F2C">
              <a:lumMod val="90000"/>
              <a:lumOff val="10000"/>
            </a:srgbClr>
          </a:solidFill>
          <a:ln w="9525" cap="flat">
            <a:solidFill>
              <a:srgbClr val="F4F3F5"/>
            </a:solidFill>
            <a:prstDash val="solid"/>
            <a:miter/>
          </a:ln>
          <a:scene3d>
            <a:camera prst="isometricOffAxis1Right">
              <a:rot lat="0" lon="0" rev="0"/>
            </a:camera>
            <a:lightRig rig="flood" dir="t"/>
          </a:scene3d>
        </p:spPr>
      </p:cxnSp>
      <p:cxnSp>
        <p:nvCxnSpPr>
          <p:cNvPr id="179" name="Straight Connector 178">
            <a:extLst>
              <a:ext uri="{FF2B5EF4-FFF2-40B4-BE49-F238E27FC236}">
                <a16:creationId xmlns:a16="http://schemas.microsoft.com/office/drawing/2014/main" id="{E835DBE9-19A3-6675-0B6B-D88EB66A2024}"/>
              </a:ext>
              <a:ext uri="{C183D7F6-B498-43B3-948B-1728B52AA6E4}">
                <adec:decorative xmlns:adec="http://schemas.microsoft.com/office/drawing/2017/decorative" val="1"/>
              </a:ext>
            </a:extLst>
          </p:cNvPr>
          <p:cNvCxnSpPr>
            <a:cxnSpLocks/>
          </p:cNvCxnSpPr>
          <p:nvPr/>
        </p:nvCxnSpPr>
        <p:spPr>
          <a:xfrm>
            <a:off x="10122407" y="5601648"/>
            <a:ext cx="1231392" cy="0"/>
          </a:xfrm>
          <a:prstGeom prst="line">
            <a:avLst/>
          </a:prstGeom>
          <a:solidFill>
            <a:srgbClr val="091F2C">
              <a:lumMod val="90000"/>
              <a:lumOff val="10000"/>
            </a:srgbClr>
          </a:solidFill>
          <a:ln w="9525" cap="flat">
            <a:solidFill>
              <a:srgbClr val="F4F3F5"/>
            </a:solidFill>
            <a:prstDash val="solid"/>
            <a:miter/>
          </a:ln>
          <a:scene3d>
            <a:camera prst="isometricOffAxis1Right">
              <a:rot lat="0" lon="0" rev="0"/>
            </a:camera>
            <a:lightRig rig="flood" dir="t"/>
          </a:scene3d>
        </p:spPr>
      </p:cxnSp>
      <p:grpSp>
        <p:nvGrpSpPr>
          <p:cNvPr id="180" name="Group 179">
            <a:extLst>
              <a:ext uri="{FF2B5EF4-FFF2-40B4-BE49-F238E27FC236}">
                <a16:creationId xmlns:a16="http://schemas.microsoft.com/office/drawing/2014/main" id="{82474565-D395-A619-3731-0FC28F2256A5}"/>
              </a:ext>
              <a:ext uri="{C183D7F6-B498-43B3-948B-1728B52AA6E4}">
                <adec:decorative xmlns:adec="http://schemas.microsoft.com/office/drawing/2017/decorative" val="1"/>
              </a:ext>
            </a:extLst>
          </p:cNvPr>
          <p:cNvGrpSpPr/>
          <p:nvPr/>
        </p:nvGrpSpPr>
        <p:grpSpPr>
          <a:xfrm>
            <a:off x="2551175" y="4188190"/>
            <a:ext cx="7095744" cy="2103120"/>
            <a:chOff x="2535230" y="1810749"/>
            <a:chExt cx="3931920" cy="4480559"/>
          </a:xfrm>
        </p:grpSpPr>
        <p:sp>
          <p:nvSpPr>
            <p:cNvPr id="181" name="Rectangle: Top Corners Rounded 180">
              <a:extLst>
                <a:ext uri="{FF2B5EF4-FFF2-40B4-BE49-F238E27FC236}">
                  <a16:creationId xmlns:a16="http://schemas.microsoft.com/office/drawing/2014/main" id="{1044D9BC-E6E5-0627-D011-BE4C6F24DF22}"/>
                </a:ext>
              </a:extLst>
            </p:cNvPr>
            <p:cNvSpPr/>
            <p:nvPr/>
          </p:nvSpPr>
          <p:spPr bwMode="auto">
            <a:xfrm>
              <a:off x="2535230" y="1810749"/>
              <a:ext cx="3931920" cy="4480559"/>
            </a:xfrm>
            <a:prstGeom prst="round2SameRect">
              <a:avLst>
                <a:gd name="adj1" fmla="val 0"/>
                <a:gd name="adj2" fmla="val 0"/>
              </a:avLst>
            </a:prstGeom>
            <a:solidFill>
              <a:sysClr val="window" lastClr="FFFFFF"/>
            </a:solidFill>
            <a:ln w="6350" cap="flat" cmpd="sng" algn="ctr">
              <a:noFill/>
              <a:prstDash val="solid"/>
              <a:headEnd type="none" w="med" len="med"/>
              <a:tailEnd type="none" w="med" len="med"/>
            </a:ln>
            <a:effectLst>
              <a:innerShdw blurRad="1016000" dist="508000" dir="18600000">
                <a:srgbClr val="A5B8EE">
                  <a:alpha val="60000"/>
                </a:srgbClr>
              </a:innerShdw>
            </a:effectLst>
          </p:spPr>
          <p:txBody>
            <a:bodyPr rot="0" spcFirstLastPara="0" vertOverflow="overflow" horzOverflow="overflow" vert="horz" wrap="square" lIns="0" tIns="27432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prstClr val="black"/>
                  </a:solidFill>
                  <a:effectLst/>
                  <a:uLnTx/>
                  <a:uFillTx/>
                  <a:latin typeface="Segoe Sans Display"/>
                  <a:ea typeface="+mn-ea"/>
                  <a:cs typeface="Segoe UI" pitchFamily="34" charset="0"/>
                </a:rPr>
                <a:t>Network security team</a:t>
              </a:r>
            </a:p>
          </p:txBody>
        </p:sp>
        <p:cxnSp>
          <p:nvCxnSpPr>
            <p:cNvPr id="182" name="Straight Connector 181">
              <a:extLst>
                <a:ext uri="{FF2B5EF4-FFF2-40B4-BE49-F238E27FC236}">
                  <a16:creationId xmlns:a16="http://schemas.microsoft.com/office/drawing/2014/main" id="{18EAEA2A-6836-EF3B-BABD-78238BB5F53E}"/>
                </a:ext>
              </a:extLst>
            </p:cNvPr>
            <p:cNvCxnSpPr>
              <a:cxnSpLocks/>
            </p:cNvCxnSpPr>
            <p:nvPr/>
          </p:nvCxnSpPr>
          <p:spPr>
            <a:xfrm>
              <a:off x="2535230" y="6291308"/>
              <a:ext cx="3931920" cy="0"/>
            </a:xfrm>
            <a:prstGeom prst="line">
              <a:avLst/>
            </a:prstGeom>
            <a:noFill/>
            <a:ln w="22225" cap="flat" cmpd="sng" algn="ctr">
              <a:solidFill>
                <a:srgbClr val="A5B8EE"/>
              </a:solidFill>
              <a:prstDash val="solid"/>
              <a:headEnd type="none" w="lg" len="med"/>
              <a:tailEnd type="none" w="lg" len="med"/>
            </a:ln>
            <a:effectLst/>
          </p:spPr>
        </p:cxnSp>
      </p:grpSp>
      <p:grpSp>
        <p:nvGrpSpPr>
          <p:cNvPr id="183" name="Group 182">
            <a:extLst>
              <a:ext uri="{FF2B5EF4-FFF2-40B4-BE49-F238E27FC236}">
                <a16:creationId xmlns:a16="http://schemas.microsoft.com/office/drawing/2014/main" id="{5FEB3DB3-FE97-DF70-6B40-5C0E8A33C45A}"/>
              </a:ext>
              <a:ext uri="{C183D7F6-B498-43B3-948B-1728B52AA6E4}">
                <adec:decorative xmlns:adec="http://schemas.microsoft.com/office/drawing/2017/decorative" val="1"/>
              </a:ext>
            </a:extLst>
          </p:cNvPr>
          <p:cNvGrpSpPr>
            <a:grpSpLocks/>
          </p:cNvGrpSpPr>
          <p:nvPr/>
        </p:nvGrpSpPr>
        <p:grpSpPr>
          <a:xfrm>
            <a:off x="5641847" y="4976831"/>
            <a:ext cx="914400" cy="914400"/>
            <a:chOff x="5735358" y="4865906"/>
            <a:chExt cx="721284" cy="721284"/>
          </a:xfrm>
        </p:grpSpPr>
        <p:grpSp>
          <p:nvGrpSpPr>
            <p:cNvPr id="184" name="Group 183">
              <a:extLst>
                <a:ext uri="{FF2B5EF4-FFF2-40B4-BE49-F238E27FC236}">
                  <a16:creationId xmlns:a16="http://schemas.microsoft.com/office/drawing/2014/main" id="{D440EDC3-86A7-EF48-71D6-1623BE1D5C79}"/>
                </a:ext>
              </a:extLst>
            </p:cNvPr>
            <p:cNvGrpSpPr/>
            <p:nvPr/>
          </p:nvGrpSpPr>
          <p:grpSpPr>
            <a:xfrm>
              <a:off x="5735358" y="4865906"/>
              <a:ext cx="721284" cy="721284"/>
              <a:chOff x="6351735" y="3356388"/>
              <a:chExt cx="451805" cy="451805"/>
            </a:xfrm>
          </p:grpSpPr>
          <p:sp>
            <p:nvSpPr>
              <p:cNvPr id="188" name="Oval 187">
                <a:extLst>
                  <a:ext uri="{FF2B5EF4-FFF2-40B4-BE49-F238E27FC236}">
                    <a16:creationId xmlns:a16="http://schemas.microsoft.com/office/drawing/2014/main" id="{2D8FDA0E-5F3D-20CE-A17F-E47A57B9A30E}"/>
                  </a:ext>
                </a:extLst>
              </p:cNvPr>
              <p:cNvSpPr/>
              <p:nvPr/>
            </p:nvSpPr>
            <p:spPr bwMode="auto">
              <a:xfrm>
                <a:off x="6351735" y="3356388"/>
                <a:ext cx="451805" cy="451805"/>
              </a:xfrm>
              <a:prstGeom prst="ellipse">
                <a:avLst/>
              </a:prstGeom>
              <a:solidFill>
                <a:srgbClr val="A5B8EE">
                  <a:alpha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190" name="Oval 189">
                <a:extLst>
                  <a:ext uri="{FF2B5EF4-FFF2-40B4-BE49-F238E27FC236}">
                    <a16:creationId xmlns:a16="http://schemas.microsoft.com/office/drawing/2014/main" id="{1E913769-8A2B-CD77-0C58-554AA51FBDD8}"/>
                  </a:ext>
                </a:extLst>
              </p:cNvPr>
              <p:cNvSpPr/>
              <p:nvPr/>
            </p:nvSpPr>
            <p:spPr bwMode="auto">
              <a:xfrm>
                <a:off x="6396037" y="3400692"/>
                <a:ext cx="363201" cy="363198"/>
              </a:xfrm>
              <a:prstGeom prst="ellipse">
                <a:avLst/>
              </a:prstGeom>
              <a:solidFill>
                <a:sysClr val="window" lastClr="FFFFFF"/>
              </a:solidFill>
              <a:ln w="12700" cap="flat" cmpd="sng" algn="ctr">
                <a:solidFill>
                  <a:srgbClr val="A5B8EE"/>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Segoe Sans Display"/>
                  <a:ea typeface="+mn-ea"/>
                  <a:cs typeface="+mn-cs"/>
                </a:endParaRPr>
              </a:p>
            </p:txBody>
          </p:sp>
        </p:grpSp>
        <p:sp>
          <p:nvSpPr>
            <p:cNvPr id="185" name="Graphic 38">
              <a:extLst>
                <a:ext uri="{FF2B5EF4-FFF2-40B4-BE49-F238E27FC236}">
                  <a16:creationId xmlns:a16="http://schemas.microsoft.com/office/drawing/2014/main" id="{32DEC950-3E0C-2D8A-7EDE-E8597BBE7862}"/>
                </a:ext>
              </a:extLst>
            </p:cNvPr>
            <p:cNvSpPr/>
            <p:nvPr/>
          </p:nvSpPr>
          <p:spPr>
            <a:xfrm>
              <a:off x="5943600" y="5089388"/>
              <a:ext cx="304800" cy="289560"/>
            </a:xfrm>
            <a:custGeom>
              <a:avLst/>
              <a:gdLst>
                <a:gd name="connsiteX0" fmla="*/ 194371 w 304800"/>
                <a:gd name="connsiteY0" fmla="*/ 106680 h 289560"/>
                <a:gd name="connsiteX1" fmla="*/ 221041 w 304800"/>
                <a:gd name="connsiteY1" fmla="*/ 133350 h 289560"/>
                <a:gd name="connsiteX2" fmla="*/ 221041 w 304800"/>
                <a:gd name="connsiteY2" fmla="*/ 182880 h 289560"/>
                <a:gd name="connsiteX3" fmla="*/ 220980 w 304800"/>
                <a:gd name="connsiteY3" fmla="*/ 182880 h 289560"/>
                <a:gd name="connsiteX4" fmla="*/ 220980 w 304800"/>
                <a:gd name="connsiteY4" fmla="*/ 186690 h 289560"/>
                <a:gd name="connsiteX5" fmla="*/ 209550 w 304800"/>
                <a:gd name="connsiteY5" fmla="*/ 198120 h 289560"/>
                <a:gd name="connsiteX6" fmla="*/ 198120 w 304800"/>
                <a:gd name="connsiteY6" fmla="*/ 186690 h 289560"/>
                <a:gd name="connsiteX7" fmla="*/ 198120 w 304800"/>
                <a:gd name="connsiteY7" fmla="*/ 152400 h 289560"/>
                <a:gd name="connsiteX8" fmla="*/ 198181 w 304800"/>
                <a:gd name="connsiteY8" fmla="*/ 152400 h 289560"/>
                <a:gd name="connsiteX9" fmla="*/ 198181 w 304800"/>
                <a:gd name="connsiteY9" fmla="*/ 133350 h 289560"/>
                <a:gd name="connsiteX10" fmla="*/ 194371 w 304800"/>
                <a:gd name="connsiteY10" fmla="*/ 129540 h 289560"/>
                <a:gd name="connsiteX11" fmla="*/ 110520 w 304800"/>
                <a:gd name="connsiteY11" fmla="*/ 129540 h 289560"/>
                <a:gd name="connsiteX12" fmla="*/ 106710 w 304800"/>
                <a:gd name="connsiteY12" fmla="*/ 133350 h 289560"/>
                <a:gd name="connsiteX13" fmla="*/ 106710 w 304800"/>
                <a:gd name="connsiteY13" fmla="*/ 182880 h 289560"/>
                <a:gd name="connsiteX14" fmla="*/ 106680 w 304800"/>
                <a:gd name="connsiteY14" fmla="*/ 182880 h 289560"/>
                <a:gd name="connsiteX15" fmla="*/ 106680 w 304800"/>
                <a:gd name="connsiteY15" fmla="*/ 186690 h 289560"/>
                <a:gd name="connsiteX16" fmla="*/ 95250 w 304800"/>
                <a:gd name="connsiteY16" fmla="*/ 198120 h 289560"/>
                <a:gd name="connsiteX17" fmla="*/ 83820 w 304800"/>
                <a:gd name="connsiteY17" fmla="*/ 186690 h 289560"/>
                <a:gd name="connsiteX18" fmla="*/ 83820 w 304800"/>
                <a:gd name="connsiteY18" fmla="*/ 152400 h 289560"/>
                <a:gd name="connsiteX19" fmla="*/ 83850 w 304800"/>
                <a:gd name="connsiteY19" fmla="*/ 152400 h 289560"/>
                <a:gd name="connsiteX20" fmla="*/ 83850 w 304800"/>
                <a:gd name="connsiteY20" fmla="*/ 133350 h 289560"/>
                <a:gd name="connsiteX21" fmla="*/ 110520 w 304800"/>
                <a:gd name="connsiteY21" fmla="*/ 106680 h 289560"/>
                <a:gd name="connsiteX22" fmla="*/ 194371 w 304800"/>
                <a:gd name="connsiteY22" fmla="*/ 106680 h 289560"/>
                <a:gd name="connsiteX23" fmla="*/ 281940 w 304800"/>
                <a:gd name="connsiteY23" fmla="*/ 133350 h 289560"/>
                <a:gd name="connsiteX24" fmla="*/ 281940 w 304800"/>
                <a:gd name="connsiteY24" fmla="*/ 186690 h 289560"/>
                <a:gd name="connsiteX25" fmla="*/ 293370 w 304800"/>
                <a:gd name="connsiteY25" fmla="*/ 198120 h 289560"/>
                <a:gd name="connsiteX26" fmla="*/ 304800 w 304800"/>
                <a:gd name="connsiteY26" fmla="*/ 186690 h 289560"/>
                <a:gd name="connsiteX27" fmla="*/ 304800 w 304800"/>
                <a:gd name="connsiteY27" fmla="*/ 133350 h 289560"/>
                <a:gd name="connsiteX28" fmla="*/ 278130 w 304800"/>
                <a:gd name="connsiteY28" fmla="*/ 106680 h 289560"/>
                <a:gd name="connsiteX29" fmla="*/ 226695 w 304800"/>
                <a:gd name="connsiteY29" fmla="*/ 106680 h 289560"/>
                <a:gd name="connsiteX30" fmla="*/ 236113 w 304800"/>
                <a:gd name="connsiteY30" fmla="*/ 129540 h 289560"/>
                <a:gd name="connsiteX31" fmla="*/ 278130 w 304800"/>
                <a:gd name="connsiteY31" fmla="*/ 129540 h 289560"/>
                <a:gd name="connsiteX32" fmla="*/ 281940 w 304800"/>
                <a:gd name="connsiteY32" fmla="*/ 133350 h 289560"/>
                <a:gd name="connsiteX33" fmla="*/ 0 w 304800"/>
                <a:gd name="connsiteY33" fmla="*/ 186690 h 289560"/>
                <a:gd name="connsiteX34" fmla="*/ 11430 w 304800"/>
                <a:gd name="connsiteY34" fmla="*/ 198120 h 289560"/>
                <a:gd name="connsiteX35" fmla="*/ 22860 w 304800"/>
                <a:gd name="connsiteY35" fmla="*/ 186690 h 289560"/>
                <a:gd name="connsiteX36" fmla="*/ 22860 w 304800"/>
                <a:gd name="connsiteY36" fmla="*/ 133350 h 289560"/>
                <a:gd name="connsiteX37" fmla="*/ 26670 w 304800"/>
                <a:gd name="connsiteY37" fmla="*/ 129540 h 289560"/>
                <a:gd name="connsiteX38" fmla="*/ 68778 w 304800"/>
                <a:gd name="connsiteY38" fmla="*/ 129540 h 289560"/>
                <a:gd name="connsiteX39" fmla="*/ 78196 w 304800"/>
                <a:gd name="connsiteY39" fmla="*/ 106680 h 289560"/>
                <a:gd name="connsiteX40" fmla="*/ 26670 w 304800"/>
                <a:gd name="connsiteY40" fmla="*/ 106680 h 289560"/>
                <a:gd name="connsiteX41" fmla="*/ 0 w 304800"/>
                <a:gd name="connsiteY41" fmla="*/ 133350 h 289560"/>
                <a:gd name="connsiteX42" fmla="*/ 0 w 304800"/>
                <a:gd name="connsiteY42" fmla="*/ 186690 h 289560"/>
                <a:gd name="connsiteX43" fmla="*/ 152400 w 304800"/>
                <a:gd name="connsiteY43" fmla="*/ 0 h 289560"/>
                <a:gd name="connsiteX44" fmla="*/ 198120 w 304800"/>
                <a:gd name="connsiteY44" fmla="*/ 45720 h 289560"/>
                <a:gd name="connsiteX45" fmla="*/ 152400 w 304800"/>
                <a:gd name="connsiteY45" fmla="*/ 91440 h 289560"/>
                <a:gd name="connsiteX46" fmla="*/ 106680 w 304800"/>
                <a:gd name="connsiteY46" fmla="*/ 45720 h 289560"/>
                <a:gd name="connsiteX47" fmla="*/ 152400 w 304800"/>
                <a:gd name="connsiteY47" fmla="*/ 0 h 289560"/>
                <a:gd name="connsiteX48" fmla="*/ 152400 w 304800"/>
                <a:gd name="connsiteY48" fmla="*/ 22860 h 289560"/>
                <a:gd name="connsiteX49" fmla="*/ 129540 w 304800"/>
                <a:gd name="connsiteY49" fmla="*/ 45720 h 289560"/>
                <a:gd name="connsiteX50" fmla="*/ 152400 w 304800"/>
                <a:gd name="connsiteY50" fmla="*/ 68580 h 289560"/>
                <a:gd name="connsiteX51" fmla="*/ 175260 w 304800"/>
                <a:gd name="connsiteY51" fmla="*/ 45720 h 289560"/>
                <a:gd name="connsiteX52" fmla="*/ 152400 w 304800"/>
                <a:gd name="connsiteY52" fmla="*/ 22860 h 289560"/>
                <a:gd name="connsiteX53" fmla="*/ 251460 w 304800"/>
                <a:gd name="connsiteY53" fmla="*/ 15240 h 289560"/>
                <a:gd name="connsiteX54" fmla="*/ 289560 w 304800"/>
                <a:gd name="connsiteY54" fmla="*/ 53340 h 289560"/>
                <a:gd name="connsiteX55" fmla="*/ 251460 w 304800"/>
                <a:gd name="connsiteY55" fmla="*/ 91440 h 289560"/>
                <a:gd name="connsiteX56" fmla="*/ 213360 w 304800"/>
                <a:gd name="connsiteY56" fmla="*/ 53340 h 289560"/>
                <a:gd name="connsiteX57" fmla="*/ 251460 w 304800"/>
                <a:gd name="connsiteY57" fmla="*/ 15240 h 289560"/>
                <a:gd name="connsiteX58" fmla="*/ 251460 w 304800"/>
                <a:gd name="connsiteY58" fmla="*/ 38100 h 289560"/>
                <a:gd name="connsiteX59" fmla="*/ 236220 w 304800"/>
                <a:gd name="connsiteY59" fmla="*/ 53340 h 289560"/>
                <a:gd name="connsiteX60" fmla="*/ 251460 w 304800"/>
                <a:gd name="connsiteY60" fmla="*/ 68580 h 289560"/>
                <a:gd name="connsiteX61" fmla="*/ 266700 w 304800"/>
                <a:gd name="connsiteY61" fmla="*/ 53340 h 289560"/>
                <a:gd name="connsiteX62" fmla="*/ 251460 w 304800"/>
                <a:gd name="connsiteY62" fmla="*/ 38100 h 289560"/>
                <a:gd name="connsiteX63" fmla="*/ 53340 w 304800"/>
                <a:gd name="connsiteY63" fmla="*/ 15240 h 289560"/>
                <a:gd name="connsiteX64" fmla="*/ 91440 w 304800"/>
                <a:gd name="connsiteY64" fmla="*/ 53340 h 289560"/>
                <a:gd name="connsiteX65" fmla="*/ 53340 w 304800"/>
                <a:gd name="connsiteY65" fmla="*/ 91440 h 289560"/>
                <a:gd name="connsiteX66" fmla="*/ 15240 w 304800"/>
                <a:gd name="connsiteY66" fmla="*/ 53340 h 289560"/>
                <a:gd name="connsiteX67" fmla="*/ 53340 w 304800"/>
                <a:gd name="connsiteY67" fmla="*/ 15240 h 289560"/>
                <a:gd name="connsiteX68" fmla="*/ 53340 w 304800"/>
                <a:gd name="connsiteY68" fmla="*/ 38100 h 289560"/>
                <a:gd name="connsiteX69" fmla="*/ 38100 w 304800"/>
                <a:gd name="connsiteY69" fmla="*/ 53340 h 289560"/>
                <a:gd name="connsiteX70" fmla="*/ 53340 w 304800"/>
                <a:gd name="connsiteY70" fmla="*/ 68580 h 289560"/>
                <a:gd name="connsiteX71" fmla="*/ 68580 w 304800"/>
                <a:gd name="connsiteY71" fmla="*/ 53340 h 289560"/>
                <a:gd name="connsiteX72" fmla="*/ 53340 w 304800"/>
                <a:gd name="connsiteY72" fmla="*/ 38100 h 289560"/>
                <a:gd name="connsiteX73" fmla="*/ 11430 w 304800"/>
                <a:gd name="connsiteY73" fmla="*/ 213360 h 289560"/>
                <a:gd name="connsiteX74" fmla="*/ 0 w 304800"/>
                <a:gd name="connsiteY74" fmla="*/ 224790 h 289560"/>
                <a:gd name="connsiteX75" fmla="*/ 0 w 304800"/>
                <a:gd name="connsiteY75" fmla="*/ 232410 h 289560"/>
                <a:gd name="connsiteX76" fmla="*/ 57150 w 304800"/>
                <a:gd name="connsiteY76" fmla="*/ 289560 h 289560"/>
                <a:gd name="connsiteX77" fmla="*/ 247650 w 304800"/>
                <a:gd name="connsiteY77" fmla="*/ 289560 h 289560"/>
                <a:gd name="connsiteX78" fmla="*/ 304800 w 304800"/>
                <a:gd name="connsiteY78" fmla="*/ 232410 h 289560"/>
                <a:gd name="connsiteX79" fmla="*/ 304800 w 304800"/>
                <a:gd name="connsiteY79" fmla="*/ 224790 h 289560"/>
                <a:gd name="connsiteX80" fmla="*/ 293370 w 304800"/>
                <a:gd name="connsiteY80" fmla="*/ 213360 h 289560"/>
                <a:gd name="connsiteX81" fmla="*/ 11430 w 304800"/>
                <a:gd name="connsiteY81" fmla="*/ 213360 h 289560"/>
                <a:gd name="connsiteX82" fmla="*/ 57150 w 304800"/>
                <a:gd name="connsiteY82" fmla="*/ 266700 h 289560"/>
                <a:gd name="connsiteX83" fmla="*/ 23073 w 304800"/>
                <a:gd name="connsiteY83" fmla="*/ 236220 h 289560"/>
                <a:gd name="connsiteX84" fmla="*/ 281727 w 304800"/>
                <a:gd name="connsiteY84" fmla="*/ 236220 h 289560"/>
                <a:gd name="connsiteX85" fmla="*/ 247650 w 304800"/>
                <a:gd name="connsiteY85" fmla="*/ 266700 h 289560"/>
                <a:gd name="connsiteX86" fmla="*/ 57150 w 304800"/>
                <a:gd name="connsiteY86" fmla="*/ 266700 h 289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04800" h="289560">
                  <a:moveTo>
                    <a:pt x="194371" y="106680"/>
                  </a:moveTo>
                  <a:cubicBezTo>
                    <a:pt x="209093" y="106680"/>
                    <a:pt x="221041" y="118628"/>
                    <a:pt x="221041" y="133350"/>
                  </a:cubicBezTo>
                  <a:lnTo>
                    <a:pt x="221041" y="182880"/>
                  </a:lnTo>
                  <a:lnTo>
                    <a:pt x="220980" y="182880"/>
                  </a:lnTo>
                  <a:lnTo>
                    <a:pt x="220980" y="186690"/>
                  </a:lnTo>
                  <a:cubicBezTo>
                    <a:pt x="220980" y="193002"/>
                    <a:pt x="215862" y="198120"/>
                    <a:pt x="209550" y="198120"/>
                  </a:cubicBezTo>
                  <a:cubicBezTo>
                    <a:pt x="203238" y="198120"/>
                    <a:pt x="198120" y="193002"/>
                    <a:pt x="198120" y="186690"/>
                  </a:cubicBezTo>
                  <a:lnTo>
                    <a:pt x="198120" y="152400"/>
                  </a:lnTo>
                  <a:lnTo>
                    <a:pt x="198181" y="152400"/>
                  </a:lnTo>
                  <a:lnTo>
                    <a:pt x="198181" y="133350"/>
                  </a:lnTo>
                  <a:cubicBezTo>
                    <a:pt x="198181" y="131245"/>
                    <a:pt x="196476" y="129540"/>
                    <a:pt x="194371" y="129540"/>
                  </a:cubicBezTo>
                  <a:lnTo>
                    <a:pt x="110520" y="129540"/>
                  </a:lnTo>
                  <a:cubicBezTo>
                    <a:pt x="108416" y="129540"/>
                    <a:pt x="106710" y="131245"/>
                    <a:pt x="106710" y="133350"/>
                  </a:cubicBezTo>
                  <a:lnTo>
                    <a:pt x="106710" y="182880"/>
                  </a:lnTo>
                  <a:lnTo>
                    <a:pt x="106680" y="182880"/>
                  </a:lnTo>
                  <a:lnTo>
                    <a:pt x="106680" y="186690"/>
                  </a:lnTo>
                  <a:cubicBezTo>
                    <a:pt x="106680" y="193002"/>
                    <a:pt x="101563" y="198120"/>
                    <a:pt x="95250" y="198120"/>
                  </a:cubicBezTo>
                  <a:cubicBezTo>
                    <a:pt x="88937" y="198120"/>
                    <a:pt x="83820" y="193002"/>
                    <a:pt x="83820" y="186690"/>
                  </a:cubicBezTo>
                  <a:lnTo>
                    <a:pt x="83820" y="152400"/>
                  </a:lnTo>
                  <a:lnTo>
                    <a:pt x="83850" y="152400"/>
                  </a:lnTo>
                  <a:lnTo>
                    <a:pt x="83850" y="133350"/>
                  </a:lnTo>
                  <a:cubicBezTo>
                    <a:pt x="83850" y="118628"/>
                    <a:pt x="95783" y="106680"/>
                    <a:pt x="110520" y="106680"/>
                  </a:cubicBezTo>
                  <a:lnTo>
                    <a:pt x="194371" y="106680"/>
                  </a:lnTo>
                  <a:close/>
                  <a:moveTo>
                    <a:pt x="281940" y="133350"/>
                  </a:moveTo>
                  <a:lnTo>
                    <a:pt x="281940" y="186690"/>
                  </a:lnTo>
                  <a:cubicBezTo>
                    <a:pt x="281940" y="193002"/>
                    <a:pt x="287058" y="198120"/>
                    <a:pt x="293370" y="198120"/>
                  </a:cubicBezTo>
                  <a:cubicBezTo>
                    <a:pt x="299682" y="198120"/>
                    <a:pt x="304800" y="193002"/>
                    <a:pt x="304800" y="186690"/>
                  </a:cubicBezTo>
                  <a:lnTo>
                    <a:pt x="304800" y="133350"/>
                  </a:lnTo>
                  <a:cubicBezTo>
                    <a:pt x="304800" y="118621"/>
                    <a:pt x="292859" y="106680"/>
                    <a:pt x="278130" y="106680"/>
                  </a:cubicBezTo>
                  <a:lnTo>
                    <a:pt x="226695" y="106680"/>
                  </a:lnTo>
                  <a:cubicBezTo>
                    <a:pt x="231922" y="113005"/>
                    <a:pt x="235336" y="120884"/>
                    <a:pt x="236113" y="129540"/>
                  </a:cubicBezTo>
                  <a:lnTo>
                    <a:pt x="278130" y="129540"/>
                  </a:lnTo>
                  <a:cubicBezTo>
                    <a:pt x="280235" y="129540"/>
                    <a:pt x="281940" y="131245"/>
                    <a:pt x="281940" y="133350"/>
                  </a:cubicBezTo>
                  <a:close/>
                  <a:moveTo>
                    <a:pt x="0" y="186690"/>
                  </a:moveTo>
                  <a:cubicBezTo>
                    <a:pt x="0" y="193002"/>
                    <a:pt x="5117" y="198120"/>
                    <a:pt x="11430" y="198120"/>
                  </a:cubicBezTo>
                  <a:cubicBezTo>
                    <a:pt x="17743" y="198120"/>
                    <a:pt x="22860" y="193002"/>
                    <a:pt x="22860" y="186690"/>
                  </a:cubicBezTo>
                  <a:lnTo>
                    <a:pt x="22860" y="133350"/>
                  </a:lnTo>
                  <a:cubicBezTo>
                    <a:pt x="22860" y="131245"/>
                    <a:pt x="24566" y="129540"/>
                    <a:pt x="26670" y="129540"/>
                  </a:cubicBezTo>
                  <a:lnTo>
                    <a:pt x="68778" y="129540"/>
                  </a:lnTo>
                  <a:cubicBezTo>
                    <a:pt x="69536" y="121143"/>
                    <a:pt x="72820" y="113174"/>
                    <a:pt x="78196" y="106680"/>
                  </a:cubicBezTo>
                  <a:lnTo>
                    <a:pt x="26670" y="106680"/>
                  </a:lnTo>
                  <a:cubicBezTo>
                    <a:pt x="11941" y="106680"/>
                    <a:pt x="0" y="118621"/>
                    <a:pt x="0" y="133350"/>
                  </a:cubicBezTo>
                  <a:lnTo>
                    <a:pt x="0" y="186690"/>
                  </a:lnTo>
                  <a:close/>
                  <a:moveTo>
                    <a:pt x="152400" y="0"/>
                  </a:moveTo>
                  <a:cubicBezTo>
                    <a:pt x="177651" y="0"/>
                    <a:pt x="198120" y="20470"/>
                    <a:pt x="198120" y="45720"/>
                  </a:cubicBezTo>
                  <a:cubicBezTo>
                    <a:pt x="198120" y="70970"/>
                    <a:pt x="177651" y="91440"/>
                    <a:pt x="152400" y="91440"/>
                  </a:cubicBezTo>
                  <a:cubicBezTo>
                    <a:pt x="127149" y="91440"/>
                    <a:pt x="106680" y="70970"/>
                    <a:pt x="106680" y="45720"/>
                  </a:cubicBezTo>
                  <a:cubicBezTo>
                    <a:pt x="106680" y="20470"/>
                    <a:pt x="127149" y="0"/>
                    <a:pt x="152400" y="0"/>
                  </a:cubicBezTo>
                  <a:close/>
                  <a:moveTo>
                    <a:pt x="152400" y="22860"/>
                  </a:moveTo>
                  <a:cubicBezTo>
                    <a:pt x="139775" y="22860"/>
                    <a:pt x="129540" y="33095"/>
                    <a:pt x="129540" y="45720"/>
                  </a:cubicBezTo>
                  <a:cubicBezTo>
                    <a:pt x="129540" y="58345"/>
                    <a:pt x="139775" y="68580"/>
                    <a:pt x="152400" y="68580"/>
                  </a:cubicBezTo>
                  <a:cubicBezTo>
                    <a:pt x="165025" y="68580"/>
                    <a:pt x="175260" y="58345"/>
                    <a:pt x="175260" y="45720"/>
                  </a:cubicBezTo>
                  <a:cubicBezTo>
                    <a:pt x="175260" y="33095"/>
                    <a:pt x="165025" y="22860"/>
                    <a:pt x="152400" y="22860"/>
                  </a:cubicBezTo>
                  <a:close/>
                  <a:moveTo>
                    <a:pt x="251460" y="15240"/>
                  </a:moveTo>
                  <a:cubicBezTo>
                    <a:pt x="272502" y="15240"/>
                    <a:pt x="289560" y="32298"/>
                    <a:pt x="289560" y="53340"/>
                  </a:cubicBezTo>
                  <a:cubicBezTo>
                    <a:pt x="289560" y="74382"/>
                    <a:pt x="272502" y="91440"/>
                    <a:pt x="251460" y="91440"/>
                  </a:cubicBezTo>
                  <a:cubicBezTo>
                    <a:pt x="230418" y="91440"/>
                    <a:pt x="213360" y="74382"/>
                    <a:pt x="213360" y="53340"/>
                  </a:cubicBezTo>
                  <a:cubicBezTo>
                    <a:pt x="213360" y="32298"/>
                    <a:pt x="230418" y="15240"/>
                    <a:pt x="251460" y="15240"/>
                  </a:cubicBezTo>
                  <a:close/>
                  <a:moveTo>
                    <a:pt x="251460" y="38100"/>
                  </a:moveTo>
                  <a:cubicBezTo>
                    <a:pt x="243043" y="38100"/>
                    <a:pt x="236220" y="44923"/>
                    <a:pt x="236220" y="53340"/>
                  </a:cubicBezTo>
                  <a:cubicBezTo>
                    <a:pt x="236220" y="61757"/>
                    <a:pt x="243043" y="68580"/>
                    <a:pt x="251460" y="68580"/>
                  </a:cubicBezTo>
                  <a:cubicBezTo>
                    <a:pt x="259877" y="68580"/>
                    <a:pt x="266700" y="61757"/>
                    <a:pt x="266700" y="53340"/>
                  </a:cubicBezTo>
                  <a:cubicBezTo>
                    <a:pt x="266700" y="44923"/>
                    <a:pt x="259877" y="38100"/>
                    <a:pt x="251460" y="38100"/>
                  </a:cubicBezTo>
                  <a:close/>
                  <a:moveTo>
                    <a:pt x="53340" y="15240"/>
                  </a:moveTo>
                  <a:cubicBezTo>
                    <a:pt x="74382" y="15240"/>
                    <a:pt x="91440" y="32298"/>
                    <a:pt x="91440" y="53340"/>
                  </a:cubicBezTo>
                  <a:cubicBezTo>
                    <a:pt x="91440" y="74382"/>
                    <a:pt x="74382" y="91440"/>
                    <a:pt x="53340" y="91440"/>
                  </a:cubicBezTo>
                  <a:cubicBezTo>
                    <a:pt x="32298" y="91440"/>
                    <a:pt x="15240" y="74382"/>
                    <a:pt x="15240" y="53340"/>
                  </a:cubicBezTo>
                  <a:cubicBezTo>
                    <a:pt x="15240" y="32298"/>
                    <a:pt x="32298" y="15240"/>
                    <a:pt x="53340" y="15240"/>
                  </a:cubicBezTo>
                  <a:close/>
                  <a:moveTo>
                    <a:pt x="53340" y="38100"/>
                  </a:moveTo>
                  <a:cubicBezTo>
                    <a:pt x="44923" y="38100"/>
                    <a:pt x="38100" y="44923"/>
                    <a:pt x="38100" y="53340"/>
                  </a:cubicBezTo>
                  <a:cubicBezTo>
                    <a:pt x="38100" y="61757"/>
                    <a:pt x="44923" y="68580"/>
                    <a:pt x="53340" y="68580"/>
                  </a:cubicBezTo>
                  <a:cubicBezTo>
                    <a:pt x="61757" y="68580"/>
                    <a:pt x="68580" y="61757"/>
                    <a:pt x="68580" y="53340"/>
                  </a:cubicBezTo>
                  <a:cubicBezTo>
                    <a:pt x="68580" y="44923"/>
                    <a:pt x="61757" y="38100"/>
                    <a:pt x="53340" y="38100"/>
                  </a:cubicBezTo>
                  <a:close/>
                  <a:moveTo>
                    <a:pt x="11430" y="213360"/>
                  </a:moveTo>
                  <a:cubicBezTo>
                    <a:pt x="5117" y="213360"/>
                    <a:pt x="0" y="218478"/>
                    <a:pt x="0" y="224790"/>
                  </a:cubicBezTo>
                  <a:lnTo>
                    <a:pt x="0" y="232410"/>
                  </a:lnTo>
                  <a:cubicBezTo>
                    <a:pt x="0" y="263974"/>
                    <a:pt x="25587" y="289560"/>
                    <a:pt x="57150" y="289560"/>
                  </a:cubicBezTo>
                  <a:lnTo>
                    <a:pt x="247650" y="289560"/>
                  </a:lnTo>
                  <a:cubicBezTo>
                    <a:pt x="279214" y="289560"/>
                    <a:pt x="304800" y="263974"/>
                    <a:pt x="304800" y="232410"/>
                  </a:cubicBezTo>
                  <a:lnTo>
                    <a:pt x="304800" y="224790"/>
                  </a:lnTo>
                  <a:cubicBezTo>
                    <a:pt x="304800" y="218478"/>
                    <a:pt x="299682" y="213360"/>
                    <a:pt x="293370" y="213360"/>
                  </a:cubicBezTo>
                  <a:lnTo>
                    <a:pt x="11430" y="213360"/>
                  </a:lnTo>
                  <a:close/>
                  <a:moveTo>
                    <a:pt x="57150" y="266700"/>
                  </a:moveTo>
                  <a:cubicBezTo>
                    <a:pt x="39687" y="266700"/>
                    <a:pt x="25014" y="253575"/>
                    <a:pt x="23073" y="236220"/>
                  </a:cubicBezTo>
                  <a:lnTo>
                    <a:pt x="281727" y="236220"/>
                  </a:lnTo>
                  <a:cubicBezTo>
                    <a:pt x="279787" y="253575"/>
                    <a:pt x="265114" y="266700"/>
                    <a:pt x="247650" y="266700"/>
                  </a:cubicBezTo>
                  <a:lnTo>
                    <a:pt x="57150" y="266700"/>
                  </a:lnTo>
                  <a:close/>
                </a:path>
              </a:pathLst>
            </a:custGeom>
            <a:solidFill>
              <a:sysClr val="windowText" lastClr="000000"/>
            </a:solid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Display"/>
                <a:ea typeface="+mn-ea"/>
                <a:cs typeface="+mn-cs"/>
              </a:endParaRPr>
            </a:p>
          </p:txBody>
        </p:sp>
      </p:grpSp>
      <p:sp>
        <p:nvSpPr>
          <p:cNvPr id="1024" name="Oval 1023">
            <a:extLst>
              <a:ext uri="{FF2B5EF4-FFF2-40B4-BE49-F238E27FC236}">
                <a16:creationId xmlns:a16="http://schemas.microsoft.com/office/drawing/2014/main" id="{BB21DDB8-DCC3-1902-535D-594540DBDEA3}"/>
              </a:ext>
              <a:ext uri="{C183D7F6-B498-43B3-948B-1728B52AA6E4}">
                <adec:decorative xmlns:adec="http://schemas.microsoft.com/office/drawing/2017/decorative" val="1"/>
              </a:ext>
            </a:extLst>
          </p:cNvPr>
          <p:cNvSpPr/>
          <p:nvPr/>
        </p:nvSpPr>
        <p:spPr bwMode="auto">
          <a:xfrm>
            <a:off x="8212871" y="5874294"/>
            <a:ext cx="327541" cy="327541"/>
          </a:xfrm>
          <a:prstGeom prst="ellipse">
            <a:avLst/>
          </a:prstGeom>
          <a:solidFill>
            <a:srgbClr val="A5B8EE">
              <a:alpha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029" name="Oval 1028">
            <a:extLst>
              <a:ext uri="{FF2B5EF4-FFF2-40B4-BE49-F238E27FC236}">
                <a16:creationId xmlns:a16="http://schemas.microsoft.com/office/drawing/2014/main" id="{53D3F034-91CE-8A93-AC60-B451F297E9DB}"/>
              </a:ext>
              <a:ext uri="{C183D7F6-B498-43B3-948B-1728B52AA6E4}">
                <adec:decorative xmlns:adec="http://schemas.microsoft.com/office/drawing/2017/decorative" val="1"/>
              </a:ext>
            </a:extLst>
          </p:cNvPr>
          <p:cNvSpPr/>
          <p:nvPr/>
        </p:nvSpPr>
        <p:spPr bwMode="auto">
          <a:xfrm>
            <a:off x="2962168" y="4813060"/>
            <a:ext cx="327541" cy="327541"/>
          </a:xfrm>
          <a:prstGeom prst="ellipse">
            <a:avLst/>
          </a:prstGeom>
          <a:solidFill>
            <a:srgbClr val="A5B8EE">
              <a:alpha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grpSp>
        <p:nvGrpSpPr>
          <p:cNvPr id="6" name="Group 5">
            <a:extLst>
              <a:ext uri="{FF2B5EF4-FFF2-40B4-BE49-F238E27FC236}">
                <a16:creationId xmlns:a16="http://schemas.microsoft.com/office/drawing/2014/main" id="{ABE70E7E-33A4-198C-3CB6-75A089C0C59A}"/>
              </a:ext>
              <a:ext uri="{C183D7F6-B498-43B3-948B-1728B52AA6E4}">
                <adec:decorative xmlns:adec="http://schemas.microsoft.com/office/drawing/2017/decorative" val="1"/>
              </a:ext>
            </a:extLst>
          </p:cNvPr>
          <p:cNvGrpSpPr/>
          <p:nvPr/>
        </p:nvGrpSpPr>
        <p:grpSpPr>
          <a:xfrm>
            <a:off x="2994285" y="4845179"/>
            <a:ext cx="263307" cy="263304"/>
            <a:chOff x="2994285" y="4845179"/>
            <a:chExt cx="263307" cy="263304"/>
          </a:xfrm>
        </p:grpSpPr>
        <p:sp>
          <p:nvSpPr>
            <p:cNvPr id="1031" name="Oval 1030">
              <a:extLst>
                <a:ext uri="{FF2B5EF4-FFF2-40B4-BE49-F238E27FC236}">
                  <a16:creationId xmlns:a16="http://schemas.microsoft.com/office/drawing/2014/main" id="{F0C564F2-0FB2-A603-B898-2AF5388F047F}"/>
                </a:ext>
                <a:ext uri="{C183D7F6-B498-43B3-948B-1728B52AA6E4}">
                  <adec:decorative xmlns:adec="http://schemas.microsoft.com/office/drawing/2017/decorative" val="1"/>
                </a:ext>
              </a:extLst>
            </p:cNvPr>
            <p:cNvSpPr/>
            <p:nvPr/>
          </p:nvSpPr>
          <p:spPr bwMode="auto">
            <a:xfrm>
              <a:off x="2994285" y="4845179"/>
              <a:ext cx="263307" cy="263304"/>
            </a:xfrm>
            <a:prstGeom prst="ellipse">
              <a:avLst/>
            </a:prstGeom>
            <a:solidFill>
              <a:sysClr val="window" lastClr="FFFFFF"/>
            </a:solidFill>
            <a:ln w="12700" cap="flat" cmpd="sng" algn="ctr">
              <a:solidFill>
                <a:srgbClr val="A5B8EE"/>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Segoe Sans Display"/>
                <a:ea typeface="+mn-ea"/>
                <a:cs typeface="+mn-cs"/>
              </a:endParaRPr>
            </a:p>
          </p:txBody>
        </p:sp>
        <p:sp>
          <p:nvSpPr>
            <p:cNvPr id="1033" name="Graphic 1114">
              <a:extLst>
                <a:ext uri="{FF2B5EF4-FFF2-40B4-BE49-F238E27FC236}">
                  <a16:creationId xmlns:a16="http://schemas.microsoft.com/office/drawing/2014/main" id="{61AD0F26-260C-FE73-1B27-2DC8687741F6}"/>
                </a:ext>
                <a:ext uri="{C183D7F6-B498-43B3-948B-1728B52AA6E4}">
                  <adec:decorative xmlns:adec="http://schemas.microsoft.com/office/drawing/2017/decorative" val="1"/>
                </a:ext>
              </a:extLst>
            </p:cNvPr>
            <p:cNvSpPr/>
            <p:nvPr/>
          </p:nvSpPr>
          <p:spPr>
            <a:xfrm>
              <a:off x="3051950" y="4904692"/>
              <a:ext cx="147974" cy="146124"/>
            </a:xfrm>
            <a:custGeom>
              <a:avLst/>
              <a:gdLst>
                <a:gd name="connsiteX0" fmla="*/ 72137 w 147974"/>
                <a:gd name="connsiteY0" fmla="*/ 0 h 146124"/>
                <a:gd name="connsiteX1" fmla="*/ 30239 w 147974"/>
                <a:gd name="connsiteY1" fmla="*/ 35144 h 146124"/>
                <a:gd name="connsiteX2" fmla="*/ 29595 w 147974"/>
                <a:gd name="connsiteY2" fmla="*/ 35144 h 146124"/>
                <a:gd name="connsiteX3" fmla="*/ 0 w 147974"/>
                <a:gd name="connsiteY3" fmla="*/ 64739 h 146124"/>
                <a:gd name="connsiteX4" fmla="*/ 29595 w 147974"/>
                <a:gd name="connsiteY4" fmla="*/ 94334 h 146124"/>
                <a:gd name="connsiteX5" fmla="*/ 82533 w 147974"/>
                <a:gd name="connsiteY5" fmla="*/ 94334 h 146124"/>
                <a:gd name="connsiteX6" fmla="*/ 83583 w 147974"/>
                <a:gd name="connsiteY6" fmla="*/ 91196 h 146124"/>
                <a:gd name="connsiteX7" fmla="*/ 88222 w 147974"/>
                <a:gd name="connsiteY7" fmla="*/ 83235 h 146124"/>
                <a:gd name="connsiteX8" fmla="*/ 29595 w 147974"/>
                <a:gd name="connsiteY8" fmla="*/ 83235 h 146124"/>
                <a:gd name="connsiteX9" fmla="*/ 11098 w 147974"/>
                <a:gd name="connsiteY9" fmla="*/ 64739 h 146124"/>
                <a:gd name="connsiteX10" fmla="*/ 29595 w 147974"/>
                <a:gd name="connsiteY10" fmla="*/ 46242 h 146124"/>
                <a:gd name="connsiteX11" fmla="*/ 35188 w 147974"/>
                <a:gd name="connsiteY11" fmla="*/ 46242 h 146124"/>
                <a:gd name="connsiteX12" fmla="*/ 40737 w 147974"/>
                <a:gd name="connsiteY12" fmla="*/ 40967 h 146124"/>
                <a:gd name="connsiteX13" fmla="*/ 73740 w 147974"/>
                <a:gd name="connsiteY13" fmla="*/ 11162 h 146124"/>
                <a:gd name="connsiteX14" fmla="*/ 103545 w 147974"/>
                <a:gd name="connsiteY14" fmla="*/ 40967 h 146124"/>
                <a:gd name="connsiteX15" fmla="*/ 109087 w 147974"/>
                <a:gd name="connsiteY15" fmla="*/ 46242 h 146124"/>
                <a:gd name="connsiteX16" fmla="*/ 114680 w 147974"/>
                <a:gd name="connsiteY16" fmla="*/ 46242 h 146124"/>
                <a:gd name="connsiteX17" fmla="*/ 131638 w 147974"/>
                <a:gd name="connsiteY17" fmla="*/ 57340 h 146124"/>
                <a:gd name="connsiteX18" fmla="*/ 142425 w 147974"/>
                <a:gd name="connsiteY18" fmla="*/ 57340 h 146124"/>
                <a:gd name="connsiteX19" fmla="*/ 143350 w 147974"/>
                <a:gd name="connsiteY19" fmla="*/ 57370 h 146124"/>
                <a:gd name="connsiteX20" fmla="*/ 114680 w 147974"/>
                <a:gd name="connsiteY20" fmla="*/ 35144 h 146124"/>
                <a:gd name="connsiteX21" fmla="*/ 114036 w 147974"/>
                <a:gd name="connsiteY21" fmla="*/ 35144 h 146124"/>
                <a:gd name="connsiteX22" fmla="*/ 72137 w 147974"/>
                <a:gd name="connsiteY22" fmla="*/ 0 h 146124"/>
                <a:gd name="connsiteX23" fmla="*/ 107281 w 147974"/>
                <a:gd name="connsiteY23" fmla="*/ 70288 h 146124"/>
                <a:gd name="connsiteX24" fmla="*/ 112830 w 147974"/>
                <a:gd name="connsiteY24" fmla="*/ 64739 h 146124"/>
                <a:gd name="connsiteX25" fmla="*/ 142425 w 147974"/>
                <a:gd name="connsiteY25" fmla="*/ 64739 h 146124"/>
                <a:gd name="connsiteX26" fmla="*/ 147974 w 147974"/>
                <a:gd name="connsiteY26" fmla="*/ 70288 h 146124"/>
                <a:gd name="connsiteX27" fmla="*/ 147974 w 147974"/>
                <a:gd name="connsiteY27" fmla="*/ 99883 h 146124"/>
                <a:gd name="connsiteX28" fmla="*/ 142425 w 147974"/>
                <a:gd name="connsiteY28" fmla="*/ 105432 h 146124"/>
                <a:gd name="connsiteX29" fmla="*/ 112830 w 147974"/>
                <a:gd name="connsiteY29" fmla="*/ 105432 h 146124"/>
                <a:gd name="connsiteX30" fmla="*/ 107281 w 147974"/>
                <a:gd name="connsiteY30" fmla="*/ 99883 h 146124"/>
                <a:gd name="connsiteX31" fmla="*/ 107281 w 147974"/>
                <a:gd name="connsiteY31" fmla="*/ 94334 h 146124"/>
                <a:gd name="connsiteX32" fmla="*/ 104891 w 147974"/>
                <a:gd name="connsiteY32" fmla="*/ 94334 h 146124"/>
                <a:gd name="connsiteX33" fmla="*/ 101133 w 147974"/>
                <a:gd name="connsiteY33" fmla="*/ 97041 h 146124"/>
                <a:gd name="connsiteX34" fmla="*/ 94371 w 147974"/>
                <a:gd name="connsiteY34" fmla="*/ 117329 h 146124"/>
                <a:gd name="connsiteX35" fmla="*/ 80076 w 147974"/>
                <a:gd name="connsiteY35" fmla="*/ 127628 h 146124"/>
                <a:gd name="connsiteX36" fmla="*/ 73987 w 147974"/>
                <a:gd name="connsiteY36" fmla="*/ 127628 h 146124"/>
                <a:gd name="connsiteX37" fmla="*/ 73987 w 147974"/>
                <a:gd name="connsiteY37" fmla="*/ 140575 h 146124"/>
                <a:gd name="connsiteX38" fmla="*/ 68438 w 147974"/>
                <a:gd name="connsiteY38" fmla="*/ 146124 h 146124"/>
                <a:gd name="connsiteX39" fmla="*/ 38843 w 147974"/>
                <a:gd name="connsiteY39" fmla="*/ 146124 h 146124"/>
                <a:gd name="connsiteX40" fmla="*/ 33294 w 147974"/>
                <a:gd name="connsiteY40" fmla="*/ 140575 h 146124"/>
                <a:gd name="connsiteX41" fmla="*/ 33294 w 147974"/>
                <a:gd name="connsiteY41" fmla="*/ 110981 h 146124"/>
                <a:gd name="connsiteX42" fmla="*/ 38843 w 147974"/>
                <a:gd name="connsiteY42" fmla="*/ 105432 h 146124"/>
                <a:gd name="connsiteX43" fmla="*/ 68438 w 147974"/>
                <a:gd name="connsiteY43" fmla="*/ 105432 h 146124"/>
                <a:gd name="connsiteX44" fmla="*/ 73987 w 147974"/>
                <a:gd name="connsiteY44" fmla="*/ 110981 h 146124"/>
                <a:gd name="connsiteX45" fmla="*/ 73987 w 147974"/>
                <a:gd name="connsiteY45" fmla="*/ 116530 h 146124"/>
                <a:gd name="connsiteX46" fmla="*/ 80076 w 147974"/>
                <a:gd name="connsiteY46" fmla="*/ 116530 h 146124"/>
                <a:gd name="connsiteX47" fmla="*/ 83835 w 147974"/>
                <a:gd name="connsiteY47" fmla="*/ 113822 h 146124"/>
                <a:gd name="connsiteX48" fmla="*/ 90597 w 147974"/>
                <a:gd name="connsiteY48" fmla="*/ 93534 h 146124"/>
                <a:gd name="connsiteX49" fmla="*/ 104891 w 147974"/>
                <a:gd name="connsiteY49" fmla="*/ 83235 h 146124"/>
                <a:gd name="connsiteX50" fmla="*/ 107281 w 147974"/>
                <a:gd name="connsiteY50" fmla="*/ 83235 h 146124"/>
                <a:gd name="connsiteX51" fmla="*/ 107281 w 147974"/>
                <a:gd name="connsiteY51" fmla="*/ 70288 h 146124"/>
                <a:gd name="connsiteX52" fmla="*/ 118379 w 147974"/>
                <a:gd name="connsiteY52" fmla="*/ 88918 h 146124"/>
                <a:gd name="connsiteX53" fmla="*/ 118379 w 147974"/>
                <a:gd name="connsiteY53" fmla="*/ 94334 h 146124"/>
                <a:gd name="connsiteX54" fmla="*/ 136876 w 147974"/>
                <a:gd name="connsiteY54" fmla="*/ 94334 h 146124"/>
                <a:gd name="connsiteX55" fmla="*/ 136876 w 147974"/>
                <a:gd name="connsiteY55" fmla="*/ 75837 h 146124"/>
                <a:gd name="connsiteX56" fmla="*/ 118379 w 147974"/>
                <a:gd name="connsiteY56" fmla="*/ 75837 h 146124"/>
                <a:gd name="connsiteX57" fmla="*/ 118379 w 147974"/>
                <a:gd name="connsiteY57" fmla="*/ 88651 h 146124"/>
                <a:gd name="connsiteX58" fmla="*/ 118379 w 147974"/>
                <a:gd name="connsiteY58" fmla="*/ 88918 h 146124"/>
                <a:gd name="connsiteX59" fmla="*/ 44392 w 147974"/>
                <a:gd name="connsiteY59" fmla="*/ 116530 h 146124"/>
                <a:gd name="connsiteX60" fmla="*/ 44392 w 147974"/>
                <a:gd name="connsiteY60" fmla="*/ 135026 h 146124"/>
                <a:gd name="connsiteX61" fmla="*/ 62889 w 147974"/>
                <a:gd name="connsiteY61" fmla="*/ 135026 h 146124"/>
                <a:gd name="connsiteX62" fmla="*/ 62889 w 147974"/>
                <a:gd name="connsiteY62" fmla="*/ 116530 h 146124"/>
                <a:gd name="connsiteX63" fmla="*/ 44392 w 147974"/>
                <a:gd name="connsiteY63" fmla="*/ 116530 h 146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47974" h="146124">
                  <a:moveTo>
                    <a:pt x="72137" y="0"/>
                  </a:moveTo>
                  <a:cubicBezTo>
                    <a:pt x="51497" y="4"/>
                    <a:pt x="33834" y="14819"/>
                    <a:pt x="30239" y="35144"/>
                  </a:cubicBezTo>
                  <a:lnTo>
                    <a:pt x="29595" y="35144"/>
                  </a:lnTo>
                  <a:cubicBezTo>
                    <a:pt x="13250" y="35144"/>
                    <a:pt x="0" y="48394"/>
                    <a:pt x="0" y="64739"/>
                  </a:cubicBezTo>
                  <a:cubicBezTo>
                    <a:pt x="0" y="81083"/>
                    <a:pt x="13250" y="94334"/>
                    <a:pt x="29595" y="94334"/>
                  </a:cubicBezTo>
                  <a:lnTo>
                    <a:pt x="82533" y="94334"/>
                  </a:lnTo>
                  <a:lnTo>
                    <a:pt x="83583" y="91196"/>
                  </a:lnTo>
                  <a:cubicBezTo>
                    <a:pt x="84561" y="88250"/>
                    <a:pt x="86142" y="85539"/>
                    <a:pt x="88222" y="83235"/>
                  </a:cubicBezTo>
                  <a:lnTo>
                    <a:pt x="29595" y="83235"/>
                  </a:lnTo>
                  <a:cubicBezTo>
                    <a:pt x="19379" y="83235"/>
                    <a:pt x="11098" y="74954"/>
                    <a:pt x="11098" y="64739"/>
                  </a:cubicBezTo>
                  <a:cubicBezTo>
                    <a:pt x="11098" y="54523"/>
                    <a:pt x="19379" y="46242"/>
                    <a:pt x="29595" y="46242"/>
                  </a:cubicBezTo>
                  <a:lnTo>
                    <a:pt x="35188" y="46242"/>
                  </a:lnTo>
                  <a:cubicBezTo>
                    <a:pt x="38148" y="46242"/>
                    <a:pt x="40589" y="43919"/>
                    <a:pt x="40737" y="40967"/>
                  </a:cubicBezTo>
                  <a:cubicBezTo>
                    <a:pt x="41620" y="23623"/>
                    <a:pt x="56396" y="10279"/>
                    <a:pt x="73740" y="11162"/>
                  </a:cubicBezTo>
                  <a:cubicBezTo>
                    <a:pt x="89849" y="11982"/>
                    <a:pt x="102724" y="24858"/>
                    <a:pt x="103545" y="40967"/>
                  </a:cubicBezTo>
                  <a:cubicBezTo>
                    <a:pt x="103693" y="43926"/>
                    <a:pt x="106127" y="46242"/>
                    <a:pt x="109087" y="46242"/>
                  </a:cubicBezTo>
                  <a:lnTo>
                    <a:pt x="114680" y="46242"/>
                  </a:lnTo>
                  <a:cubicBezTo>
                    <a:pt x="122037" y="46240"/>
                    <a:pt x="128695" y="50598"/>
                    <a:pt x="131638" y="57340"/>
                  </a:cubicBezTo>
                  <a:lnTo>
                    <a:pt x="142425" y="57340"/>
                  </a:lnTo>
                  <a:cubicBezTo>
                    <a:pt x="142736" y="57340"/>
                    <a:pt x="143047" y="57355"/>
                    <a:pt x="143350" y="57370"/>
                  </a:cubicBezTo>
                  <a:cubicBezTo>
                    <a:pt x="139981" y="44289"/>
                    <a:pt x="128188" y="35146"/>
                    <a:pt x="114680" y="35144"/>
                  </a:cubicBezTo>
                  <a:lnTo>
                    <a:pt x="114036" y="35144"/>
                  </a:lnTo>
                  <a:cubicBezTo>
                    <a:pt x="110441" y="14819"/>
                    <a:pt x="92778" y="4"/>
                    <a:pt x="72137" y="0"/>
                  </a:cubicBezTo>
                  <a:close/>
                  <a:moveTo>
                    <a:pt x="107281" y="70288"/>
                  </a:moveTo>
                  <a:cubicBezTo>
                    <a:pt x="107281" y="67223"/>
                    <a:pt x="109766" y="64739"/>
                    <a:pt x="112830" y="64739"/>
                  </a:cubicBezTo>
                  <a:lnTo>
                    <a:pt x="142425" y="64739"/>
                  </a:lnTo>
                  <a:cubicBezTo>
                    <a:pt x="145490" y="64739"/>
                    <a:pt x="147974" y="67223"/>
                    <a:pt x="147974" y="70288"/>
                  </a:cubicBezTo>
                  <a:lnTo>
                    <a:pt x="147974" y="99883"/>
                  </a:lnTo>
                  <a:cubicBezTo>
                    <a:pt x="147974" y="102947"/>
                    <a:pt x="145490" y="105432"/>
                    <a:pt x="142425" y="105432"/>
                  </a:cubicBezTo>
                  <a:lnTo>
                    <a:pt x="112830" y="105432"/>
                  </a:lnTo>
                  <a:cubicBezTo>
                    <a:pt x="109766" y="105432"/>
                    <a:pt x="107281" y="102947"/>
                    <a:pt x="107281" y="99883"/>
                  </a:cubicBezTo>
                  <a:lnTo>
                    <a:pt x="107281" y="94334"/>
                  </a:lnTo>
                  <a:lnTo>
                    <a:pt x="104891" y="94334"/>
                  </a:lnTo>
                  <a:cubicBezTo>
                    <a:pt x="103187" y="94334"/>
                    <a:pt x="101674" y="95425"/>
                    <a:pt x="101133" y="97041"/>
                  </a:cubicBezTo>
                  <a:lnTo>
                    <a:pt x="94371" y="117329"/>
                  </a:lnTo>
                  <a:cubicBezTo>
                    <a:pt x="92320" y="123481"/>
                    <a:pt x="86561" y="127629"/>
                    <a:pt x="80076" y="127628"/>
                  </a:cubicBezTo>
                  <a:lnTo>
                    <a:pt x="73987" y="127628"/>
                  </a:lnTo>
                  <a:lnTo>
                    <a:pt x="73987" y="140575"/>
                  </a:lnTo>
                  <a:cubicBezTo>
                    <a:pt x="73987" y="143640"/>
                    <a:pt x="71503" y="146124"/>
                    <a:pt x="68438" y="146124"/>
                  </a:cubicBezTo>
                  <a:lnTo>
                    <a:pt x="38843" y="146124"/>
                  </a:lnTo>
                  <a:cubicBezTo>
                    <a:pt x="35779" y="146124"/>
                    <a:pt x="33294" y="143640"/>
                    <a:pt x="33294" y="140575"/>
                  </a:cubicBezTo>
                  <a:lnTo>
                    <a:pt x="33294" y="110981"/>
                  </a:lnTo>
                  <a:cubicBezTo>
                    <a:pt x="33294" y="107916"/>
                    <a:pt x="35779" y="105432"/>
                    <a:pt x="38843" y="105432"/>
                  </a:cubicBezTo>
                  <a:lnTo>
                    <a:pt x="68438" y="105432"/>
                  </a:lnTo>
                  <a:cubicBezTo>
                    <a:pt x="71503" y="105432"/>
                    <a:pt x="73987" y="107916"/>
                    <a:pt x="73987" y="110981"/>
                  </a:cubicBezTo>
                  <a:lnTo>
                    <a:pt x="73987" y="116530"/>
                  </a:lnTo>
                  <a:lnTo>
                    <a:pt x="80076" y="116530"/>
                  </a:lnTo>
                  <a:cubicBezTo>
                    <a:pt x="81778" y="116530"/>
                    <a:pt x="83302" y="115435"/>
                    <a:pt x="83835" y="113822"/>
                  </a:cubicBezTo>
                  <a:lnTo>
                    <a:pt x="90597" y="93534"/>
                  </a:lnTo>
                  <a:cubicBezTo>
                    <a:pt x="92648" y="87382"/>
                    <a:pt x="98407" y="83234"/>
                    <a:pt x="104891" y="83235"/>
                  </a:cubicBezTo>
                  <a:lnTo>
                    <a:pt x="107281" y="83235"/>
                  </a:lnTo>
                  <a:lnTo>
                    <a:pt x="107281" y="70288"/>
                  </a:lnTo>
                  <a:close/>
                  <a:moveTo>
                    <a:pt x="118379" y="88918"/>
                  </a:moveTo>
                  <a:lnTo>
                    <a:pt x="118379" y="94334"/>
                  </a:lnTo>
                  <a:lnTo>
                    <a:pt x="136876" y="94334"/>
                  </a:lnTo>
                  <a:lnTo>
                    <a:pt x="136876" y="75837"/>
                  </a:lnTo>
                  <a:lnTo>
                    <a:pt x="118379" y="75837"/>
                  </a:lnTo>
                  <a:lnTo>
                    <a:pt x="118379" y="88651"/>
                  </a:lnTo>
                  <a:cubicBezTo>
                    <a:pt x="118381" y="88740"/>
                    <a:pt x="118381" y="88829"/>
                    <a:pt x="118379" y="88918"/>
                  </a:cubicBezTo>
                  <a:close/>
                  <a:moveTo>
                    <a:pt x="44392" y="116530"/>
                  </a:moveTo>
                  <a:lnTo>
                    <a:pt x="44392" y="135026"/>
                  </a:lnTo>
                  <a:lnTo>
                    <a:pt x="62889" y="135026"/>
                  </a:lnTo>
                  <a:lnTo>
                    <a:pt x="62889" y="116530"/>
                  </a:lnTo>
                  <a:lnTo>
                    <a:pt x="44392" y="116530"/>
                  </a:lnTo>
                  <a:close/>
                </a:path>
              </a:pathLst>
            </a:custGeom>
            <a:solidFill>
              <a:sysClr val="windowText" lastClr="000000"/>
            </a:solidFill>
            <a:ln w="71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Display"/>
                <a:ea typeface="+mn-ea"/>
                <a:cs typeface="+mn-cs"/>
              </a:endParaRPr>
            </a:p>
          </p:txBody>
        </p:sp>
      </p:grpSp>
      <p:sp>
        <p:nvSpPr>
          <p:cNvPr id="1034" name="Oval 1033">
            <a:extLst>
              <a:ext uri="{FF2B5EF4-FFF2-40B4-BE49-F238E27FC236}">
                <a16:creationId xmlns:a16="http://schemas.microsoft.com/office/drawing/2014/main" id="{7DAB5BA4-FCE3-304D-0C7A-39332BD53674}"/>
              </a:ext>
              <a:ext uri="{C183D7F6-B498-43B3-948B-1728B52AA6E4}">
                <adec:decorative xmlns:adec="http://schemas.microsoft.com/office/drawing/2017/decorative" val="1"/>
              </a:ext>
            </a:extLst>
          </p:cNvPr>
          <p:cNvSpPr/>
          <p:nvPr/>
        </p:nvSpPr>
        <p:spPr bwMode="auto">
          <a:xfrm>
            <a:off x="3317869" y="5720868"/>
            <a:ext cx="402784" cy="402784"/>
          </a:xfrm>
          <a:prstGeom prst="ellipse">
            <a:avLst/>
          </a:prstGeom>
          <a:solidFill>
            <a:srgbClr val="A5B8EE">
              <a:alpha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grpSp>
        <p:nvGrpSpPr>
          <p:cNvPr id="7" name="Group 6">
            <a:extLst>
              <a:ext uri="{FF2B5EF4-FFF2-40B4-BE49-F238E27FC236}">
                <a16:creationId xmlns:a16="http://schemas.microsoft.com/office/drawing/2014/main" id="{CF8198FE-1C53-4444-BCE5-FC3CB28B5EF3}"/>
              </a:ext>
              <a:ext uri="{C183D7F6-B498-43B3-948B-1728B52AA6E4}">
                <adec:decorative xmlns:adec="http://schemas.microsoft.com/office/drawing/2017/decorative" val="1"/>
              </a:ext>
            </a:extLst>
          </p:cNvPr>
          <p:cNvGrpSpPr/>
          <p:nvPr/>
        </p:nvGrpSpPr>
        <p:grpSpPr>
          <a:xfrm>
            <a:off x="3357364" y="5760365"/>
            <a:ext cx="323794" cy="323791"/>
            <a:chOff x="3357364" y="5760365"/>
            <a:chExt cx="323794" cy="323791"/>
          </a:xfrm>
        </p:grpSpPr>
        <p:sp>
          <p:nvSpPr>
            <p:cNvPr id="1035" name="Oval 1034">
              <a:extLst>
                <a:ext uri="{FF2B5EF4-FFF2-40B4-BE49-F238E27FC236}">
                  <a16:creationId xmlns:a16="http://schemas.microsoft.com/office/drawing/2014/main" id="{09D5439D-2439-0DC5-CF04-C19A0CD91345}"/>
                </a:ext>
                <a:ext uri="{C183D7F6-B498-43B3-948B-1728B52AA6E4}">
                  <adec:decorative xmlns:adec="http://schemas.microsoft.com/office/drawing/2017/decorative" val="1"/>
                </a:ext>
              </a:extLst>
            </p:cNvPr>
            <p:cNvSpPr/>
            <p:nvPr/>
          </p:nvSpPr>
          <p:spPr bwMode="auto">
            <a:xfrm>
              <a:off x="3357364" y="5760365"/>
              <a:ext cx="323794" cy="323791"/>
            </a:xfrm>
            <a:prstGeom prst="ellipse">
              <a:avLst/>
            </a:prstGeom>
            <a:solidFill>
              <a:sysClr val="window" lastClr="FFFFFF"/>
            </a:solidFill>
            <a:ln w="12700" cap="flat" cmpd="sng" algn="ctr">
              <a:solidFill>
                <a:srgbClr val="A5B8EE"/>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Segoe Sans Display"/>
                <a:ea typeface="+mn-ea"/>
                <a:cs typeface="+mn-cs"/>
              </a:endParaRPr>
            </a:p>
          </p:txBody>
        </p:sp>
        <p:sp>
          <p:nvSpPr>
            <p:cNvPr id="1037" name="Graphic 252">
              <a:extLst>
                <a:ext uri="{FF2B5EF4-FFF2-40B4-BE49-F238E27FC236}">
                  <a16:creationId xmlns:a16="http://schemas.microsoft.com/office/drawing/2014/main" id="{526CA4CB-D454-BB01-3032-E3ECC5C31F6C}"/>
                </a:ext>
                <a:ext uri="{C183D7F6-B498-43B3-948B-1728B52AA6E4}">
                  <adec:decorative xmlns:adec="http://schemas.microsoft.com/office/drawing/2017/decorative" val="1"/>
                </a:ext>
              </a:extLst>
            </p:cNvPr>
            <p:cNvSpPr/>
            <p:nvPr/>
          </p:nvSpPr>
          <p:spPr>
            <a:xfrm>
              <a:off x="3428213" y="5835826"/>
              <a:ext cx="182110" cy="168400"/>
            </a:xfrm>
            <a:custGeom>
              <a:avLst/>
              <a:gdLst>
                <a:gd name="connsiteX0" fmla="*/ 81130 w 182110"/>
                <a:gd name="connsiteY0" fmla="*/ 2565 h 168400"/>
                <a:gd name="connsiteX1" fmla="*/ 108198 w 182110"/>
                <a:gd name="connsiteY1" fmla="*/ 9297 h 168400"/>
                <a:gd name="connsiteX2" fmla="*/ 108953 w 182110"/>
                <a:gd name="connsiteY2" fmla="*/ 10553 h 168400"/>
                <a:gd name="connsiteX3" fmla="*/ 179547 w 182110"/>
                <a:gd name="connsiteY3" fmla="*/ 138012 h 168400"/>
                <a:gd name="connsiteX4" fmla="*/ 171546 w 182110"/>
                <a:gd name="connsiteY4" fmla="*/ 165835 h 168400"/>
                <a:gd name="connsiteX5" fmla="*/ 163043 w 182110"/>
                <a:gd name="connsiteY5" fmla="*/ 168346 h 168400"/>
                <a:gd name="connsiteX6" fmla="*/ 161642 w 182110"/>
                <a:gd name="connsiteY6" fmla="*/ 168401 h 168400"/>
                <a:gd name="connsiteX7" fmla="*/ 20471 w 182110"/>
                <a:gd name="connsiteY7" fmla="*/ 168401 h 168400"/>
                <a:gd name="connsiteX8" fmla="*/ 0 w 182110"/>
                <a:gd name="connsiteY8" fmla="*/ 147929 h 168400"/>
                <a:gd name="connsiteX9" fmla="*/ 1902 w 182110"/>
                <a:gd name="connsiteY9" fmla="*/ 139313 h 168400"/>
                <a:gd name="connsiteX10" fmla="*/ 2557 w 182110"/>
                <a:gd name="connsiteY10" fmla="*/ 138012 h 168400"/>
                <a:gd name="connsiteX11" fmla="*/ 73133 w 182110"/>
                <a:gd name="connsiteY11" fmla="*/ 10553 h 168400"/>
                <a:gd name="connsiteX12" fmla="*/ 81121 w 182110"/>
                <a:gd name="connsiteY12" fmla="*/ 2565 h 168400"/>
                <a:gd name="connsiteX13" fmla="*/ 167610 w 182110"/>
                <a:gd name="connsiteY13" fmla="*/ 144618 h 168400"/>
                <a:gd name="connsiteX14" fmla="*/ 97007 w 182110"/>
                <a:gd name="connsiteY14" fmla="*/ 17168 h 168400"/>
                <a:gd name="connsiteX15" fmla="*/ 87728 w 182110"/>
                <a:gd name="connsiteY15" fmla="*/ 14516 h 168400"/>
                <a:gd name="connsiteX16" fmla="*/ 85598 w 182110"/>
                <a:gd name="connsiteY16" fmla="*/ 16367 h 168400"/>
                <a:gd name="connsiteX17" fmla="*/ 85079 w 182110"/>
                <a:gd name="connsiteY17" fmla="*/ 17168 h 168400"/>
                <a:gd name="connsiteX18" fmla="*/ 14503 w 182110"/>
                <a:gd name="connsiteY18" fmla="*/ 144618 h 168400"/>
                <a:gd name="connsiteX19" fmla="*/ 17157 w 182110"/>
                <a:gd name="connsiteY19" fmla="*/ 153896 h 168400"/>
                <a:gd name="connsiteX20" fmla="*/ 19607 w 182110"/>
                <a:gd name="connsiteY20" fmla="*/ 154699 h 168400"/>
                <a:gd name="connsiteX21" fmla="*/ 20471 w 182110"/>
                <a:gd name="connsiteY21" fmla="*/ 154753 h 168400"/>
                <a:gd name="connsiteX22" fmla="*/ 161642 w 182110"/>
                <a:gd name="connsiteY22" fmla="*/ 154753 h 168400"/>
                <a:gd name="connsiteX23" fmla="*/ 168460 w 182110"/>
                <a:gd name="connsiteY23" fmla="*/ 147924 h 168400"/>
                <a:gd name="connsiteX24" fmla="*/ 167974 w 182110"/>
                <a:gd name="connsiteY24" fmla="*/ 145400 h 168400"/>
                <a:gd name="connsiteX25" fmla="*/ 167610 w 182110"/>
                <a:gd name="connsiteY25" fmla="*/ 144618 h 168400"/>
                <a:gd name="connsiteX26" fmla="*/ 97007 w 182110"/>
                <a:gd name="connsiteY26" fmla="*/ 17168 h 168400"/>
                <a:gd name="connsiteX27" fmla="*/ 167610 w 182110"/>
                <a:gd name="connsiteY27" fmla="*/ 144618 h 168400"/>
                <a:gd name="connsiteX28" fmla="*/ 91047 w 182110"/>
                <a:gd name="connsiteY28" fmla="*/ 122845 h 168400"/>
                <a:gd name="connsiteX29" fmla="*/ 100420 w 182110"/>
                <a:gd name="connsiteY29" fmla="*/ 131642 h 168400"/>
                <a:gd name="connsiteX30" fmla="*/ 91622 w 182110"/>
                <a:gd name="connsiteY30" fmla="*/ 141015 h 168400"/>
                <a:gd name="connsiteX31" fmla="*/ 91047 w 182110"/>
                <a:gd name="connsiteY31" fmla="*/ 141015 h 168400"/>
                <a:gd name="connsiteX32" fmla="*/ 82250 w 182110"/>
                <a:gd name="connsiteY32" fmla="*/ 131642 h 168400"/>
                <a:gd name="connsiteX33" fmla="*/ 91047 w 182110"/>
                <a:gd name="connsiteY33" fmla="*/ 122845 h 168400"/>
                <a:gd name="connsiteX34" fmla="*/ 91002 w 182110"/>
                <a:gd name="connsiteY34" fmla="*/ 54589 h 168400"/>
                <a:gd name="connsiteX35" fmla="*/ 97771 w 182110"/>
                <a:gd name="connsiteY35" fmla="*/ 60476 h 168400"/>
                <a:gd name="connsiteX36" fmla="*/ 97835 w 182110"/>
                <a:gd name="connsiteY36" fmla="*/ 61404 h 168400"/>
                <a:gd name="connsiteX37" fmla="*/ 97871 w 182110"/>
                <a:gd name="connsiteY37" fmla="*/ 102365 h 168400"/>
                <a:gd name="connsiteX38" fmla="*/ 91128 w 182110"/>
                <a:gd name="connsiteY38" fmla="*/ 109268 h 168400"/>
                <a:gd name="connsiteX39" fmla="*/ 84278 w 182110"/>
                <a:gd name="connsiteY39" fmla="*/ 103302 h 168400"/>
                <a:gd name="connsiteX40" fmla="*/ 84224 w 182110"/>
                <a:gd name="connsiteY40" fmla="*/ 102374 h 168400"/>
                <a:gd name="connsiteX41" fmla="*/ 84187 w 182110"/>
                <a:gd name="connsiteY41" fmla="*/ 61413 h 168400"/>
                <a:gd name="connsiteX42" fmla="*/ 91011 w 182110"/>
                <a:gd name="connsiteY42" fmla="*/ 54589 h 16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82110" h="168400">
                  <a:moveTo>
                    <a:pt x="81130" y="2565"/>
                  </a:moveTo>
                  <a:cubicBezTo>
                    <a:pt x="90522" y="-2636"/>
                    <a:pt x="102337" y="303"/>
                    <a:pt x="108198" y="9297"/>
                  </a:cubicBezTo>
                  <a:lnTo>
                    <a:pt x="108953" y="10553"/>
                  </a:lnTo>
                  <a:lnTo>
                    <a:pt x="179547" y="138012"/>
                  </a:lnTo>
                  <a:cubicBezTo>
                    <a:pt x="185021" y="147905"/>
                    <a:pt x="181439" y="160361"/>
                    <a:pt x="171546" y="165835"/>
                  </a:cubicBezTo>
                  <a:cubicBezTo>
                    <a:pt x="168930" y="167283"/>
                    <a:pt x="166027" y="168141"/>
                    <a:pt x="163043" y="168346"/>
                  </a:cubicBezTo>
                  <a:lnTo>
                    <a:pt x="161642" y="168401"/>
                  </a:lnTo>
                  <a:lnTo>
                    <a:pt x="20471" y="168401"/>
                  </a:lnTo>
                  <a:cubicBezTo>
                    <a:pt x="9165" y="168401"/>
                    <a:pt x="0" y="159235"/>
                    <a:pt x="0" y="147929"/>
                  </a:cubicBezTo>
                  <a:cubicBezTo>
                    <a:pt x="0" y="144953"/>
                    <a:pt x="649" y="142013"/>
                    <a:pt x="1902" y="139313"/>
                  </a:cubicBezTo>
                  <a:lnTo>
                    <a:pt x="2557" y="138012"/>
                  </a:lnTo>
                  <a:lnTo>
                    <a:pt x="73133" y="10553"/>
                  </a:lnTo>
                  <a:cubicBezTo>
                    <a:pt x="74993" y="7194"/>
                    <a:pt x="77762" y="4425"/>
                    <a:pt x="81121" y="2565"/>
                  </a:cubicBezTo>
                  <a:close/>
                  <a:moveTo>
                    <a:pt x="167610" y="144618"/>
                  </a:moveTo>
                  <a:lnTo>
                    <a:pt x="97007" y="17168"/>
                  </a:lnTo>
                  <a:cubicBezTo>
                    <a:pt x="95177" y="13873"/>
                    <a:pt x="91023" y="12686"/>
                    <a:pt x="87728" y="14516"/>
                  </a:cubicBezTo>
                  <a:cubicBezTo>
                    <a:pt x="86897" y="14978"/>
                    <a:pt x="86171" y="15608"/>
                    <a:pt x="85598" y="16367"/>
                  </a:cubicBezTo>
                  <a:lnTo>
                    <a:pt x="85079" y="17168"/>
                  </a:lnTo>
                  <a:lnTo>
                    <a:pt x="14503" y="144618"/>
                  </a:lnTo>
                  <a:cubicBezTo>
                    <a:pt x="12674" y="147913"/>
                    <a:pt x="13862" y="152066"/>
                    <a:pt x="17157" y="153896"/>
                  </a:cubicBezTo>
                  <a:cubicBezTo>
                    <a:pt x="17915" y="154316"/>
                    <a:pt x="18747" y="154589"/>
                    <a:pt x="19607" y="154699"/>
                  </a:cubicBezTo>
                  <a:lnTo>
                    <a:pt x="20471" y="154753"/>
                  </a:lnTo>
                  <a:lnTo>
                    <a:pt x="161642" y="154753"/>
                  </a:lnTo>
                  <a:cubicBezTo>
                    <a:pt x="165410" y="154750"/>
                    <a:pt x="168463" y="151692"/>
                    <a:pt x="168460" y="147924"/>
                  </a:cubicBezTo>
                  <a:cubicBezTo>
                    <a:pt x="168460" y="147060"/>
                    <a:pt x="168294" y="146203"/>
                    <a:pt x="167974" y="145400"/>
                  </a:cubicBezTo>
                  <a:lnTo>
                    <a:pt x="167610" y="144618"/>
                  </a:lnTo>
                  <a:lnTo>
                    <a:pt x="97007" y="17168"/>
                  </a:lnTo>
                  <a:lnTo>
                    <a:pt x="167610" y="144618"/>
                  </a:lnTo>
                  <a:close/>
                  <a:moveTo>
                    <a:pt x="91047" y="122845"/>
                  </a:moveTo>
                  <a:cubicBezTo>
                    <a:pt x="96065" y="122686"/>
                    <a:pt x="100260" y="126625"/>
                    <a:pt x="100420" y="131642"/>
                  </a:cubicBezTo>
                  <a:cubicBezTo>
                    <a:pt x="100579" y="136660"/>
                    <a:pt x="96640" y="140855"/>
                    <a:pt x="91622" y="141015"/>
                  </a:cubicBezTo>
                  <a:cubicBezTo>
                    <a:pt x="91430" y="141021"/>
                    <a:pt x="91239" y="141021"/>
                    <a:pt x="91047" y="141015"/>
                  </a:cubicBezTo>
                  <a:cubicBezTo>
                    <a:pt x="86030" y="140855"/>
                    <a:pt x="82091" y="136660"/>
                    <a:pt x="82250" y="131642"/>
                  </a:cubicBezTo>
                  <a:cubicBezTo>
                    <a:pt x="82402" y="126848"/>
                    <a:pt x="86254" y="122997"/>
                    <a:pt x="91047" y="122845"/>
                  </a:cubicBezTo>
                  <a:close/>
                  <a:moveTo>
                    <a:pt x="91002" y="54589"/>
                  </a:moveTo>
                  <a:cubicBezTo>
                    <a:pt x="94412" y="54584"/>
                    <a:pt x="97303" y="57098"/>
                    <a:pt x="97771" y="60476"/>
                  </a:cubicBezTo>
                  <a:lnTo>
                    <a:pt x="97835" y="61404"/>
                  </a:lnTo>
                  <a:lnTo>
                    <a:pt x="97871" y="102365"/>
                  </a:lnTo>
                  <a:cubicBezTo>
                    <a:pt x="97915" y="106133"/>
                    <a:pt x="94896" y="109224"/>
                    <a:pt x="91128" y="109268"/>
                  </a:cubicBezTo>
                  <a:cubicBezTo>
                    <a:pt x="87660" y="109308"/>
                    <a:pt x="84714" y="106742"/>
                    <a:pt x="84278" y="103302"/>
                  </a:cubicBezTo>
                  <a:lnTo>
                    <a:pt x="84224" y="102374"/>
                  </a:lnTo>
                  <a:lnTo>
                    <a:pt x="84187" y="61413"/>
                  </a:lnTo>
                  <a:cubicBezTo>
                    <a:pt x="84187" y="57644"/>
                    <a:pt x="87243" y="54589"/>
                    <a:pt x="91011" y="54589"/>
                  </a:cubicBezTo>
                  <a:close/>
                </a:path>
              </a:pathLst>
            </a:custGeom>
            <a:solidFill>
              <a:sysClr val="windowText" lastClr="000000"/>
            </a:solidFill>
            <a:ln w="8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Display"/>
                <a:ea typeface="+mn-ea"/>
                <a:cs typeface="+mn-cs"/>
              </a:endParaRPr>
            </a:p>
          </p:txBody>
        </p:sp>
      </p:grpSp>
      <p:sp>
        <p:nvSpPr>
          <p:cNvPr id="1041" name="Oval 1040">
            <a:extLst>
              <a:ext uri="{FF2B5EF4-FFF2-40B4-BE49-F238E27FC236}">
                <a16:creationId xmlns:a16="http://schemas.microsoft.com/office/drawing/2014/main" id="{49360C85-B04D-A4B5-3ACB-F9ACF3CF08B0}"/>
              </a:ext>
              <a:ext uri="{C183D7F6-B498-43B3-948B-1728B52AA6E4}">
                <adec:decorative xmlns:adec="http://schemas.microsoft.com/office/drawing/2017/decorative" val="1"/>
              </a:ext>
            </a:extLst>
          </p:cNvPr>
          <p:cNvSpPr/>
          <p:nvPr/>
        </p:nvSpPr>
        <p:spPr bwMode="auto">
          <a:xfrm>
            <a:off x="4537977" y="4674997"/>
            <a:ext cx="240197" cy="240197"/>
          </a:xfrm>
          <a:prstGeom prst="ellipse">
            <a:avLst/>
          </a:prstGeom>
          <a:solidFill>
            <a:srgbClr val="A5B8EE">
              <a:alpha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042" name="Oval 1041">
            <a:extLst>
              <a:ext uri="{FF2B5EF4-FFF2-40B4-BE49-F238E27FC236}">
                <a16:creationId xmlns:a16="http://schemas.microsoft.com/office/drawing/2014/main" id="{31DBD607-F442-926A-DD7A-1EDDBBB20311}"/>
              </a:ext>
              <a:ext uri="{C183D7F6-B498-43B3-948B-1728B52AA6E4}">
                <adec:decorative xmlns:adec="http://schemas.microsoft.com/office/drawing/2017/decorative" val="1"/>
              </a:ext>
            </a:extLst>
          </p:cNvPr>
          <p:cNvSpPr/>
          <p:nvPr/>
        </p:nvSpPr>
        <p:spPr bwMode="auto">
          <a:xfrm>
            <a:off x="4561530" y="4698551"/>
            <a:ext cx="193092" cy="193090"/>
          </a:xfrm>
          <a:prstGeom prst="ellipse">
            <a:avLst/>
          </a:prstGeom>
          <a:solidFill>
            <a:sysClr val="window" lastClr="FFFFFF"/>
          </a:solidFill>
          <a:ln w="12700" cap="flat" cmpd="sng" algn="ctr">
            <a:solidFill>
              <a:srgbClr val="A5B8EE"/>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Segoe Sans Display"/>
              <a:ea typeface="+mn-ea"/>
              <a:cs typeface="+mn-cs"/>
            </a:endParaRPr>
          </a:p>
        </p:txBody>
      </p:sp>
      <p:sp>
        <p:nvSpPr>
          <p:cNvPr id="1043" name="Graphic 261">
            <a:extLst>
              <a:ext uri="{FF2B5EF4-FFF2-40B4-BE49-F238E27FC236}">
                <a16:creationId xmlns:a16="http://schemas.microsoft.com/office/drawing/2014/main" id="{A590C7E9-C533-B710-D1D9-2C2FD33EA079}"/>
              </a:ext>
              <a:ext uri="{C183D7F6-B498-43B3-948B-1728B52AA6E4}">
                <adec:decorative xmlns:adec="http://schemas.microsoft.com/office/drawing/2017/decorative" val="1"/>
              </a:ext>
            </a:extLst>
          </p:cNvPr>
          <p:cNvSpPr/>
          <p:nvPr/>
        </p:nvSpPr>
        <p:spPr>
          <a:xfrm>
            <a:off x="4603817" y="4746263"/>
            <a:ext cx="108515" cy="103089"/>
          </a:xfrm>
          <a:custGeom>
            <a:avLst/>
            <a:gdLst>
              <a:gd name="connsiteX0" fmla="*/ 10852 w 108515"/>
              <a:gd name="connsiteY0" fmla="*/ 59678 h 103089"/>
              <a:gd name="connsiteX1" fmla="*/ 59683 w 108515"/>
              <a:gd name="connsiteY1" fmla="*/ 59683 h 103089"/>
              <a:gd name="connsiteX2" fmla="*/ 70508 w 108515"/>
              <a:gd name="connsiteY2" fmla="*/ 69721 h 103089"/>
              <a:gd name="connsiteX3" fmla="*/ 70535 w 108515"/>
              <a:gd name="connsiteY3" fmla="*/ 70535 h 103089"/>
              <a:gd name="connsiteX4" fmla="*/ 70535 w 108515"/>
              <a:gd name="connsiteY4" fmla="*/ 78673 h 103089"/>
              <a:gd name="connsiteX5" fmla="*/ 35267 w 108515"/>
              <a:gd name="connsiteY5" fmla="*/ 103089 h 103089"/>
              <a:gd name="connsiteX6" fmla="*/ 27 w 108515"/>
              <a:gd name="connsiteY6" fmla="*/ 79921 h 103089"/>
              <a:gd name="connsiteX7" fmla="*/ 0 w 108515"/>
              <a:gd name="connsiteY7" fmla="*/ 78673 h 103089"/>
              <a:gd name="connsiteX8" fmla="*/ 0 w 108515"/>
              <a:gd name="connsiteY8" fmla="*/ 70529 h 103089"/>
              <a:gd name="connsiteX9" fmla="*/ 10038 w 108515"/>
              <a:gd name="connsiteY9" fmla="*/ 59705 h 103089"/>
              <a:gd name="connsiteX10" fmla="*/ 10852 w 108515"/>
              <a:gd name="connsiteY10" fmla="*/ 59683 h 103089"/>
              <a:gd name="connsiteX11" fmla="*/ 71728 w 108515"/>
              <a:gd name="connsiteY11" fmla="*/ 59683 h 103089"/>
              <a:gd name="connsiteX12" fmla="*/ 97664 w 108515"/>
              <a:gd name="connsiteY12" fmla="*/ 59683 h 103089"/>
              <a:gd name="connsiteX13" fmla="*/ 108482 w 108515"/>
              <a:gd name="connsiteY13" fmla="*/ 69721 h 103089"/>
              <a:gd name="connsiteX14" fmla="*/ 108515 w 108515"/>
              <a:gd name="connsiteY14" fmla="*/ 70535 h 103089"/>
              <a:gd name="connsiteX15" fmla="*/ 108515 w 108515"/>
              <a:gd name="connsiteY15" fmla="*/ 75961 h 103089"/>
              <a:gd name="connsiteX16" fmla="*/ 81386 w 108515"/>
              <a:gd name="connsiteY16" fmla="*/ 97664 h 103089"/>
              <a:gd name="connsiteX17" fmla="*/ 69775 w 108515"/>
              <a:gd name="connsiteY17" fmla="*/ 95916 h 103089"/>
              <a:gd name="connsiteX18" fmla="*/ 74127 w 108515"/>
              <a:gd name="connsiteY18" fmla="*/ 88716 h 103089"/>
              <a:gd name="connsiteX19" fmla="*/ 81386 w 108515"/>
              <a:gd name="connsiteY19" fmla="*/ 89525 h 103089"/>
              <a:gd name="connsiteX20" fmla="*/ 82835 w 108515"/>
              <a:gd name="connsiteY20" fmla="*/ 89492 h 103089"/>
              <a:gd name="connsiteX21" fmla="*/ 100338 w 108515"/>
              <a:gd name="connsiteY21" fmla="*/ 77073 h 103089"/>
              <a:gd name="connsiteX22" fmla="*/ 100376 w 108515"/>
              <a:gd name="connsiteY22" fmla="*/ 75961 h 103089"/>
              <a:gd name="connsiteX23" fmla="*/ 100376 w 108515"/>
              <a:gd name="connsiteY23" fmla="*/ 70535 h 103089"/>
              <a:gd name="connsiteX24" fmla="*/ 98152 w 108515"/>
              <a:gd name="connsiteY24" fmla="*/ 67865 h 103089"/>
              <a:gd name="connsiteX25" fmla="*/ 97664 w 108515"/>
              <a:gd name="connsiteY25" fmla="*/ 67822 h 103089"/>
              <a:gd name="connsiteX26" fmla="*/ 75684 w 108515"/>
              <a:gd name="connsiteY26" fmla="*/ 67822 h 103089"/>
              <a:gd name="connsiteX27" fmla="*/ 72455 w 108515"/>
              <a:gd name="connsiteY27" fmla="*/ 60551 h 103089"/>
              <a:gd name="connsiteX28" fmla="*/ 71728 w 108515"/>
              <a:gd name="connsiteY28" fmla="*/ 59683 h 103089"/>
              <a:gd name="connsiteX29" fmla="*/ 97664 w 108515"/>
              <a:gd name="connsiteY29" fmla="*/ 59683 h 103089"/>
              <a:gd name="connsiteX30" fmla="*/ 71728 w 108515"/>
              <a:gd name="connsiteY30" fmla="*/ 59683 h 103089"/>
              <a:gd name="connsiteX31" fmla="*/ 10852 w 108515"/>
              <a:gd name="connsiteY31" fmla="*/ 67816 h 103089"/>
              <a:gd name="connsiteX32" fmla="*/ 10309 w 108515"/>
              <a:gd name="connsiteY32" fmla="*/ 67871 h 103089"/>
              <a:gd name="connsiteX33" fmla="*/ 8931 w 108515"/>
              <a:gd name="connsiteY33" fmla="*/ 68609 h 103089"/>
              <a:gd name="connsiteX34" fmla="*/ 8193 w 108515"/>
              <a:gd name="connsiteY34" fmla="*/ 69981 h 103089"/>
              <a:gd name="connsiteX35" fmla="*/ 8139 w 108515"/>
              <a:gd name="connsiteY35" fmla="*/ 70529 h 103089"/>
              <a:gd name="connsiteX36" fmla="*/ 8139 w 108515"/>
              <a:gd name="connsiteY36" fmla="*/ 78673 h 103089"/>
              <a:gd name="connsiteX37" fmla="*/ 15827 w 108515"/>
              <a:gd name="connsiteY37" fmla="*/ 90838 h 103089"/>
              <a:gd name="connsiteX38" fmla="*/ 33547 w 108515"/>
              <a:gd name="connsiteY38" fmla="*/ 94924 h 103089"/>
              <a:gd name="connsiteX39" fmla="*/ 35267 w 108515"/>
              <a:gd name="connsiteY39" fmla="*/ 94951 h 103089"/>
              <a:gd name="connsiteX40" fmla="*/ 36987 w 108515"/>
              <a:gd name="connsiteY40" fmla="*/ 94924 h 103089"/>
              <a:gd name="connsiteX41" fmla="*/ 54708 w 108515"/>
              <a:gd name="connsiteY41" fmla="*/ 90838 h 103089"/>
              <a:gd name="connsiteX42" fmla="*/ 62369 w 108515"/>
              <a:gd name="connsiteY42" fmla="*/ 79677 h 103089"/>
              <a:gd name="connsiteX43" fmla="*/ 62396 w 108515"/>
              <a:gd name="connsiteY43" fmla="*/ 78668 h 103089"/>
              <a:gd name="connsiteX44" fmla="*/ 62396 w 108515"/>
              <a:gd name="connsiteY44" fmla="*/ 70535 h 103089"/>
              <a:gd name="connsiteX45" fmla="*/ 60172 w 108515"/>
              <a:gd name="connsiteY45" fmla="*/ 67865 h 103089"/>
              <a:gd name="connsiteX46" fmla="*/ 59683 w 108515"/>
              <a:gd name="connsiteY46" fmla="*/ 67822 h 103089"/>
              <a:gd name="connsiteX47" fmla="*/ 10852 w 108515"/>
              <a:gd name="connsiteY47" fmla="*/ 67816 h 103089"/>
              <a:gd name="connsiteX48" fmla="*/ 35267 w 108515"/>
              <a:gd name="connsiteY48" fmla="*/ 0 h 103089"/>
              <a:gd name="connsiteX49" fmla="*/ 59683 w 108515"/>
              <a:gd name="connsiteY49" fmla="*/ 24416 h 103089"/>
              <a:gd name="connsiteX50" fmla="*/ 35267 w 108515"/>
              <a:gd name="connsiteY50" fmla="*/ 48832 h 103089"/>
              <a:gd name="connsiteX51" fmla="*/ 10852 w 108515"/>
              <a:gd name="connsiteY51" fmla="*/ 24416 h 103089"/>
              <a:gd name="connsiteX52" fmla="*/ 35267 w 108515"/>
              <a:gd name="connsiteY52" fmla="*/ 0 h 103089"/>
              <a:gd name="connsiteX53" fmla="*/ 84099 w 108515"/>
              <a:gd name="connsiteY53" fmla="*/ 10852 h 103089"/>
              <a:gd name="connsiteX54" fmla="*/ 103089 w 108515"/>
              <a:gd name="connsiteY54" fmla="*/ 29842 h 103089"/>
              <a:gd name="connsiteX55" fmla="*/ 84099 w 108515"/>
              <a:gd name="connsiteY55" fmla="*/ 48832 h 103089"/>
              <a:gd name="connsiteX56" fmla="*/ 65109 w 108515"/>
              <a:gd name="connsiteY56" fmla="*/ 29842 h 103089"/>
              <a:gd name="connsiteX57" fmla="*/ 84099 w 108515"/>
              <a:gd name="connsiteY57" fmla="*/ 10852 h 103089"/>
              <a:gd name="connsiteX58" fmla="*/ 35267 w 108515"/>
              <a:gd name="connsiteY58" fmla="*/ 8139 h 103089"/>
              <a:gd name="connsiteX59" fmla="*/ 18990 w 108515"/>
              <a:gd name="connsiteY59" fmla="*/ 24416 h 103089"/>
              <a:gd name="connsiteX60" fmla="*/ 35267 w 108515"/>
              <a:gd name="connsiteY60" fmla="*/ 40693 h 103089"/>
              <a:gd name="connsiteX61" fmla="*/ 51545 w 108515"/>
              <a:gd name="connsiteY61" fmla="*/ 24416 h 103089"/>
              <a:gd name="connsiteX62" fmla="*/ 35267 w 108515"/>
              <a:gd name="connsiteY62" fmla="*/ 8139 h 103089"/>
              <a:gd name="connsiteX63" fmla="*/ 84099 w 108515"/>
              <a:gd name="connsiteY63" fmla="*/ 18990 h 103089"/>
              <a:gd name="connsiteX64" fmla="*/ 73248 w 108515"/>
              <a:gd name="connsiteY64" fmla="*/ 29842 h 103089"/>
              <a:gd name="connsiteX65" fmla="*/ 84099 w 108515"/>
              <a:gd name="connsiteY65" fmla="*/ 40693 h 103089"/>
              <a:gd name="connsiteX66" fmla="*/ 94951 w 108515"/>
              <a:gd name="connsiteY66" fmla="*/ 29842 h 103089"/>
              <a:gd name="connsiteX67" fmla="*/ 84099 w 108515"/>
              <a:gd name="connsiteY67" fmla="*/ 18990 h 103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08515" h="103089">
                <a:moveTo>
                  <a:pt x="10852" y="59678"/>
                </a:moveTo>
                <a:lnTo>
                  <a:pt x="59683" y="59683"/>
                </a:lnTo>
                <a:cubicBezTo>
                  <a:pt x="65362" y="59682"/>
                  <a:pt x="70082" y="64058"/>
                  <a:pt x="70508" y="69721"/>
                </a:cubicBezTo>
                <a:lnTo>
                  <a:pt x="70535" y="70535"/>
                </a:lnTo>
                <a:lnTo>
                  <a:pt x="70535" y="78673"/>
                </a:lnTo>
                <a:cubicBezTo>
                  <a:pt x="70529" y="97664"/>
                  <a:pt x="50373" y="103089"/>
                  <a:pt x="35267" y="103089"/>
                </a:cubicBezTo>
                <a:cubicBezTo>
                  <a:pt x="20498" y="103089"/>
                  <a:pt x="895" y="97902"/>
                  <a:pt x="27" y="79921"/>
                </a:cubicBezTo>
                <a:lnTo>
                  <a:pt x="0" y="78673"/>
                </a:lnTo>
                <a:lnTo>
                  <a:pt x="0" y="70529"/>
                </a:lnTo>
                <a:cubicBezTo>
                  <a:pt x="0" y="64811"/>
                  <a:pt x="4427" y="60123"/>
                  <a:pt x="10038" y="59705"/>
                </a:cubicBezTo>
                <a:lnTo>
                  <a:pt x="10852" y="59683"/>
                </a:lnTo>
                <a:close/>
                <a:moveTo>
                  <a:pt x="71728" y="59683"/>
                </a:moveTo>
                <a:lnTo>
                  <a:pt x="97664" y="59683"/>
                </a:lnTo>
                <a:cubicBezTo>
                  <a:pt x="103382" y="59683"/>
                  <a:pt x="108070" y="64111"/>
                  <a:pt x="108482" y="69721"/>
                </a:cubicBezTo>
                <a:lnTo>
                  <a:pt x="108515" y="70535"/>
                </a:lnTo>
                <a:lnTo>
                  <a:pt x="108515" y="75961"/>
                </a:lnTo>
                <a:cubicBezTo>
                  <a:pt x="108510" y="92574"/>
                  <a:pt x="93008" y="97664"/>
                  <a:pt x="81386" y="97664"/>
                </a:cubicBezTo>
                <a:cubicBezTo>
                  <a:pt x="77450" y="97673"/>
                  <a:pt x="73535" y="97083"/>
                  <a:pt x="69775" y="95916"/>
                </a:cubicBezTo>
                <a:cubicBezTo>
                  <a:pt x="71598" y="93822"/>
                  <a:pt x="73069" y="91429"/>
                  <a:pt x="74127" y="88716"/>
                </a:cubicBezTo>
                <a:cubicBezTo>
                  <a:pt x="76510" y="89249"/>
                  <a:pt x="78944" y="89520"/>
                  <a:pt x="81386" y="89525"/>
                </a:cubicBezTo>
                <a:lnTo>
                  <a:pt x="82835" y="89492"/>
                </a:lnTo>
                <a:cubicBezTo>
                  <a:pt x="88179" y="89259"/>
                  <a:pt x="99579" y="87523"/>
                  <a:pt x="100338" y="77073"/>
                </a:cubicBezTo>
                <a:lnTo>
                  <a:pt x="100376" y="75961"/>
                </a:lnTo>
                <a:lnTo>
                  <a:pt x="100376" y="70535"/>
                </a:lnTo>
                <a:cubicBezTo>
                  <a:pt x="100375" y="69226"/>
                  <a:pt x="99439" y="68103"/>
                  <a:pt x="98152" y="67865"/>
                </a:cubicBezTo>
                <a:lnTo>
                  <a:pt x="97664" y="67822"/>
                </a:lnTo>
                <a:lnTo>
                  <a:pt x="75684" y="67822"/>
                </a:lnTo>
                <a:cubicBezTo>
                  <a:pt x="75235" y="65166"/>
                  <a:pt x="74125" y="62665"/>
                  <a:pt x="72455" y="60551"/>
                </a:cubicBezTo>
                <a:lnTo>
                  <a:pt x="71728" y="59683"/>
                </a:lnTo>
                <a:lnTo>
                  <a:pt x="97664" y="59683"/>
                </a:lnTo>
                <a:lnTo>
                  <a:pt x="71728" y="59683"/>
                </a:lnTo>
                <a:close/>
                <a:moveTo>
                  <a:pt x="10852" y="67816"/>
                </a:moveTo>
                <a:lnTo>
                  <a:pt x="10309" y="67871"/>
                </a:lnTo>
                <a:cubicBezTo>
                  <a:pt x="9788" y="67979"/>
                  <a:pt x="9310" y="68235"/>
                  <a:pt x="8931" y="68609"/>
                </a:cubicBezTo>
                <a:cubicBezTo>
                  <a:pt x="8557" y="68985"/>
                  <a:pt x="8301" y="69462"/>
                  <a:pt x="8193" y="69981"/>
                </a:cubicBezTo>
                <a:lnTo>
                  <a:pt x="8139" y="70529"/>
                </a:lnTo>
                <a:lnTo>
                  <a:pt x="8139" y="78673"/>
                </a:lnTo>
                <a:cubicBezTo>
                  <a:pt x="8139" y="84148"/>
                  <a:pt x="10580" y="88017"/>
                  <a:pt x="15827" y="90838"/>
                </a:cubicBezTo>
                <a:cubicBezTo>
                  <a:pt x="20309" y="93252"/>
                  <a:pt x="26695" y="94712"/>
                  <a:pt x="33547" y="94924"/>
                </a:cubicBezTo>
                <a:lnTo>
                  <a:pt x="35267" y="94951"/>
                </a:lnTo>
                <a:lnTo>
                  <a:pt x="36987" y="94924"/>
                </a:lnTo>
                <a:cubicBezTo>
                  <a:pt x="43840" y="94712"/>
                  <a:pt x="50221" y="93252"/>
                  <a:pt x="54708" y="90838"/>
                </a:cubicBezTo>
                <a:cubicBezTo>
                  <a:pt x="59624" y="88190"/>
                  <a:pt x="62081" y="84625"/>
                  <a:pt x="62369" y="79677"/>
                </a:cubicBezTo>
                <a:lnTo>
                  <a:pt x="62396" y="78668"/>
                </a:lnTo>
                <a:lnTo>
                  <a:pt x="62396" y="70535"/>
                </a:lnTo>
                <a:cubicBezTo>
                  <a:pt x="62394" y="69226"/>
                  <a:pt x="61459" y="68103"/>
                  <a:pt x="60172" y="67865"/>
                </a:cubicBezTo>
                <a:lnTo>
                  <a:pt x="59683" y="67822"/>
                </a:lnTo>
                <a:lnTo>
                  <a:pt x="10852" y="67816"/>
                </a:lnTo>
                <a:close/>
                <a:moveTo>
                  <a:pt x="35267" y="0"/>
                </a:moveTo>
                <a:cubicBezTo>
                  <a:pt x="48752" y="0"/>
                  <a:pt x="59683" y="10931"/>
                  <a:pt x="59683" y="24416"/>
                </a:cubicBezTo>
                <a:cubicBezTo>
                  <a:pt x="59683" y="37900"/>
                  <a:pt x="48752" y="48832"/>
                  <a:pt x="35267" y="48832"/>
                </a:cubicBezTo>
                <a:cubicBezTo>
                  <a:pt x="21783" y="48832"/>
                  <a:pt x="10852" y="37900"/>
                  <a:pt x="10852" y="24416"/>
                </a:cubicBezTo>
                <a:cubicBezTo>
                  <a:pt x="10852" y="10931"/>
                  <a:pt x="21783" y="0"/>
                  <a:pt x="35267" y="0"/>
                </a:cubicBezTo>
                <a:close/>
                <a:moveTo>
                  <a:pt x="84099" y="10852"/>
                </a:moveTo>
                <a:cubicBezTo>
                  <a:pt x="94587" y="10852"/>
                  <a:pt x="103089" y="19354"/>
                  <a:pt x="103089" y="29842"/>
                </a:cubicBezTo>
                <a:cubicBezTo>
                  <a:pt x="103089" y="40330"/>
                  <a:pt x="94587" y="48832"/>
                  <a:pt x="84099" y="48832"/>
                </a:cubicBezTo>
                <a:cubicBezTo>
                  <a:pt x="73611" y="48832"/>
                  <a:pt x="65109" y="40330"/>
                  <a:pt x="65109" y="29842"/>
                </a:cubicBezTo>
                <a:cubicBezTo>
                  <a:pt x="65109" y="19354"/>
                  <a:pt x="73611" y="10852"/>
                  <a:pt x="84099" y="10852"/>
                </a:cubicBezTo>
                <a:close/>
                <a:moveTo>
                  <a:pt x="35267" y="8139"/>
                </a:moveTo>
                <a:cubicBezTo>
                  <a:pt x="26293" y="8139"/>
                  <a:pt x="18990" y="15442"/>
                  <a:pt x="18990" y="24416"/>
                </a:cubicBezTo>
                <a:cubicBezTo>
                  <a:pt x="18990" y="33390"/>
                  <a:pt x="26293" y="40693"/>
                  <a:pt x="35267" y="40693"/>
                </a:cubicBezTo>
                <a:cubicBezTo>
                  <a:pt x="44242" y="40693"/>
                  <a:pt x="51545" y="33390"/>
                  <a:pt x="51545" y="24416"/>
                </a:cubicBezTo>
                <a:cubicBezTo>
                  <a:pt x="51545" y="15442"/>
                  <a:pt x="44242" y="8139"/>
                  <a:pt x="35267" y="8139"/>
                </a:cubicBezTo>
                <a:close/>
                <a:moveTo>
                  <a:pt x="84099" y="18990"/>
                </a:moveTo>
                <a:cubicBezTo>
                  <a:pt x="78115" y="18990"/>
                  <a:pt x="73248" y="23857"/>
                  <a:pt x="73248" y="29842"/>
                </a:cubicBezTo>
                <a:cubicBezTo>
                  <a:pt x="73248" y="35826"/>
                  <a:pt x="78115" y="40693"/>
                  <a:pt x="84099" y="40693"/>
                </a:cubicBezTo>
                <a:cubicBezTo>
                  <a:pt x="90084" y="40693"/>
                  <a:pt x="94951" y="35826"/>
                  <a:pt x="94951" y="29842"/>
                </a:cubicBezTo>
                <a:cubicBezTo>
                  <a:pt x="94951" y="23857"/>
                  <a:pt x="90084" y="18990"/>
                  <a:pt x="84099" y="18990"/>
                </a:cubicBezTo>
                <a:close/>
              </a:path>
            </a:pathLst>
          </a:custGeom>
          <a:solidFill>
            <a:sysClr val="windowText" lastClr="000000"/>
          </a:solidFill>
          <a:ln w="515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Display"/>
              <a:ea typeface="+mn-ea"/>
              <a:cs typeface="+mn-cs"/>
            </a:endParaRPr>
          </a:p>
        </p:txBody>
      </p:sp>
      <p:sp>
        <p:nvSpPr>
          <p:cNvPr id="1044" name="Oval 1043">
            <a:extLst>
              <a:ext uri="{FF2B5EF4-FFF2-40B4-BE49-F238E27FC236}">
                <a16:creationId xmlns:a16="http://schemas.microsoft.com/office/drawing/2014/main" id="{561B1B38-889B-4AB9-5CC1-25D7BD6F860F}"/>
              </a:ext>
              <a:ext uri="{C183D7F6-B498-43B3-948B-1728B52AA6E4}">
                <adec:decorative xmlns:adec="http://schemas.microsoft.com/office/drawing/2017/decorative" val="1"/>
              </a:ext>
            </a:extLst>
          </p:cNvPr>
          <p:cNvSpPr/>
          <p:nvPr/>
        </p:nvSpPr>
        <p:spPr bwMode="auto">
          <a:xfrm>
            <a:off x="8737636" y="4819996"/>
            <a:ext cx="327541" cy="327541"/>
          </a:xfrm>
          <a:prstGeom prst="ellipse">
            <a:avLst/>
          </a:prstGeom>
          <a:solidFill>
            <a:srgbClr val="A5B8EE">
              <a:alpha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045" name="Oval 1044">
            <a:extLst>
              <a:ext uri="{FF2B5EF4-FFF2-40B4-BE49-F238E27FC236}">
                <a16:creationId xmlns:a16="http://schemas.microsoft.com/office/drawing/2014/main" id="{36518849-9C45-C066-8E48-C0A50C2D9130}"/>
              </a:ext>
              <a:ext uri="{C183D7F6-B498-43B3-948B-1728B52AA6E4}">
                <adec:decorative xmlns:adec="http://schemas.microsoft.com/office/drawing/2017/decorative" val="1"/>
              </a:ext>
            </a:extLst>
          </p:cNvPr>
          <p:cNvSpPr/>
          <p:nvPr/>
        </p:nvSpPr>
        <p:spPr bwMode="auto">
          <a:xfrm>
            <a:off x="8769753" y="4852115"/>
            <a:ext cx="263307" cy="263304"/>
          </a:xfrm>
          <a:prstGeom prst="ellipse">
            <a:avLst/>
          </a:prstGeom>
          <a:solidFill>
            <a:sysClr val="window" lastClr="FFFFFF"/>
          </a:solidFill>
          <a:ln w="12700" cap="flat" cmpd="sng" algn="ctr">
            <a:solidFill>
              <a:srgbClr val="A5B8EE"/>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Segoe Sans Display"/>
              <a:ea typeface="+mn-ea"/>
              <a:cs typeface="+mn-cs"/>
            </a:endParaRPr>
          </a:p>
        </p:txBody>
      </p:sp>
      <p:sp>
        <p:nvSpPr>
          <p:cNvPr id="1046" name="Graphic 1149">
            <a:extLst>
              <a:ext uri="{FF2B5EF4-FFF2-40B4-BE49-F238E27FC236}">
                <a16:creationId xmlns:a16="http://schemas.microsoft.com/office/drawing/2014/main" id="{F1F14AFB-8D6B-664D-5272-D41D885E2EA0}"/>
              </a:ext>
              <a:ext uri="{C183D7F6-B498-43B3-948B-1728B52AA6E4}">
                <adec:decorative xmlns:adec="http://schemas.microsoft.com/office/drawing/2017/decorative" val="1"/>
              </a:ext>
            </a:extLst>
          </p:cNvPr>
          <p:cNvSpPr/>
          <p:nvPr/>
        </p:nvSpPr>
        <p:spPr>
          <a:xfrm>
            <a:off x="8827411" y="4909778"/>
            <a:ext cx="147974" cy="147974"/>
          </a:xfrm>
          <a:custGeom>
            <a:avLst/>
            <a:gdLst>
              <a:gd name="connsiteX0" fmla="*/ 66596 w 147974"/>
              <a:gd name="connsiteY0" fmla="*/ 88785 h 147974"/>
              <a:gd name="connsiteX1" fmla="*/ 65974 w 147974"/>
              <a:gd name="connsiteY1" fmla="*/ 88244 h 147974"/>
              <a:gd name="connsiteX2" fmla="*/ 58746 w 147974"/>
              <a:gd name="connsiteY2" fmla="*/ 88785 h 147974"/>
              <a:gd name="connsiteX3" fmla="*/ 55498 w 147974"/>
              <a:gd name="connsiteY3" fmla="*/ 92025 h 147974"/>
              <a:gd name="connsiteX4" fmla="*/ 55498 w 147974"/>
              <a:gd name="connsiteY4" fmla="*/ 62889 h 147974"/>
              <a:gd name="connsiteX5" fmla="*/ 92491 w 147974"/>
              <a:gd name="connsiteY5" fmla="*/ 62889 h 147974"/>
              <a:gd name="connsiteX6" fmla="*/ 92491 w 147974"/>
              <a:gd name="connsiteY6" fmla="*/ 92040 h 147974"/>
              <a:gd name="connsiteX7" fmla="*/ 88703 w 147974"/>
              <a:gd name="connsiteY7" fmla="*/ 88785 h 147974"/>
              <a:gd name="connsiteX8" fmla="*/ 88082 w 147974"/>
              <a:gd name="connsiteY8" fmla="*/ 88244 h 147974"/>
              <a:gd name="connsiteX9" fmla="*/ 80318 w 147974"/>
              <a:gd name="connsiteY9" fmla="*/ 89387 h 147974"/>
              <a:gd name="connsiteX10" fmla="*/ 80853 w 147974"/>
              <a:gd name="connsiteY10" fmla="*/ 96627 h 147974"/>
              <a:gd name="connsiteX11" fmla="*/ 94112 w 147974"/>
              <a:gd name="connsiteY11" fmla="*/ 109353 h 147974"/>
              <a:gd name="connsiteX12" fmla="*/ 94733 w 147974"/>
              <a:gd name="connsiteY12" fmla="*/ 109893 h 147974"/>
              <a:gd name="connsiteX13" fmla="*/ 101954 w 147974"/>
              <a:gd name="connsiteY13" fmla="*/ 109360 h 147974"/>
              <a:gd name="connsiteX14" fmla="*/ 114680 w 147974"/>
              <a:gd name="connsiteY14" fmla="*/ 96635 h 147974"/>
              <a:gd name="connsiteX15" fmla="*/ 115220 w 147974"/>
              <a:gd name="connsiteY15" fmla="*/ 96006 h 147974"/>
              <a:gd name="connsiteX16" fmla="*/ 114680 w 147974"/>
              <a:gd name="connsiteY16" fmla="*/ 88785 h 147974"/>
              <a:gd name="connsiteX17" fmla="*/ 114058 w 147974"/>
              <a:gd name="connsiteY17" fmla="*/ 88244 h 147974"/>
              <a:gd name="connsiteX18" fmla="*/ 106837 w 147974"/>
              <a:gd name="connsiteY18" fmla="*/ 88785 h 147974"/>
              <a:gd name="connsiteX19" fmla="*/ 103589 w 147974"/>
              <a:gd name="connsiteY19" fmla="*/ 92025 h 147974"/>
              <a:gd name="connsiteX20" fmla="*/ 103589 w 147974"/>
              <a:gd name="connsiteY20" fmla="*/ 57325 h 147974"/>
              <a:gd name="connsiteX21" fmla="*/ 103538 w 147974"/>
              <a:gd name="connsiteY21" fmla="*/ 56578 h 147974"/>
              <a:gd name="connsiteX22" fmla="*/ 98040 w 147974"/>
              <a:gd name="connsiteY22" fmla="*/ 51784 h 147974"/>
              <a:gd name="connsiteX23" fmla="*/ 97892 w 147974"/>
              <a:gd name="connsiteY23" fmla="*/ 51791 h 147974"/>
              <a:gd name="connsiteX24" fmla="*/ 79544 w 147974"/>
              <a:gd name="connsiteY24" fmla="*/ 51791 h 147974"/>
              <a:gd name="connsiteX25" fmla="*/ 79544 w 147974"/>
              <a:gd name="connsiteY25" fmla="*/ 27745 h 147974"/>
              <a:gd name="connsiteX26" fmla="*/ 79492 w 147974"/>
              <a:gd name="connsiteY26" fmla="*/ 26990 h 147974"/>
              <a:gd name="connsiteX27" fmla="*/ 73987 w 147974"/>
              <a:gd name="connsiteY27" fmla="*/ 22196 h 147974"/>
              <a:gd name="connsiteX28" fmla="*/ 73240 w 147974"/>
              <a:gd name="connsiteY28" fmla="*/ 22248 h 147974"/>
              <a:gd name="connsiteX29" fmla="*/ 68438 w 147974"/>
              <a:gd name="connsiteY29" fmla="*/ 27745 h 147974"/>
              <a:gd name="connsiteX30" fmla="*/ 68438 w 147974"/>
              <a:gd name="connsiteY30" fmla="*/ 51791 h 147974"/>
              <a:gd name="connsiteX31" fmla="*/ 50274 w 147974"/>
              <a:gd name="connsiteY31" fmla="*/ 51791 h 147974"/>
              <a:gd name="connsiteX32" fmla="*/ 49949 w 147974"/>
              <a:gd name="connsiteY32" fmla="*/ 51791 h 147974"/>
              <a:gd name="connsiteX33" fmla="*/ 49194 w 147974"/>
              <a:gd name="connsiteY33" fmla="*/ 51843 h 147974"/>
              <a:gd name="connsiteX34" fmla="*/ 44400 w 147974"/>
              <a:gd name="connsiteY34" fmla="*/ 57333 h 147974"/>
              <a:gd name="connsiteX35" fmla="*/ 44400 w 147974"/>
              <a:gd name="connsiteY35" fmla="*/ 92040 h 147974"/>
              <a:gd name="connsiteX36" fmla="*/ 41144 w 147974"/>
              <a:gd name="connsiteY36" fmla="*/ 88785 h 147974"/>
              <a:gd name="connsiteX37" fmla="*/ 40530 w 147974"/>
              <a:gd name="connsiteY37" fmla="*/ 88244 h 147974"/>
              <a:gd name="connsiteX38" fmla="*/ 32766 w 147974"/>
              <a:gd name="connsiteY38" fmla="*/ 89387 h 147974"/>
              <a:gd name="connsiteX39" fmla="*/ 33302 w 147974"/>
              <a:gd name="connsiteY39" fmla="*/ 96627 h 147974"/>
              <a:gd name="connsiteX40" fmla="*/ 46020 w 147974"/>
              <a:gd name="connsiteY40" fmla="*/ 109353 h 147974"/>
              <a:gd name="connsiteX41" fmla="*/ 46641 w 147974"/>
              <a:gd name="connsiteY41" fmla="*/ 109893 h 147974"/>
              <a:gd name="connsiteX42" fmla="*/ 53870 w 147974"/>
              <a:gd name="connsiteY42" fmla="*/ 109360 h 147974"/>
              <a:gd name="connsiteX43" fmla="*/ 66596 w 147974"/>
              <a:gd name="connsiteY43" fmla="*/ 96627 h 147974"/>
              <a:gd name="connsiteX44" fmla="*/ 67128 w 147974"/>
              <a:gd name="connsiteY44" fmla="*/ 95998 h 147974"/>
              <a:gd name="connsiteX45" fmla="*/ 66596 w 147974"/>
              <a:gd name="connsiteY45" fmla="*/ 88785 h 147974"/>
              <a:gd name="connsiteX46" fmla="*/ 0 w 147974"/>
              <a:gd name="connsiteY46" fmla="*/ 73987 h 147974"/>
              <a:gd name="connsiteX47" fmla="*/ 73987 w 147974"/>
              <a:gd name="connsiteY47" fmla="*/ 147974 h 147974"/>
              <a:gd name="connsiteX48" fmla="*/ 147974 w 147974"/>
              <a:gd name="connsiteY48" fmla="*/ 73987 h 147974"/>
              <a:gd name="connsiteX49" fmla="*/ 73987 w 147974"/>
              <a:gd name="connsiteY49" fmla="*/ 0 h 147974"/>
              <a:gd name="connsiteX50" fmla="*/ 0 w 147974"/>
              <a:gd name="connsiteY50" fmla="*/ 73987 h 147974"/>
              <a:gd name="connsiteX51" fmla="*/ 136876 w 147974"/>
              <a:gd name="connsiteY51" fmla="*/ 73987 h 147974"/>
              <a:gd name="connsiteX52" fmla="*/ 73987 w 147974"/>
              <a:gd name="connsiteY52" fmla="*/ 136876 h 147974"/>
              <a:gd name="connsiteX53" fmla="*/ 11098 w 147974"/>
              <a:gd name="connsiteY53" fmla="*/ 73987 h 147974"/>
              <a:gd name="connsiteX54" fmla="*/ 73987 w 147974"/>
              <a:gd name="connsiteY54" fmla="*/ 11098 h 147974"/>
              <a:gd name="connsiteX55" fmla="*/ 136876 w 147974"/>
              <a:gd name="connsiteY55" fmla="*/ 73987 h 147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47974" h="147974">
                <a:moveTo>
                  <a:pt x="66596" y="88785"/>
                </a:moveTo>
                <a:lnTo>
                  <a:pt x="65974" y="88244"/>
                </a:lnTo>
                <a:cubicBezTo>
                  <a:pt x="63764" y="86609"/>
                  <a:pt x="60689" y="86838"/>
                  <a:pt x="58746" y="88785"/>
                </a:cubicBezTo>
                <a:lnTo>
                  <a:pt x="55498" y="92025"/>
                </a:lnTo>
                <a:lnTo>
                  <a:pt x="55498" y="62889"/>
                </a:lnTo>
                <a:lnTo>
                  <a:pt x="92491" y="62889"/>
                </a:lnTo>
                <a:lnTo>
                  <a:pt x="92491" y="92040"/>
                </a:lnTo>
                <a:lnTo>
                  <a:pt x="88703" y="88785"/>
                </a:lnTo>
                <a:lnTo>
                  <a:pt x="88082" y="88244"/>
                </a:lnTo>
                <a:cubicBezTo>
                  <a:pt x="85622" y="86416"/>
                  <a:pt x="82146" y="86928"/>
                  <a:pt x="80318" y="89387"/>
                </a:cubicBezTo>
                <a:cubicBezTo>
                  <a:pt x="78674" y="91599"/>
                  <a:pt x="78902" y="94681"/>
                  <a:pt x="80853" y="96627"/>
                </a:cubicBezTo>
                <a:lnTo>
                  <a:pt x="94112" y="109353"/>
                </a:lnTo>
                <a:lnTo>
                  <a:pt x="94733" y="109893"/>
                </a:lnTo>
                <a:cubicBezTo>
                  <a:pt x="96940" y="111527"/>
                  <a:pt x="100011" y="111300"/>
                  <a:pt x="101954" y="109360"/>
                </a:cubicBezTo>
                <a:lnTo>
                  <a:pt x="114680" y="96635"/>
                </a:lnTo>
                <a:lnTo>
                  <a:pt x="115220" y="96006"/>
                </a:lnTo>
                <a:cubicBezTo>
                  <a:pt x="116852" y="93796"/>
                  <a:pt x="116622" y="90726"/>
                  <a:pt x="114680" y="88785"/>
                </a:cubicBezTo>
                <a:lnTo>
                  <a:pt x="114058" y="88244"/>
                </a:lnTo>
                <a:cubicBezTo>
                  <a:pt x="111849" y="86613"/>
                  <a:pt x="108779" y="86842"/>
                  <a:pt x="106837" y="88785"/>
                </a:cubicBezTo>
                <a:lnTo>
                  <a:pt x="103589" y="92025"/>
                </a:lnTo>
                <a:lnTo>
                  <a:pt x="103589" y="57325"/>
                </a:lnTo>
                <a:lnTo>
                  <a:pt x="103538" y="56578"/>
                </a:lnTo>
                <a:cubicBezTo>
                  <a:pt x="103160" y="53831"/>
                  <a:pt x="100813" y="51784"/>
                  <a:pt x="98040" y="51784"/>
                </a:cubicBezTo>
                <a:lnTo>
                  <a:pt x="97892" y="51791"/>
                </a:lnTo>
                <a:lnTo>
                  <a:pt x="79544" y="51791"/>
                </a:lnTo>
                <a:lnTo>
                  <a:pt x="79544" y="27745"/>
                </a:lnTo>
                <a:lnTo>
                  <a:pt x="79492" y="26990"/>
                </a:lnTo>
                <a:cubicBezTo>
                  <a:pt x="79114" y="24241"/>
                  <a:pt x="76763" y="22193"/>
                  <a:pt x="73987" y="22196"/>
                </a:cubicBezTo>
                <a:lnTo>
                  <a:pt x="73240" y="22248"/>
                </a:lnTo>
                <a:cubicBezTo>
                  <a:pt x="70490" y="22622"/>
                  <a:pt x="68439" y="24970"/>
                  <a:pt x="68438" y="27745"/>
                </a:cubicBezTo>
                <a:lnTo>
                  <a:pt x="68438" y="51791"/>
                </a:lnTo>
                <a:lnTo>
                  <a:pt x="50274" y="51791"/>
                </a:lnTo>
                <a:cubicBezTo>
                  <a:pt x="50166" y="51788"/>
                  <a:pt x="50057" y="51788"/>
                  <a:pt x="49949" y="51791"/>
                </a:cubicBezTo>
                <a:lnTo>
                  <a:pt x="49194" y="51843"/>
                </a:lnTo>
                <a:cubicBezTo>
                  <a:pt x="46450" y="52219"/>
                  <a:pt x="44403" y="54562"/>
                  <a:pt x="44400" y="57333"/>
                </a:cubicBezTo>
                <a:lnTo>
                  <a:pt x="44400" y="92040"/>
                </a:lnTo>
                <a:lnTo>
                  <a:pt x="41144" y="88785"/>
                </a:lnTo>
                <a:lnTo>
                  <a:pt x="40530" y="88244"/>
                </a:lnTo>
                <a:cubicBezTo>
                  <a:pt x="38070" y="86416"/>
                  <a:pt x="34595" y="86928"/>
                  <a:pt x="32766" y="89387"/>
                </a:cubicBezTo>
                <a:cubicBezTo>
                  <a:pt x="31123" y="91599"/>
                  <a:pt x="31351" y="94681"/>
                  <a:pt x="33302" y="96627"/>
                </a:cubicBezTo>
                <a:lnTo>
                  <a:pt x="46020" y="109353"/>
                </a:lnTo>
                <a:lnTo>
                  <a:pt x="46641" y="109893"/>
                </a:lnTo>
                <a:cubicBezTo>
                  <a:pt x="48850" y="111531"/>
                  <a:pt x="51925" y="111305"/>
                  <a:pt x="53870" y="109360"/>
                </a:cubicBezTo>
                <a:lnTo>
                  <a:pt x="66596" y="96627"/>
                </a:lnTo>
                <a:lnTo>
                  <a:pt x="67128" y="95998"/>
                </a:lnTo>
                <a:cubicBezTo>
                  <a:pt x="68758" y="93793"/>
                  <a:pt x="68531" y="90727"/>
                  <a:pt x="66596" y="88785"/>
                </a:cubicBezTo>
                <a:close/>
                <a:moveTo>
                  <a:pt x="0" y="73987"/>
                </a:moveTo>
                <a:cubicBezTo>
                  <a:pt x="0" y="114843"/>
                  <a:pt x="33124" y="147974"/>
                  <a:pt x="73987" y="147974"/>
                </a:cubicBezTo>
                <a:cubicBezTo>
                  <a:pt x="114850" y="147974"/>
                  <a:pt x="147974" y="114843"/>
                  <a:pt x="147974" y="73987"/>
                </a:cubicBezTo>
                <a:cubicBezTo>
                  <a:pt x="147974" y="33117"/>
                  <a:pt x="114850" y="0"/>
                  <a:pt x="73987" y="0"/>
                </a:cubicBezTo>
                <a:cubicBezTo>
                  <a:pt x="33124" y="0"/>
                  <a:pt x="0" y="33117"/>
                  <a:pt x="0" y="73987"/>
                </a:cubicBezTo>
                <a:close/>
                <a:moveTo>
                  <a:pt x="136876" y="73987"/>
                </a:moveTo>
                <a:cubicBezTo>
                  <a:pt x="136876" y="108720"/>
                  <a:pt x="108720" y="136876"/>
                  <a:pt x="73987" y="136876"/>
                </a:cubicBezTo>
                <a:cubicBezTo>
                  <a:pt x="39254" y="136876"/>
                  <a:pt x="11098" y="108720"/>
                  <a:pt x="11098" y="73987"/>
                </a:cubicBezTo>
                <a:cubicBezTo>
                  <a:pt x="11098" y="39254"/>
                  <a:pt x="39254" y="11098"/>
                  <a:pt x="73987" y="11098"/>
                </a:cubicBezTo>
                <a:cubicBezTo>
                  <a:pt x="108720" y="11098"/>
                  <a:pt x="136876" y="39254"/>
                  <a:pt x="136876" y="73987"/>
                </a:cubicBezTo>
                <a:close/>
              </a:path>
            </a:pathLst>
          </a:custGeom>
          <a:solidFill>
            <a:sysClr val="windowText" lastClr="000000"/>
          </a:solidFill>
          <a:ln w="71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Display"/>
              <a:ea typeface="+mn-ea"/>
              <a:cs typeface="+mn-cs"/>
            </a:endParaRPr>
          </a:p>
        </p:txBody>
      </p:sp>
      <p:grpSp>
        <p:nvGrpSpPr>
          <p:cNvPr id="5" name="Group 4">
            <a:extLst>
              <a:ext uri="{FF2B5EF4-FFF2-40B4-BE49-F238E27FC236}">
                <a16:creationId xmlns:a16="http://schemas.microsoft.com/office/drawing/2014/main" id="{28011765-4C09-6782-0CD2-CE7A615C38D2}"/>
              </a:ext>
              <a:ext uri="{C183D7F6-B498-43B3-948B-1728B52AA6E4}">
                <adec:decorative xmlns:adec="http://schemas.microsoft.com/office/drawing/2017/decorative" val="1"/>
              </a:ext>
            </a:extLst>
          </p:cNvPr>
          <p:cNvGrpSpPr/>
          <p:nvPr/>
        </p:nvGrpSpPr>
        <p:grpSpPr>
          <a:xfrm>
            <a:off x="7617688" y="2623302"/>
            <a:ext cx="328479" cy="328479"/>
            <a:chOff x="7617688" y="2623302"/>
            <a:chExt cx="328479" cy="328479"/>
          </a:xfrm>
        </p:grpSpPr>
        <p:sp>
          <p:nvSpPr>
            <p:cNvPr id="1060" name="Oval 1059">
              <a:extLst>
                <a:ext uri="{FF2B5EF4-FFF2-40B4-BE49-F238E27FC236}">
                  <a16:creationId xmlns:a16="http://schemas.microsoft.com/office/drawing/2014/main" id="{0686C272-F81C-655D-D348-AA88D6AD9063}"/>
                </a:ext>
              </a:extLst>
            </p:cNvPr>
            <p:cNvSpPr/>
            <p:nvPr/>
          </p:nvSpPr>
          <p:spPr bwMode="auto">
            <a:xfrm>
              <a:off x="7617688" y="2623302"/>
              <a:ext cx="328479" cy="328479"/>
            </a:xfrm>
            <a:prstGeom prst="ellipse">
              <a:avLst/>
            </a:prstGeom>
            <a:solidFill>
              <a:sysClr val="window" lastClr="FFFFFF"/>
            </a:solidFill>
            <a:ln w="12700" cap="flat" cmpd="sng" algn="ctr">
              <a:solidFill>
                <a:srgbClr val="FADC14"/>
              </a:solidFill>
              <a:prstDash val="solid"/>
              <a:headEnd type="none" w="med" len="med"/>
              <a:tailEnd type="none" w="med" len="med"/>
            </a:ln>
            <a:effectLst/>
          </p:spPr>
          <p:txBody>
            <a:bodyPr rot="0" spcFirstLastPara="0" vertOverflow="overflow" horzOverflow="overflow" vert="horz" wrap="square" lIns="201168" tIns="160934" rIns="201168" bIns="160934" numCol="1" spcCol="0" rtlCol="0" fromWordArt="0" anchor="t" anchorCtr="0" forceAA="0" compatLnSpc="1">
              <a:prstTxWarp prst="textNoShape">
                <a:avLst/>
              </a:prstTxWarp>
              <a:noAutofit/>
            </a:bodyPr>
            <a:lstStyle/>
            <a:p>
              <a:pPr marL="0" marR="0" lvl="0" indent="0" algn="l" defTabSz="1025756"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err="1">
                <a:ln>
                  <a:noFill/>
                </a:ln>
                <a:solidFill>
                  <a:srgbClr val="FFFFFF"/>
                </a:solidFill>
                <a:effectLst/>
                <a:uLnTx/>
                <a:uFillTx/>
                <a:latin typeface="Segoe UI Variable Display"/>
                <a:ea typeface="+mn-ea"/>
                <a:cs typeface="Segoe UI" pitchFamily="34" charset="0"/>
              </a:endParaRPr>
            </a:p>
          </p:txBody>
        </p:sp>
        <p:pic>
          <p:nvPicPr>
            <p:cNvPr id="1061" name="Graphic 1060">
              <a:extLst>
                <a:ext uri="{FF2B5EF4-FFF2-40B4-BE49-F238E27FC236}">
                  <a16:creationId xmlns:a16="http://schemas.microsoft.com/office/drawing/2014/main" id="{F900FED2-551C-5B58-1E58-25905635623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672747" y="2678361"/>
              <a:ext cx="218360" cy="218360"/>
            </a:xfrm>
            <a:prstGeom prst="rect">
              <a:avLst/>
            </a:prstGeom>
          </p:spPr>
        </p:pic>
      </p:grpSp>
      <p:grpSp>
        <p:nvGrpSpPr>
          <p:cNvPr id="4" name="Group 3">
            <a:extLst>
              <a:ext uri="{FF2B5EF4-FFF2-40B4-BE49-F238E27FC236}">
                <a16:creationId xmlns:a16="http://schemas.microsoft.com/office/drawing/2014/main" id="{43D794E0-1713-09FE-9FFB-1F4CB20ED6D1}"/>
              </a:ext>
              <a:ext uri="{C183D7F6-B498-43B3-948B-1728B52AA6E4}">
                <adec:decorative xmlns:adec="http://schemas.microsoft.com/office/drawing/2017/decorative" val="1"/>
              </a:ext>
            </a:extLst>
          </p:cNvPr>
          <p:cNvGrpSpPr/>
          <p:nvPr/>
        </p:nvGrpSpPr>
        <p:grpSpPr>
          <a:xfrm>
            <a:off x="7264231" y="3315948"/>
            <a:ext cx="328479" cy="328479"/>
            <a:chOff x="7264231" y="3315948"/>
            <a:chExt cx="328479" cy="328479"/>
          </a:xfrm>
        </p:grpSpPr>
        <p:sp>
          <p:nvSpPr>
            <p:cNvPr id="1064" name="Oval 1063">
              <a:extLst>
                <a:ext uri="{FF2B5EF4-FFF2-40B4-BE49-F238E27FC236}">
                  <a16:creationId xmlns:a16="http://schemas.microsoft.com/office/drawing/2014/main" id="{90FC58E5-D163-F383-21B7-AAA20F3C820D}"/>
                </a:ext>
              </a:extLst>
            </p:cNvPr>
            <p:cNvSpPr/>
            <p:nvPr/>
          </p:nvSpPr>
          <p:spPr bwMode="auto">
            <a:xfrm>
              <a:off x="7264231" y="3315948"/>
              <a:ext cx="328479" cy="328479"/>
            </a:xfrm>
            <a:prstGeom prst="ellipse">
              <a:avLst/>
            </a:prstGeom>
            <a:solidFill>
              <a:sysClr val="window" lastClr="FFFFFF"/>
            </a:solidFill>
            <a:ln w="12700" cap="flat" cmpd="sng" algn="ctr">
              <a:solidFill>
                <a:srgbClr val="FADC14"/>
              </a:solidFill>
              <a:prstDash val="solid"/>
              <a:headEnd type="none" w="med" len="med"/>
              <a:tailEnd type="none" w="med" len="med"/>
            </a:ln>
            <a:effectLst/>
          </p:spPr>
          <p:txBody>
            <a:bodyPr rot="0" spcFirstLastPara="0" vertOverflow="overflow" horzOverflow="overflow" vert="horz" wrap="square" lIns="201168" tIns="160934" rIns="201168" bIns="160934" numCol="1" spcCol="0" rtlCol="0" fromWordArt="0" anchor="t" anchorCtr="0" forceAA="0" compatLnSpc="1">
              <a:prstTxWarp prst="textNoShape">
                <a:avLst/>
              </a:prstTxWarp>
              <a:noAutofit/>
            </a:bodyPr>
            <a:lstStyle/>
            <a:p>
              <a:pPr marL="0" marR="0" lvl="0" indent="0" algn="l" defTabSz="1025756"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err="1">
                <a:ln>
                  <a:noFill/>
                </a:ln>
                <a:solidFill>
                  <a:srgbClr val="FFFFFF"/>
                </a:solidFill>
                <a:effectLst/>
                <a:uLnTx/>
                <a:uFillTx/>
                <a:latin typeface="Segoe UI Variable Display"/>
                <a:ea typeface="+mn-ea"/>
                <a:cs typeface="Segoe UI" pitchFamily="34" charset="0"/>
              </a:endParaRPr>
            </a:p>
          </p:txBody>
        </p:sp>
        <p:pic>
          <p:nvPicPr>
            <p:cNvPr id="1065" name="Graphic 1064">
              <a:extLst>
                <a:ext uri="{FF2B5EF4-FFF2-40B4-BE49-F238E27FC236}">
                  <a16:creationId xmlns:a16="http://schemas.microsoft.com/office/drawing/2014/main" id="{7B3A7ECF-F975-0178-0AA9-D92EA4C748E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319290" y="3371007"/>
              <a:ext cx="218360" cy="218360"/>
            </a:xfrm>
            <a:prstGeom prst="rect">
              <a:avLst/>
            </a:prstGeom>
          </p:spPr>
        </p:pic>
      </p:grpSp>
      <p:sp>
        <p:nvSpPr>
          <p:cNvPr id="1066" name="Oval 1065">
            <a:extLst>
              <a:ext uri="{FF2B5EF4-FFF2-40B4-BE49-F238E27FC236}">
                <a16:creationId xmlns:a16="http://schemas.microsoft.com/office/drawing/2014/main" id="{B2F62526-3EFF-5C27-3B81-893F61611B0B}"/>
              </a:ext>
              <a:ext uri="{C183D7F6-B498-43B3-948B-1728B52AA6E4}">
                <adec:decorative xmlns:adec="http://schemas.microsoft.com/office/drawing/2017/decorative" val="1"/>
              </a:ext>
            </a:extLst>
          </p:cNvPr>
          <p:cNvSpPr/>
          <p:nvPr/>
        </p:nvSpPr>
        <p:spPr bwMode="auto">
          <a:xfrm>
            <a:off x="6880597" y="2669345"/>
            <a:ext cx="108953" cy="108953"/>
          </a:xfrm>
          <a:prstGeom prst="ellipse">
            <a:avLst/>
          </a:prstGeom>
          <a:solidFill>
            <a:srgbClr val="FADC1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1067" name="Oval 1066">
            <a:extLst>
              <a:ext uri="{FF2B5EF4-FFF2-40B4-BE49-F238E27FC236}">
                <a16:creationId xmlns:a16="http://schemas.microsoft.com/office/drawing/2014/main" id="{1AD0CEE6-4C30-4288-607E-3C3A21CED51C}"/>
              </a:ext>
              <a:ext uri="{C183D7F6-B498-43B3-948B-1728B52AA6E4}">
                <adec:decorative xmlns:adec="http://schemas.microsoft.com/office/drawing/2017/decorative" val="1"/>
              </a:ext>
            </a:extLst>
          </p:cNvPr>
          <p:cNvSpPr>
            <a:spLocks noChangeAspect="1"/>
          </p:cNvSpPr>
          <p:nvPr/>
        </p:nvSpPr>
        <p:spPr bwMode="auto">
          <a:xfrm>
            <a:off x="3813737" y="3345073"/>
            <a:ext cx="54590" cy="54590"/>
          </a:xfrm>
          <a:prstGeom prst="ellipse">
            <a:avLst/>
          </a:prstGeom>
          <a:solidFill>
            <a:srgbClr val="FADC1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1068" name="Oval 1067">
            <a:extLst>
              <a:ext uri="{FF2B5EF4-FFF2-40B4-BE49-F238E27FC236}">
                <a16:creationId xmlns:a16="http://schemas.microsoft.com/office/drawing/2014/main" id="{1CACE4DC-848F-6920-9DF8-16C4B9632DA8}"/>
              </a:ext>
              <a:ext uri="{C183D7F6-B498-43B3-948B-1728B52AA6E4}">
                <adec:decorative xmlns:adec="http://schemas.microsoft.com/office/drawing/2017/decorative" val="1"/>
              </a:ext>
            </a:extLst>
          </p:cNvPr>
          <p:cNvSpPr/>
          <p:nvPr/>
        </p:nvSpPr>
        <p:spPr bwMode="auto">
          <a:xfrm>
            <a:off x="8713611" y="3338473"/>
            <a:ext cx="108953" cy="108953"/>
          </a:xfrm>
          <a:prstGeom prst="ellipse">
            <a:avLst/>
          </a:prstGeom>
          <a:solidFill>
            <a:srgbClr val="FADC1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grpSp>
        <p:nvGrpSpPr>
          <p:cNvPr id="1069" name="Group 1068">
            <a:extLst>
              <a:ext uri="{FF2B5EF4-FFF2-40B4-BE49-F238E27FC236}">
                <a16:creationId xmlns:a16="http://schemas.microsoft.com/office/drawing/2014/main" id="{BA147D9A-647E-BC51-981F-BB64A66A71A9}"/>
              </a:ext>
              <a:ext uri="{C183D7F6-B498-43B3-948B-1728B52AA6E4}">
                <adec:decorative xmlns:adec="http://schemas.microsoft.com/office/drawing/2017/decorative" val="1"/>
              </a:ext>
            </a:extLst>
          </p:cNvPr>
          <p:cNvGrpSpPr/>
          <p:nvPr/>
        </p:nvGrpSpPr>
        <p:grpSpPr>
          <a:xfrm>
            <a:off x="2907498" y="3334066"/>
            <a:ext cx="328479" cy="328479"/>
            <a:chOff x="5406198" y="3263693"/>
            <a:chExt cx="275106" cy="275106"/>
          </a:xfrm>
        </p:grpSpPr>
        <p:sp>
          <p:nvSpPr>
            <p:cNvPr id="1070" name="Oval 1069">
              <a:extLst>
                <a:ext uri="{FF2B5EF4-FFF2-40B4-BE49-F238E27FC236}">
                  <a16:creationId xmlns:a16="http://schemas.microsoft.com/office/drawing/2014/main" id="{4293237B-762B-3159-80BA-B6636C28DBAD}"/>
                </a:ext>
              </a:extLst>
            </p:cNvPr>
            <p:cNvSpPr/>
            <p:nvPr/>
          </p:nvSpPr>
          <p:spPr bwMode="auto">
            <a:xfrm>
              <a:off x="5406198" y="3263693"/>
              <a:ext cx="275106" cy="275106"/>
            </a:xfrm>
            <a:prstGeom prst="ellipse">
              <a:avLst/>
            </a:prstGeom>
            <a:solidFill>
              <a:sysClr val="window" lastClr="FFFFFF"/>
            </a:solidFill>
            <a:ln w="12700" cap="flat" cmpd="sng" algn="ctr">
              <a:solidFill>
                <a:srgbClr val="FADC14"/>
              </a:solidFill>
              <a:prstDash val="solid"/>
              <a:headEnd type="none" w="med" len="med"/>
              <a:tailEnd type="none" w="med" len="med"/>
            </a:ln>
            <a:effectLst/>
          </p:spPr>
          <p:txBody>
            <a:bodyPr rot="0" spcFirstLastPara="0" vertOverflow="overflow" horzOverflow="overflow" vert="horz" wrap="square" lIns="201168" tIns="160934" rIns="201168" bIns="160934" numCol="1" spcCol="0" rtlCol="0" fromWordArt="0" anchor="t" anchorCtr="0" forceAA="0" compatLnSpc="1">
              <a:prstTxWarp prst="textNoShape">
                <a:avLst/>
              </a:prstTxWarp>
              <a:noAutofit/>
            </a:bodyPr>
            <a:lstStyle/>
            <a:p>
              <a:pPr marL="0" marR="0" lvl="0" indent="0" algn="l" defTabSz="1025756"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a:ln>
                  <a:noFill/>
                </a:ln>
                <a:solidFill>
                  <a:srgbClr val="FFFFFF"/>
                </a:solidFill>
                <a:effectLst/>
                <a:uLnTx/>
                <a:uFillTx/>
                <a:latin typeface="Segoe UI Variable Display"/>
                <a:ea typeface="+mn-ea"/>
                <a:cs typeface="Segoe UI" pitchFamily="34" charset="0"/>
              </a:endParaRPr>
            </a:p>
          </p:txBody>
        </p:sp>
        <p:pic>
          <p:nvPicPr>
            <p:cNvPr id="1071" name="Graphic 1070">
              <a:extLst>
                <a:ext uri="{FF2B5EF4-FFF2-40B4-BE49-F238E27FC236}">
                  <a16:creationId xmlns:a16="http://schemas.microsoft.com/office/drawing/2014/main" id="{593C2ADA-28A8-E152-EA84-FE5BB2D20921}"/>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5452311" y="3309806"/>
              <a:ext cx="182880" cy="182880"/>
            </a:xfrm>
            <a:prstGeom prst="rect">
              <a:avLst/>
            </a:prstGeom>
          </p:spPr>
        </p:pic>
      </p:grpSp>
      <p:grpSp>
        <p:nvGrpSpPr>
          <p:cNvPr id="1072" name="Group 1071">
            <a:extLst>
              <a:ext uri="{FF2B5EF4-FFF2-40B4-BE49-F238E27FC236}">
                <a16:creationId xmlns:a16="http://schemas.microsoft.com/office/drawing/2014/main" id="{8F61E3D0-1590-805B-D79F-4BA34E239C75}"/>
              </a:ext>
              <a:ext uri="{C183D7F6-B498-43B3-948B-1728B52AA6E4}">
                <adec:decorative xmlns:adec="http://schemas.microsoft.com/office/drawing/2017/decorative" val="1"/>
              </a:ext>
            </a:extLst>
          </p:cNvPr>
          <p:cNvGrpSpPr/>
          <p:nvPr/>
        </p:nvGrpSpPr>
        <p:grpSpPr>
          <a:xfrm>
            <a:off x="4972916" y="3156130"/>
            <a:ext cx="328479" cy="328479"/>
            <a:chOff x="5580493" y="5301407"/>
            <a:chExt cx="275106" cy="275106"/>
          </a:xfrm>
        </p:grpSpPr>
        <p:sp>
          <p:nvSpPr>
            <p:cNvPr id="1073" name="Oval 1072">
              <a:extLst>
                <a:ext uri="{FF2B5EF4-FFF2-40B4-BE49-F238E27FC236}">
                  <a16:creationId xmlns:a16="http://schemas.microsoft.com/office/drawing/2014/main" id="{166E9990-C223-B596-ED9A-569DBADAD071}"/>
                </a:ext>
              </a:extLst>
            </p:cNvPr>
            <p:cNvSpPr/>
            <p:nvPr/>
          </p:nvSpPr>
          <p:spPr bwMode="auto">
            <a:xfrm>
              <a:off x="5580493" y="5301407"/>
              <a:ext cx="275106" cy="275106"/>
            </a:xfrm>
            <a:prstGeom prst="ellipse">
              <a:avLst/>
            </a:prstGeom>
            <a:solidFill>
              <a:sysClr val="window" lastClr="FFFFFF"/>
            </a:solidFill>
            <a:ln w="12700" cap="flat" cmpd="sng" algn="ctr">
              <a:solidFill>
                <a:srgbClr val="FADC14"/>
              </a:solidFill>
              <a:prstDash val="solid"/>
              <a:headEnd type="none" w="med" len="med"/>
              <a:tailEnd type="none" w="med" len="med"/>
            </a:ln>
            <a:effectLst/>
          </p:spPr>
          <p:txBody>
            <a:bodyPr rot="0" spcFirstLastPara="0" vertOverflow="overflow" horzOverflow="overflow" vert="horz" wrap="square" lIns="201168" tIns="160934" rIns="201168" bIns="160934" numCol="1" spcCol="0" rtlCol="0" fromWordArt="0" anchor="t" anchorCtr="0" forceAA="0" compatLnSpc="1">
              <a:prstTxWarp prst="textNoShape">
                <a:avLst/>
              </a:prstTxWarp>
              <a:noAutofit/>
            </a:bodyPr>
            <a:lstStyle/>
            <a:p>
              <a:pPr marL="0" marR="0" lvl="0" indent="0" algn="l" defTabSz="1025756"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err="1">
                <a:ln>
                  <a:noFill/>
                </a:ln>
                <a:solidFill>
                  <a:srgbClr val="FFFFFF"/>
                </a:solidFill>
                <a:effectLst/>
                <a:uLnTx/>
                <a:uFillTx/>
                <a:latin typeface="Segoe UI Variable Display"/>
                <a:ea typeface="+mn-ea"/>
                <a:cs typeface="Segoe UI" pitchFamily="34" charset="0"/>
              </a:endParaRPr>
            </a:p>
          </p:txBody>
        </p:sp>
        <p:pic>
          <p:nvPicPr>
            <p:cNvPr id="1074" name="Graphic 1073">
              <a:extLst>
                <a:ext uri="{FF2B5EF4-FFF2-40B4-BE49-F238E27FC236}">
                  <a16:creationId xmlns:a16="http://schemas.microsoft.com/office/drawing/2014/main" id="{C0936E51-DB43-77B0-6C66-DE1C78BFB01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626606" y="5347520"/>
              <a:ext cx="182880" cy="182880"/>
            </a:xfrm>
            <a:prstGeom prst="rect">
              <a:avLst/>
            </a:prstGeom>
          </p:spPr>
        </p:pic>
      </p:grpSp>
      <p:sp>
        <p:nvSpPr>
          <p:cNvPr id="1075" name="Oval 1074">
            <a:extLst>
              <a:ext uri="{FF2B5EF4-FFF2-40B4-BE49-F238E27FC236}">
                <a16:creationId xmlns:a16="http://schemas.microsoft.com/office/drawing/2014/main" id="{3529C060-AC0A-B4D2-F3BE-A42B417A6836}"/>
              </a:ext>
              <a:ext uri="{C183D7F6-B498-43B3-948B-1728B52AA6E4}">
                <adec:decorative xmlns:adec="http://schemas.microsoft.com/office/drawing/2017/decorative" val="1"/>
              </a:ext>
            </a:extLst>
          </p:cNvPr>
          <p:cNvSpPr/>
          <p:nvPr/>
        </p:nvSpPr>
        <p:spPr bwMode="auto">
          <a:xfrm>
            <a:off x="4434397" y="3567316"/>
            <a:ext cx="108953" cy="108953"/>
          </a:xfrm>
          <a:prstGeom prst="ellipse">
            <a:avLst/>
          </a:prstGeom>
          <a:solidFill>
            <a:srgbClr val="FADC1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1076" name="Oval 1075">
            <a:extLst>
              <a:ext uri="{FF2B5EF4-FFF2-40B4-BE49-F238E27FC236}">
                <a16:creationId xmlns:a16="http://schemas.microsoft.com/office/drawing/2014/main" id="{C7912AF7-EA60-6F97-B3B5-5C9B022EF7CF}"/>
              </a:ext>
              <a:ext uri="{C183D7F6-B498-43B3-948B-1728B52AA6E4}">
                <adec:decorative xmlns:adec="http://schemas.microsoft.com/office/drawing/2017/decorative" val="1"/>
              </a:ext>
            </a:extLst>
          </p:cNvPr>
          <p:cNvSpPr/>
          <p:nvPr/>
        </p:nvSpPr>
        <p:spPr bwMode="auto">
          <a:xfrm>
            <a:off x="8590367" y="2475096"/>
            <a:ext cx="108953" cy="108953"/>
          </a:xfrm>
          <a:prstGeom prst="ellipse">
            <a:avLst/>
          </a:prstGeom>
          <a:solidFill>
            <a:srgbClr val="FADC1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1077" name="Oval 1076">
            <a:extLst>
              <a:ext uri="{FF2B5EF4-FFF2-40B4-BE49-F238E27FC236}">
                <a16:creationId xmlns:a16="http://schemas.microsoft.com/office/drawing/2014/main" id="{94E381FE-5A3D-784C-5B77-76208D08014C}"/>
              </a:ext>
              <a:ext uri="{C183D7F6-B498-43B3-948B-1728B52AA6E4}">
                <adec:decorative xmlns:adec="http://schemas.microsoft.com/office/drawing/2017/decorative" val="1"/>
              </a:ext>
            </a:extLst>
          </p:cNvPr>
          <p:cNvSpPr>
            <a:spLocks noChangeAspect="1"/>
          </p:cNvSpPr>
          <p:nvPr/>
        </p:nvSpPr>
        <p:spPr bwMode="auto">
          <a:xfrm>
            <a:off x="8003705" y="3512726"/>
            <a:ext cx="54590" cy="54590"/>
          </a:xfrm>
          <a:prstGeom prst="ellipse">
            <a:avLst/>
          </a:prstGeom>
          <a:solidFill>
            <a:srgbClr val="FADC1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1078" name="Oval 1077">
            <a:extLst>
              <a:ext uri="{FF2B5EF4-FFF2-40B4-BE49-F238E27FC236}">
                <a16:creationId xmlns:a16="http://schemas.microsoft.com/office/drawing/2014/main" id="{E9B5212D-12F2-EBB8-7248-43C618695400}"/>
              </a:ext>
              <a:ext uri="{C183D7F6-B498-43B3-948B-1728B52AA6E4}">
                <adec:decorative xmlns:adec="http://schemas.microsoft.com/office/drawing/2017/decorative" val="1"/>
              </a:ext>
            </a:extLst>
          </p:cNvPr>
          <p:cNvSpPr>
            <a:spLocks noChangeAspect="1"/>
          </p:cNvSpPr>
          <p:nvPr/>
        </p:nvSpPr>
        <p:spPr bwMode="auto">
          <a:xfrm>
            <a:off x="2994285" y="2784156"/>
            <a:ext cx="54590" cy="54590"/>
          </a:xfrm>
          <a:prstGeom prst="ellipse">
            <a:avLst/>
          </a:prstGeom>
          <a:solidFill>
            <a:srgbClr val="FADC1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1079" name="Oval 1078">
            <a:extLst>
              <a:ext uri="{FF2B5EF4-FFF2-40B4-BE49-F238E27FC236}">
                <a16:creationId xmlns:a16="http://schemas.microsoft.com/office/drawing/2014/main" id="{A40F5788-3AAC-4D7F-1B8D-548C85E582AF}"/>
              </a:ext>
              <a:ext uri="{C183D7F6-B498-43B3-948B-1728B52AA6E4}">
                <adec:decorative xmlns:adec="http://schemas.microsoft.com/office/drawing/2017/decorative" val="1"/>
              </a:ext>
            </a:extLst>
          </p:cNvPr>
          <p:cNvSpPr/>
          <p:nvPr/>
        </p:nvSpPr>
        <p:spPr bwMode="auto">
          <a:xfrm>
            <a:off x="6648990" y="3458363"/>
            <a:ext cx="108953" cy="108953"/>
          </a:xfrm>
          <a:prstGeom prst="ellipse">
            <a:avLst/>
          </a:prstGeom>
          <a:solidFill>
            <a:srgbClr val="FADC1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1080" name="Oval 1079">
            <a:extLst>
              <a:ext uri="{FF2B5EF4-FFF2-40B4-BE49-F238E27FC236}">
                <a16:creationId xmlns:a16="http://schemas.microsoft.com/office/drawing/2014/main" id="{74C1C303-CDA7-C125-B0B4-4A7D078D9497}"/>
              </a:ext>
              <a:ext uri="{C183D7F6-B498-43B3-948B-1728B52AA6E4}">
                <adec:decorative xmlns:adec="http://schemas.microsoft.com/office/drawing/2017/decorative" val="1"/>
              </a:ext>
            </a:extLst>
          </p:cNvPr>
          <p:cNvSpPr>
            <a:spLocks noChangeAspect="1"/>
          </p:cNvSpPr>
          <p:nvPr/>
        </p:nvSpPr>
        <p:spPr bwMode="auto">
          <a:xfrm>
            <a:off x="5414545" y="2838746"/>
            <a:ext cx="54590" cy="54590"/>
          </a:xfrm>
          <a:prstGeom prst="ellipse">
            <a:avLst/>
          </a:prstGeom>
          <a:solidFill>
            <a:srgbClr val="FADC1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grpSp>
        <p:nvGrpSpPr>
          <p:cNvPr id="1081" name="Group 1080">
            <a:extLst>
              <a:ext uri="{FF2B5EF4-FFF2-40B4-BE49-F238E27FC236}">
                <a16:creationId xmlns:a16="http://schemas.microsoft.com/office/drawing/2014/main" id="{EA6B75FB-E7C8-B1BE-E719-CD30D95D7898}"/>
              </a:ext>
              <a:ext uri="{C183D7F6-B498-43B3-948B-1728B52AA6E4}">
                <adec:decorative xmlns:adec="http://schemas.microsoft.com/office/drawing/2017/decorative" val="1"/>
              </a:ext>
            </a:extLst>
          </p:cNvPr>
          <p:cNvGrpSpPr/>
          <p:nvPr/>
        </p:nvGrpSpPr>
        <p:grpSpPr>
          <a:xfrm>
            <a:off x="4095734" y="2584049"/>
            <a:ext cx="328479" cy="328479"/>
            <a:chOff x="5904343" y="5301407"/>
            <a:chExt cx="275106" cy="275106"/>
          </a:xfrm>
        </p:grpSpPr>
        <p:sp>
          <p:nvSpPr>
            <p:cNvPr id="1082" name="Oval 1081">
              <a:extLst>
                <a:ext uri="{FF2B5EF4-FFF2-40B4-BE49-F238E27FC236}">
                  <a16:creationId xmlns:a16="http://schemas.microsoft.com/office/drawing/2014/main" id="{18223BAF-E6DE-E32F-EC9D-05271F2B448F}"/>
                </a:ext>
              </a:extLst>
            </p:cNvPr>
            <p:cNvSpPr/>
            <p:nvPr/>
          </p:nvSpPr>
          <p:spPr bwMode="auto">
            <a:xfrm>
              <a:off x="5904343" y="5301407"/>
              <a:ext cx="275106" cy="275106"/>
            </a:xfrm>
            <a:prstGeom prst="ellipse">
              <a:avLst/>
            </a:prstGeom>
            <a:solidFill>
              <a:sysClr val="window" lastClr="FFFFFF"/>
            </a:solidFill>
            <a:ln w="12700" cap="flat" cmpd="sng" algn="ctr">
              <a:solidFill>
                <a:srgbClr val="FADC14"/>
              </a:solidFill>
              <a:prstDash val="solid"/>
              <a:headEnd type="none" w="med" len="med"/>
              <a:tailEnd type="none" w="med" len="med"/>
            </a:ln>
            <a:effectLst/>
          </p:spPr>
          <p:txBody>
            <a:bodyPr rot="0" spcFirstLastPara="0" vertOverflow="overflow" horzOverflow="overflow" vert="horz" wrap="square" lIns="201168" tIns="160934" rIns="201168" bIns="160934" numCol="1" spcCol="0" rtlCol="0" fromWordArt="0" anchor="t" anchorCtr="0" forceAA="0" compatLnSpc="1">
              <a:prstTxWarp prst="textNoShape">
                <a:avLst/>
              </a:prstTxWarp>
              <a:noAutofit/>
            </a:bodyPr>
            <a:lstStyle/>
            <a:p>
              <a:pPr marL="0" marR="0" lvl="0" indent="0" algn="l" defTabSz="1025756"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err="1">
                <a:ln>
                  <a:noFill/>
                </a:ln>
                <a:solidFill>
                  <a:srgbClr val="FFFFFF"/>
                </a:solidFill>
                <a:effectLst/>
                <a:uLnTx/>
                <a:uFillTx/>
                <a:latin typeface="Segoe UI Variable Display"/>
                <a:ea typeface="+mn-ea"/>
                <a:cs typeface="Segoe UI" pitchFamily="34" charset="0"/>
              </a:endParaRPr>
            </a:p>
          </p:txBody>
        </p:sp>
        <p:pic>
          <p:nvPicPr>
            <p:cNvPr id="1083" name="Graphic 1082">
              <a:extLst>
                <a:ext uri="{FF2B5EF4-FFF2-40B4-BE49-F238E27FC236}">
                  <a16:creationId xmlns:a16="http://schemas.microsoft.com/office/drawing/2014/main" id="{48D64436-BA51-0E87-F36A-6147E3539782}"/>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5950456" y="5347520"/>
              <a:ext cx="182880" cy="182880"/>
            </a:xfrm>
            <a:prstGeom prst="rect">
              <a:avLst/>
            </a:prstGeom>
          </p:spPr>
        </p:pic>
      </p:grpSp>
      <p:sp>
        <p:nvSpPr>
          <p:cNvPr id="1084" name="Oval 1083">
            <a:extLst>
              <a:ext uri="{FF2B5EF4-FFF2-40B4-BE49-F238E27FC236}">
                <a16:creationId xmlns:a16="http://schemas.microsoft.com/office/drawing/2014/main" id="{730768FB-4375-DD90-0936-370D93ADE12E}"/>
              </a:ext>
              <a:ext uri="{C183D7F6-B498-43B3-948B-1728B52AA6E4}">
                <adec:decorative xmlns:adec="http://schemas.microsoft.com/office/drawing/2017/decorative" val="1"/>
              </a:ext>
            </a:extLst>
          </p:cNvPr>
          <p:cNvSpPr/>
          <p:nvPr/>
        </p:nvSpPr>
        <p:spPr bwMode="auto">
          <a:xfrm>
            <a:off x="3429598" y="2833396"/>
            <a:ext cx="108953" cy="108953"/>
          </a:xfrm>
          <a:prstGeom prst="ellipse">
            <a:avLst/>
          </a:prstGeom>
          <a:solidFill>
            <a:srgbClr val="FADC1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1085" name="Oval 1084">
            <a:extLst>
              <a:ext uri="{FF2B5EF4-FFF2-40B4-BE49-F238E27FC236}">
                <a16:creationId xmlns:a16="http://schemas.microsoft.com/office/drawing/2014/main" id="{0F69B8B3-A191-938A-4575-C5B7E54D626F}"/>
              </a:ext>
              <a:ext uri="{C183D7F6-B498-43B3-948B-1728B52AA6E4}">
                <adec:decorative xmlns:adec="http://schemas.microsoft.com/office/drawing/2017/decorative" val="1"/>
              </a:ext>
            </a:extLst>
          </p:cNvPr>
          <p:cNvSpPr>
            <a:spLocks noChangeAspect="1"/>
          </p:cNvSpPr>
          <p:nvPr/>
        </p:nvSpPr>
        <p:spPr bwMode="auto">
          <a:xfrm>
            <a:off x="8974643" y="2866041"/>
            <a:ext cx="54590" cy="54590"/>
          </a:xfrm>
          <a:prstGeom prst="ellipse">
            <a:avLst/>
          </a:prstGeom>
          <a:solidFill>
            <a:srgbClr val="FADC1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1086" name="Oval 1085">
            <a:extLst>
              <a:ext uri="{FF2B5EF4-FFF2-40B4-BE49-F238E27FC236}">
                <a16:creationId xmlns:a16="http://schemas.microsoft.com/office/drawing/2014/main" id="{F392D598-0AE2-B5AA-3CF6-2067B19936D1}"/>
              </a:ext>
              <a:ext uri="{C183D7F6-B498-43B3-948B-1728B52AA6E4}">
                <adec:decorative xmlns:adec="http://schemas.microsoft.com/office/drawing/2017/decorative" val="1"/>
              </a:ext>
            </a:extLst>
          </p:cNvPr>
          <p:cNvSpPr>
            <a:spLocks noChangeAspect="1"/>
          </p:cNvSpPr>
          <p:nvPr/>
        </p:nvSpPr>
        <p:spPr bwMode="auto">
          <a:xfrm>
            <a:off x="3669028" y="2392353"/>
            <a:ext cx="54590" cy="54590"/>
          </a:xfrm>
          <a:prstGeom prst="ellipse">
            <a:avLst/>
          </a:prstGeom>
          <a:solidFill>
            <a:srgbClr val="FADC1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grpSp>
        <p:nvGrpSpPr>
          <p:cNvPr id="1087" name="Group 1086">
            <a:extLst>
              <a:ext uri="{FF2B5EF4-FFF2-40B4-BE49-F238E27FC236}">
                <a16:creationId xmlns:a16="http://schemas.microsoft.com/office/drawing/2014/main" id="{D6E9191C-44A1-0414-28C6-3C1EC38FA118}"/>
              </a:ext>
              <a:ext uri="{C183D7F6-B498-43B3-948B-1728B52AA6E4}">
                <adec:decorative xmlns:adec="http://schemas.microsoft.com/office/drawing/2017/decorative" val="1"/>
              </a:ext>
            </a:extLst>
          </p:cNvPr>
          <p:cNvGrpSpPr/>
          <p:nvPr/>
        </p:nvGrpSpPr>
        <p:grpSpPr>
          <a:xfrm>
            <a:off x="5640323" y="2599390"/>
            <a:ext cx="914400" cy="914400"/>
            <a:chOff x="5735361" y="3524485"/>
            <a:chExt cx="721284" cy="721284"/>
          </a:xfrm>
        </p:grpSpPr>
        <p:grpSp>
          <p:nvGrpSpPr>
            <p:cNvPr id="192" name="Group 191">
              <a:extLst>
                <a:ext uri="{FF2B5EF4-FFF2-40B4-BE49-F238E27FC236}">
                  <a16:creationId xmlns:a16="http://schemas.microsoft.com/office/drawing/2014/main" id="{569ECAC3-D248-81D8-5E4A-0D5B0B3C9755}"/>
                </a:ext>
              </a:extLst>
            </p:cNvPr>
            <p:cNvGrpSpPr/>
            <p:nvPr/>
          </p:nvGrpSpPr>
          <p:grpSpPr>
            <a:xfrm>
              <a:off x="5735361" y="3524485"/>
              <a:ext cx="721284" cy="721284"/>
              <a:chOff x="6351737" y="3356390"/>
              <a:chExt cx="451805" cy="451805"/>
            </a:xfrm>
          </p:grpSpPr>
          <p:sp>
            <p:nvSpPr>
              <p:cNvPr id="197" name="Oval 196">
                <a:extLst>
                  <a:ext uri="{FF2B5EF4-FFF2-40B4-BE49-F238E27FC236}">
                    <a16:creationId xmlns:a16="http://schemas.microsoft.com/office/drawing/2014/main" id="{1F25D196-2A4B-919F-F476-17048882C4F1}"/>
                  </a:ext>
                </a:extLst>
              </p:cNvPr>
              <p:cNvSpPr/>
              <p:nvPr/>
            </p:nvSpPr>
            <p:spPr bwMode="auto">
              <a:xfrm>
                <a:off x="6351737" y="3356390"/>
                <a:ext cx="451805" cy="451805"/>
              </a:xfrm>
              <a:prstGeom prst="ellipse">
                <a:avLst/>
              </a:prstGeom>
              <a:solidFill>
                <a:srgbClr val="FADC14">
                  <a:alpha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00" name="Oval 199">
                <a:extLst>
                  <a:ext uri="{FF2B5EF4-FFF2-40B4-BE49-F238E27FC236}">
                    <a16:creationId xmlns:a16="http://schemas.microsoft.com/office/drawing/2014/main" id="{A92720AA-B708-EBD7-6BF8-112C8291E819}"/>
                  </a:ext>
                </a:extLst>
              </p:cNvPr>
              <p:cNvSpPr/>
              <p:nvPr/>
            </p:nvSpPr>
            <p:spPr bwMode="auto">
              <a:xfrm>
                <a:off x="6396037" y="3400692"/>
                <a:ext cx="363201" cy="363198"/>
              </a:xfrm>
              <a:prstGeom prst="ellipse">
                <a:avLst/>
              </a:prstGeom>
              <a:solidFill>
                <a:sysClr val="window" lastClr="FFFFFF"/>
              </a:solidFill>
              <a:ln w="12700" cap="flat" cmpd="sng" algn="ctr">
                <a:solidFill>
                  <a:srgbClr val="FADC14"/>
                </a:solidFill>
                <a:prstDash val="solid"/>
                <a:headEnd type="none" w="med" len="med"/>
                <a:tailEnd type="none" w="med" len="med"/>
              </a:ln>
              <a:effectLst/>
            </p:spPr>
            <p:txBody>
              <a:bodyPr rot="0" spcFirstLastPara="0" vertOverflow="overflow" horzOverflow="overflow" vert="horz" wrap="square" lIns="201168" tIns="160934" rIns="201168" bIns="160934" numCol="1" spcCol="0" rtlCol="0" fromWordArt="0" anchor="t" anchorCtr="0" forceAA="0" compatLnSpc="1">
                <a:prstTxWarp prst="textNoShape">
                  <a:avLst/>
                </a:prstTxWarp>
                <a:noAutofit/>
              </a:bodyPr>
              <a:lstStyle/>
              <a:p>
                <a:pPr marL="0" marR="0" lvl="0" indent="0" algn="l" defTabSz="1025756"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a:ln>
                    <a:noFill/>
                  </a:ln>
                  <a:solidFill>
                    <a:srgbClr val="FFFFFF"/>
                  </a:solidFill>
                  <a:effectLst/>
                  <a:uLnTx/>
                  <a:uFillTx/>
                  <a:latin typeface="Segoe UI Variable Display"/>
                  <a:ea typeface="+mn-ea"/>
                  <a:cs typeface="Segoe UI" pitchFamily="34" charset="0"/>
                </a:endParaRPr>
              </a:p>
            </p:txBody>
          </p:sp>
        </p:grpSp>
        <p:pic>
          <p:nvPicPr>
            <p:cNvPr id="194" name="Graphic 193">
              <a:extLst>
                <a:ext uri="{FF2B5EF4-FFF2-40B4-BE49-F238E27FC236}">
                  <a16:creationId xmlns:a16="http://schemas.microsoft.com/office/drawing/2014/main" id="{05433C37-AD1C-0F2C-9D0C-887C0CC5CCEE}"/>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5913123" y="3702247"/>
              <a:ext cx="365760" cy="365760"/>
            </a:xfrm>
            <a:prstGeom prst="rect">
              <a:avLst/>
            </a:prstGeom>
          </p:spPr>
        </p:pic>
      </p:grpSp>
      <p:sp>
        <p:nvSpPr>
          <p:cNvPr id="206" name="Oval 205">
            <a:extLst>
              <a:ext uri="{FF2B5EF4-FFF2-40B4-BE49-F238E27FC236}">
                <a16:creationId xmlns:a16="http://schemas.microsoft.com/office/drawing/2014/main" id="{DD19E1D9-D993-CB99-65CE-2F4212C96DFF}"/>
              </a:ext>
              <a:ext uri="{C183D7F6-B498-43B3-948B-1728B52AA6E4}">
                <adec:decorative xmlns:adec="http://schemas.microsoft.com/office/drawing/2017/decorative" val="1"/>
              </a:ext>
            </a:extLst>
          </p:cNvPr>
          <p:cNvSpPr/>
          <p:nvPr/>
        </p:nvSpPr>
        <p:spPr bwMode="auto">
          <a:xfrm>
            <a:off x="3754301" y="4753624"/>
            <a:ext cx="118872" cy="118872"/>
          </a:xfrm>
          <a:prstGeom prst="ellipse">
            <a:avLst/>
          </a:prstGeom>
          <a:solidFill>
            <a:srgbClr val="A5B8E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07" name="Oval 206">
            <a:extLst>
              <a:ext uri="{FF2B5EF4-FFF2-40B4-BE49-F238E27FC236}">
                <a16:creationId xmlns:a16="http://schemas.microsoft.com/office/drawing/2014/main" id="{0E14CA2E-6AF9-8A08-7039-307D3BA18A6E}"/>
              </a:ext>
              <a:ext uri="{C183D7F6-B498-43B3-948B-1728B52AA6E4}">
                <adec:decorative xmlns:adec="http://schemas.microsoft.com/office/drawing/2017/decorative" val="1"/>
              </a:ext>
            </a:extLst>
          </p:cNvPr>
          <p:cNvSpPr/>
          <p:nvPr/>
        </p:nvSpPr>
        <p:spPr bwMode="auto">
          <a:xfrm>
            <a:off x="4960680" y="5803094"/>
            <a:ext cx="64008" cy="64008"/>
          </a:xfrm>
          <a:prstGeom prst="ellipse">
            <a:avLst/>
          </a:prstGeom>
          <a:solidFill>
            <a:srgbClr val="A5B8E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08" name="Oval 207">
            <a:extLst>
              <a:ext uri="{FF2B5EF4-FFF2-40B4-BE49-F238E27FC236}">
                <a16:creationId xmlns:a16="http://schemas.microsoft.com/office/drawing/2014/main" id="{ED531C2A-0941-F971-B5D6-AB30220725EA}"/>
              </a:ext>
              <a:ext uri="{C183D7F6-B498-43B3-948B-1728B52AA6E4}">
                <adec:decorative xmlns:adec="http://schemas.microsoft.com/office/drawing/2017/decorative" val="1"/>
              </a:ext>
            </a:extLst>
          </p:cNvPr>
          <p:cNvSpPr/>
          <p:nvPr/>
        </p:nvSpPr>
        <p:spPr bwMode="auto">
          <a:xfrm>
            <a:off x="4570057" y="5283520"/>
            <a:ext cx="118872" cy="118872"/>
          </a:xfrm>
          <a:prstGeom prst="ellipse">
            <a:avLst/>
          </a:prstGeom>
          <a:solidFill>
            <a:srgbClr val="A5B8E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09" name="Oval 208">
            <a:extLst>
              <a:ext uri="{FF2B5EF4-FFF2-40B4-BE49-F238E27FC236}">
                <a16:creationId xmlns:a16="http://schemas.microsoft.com/office/drawing/2014/main" id="{4753601B-0D7B-FAC7-26D5-D46DF4285828}"/>
              </a:ext>
              <a:ext uri="{C183D7F6-B498-43B3-948B-1728B52AA6E4}">
                <adec:decorative xmlns:adec="http://schemas.microsoft.com/office/drawing/2017/decorative" val="1"/>
              </a:ext>
            </a:extLst>
          </p:cNvPr>
          <p:cNvSpPr/>
          <p:nvPr/>
        </p:nvSpPr>
        <p:spPr bwMode="auto">
          <a:xfrm>
            <a:off x="8194811" y="4904692"/>
            <a:ext cx="118872" cy="118872"/>
          </a:xfrm>
          <a:prstGeom prst="ellipse">
            <a:avLst/>
          </a:prstGeom>
          <a:solidFill>
            <a:srgbClr val="A5B8E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10" name="Oval 209">
            <a:extLst>
              <a:ext uri="{FF2B5EF4-FFF2-40B4-BE49-F238E27FC236}">
                <a16:creationId xmlns:a16="http://schemas.microsoft.com/office/drawing/2014/main" id="{6CF72812-F585-A39C-7853-93D912B0F7AE}"/>
              </a:ext>
              <a:ext uri="{C183D7F6-B498-43B3-948B-1728B52AA6E4}">
                <adec:decorative xmlns:adec="http://schemas.microsoft.com/office/drawing/2017/decorative" val="1"/>
              </a:ext>
            </a:extLst>
          </p:cNvPr>
          <p:cNvSpPr/>
          <p:nvPr/>
        </p:nvSpPr>
        <p:spPr bwMode="auto">
          <a:xfrm>
            <a:off x="7446682" y="5170663"/>
            <a:ext cx="118872" cy="118872"/>
          </a:xfrm>
          <a:prstGeom prst="ellipse">
            <a:avLst/>
          </a:prstGeom>
          <a:solidFill>
            <a:srgbClr val="A5B8E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11" name="Oval 210">
            <a:extLst>
              <a:ext uri="{FF2B5EF4-FFF2-40B4-BE49-F238E27FC236}">
                <a16:creationId xmlns:a16="http://schemas.microsoft.com/office/drawing/2014/main" id="{CDC8F9A9-68BB-348C-F6CC-F24B5775D442}"/>
              </a:ext>
              <a:ext uri="{C183D7F6-B498-43B3-948B-1728B52AA6E4}">
                <adec:decorative xmlns:adec="http://schemas.microsoft.com/office/drawing/2017/decorative" val="1"/>
              </a:ext>
            </a:extLst>
          </p:cNvPr>
          <p:cNvSpPr/>
          <p:nvPr/>
        </p:nvSpPr>
        <p:spPr bwMode="auto">
          <a:xfrm>
            <a:off x="8927854" y="5667560"/>
            <a:ext cx="118872" cy="118872"/>
          </a:xfrm>
          <a:prstGeom prst="ellipse">
            <a:avLst/>
          </a:prstGeom>
          <a:solidFill>
            <a:srgbClr val="A5B8E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12" name="Oval 211">
            <a:extLst>
              <a:ext uri="{FF2B5EF4-FFF2-40B4-BE49-F238E27FC236}">
                <a16:creationId xmlns:a16="http://schemas.microsoft.com/office/drawing/2014/main" id="{8EB2757D-F30E-4B23-DC6F-1AB60B7C35ED}"/>
              </a:ext>
              <a:ext uri="{C183D7F6-B498-43B3-948B-1728B52AA6E4}">
                <adec:decorative xmlns:adec="http://schemas.microsoft.com/office/drawing/2017/decorative" val="1"/>
              </a:ext>
            </a:extLst>
          </p:cNvPr>
          <p:cNvSpPr/>
          <p:nvPr/>
        </p:nvSpPr>
        <p:spPr bwMode="auto">
          <a:xfrm>
            <a:off x="3826003" y="5454856"/>
            <a:ext cx="118872" cy="118872"/>
          </a:xfrm>
          <a:prstGeom prst="ellipse">
            <a:avLst/>
          </a:prstGeom>
          <a:solidFill>
            <a:srgbClr val="A5B8E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13" name="Oval 212">
            <a:extLst>
              <a:ext uri="{FF2B5EF4-FFF2-40B4-BE49-F238E27FC236}">
                <a16:creationId xmlns:a16="http://schemas.microsoft.com/office/drawing/2014/main" id="{108EA410-5D9E-B9FE-DC6C-BB2B2C0BB5A0}"/>
              </a:ext>
              <a:ext uri="{C183D7F6-B498-43B3-948B-1728B52AA6E4}">
                <adec:decorative xmlns:adec="http://schemas.microsoft.com/office/drawing/2017/decorative" val="1"/>
              </a:ext>
            </a:extLst>
          </p:cNvPr>
          <p:cNvSpPr/>
          <p:nvPr/>
        </p:nvSpPr>
        <p:spPr bwMode="auto">
          <a:xfrm>
            <a:off x="5361983" y="5127707"/>
            <a:ext cx="64008" cy="64008"/>
          </a:xfrm>
          <a:prstGeom prst="ellipse">
            <a:avLst/>
          </a:prstGeom>
          <a:solidFill>
            <a:srgbClr val="A5B8E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14" name="Oval 213">
            <a:extLst>
              <a:ext uri="{FF2B5EF4-FFF2-40B4-BE49-F238E27FC236}">
                <a16:creationId xmlns:a16="http://schemas.microsoft.com/office/drawing/2014/main" id="{2AA0EBDC-320F-DE95-4511-EC1D30BC28E4}"/>
              </a:ext>
              <a:ext uri="{C183D7F6-B498-43B3-948B-1728B52AA6E4}">
                <adec:decorative xmlns:adec="http://schemas.microsoft.com/office/drawing/2017/decorative" val="1"/>
              </a:ext>
            </a:extLst>
          </p:cNvPr>
          <p:cNvSpPr/>
          <p:nvPr/>
        </p:nvSpPr>
        <p:spPr bwMode="auto">
          <a:xfrm>
            <a:off x="7802094" y="4686437"/>
            <a:ext cx="64008" cy="64008"/>
          </a:xfrm>
          <a:prstGeom prst="ellipse">
            <a:avLst/>
          </a:prstGeom>
          <a:solidFill>
            <a:srgbClr val="A5B8E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15" name="Oval 214">
            <a:extLst>
              <a:ext uri="{FF2B5EF4-FFF2-40B4-BE49-F238E27FC236}">
                <a16:creationId xmlns:a16="http://schemas.microsoft.com/office/drawing/2014/main" id="{6AEC2236-A3E5-1D94-40F0-6FBBE4D7EB59}"/>
              </a:ext>
              <a:ext uri="{C183D7F6-B498-43B3-948B-1728B52AA6E4}">
                <adec:decorative xmlns:adec="http://schemas.microsoft.com/office/drawing/2017/decorative" val="1"/>
              </a:ext>
            </a:extLst>
          </p:cNvPr>
          <p:cNvSpPr/>
          <p:nvPr/>
        </p:nvSpPr>
        <p:spPr bwMode="auto">
          <a:xfrm>
            <a:off x="3116317" y="5398059"/>
            <a:ext cx="64008" cy="64008"/>
          </a:xfrm>
          <a:prstGeom prst="ellipse">
            <a:avLst/>
          </a:prstGeom>
          <a:solidFill>
            <a:srgbClr val="A5B8E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16" name="Oval 215">
            <a:extLst>
              <a:ext uri="{FF2B5EF4-FFF2-40B4-BE49-F238E27FC236}">
                <a16:creationId xmlns:a16="http://schemas.microsoft.com/office/drawing/2014/main" id="{4B3CE6CE-3B7B-7DD5-063B-00AD8A350588}"/>
              </a:ext>
              <a:ext uri="{C183D7F6-B498-43B3-948B-1728B52AA6E4}">
                <adec:decorative xmlns:adec="http://schemas.microsoft.com/office/drawing/2017/decorative" val="1"/>
              </a:ext>
            </a:extLst>
          </p:cNvPr>
          <p:cNvSpPr/>
          <p:nvPr/>
        </p:nvSpPr>
        <p:spPr bwMode="auto">
          <a:xfrm>
            <a:off x="8137921" y="5390848"/>
            <a:ext cx="64008" cy="64008"/>
          </a:xfrm>
          <a:prstGeom prst="ellipse">
            <a:avLst/>
          </a:prstGeom>
          <a:solidFill>
            <a:srgbClr val="A5B8E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17" name="Oval 216">
            <a:extLst>
              <a:ext uri="{FF2B5EF4-FFF2-40B4-BE49-F238E27FC236}">
                <a16:creationId xmlns:a16="http://schemas.microsoft.com/office/drawing/2014/main" id="{4C29D3C3-E323-DCCD-0E39-24E3DE117FD4}"/>
              </a:ext>
              <a:ext uri="{C183D7F6-B498-43B3-948B-1728B52AA6E4}">
                <adec:decorative xmlns:adec="http://schemas.microsoft.com/office/drawing/2017/decorative" val="1"/>
              </a:ext>
            </a:extLst>
          </p:cNvPr>
          <p:cNvSpPr/>
          <p:nvPr/>
        </p:nvSpPr>
        <p:spPr bwMode="auto">
          <a:xfrm>
            <a:off x="7193677" y="5754428"/>
            <a:ext cx="64008" cy="64008"/>
          </a:xfrm>
          <a:prstGeom prst="ellipse">
            <a:avLst/>
          </a:prstGeom>
          <a:solidFill>
            <a:srgbClr val="A5B8E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18" name="Rectangle 17">
            <a:extLst>
              <a:ext uri="{FF2B5EF4-FFF2-40B4-BE49-F238E27FC236}">
                <a16:creationId xmlns:a16="http://schemas.microsoft.com/office/drawing/2014/main" id="{1D5B556D-3FCC-9E46-0B1E-8DDCD1EDAE33}"/>
              </a:ext>
              <a:ext uri="{C183D7F6-B498-43B3-948B-1728B52AA6E4}">
                <adec:decorative xmlns:adec="http://schemas.microsoft.com/office/drawing/2017/decorative" val="1"/>
              </a:ext>
            </a:extLst>
          </p:cNvPr>
          <p:cNvSpPr/>
          <p:nvPr/>
        </p:nvSpPr>
        <p:spPr bwMode="auto">
          <a:xfrm>
            <a:off x="4450048" y="1800620"/>
            <a:ext cx="2514333" cy="633880"/>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noFill/>
                <a:effectLst/>
                <a:uLnTx/>
                <a:uFillTx/>
                <a:latin typeface="Segoe Sans Display"/>
                <a:ea typeface="+mn-ea"/>
                <a:cs typeface="Segoe UI" pitchFamily="34" charset="0"/>
              </a:rPr>
              <a:t>Unifying Identity and</a:t>
            </a:r>
          </a:p>
        </p:txBody>
      </p:sp>
      <p:sp>
        <p:nvSpPr>
          <p:cNvPr id="30" name="Rectangle 29">
            <a:extLst>
              <a:ext uri="{FF2B5EF4-FFF2-40B4-BE49-F238E27FC236}">
                <a16:creationId xmlns:a16="http://schemas.microsoft.com/office/drawing/2014/main" id="{E3635EAE-4FFE-36F7-E73A-A8BC18633A9B}"/>
              </a:ext>
              <a:ext uri="{C183D7F6-B498-43B3-948B-1728B52AA6E4}">
                <adec:decorative xmlns:adec="http://schemas.microsoft.com/office/drawing/2017/decorative" val="1"/>
              </a:ext>
            </a:extLst>
          </p:cNvPr>
          <p:cNvSpPr/>
          <p:nvPr/>
        </p:nvSpPr>
        <p:spPr bwMode="auto">
          <a:xfrm>
            <a:off x="4514868" y="4267399"/>
            <a:ext cx="2746868" cy="633880"/>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noFill/>
                <a:effectLst/>
                <a:uLnTx/>
                <a:uFillTx/>
                <a:latin typeface="Segoe Sans Display"/>
                <a:ea typeface="+mn-ea"/>
                <a:cs typeface="Segoe UI" pitchFamily="34" charset="0"/>
              </a:rPr>
              <a:t>Network access security</a:t>
            </a:r>
          </a:p>
        </p:txBody>
      </p:sp>
      <p:grpSp>
        <p:nvGrpSpPr>
          <p:cNvPr id="9" name="Group 8">
            <a:extLst>
              <a:ext uri="{FF2B5EF4-FFF2-40B4-BE49-F238E27FC236}">
                <a16:creationId xmlns:a16="http://schemas.microsoft.com/office/drawing/2014/main" id="{247F7880-96D9-BDCB-9D4E-368F8747E1CE}"/>
              </a:ext>
              <a:ext uri="{C183D7F6-B498-43B3-948B-1728B52AA6E4}">
                <adec:decorative xmlns:adec="http://schemas.microsoft.com/office/drawing/2017/decorative" val="1"/>
              </a:ext>
            </a:extLst>
          </p:cNvPr>
          <p:cNvGrpSpPr/>
          <p:nvPr/>
        </p:nvGrpSpPr>
        <p:grpSpPr>
          <a:xfrm>
            <a:off x="8244988" y="5906413"/>
            <a:ext cx="263307" cy="263304"/>
            <a:chOff x="8244988" y="5906413"/>
            <a:chExt cx="263307" cy="263304"/>
          </a:xfrm>
        </p:grpSpPr>
        <p:sp>
          <p:nvSpPr>
            <p:cNvPr id="1025" name="Oval 1024">
              <a:extLst>
                <a:ext uri="{FF2B5EF4-FFF2-40B4-BE49-F238E27FC236}">
                  <a16:creationId xmlns:a16="http://schemas.microsoft.com/office/drawing/2014/main" id="{9CAB3A18-22B8-CC1F-5AF9-E90ED94B3334}"/>
                </a:ext>
                <a:ext uri="{C183D7F6-B498-43B3-948B-1728B52AA6E4}">
                  <adec:decorative xmlns:adec="http://schemas.microsoft.com/office/drawing/2017/decorative" val="1"/>
                </a:ext>
              </a:extLst>
            </p:cNvPr>
            <p:cNvSpPr/>
            <p:nvPr/>
          </p:nvSpPr>
          <p:spPr bwMode="auto">
            <a:xfrm>
              <a:off x="8244988" y="5906413"/>
              <a:ext cx="263307" cy="263304"/>
            </a:xfrm>
            <a:prstGeom prst="ellipse">
              <a:avLst/>
            </a:prstGeom>
            <a:solidFill>
              <a:sysClr val="window" lastClr="FFFFFF"/>
            </a:solidFill>
            <a:ln w="12700" cap="flat" cmpd="sng" algn="ctr">
              <a:solidFill>
                <a:srgbClr val="A5B8EE"/>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Segoe Sans Display"/>
                <a:ea typeface="+mn-ea"/>
                <a:cs typeface="+mn-cs"/>
              </a:endParaRPr>
            </a:p>
          </p:txBody>
        </p:sp>
        <p:sp>
          <p:nvSpPr>
            <p:cNvPr id="1026" name="Freeform: Shape 1025">
              <a:extLst>
                <a:ext uri="{FF2B5EF4-FFF2-40B4-BE49-F238E27FC236}">
                  <a16:creationId xmlns:a16="http://schemas.microsoft.com/office/drawing/2014/main" id="{B613B844-BB72-A4B7-190B-5AAE7EFAC526}"/>
                </a:ext>
                <a:ext uri="{C183D7F6-B498-43B3-948B-1728B52AA6E4}">
                  <adec:decorative xmlns:adec="http://schemas.microsoft.com/office/drawing/2017/decorative" val="1"/>
                </a:ext>
              </a:extLst>
            </p:cNvPr>
            <p:cNvSpPr/>
            <p:nvPr/>
          </p:nvSpPr>
          <p:spPr>
            <a:xfrm>
              <a:off x="8339646" y="6023266"/>
              <a:ext cx="81385" cy="66588"/>
            </a:xfrm>
            <a:custGeom>
              <a:avLst/>
              <a:gdLst>
                <a:gd name="connsiteX0" fmla="*/ 36994 w 81385"/>
                <a:gd name="connsiteY0" fmla="*/ 7399 h 66588"/>
                <a:gd name="connsiteX1" fmla="*/ 29595 w 81385"/>
                <a:gd name="connsiteY1" fmla="*/ 14797 h 66588"/>
                <a:gd name="connsiteX2" fmla="*/ 22196 w 81385"/>
                <a:gd name="connsiteY2" fmla="*/ 7399 h 66588"/>
                <a:gd name="connsiteX3" fmla="*/ 29595 w 81385"/>
                <a:gd name="connsiteY3" fmla="*/ 0 h 66588"/>
                <a:gd name="connsiteX4" fmla="*/ 36994 w 81385"/>
                <a:gd name="connsiteY4" fmla="*/ 7399 h 66588"/>
                <a:gd name="connsiteX5" fmla="*/ 29595 w 81385"/>
                <a:gd name="connsiteY5" fmla="*/ 36994 h 66588"/>
                <a:gd name="connsiteX6" fmla="*/ 36994 w 81385"/>
                <a:gd name="connsiteY6" fmla="*/ 29595 h 66588"/>
                <a:gd name="connsiteX7" fmla="*/ 29595 w 81385"/>
                <a:gd name="connsiteY7" fmla="*/ 22196 h 66588"/>
                <a:gd name="connsiteX8" fmla="*/ 22196 w 81385"/>
                <a:gd name="connsiteY8" fmla="*/ 29595 h 66588"/>
                <a:gd name="connsiteX9" fmla="*/ 29595 w 81385"/>
                <a:gd name="connsiteY9" fmla="*/ 36994 h 66588"/>
                <a:gd name="connsiteX10" fmla="*/ 14797 w 81385"/>
                <a:gd name="connsiteY10" fmla="*/ 7399 h 66588"/>
                <a:gd name="connsiteX11" fmla="*/ 7399 w 81385"/>
                <a:gd name="connsiteY11" fmla="*/ 14797 h 66588"/>
                <a:gd name="connsiteX12" fmla="*/ 0 w 81385"/>
                <a:gd name="connsiteY12" fmla="*/ 7399 h 66588"/>
                <a:gd name="connsiteX13" fmla="*/ 7399 w 81385"/>
                <a:gd name="connsiteY13" fmla="*/ 0 h 66588"/>
                <a:gd name="connsiteX14" fmla="*/ 14797 w 81385"/>
                <a:gd name="connsiteY14" fmla="*/ 7399 h 66588"/>
                <a:gd name="connsiteX15" fmla="*/ 7399 w 81385"/>
                <a:gd name="connsiteY15" fmla="*/ 36994 h 66588"/>
                <a:gd name="connsiteX16" fmla="*/ 14797 w 81385"/>
                <a:gd name="connsiteY16" fmla="*/ 29595 h 66588"/>
                <a:gd name="connsiteX17" fmla="*/ 7399 w 81385"/>
                <a:gd name="connsiteY17" fmla="*/ 22196 h 66588"/>
                <a:gd name="connsiteX18" fmla="*/ 0 w 81385"/>
                <a:gd name="connsiteY18" fmla="*/ 29595 h 66588"/>
                <a:gd name="connsiteX19" fmla="*/ 7399 w 81385"/>
                <a:gd name="connsiteY19" fmla="*/ 36994 h 66588"/>
                <a:gd name="connsiteX20" fmla="*/ 81386 w 81385"/>
                <a:gd name="connsiteY20" fmla="*/ 36994 h 66588"/>
                <a:gd name="connsiteX21" fmla="*/ 73987 w 81385"/>
                <a:gd name="connsiteY21" fmla="*/ 44392 h 66588"/>
                <a:gd name="connsiteX22" fmla="*/ 66588 w 81385"/>
                <a:gd name="connsiteY22" fmla="*/ 36994 h 66588"/>
                <a:gd name="connsiteX23" fmla="*/ 73987 w 81385"/>
                <a:gd name="connsiteY23" fmla="*/ 29595 h 66588"/>
                <a:gd name="connsiteX24" fmla="*/ 81386 w 81385"/>
                <a:gd name="connsiteY24" fmla="*/ 36994 h 66588"/>
                <a:gd name="connsiteX25" fmla="*/ 73987 w 81385"/>
                <a:gd name="connsiteY25" fmla="*/ 66588 h 66588"/>
                <a:gd name="connsiteX26" fmla="*/ 81386 w 81385"/>
                <a:gd name="connsiteY26" fmla="*/ 59190 h 66588"/>
                <a:gd name="connsiteX27" fmla="*/ 73987 w 81385"/>
                <a:gd name="connsiteY27" fmla="*/ 51791 h 66588"/>
                <a:gd name="connsiteX28" fmla="*/ 66588 w 81385"/>
                <a:gd name="connsiteY28" fmla="*/ 59190 h 66588"/>
                <a:gd name="connsiteX29" fmla="*/ 73987 w 81385"/>
                <a:gd name="connsiteY29" fmla="*/ 66588 h 66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1385" h="66588">
                  <a:moveTo>
                    <a:pt x="36994" y="7399"/>
                  </a:moveTo>
                  <a:cubicBezTo>
                    <a:pt x="36994" y="11485"/>
                    <a:pt x="33681" y="14797"/>
                    <a:pt x="29595" y="14797"/>
                  </a:cubicBezTo>
                  <a:cubicBezTo>
                    <a:pt x="25509" y="14797"/>
                    <a:pt x="22196" y="11485"/>
                    <a:pt x="22196" y="7399"/>
                  </a:cubicBezTo>
                  <a:cubicBezTo>
                    <a:pt x="22196" y="3312"/>
                    <a:pt x="25509" y="0"/>
                    <a:pt x="29595" y="0"/>
                  </a:cubicBezTo>
                  <a:cubicBezTo>
                    <a:pt x="33681" y="0"/>
                    <a:pt x="36994" y="3312"/>
                    <a:pt x="36994" y="7399"/>
                  </a:cubicBezTo>
                  <a:close/>
                  <a:moveTo>
                    <a:pt x="29595" y="36994"/>
                  </a:moveTo>
                  <a:cubicBezTo>
                    <a:pt x="33681" y="36994"/>
                    <a:pt x="36994" y="33681"/>
                    <a:pt x="36994" y="29595"/>
                  </a:cubicBezTo>
                  <a:cubicBezTo>
                    <a:pt x="36994" y="25509"/>
                    <a:pt x="33681" y="22196"/>
                    <a:pt x="29595" y="22196"/>
                  </a:cubicBezTo>
                  <a:cubicBezTo>
                    <a:pt x="25509" y="22196"/>
                    <a:pt x="22196" y="25509"/>
                    <a:pt x="22196" y="29595"/>
                  </a:cubicBezTo>
                  <a:cubicBezTo>
                    <a:pt x="22196" y="33681"/>
                    <a:pt x="25509" y="36994"/>
                    <a:pt x="29595" y="36994"/>
                  </a:cubicBezTo>
                  <a:close/>
                  <a:moveTo>
                    <a:pt x="14797" y="7399"/>
                  </a:moveTo>
                  <a:cubicBezTo>
                    <a:pt x="14797" y="11485"/>
                    <a:pt x="11485" y="14797"/>
                    <a:pt x="7399" y="14797"/>
                  </a:cubicBezTo>
                  <a:cubicBezTo>
                    <a:pt x="3313" y="14797"/>
                    <a:pt x="0" y="11485"/>
                    <a:pt x="0" y="7399"/>
                  </a:cubicBezTo>
                  <a:cubicBezTo>
                    <a:pt x="0" y="3312"/>
                    <a:pt x="3313" y="0"/>
                    <a:pt x="7399" y="0"/>
                  </a:cubicBezTo>
                  <a:cubicBezTo>
                    <a:pt x="11485" y="0"/>
                    <a:pt x="14797" y="3312"/>
                    <a:pt x="14797" y="7399"/>
                  </a:cubicBezTo>
                  <a:close/>
                  <a:moveTo>
                    <a:pt x="7399" y="36994"/>
                  </a:moveTo>
                  <a:cubicBezTo>
                    <a:pt x="11485" y="36994"/>
                    <a:pt x="14797" y="33681"/>
                    <a:pt x="14797" y="29595"/>
                  </a:cubicBezTo>
                  <a:cubicBezTo>
                    <a:pt x="14797" y="25509"/>
                    <a:pt x="11485" y="22196"/>
                    <a:pt x="7399" y="22196"/>
                  </a:cubicBezTo>
                  <a:cubicBezTo>
                    <a:pt x="3313" y="22196"/>
                    <a:pt x="0" y="25509"/>
                    <a:pt x="0" y="29595"/>
                  </a:cubicBezTo>
                  <a:cubicBezTo>
                    <a:pt x="0" y="33681"/>
                    <a:pt x="3313" y="36994"/>
                    <a:pt x="7399" y="36994"/>
                  </a:cubicBezTo>
                  <a:close/>
                  <a:moveTo>
                    <a:pt x="81386" y="36994"/>
                  </a:moveTo>
                  <a:cubicBezTo>
                    <a:pt x="81386" y="41080"/>
                    <a:pt x="78073" y="44392"/>
                    <a:pt x="73987" y="44392"/>
                  </a:cubicBezTo>
                  <a:cubicBezTo>
                    <a:pt x="69901" y="44392"/>
                    <a:pt x="66588" y="41080"/>
                    <a:pt x="66588" y="36994"/>
                  </a:cubicBezTo>
                  <a:cubicBezTo>
                    <a:pt x="66588" y="32907"/>
                    <a:pt x="69901" y="29595"/>
                    <a:pt x="73987" y="29595"/>
                  </a:cubicBezTo>
                  <a:cubicBezTo>
                    <a:pt x="78073" y="29595"/>
                    <a:pt x="81386" y="32907"/>
                    <a:pt x="81386" y="36994"/>
                  </a:cubicBezTo>
                  <a:close/>
                  <a:moveTo>
                    <a:pt x="73987" y="66588"/>
                  </a:moveTo>
                  <a:cubicBezTo>
                    <a:pt x="78073" y="66588"/>
                    <a:pt x="81386" y="63276"/>
                    <a:pt x="81386" y="59190"/>
                  </a:cubicBezTo>
                  <a:cubicBezTo>
                    <a:pt x="81386" y="55103"/>
                    <a:pt x="78073" y="51791"/>
                    <a:pt x="73987" y="51791"/>
                  </a:cubicBezTo>
                  <a:cubicBezTo>
                    <a:pt x="69901" y="51791"/>
                    <a:pt x="66588" y="55103"/>
                    <a:pt x="66588" y="59190"/>
                  </a:cubicBezTo>
                  <a:cubicBezTo>
                    <a:pt x="66588" y="63276"/>
                    <a:pt x="69901" y="66588"/>
                    <a:pt x="73987" y="66588"/>
                  </a:cubicBezTo>
                  <a:close/>
                </a:path>
              </a:pathLst>
            </a:custGeom>
            <a:solidFill>
              <a:sysClr val="windowText" lastClr="000000"/>
            </a:solidFill>
            <a:ln w="71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Display"/>
                <a:ea typeface="+mn-ea"/>
                <a:cs typeface="+mn-cs"/>
              </a:endParaRPr>
            </a:p>
          </p:txBody>
        </p:sp>
        <p:sp>
          <p:nvSpPr>
            <p:cNvPr id="1027" name="Freeform: Shape 1026">
              <a:extLst>
                <a:ext uri="{FF2B5EF4-FFF2-40B4-BE49-F238E27FC236}">
                  <a16:creationId xmlns:a16="http://schemas.microsoft.com/office/drawing/2014/main" id="{E69A1614-E832-F2C5-42A1-555EFFAEF4C1}"/>
                </a:ext>
                <a:ext uri="{C183D7F6-B498-43B3-948B-1728B52AA6E4}">
                  <adec:decorative xmlns:adec="http://schemas.microsoft.com/office/drawing/2017/decorative" val="1"/>
                </a:ext>
              </a:extLst>
            </p:cNvPr>
            <p:cNvSpPr/>
            <p:nvPr/>
          </p:nvSpPr>
          <p:spPr>
            <a:xfrm>
              <a:off x="8317450" y="5964091"/>
              <a:ext cx="122078" cy="144260"/>
            </a:xfrm>
            <a:custGeom>
              <a:avLst/>
              <a:gdLst>
                <a:gd name="connsiteX0" fmla="*/ 31445 w 122078"/>
                <a:gd name="connsiteY0" fmla="*/ 0 h 144260"/>
                <a:gd name="connsiteX1" fmla="*/ 25895 w 122078"/>
                <a:gd name="connsiteY1" fmla="*/ 5549 h 144260"/>
                <a:gd name="connsiteX2" fmla="*/ 25895 w 122078"/>
                <a:gd name="connsiteY2" fmla="*/ 22181 h 144260"/>
                <a:gd name="connsiteX3" fmla="*/ 16647 w 122078"/>
                <a:gd name="connsiteY3" fmla="*/ 22181 h 144260"/>
                <a:gd name="connsiteX4" fmla="*/ 11098 w 122078"/>
                <a:gd name="connsiteY4" fmla="*/ 27730 h 144260"/>
                <a:gd name="connsiteX5" fmla="*/ 11098 w 122078"/>
                <a:gd name="connsiteY5" fmla="*/ 42898 h 144260"/>
                <a:gd name="connsiteX6" fmla="*/ 0 w 122078"/>
                <a:gd name="connsiteY6" fmla="*/ 61025 h 144260"/>
                <a:gd name="connsiteX7" fmla="*/ 0 w 122078"/>
                <a:gd name="connsiteY7" fmla="*/ 138711 h 144260"/>
                <a:gd name="connsiteX8" fmla="*/ 5549 w 122078"/>
                <a:gd name="connsiteY8" fmla="*/ 144260 h 144260"/>
                <a:gd name="connsiteX9" fmla="*/ 116530 w 122078"/>
                <a:gd name="connsiteY9" fmla="*/ 144260 h 144260"/>
                <a:gd name="connsiteX10" fmla="*/ 122079 w 122078"/>
                <a:gd name="connsiteY10" fmla="*/ 138711 h 144260"/>
                <a:gd name="connsiteX11" fmla="*/ 122079 w 122078"/>
                <a:gd name="connsiteY11" fmla="*/ 101717 h 144260"/>
                <a:gd name="connsiteX12" fmla="*/ 81312 w 122078"/>
                <a:gd name="connsiteY12" fmla="*/ 59212 h 144260"/>
                <a:gd name="connsiteX13" fmla="*/ 70310 w 122078"/>
                <a:gd name="connsiteY13" fmla="*/ 42913 h 144260"/>
                <a:gd name="connsiteX14" fmla="*/ 70310 w 122078"/>
                <a:gd name="connsiteY14" fmla="*/ 27730 h 144260"/>
                <a:gd name="connsiteX15" fmla="*/ 64761 w 122078"/>
                <a:gd name="connsiteY15" fmla="*/ 22181 h 144260"/>
                <a:gd name="connsiteX16" fmla="*/ 55490 w 122078"/>
                <a:gd name="connsiteY16" fmla="*/ 22181 h 144260"/>
                <a:gd name="connsiteX17" fmla="*/ 55490 w 122078"/>
                <a:gd name="connsiteY17" fmla="*/ 5549 h 144260"/>
                <a:gd name="connsiteX18" fmla="*/ 49941 w 122078"/>
                <a:gd name="connsiteY18" fmla="*/ 0 h 144260"/>
                <a:gd name="connsiteX19" fmla="*/ 31445 w 122078"/>
                <a:gd name="connsiteY19" fmla="*/ 0 h 144260"/>
                <a:gd name="connsiteX20" fmla="*/ 59212 w 122078"/>
                <a:gd name="connsiteY20" fmla="*/ 40678 h 144260"/>
                <a:gd name="connsiteX21" fmla="*/ 22196 w 122078"/>
                <a:gd name="connsiteY21" fmla="*/ 40678 h 144260"/>
                <a:gd name="connsiteX22" fmla="*/ 22196 w 122078"/>
                <a:gd name="connsiteY22" fmla="*/ 33279 h 144260"/>
                <a:gd name="connsiteX23" fmla="*/ 59212 w 122078"/>
                <a:gd name="connsiteY23" fmla="*/ 33279 h 144260"/>
                <a:gd name="connsiteX24" fmla="*/ 59212 w 122078"/>
                <a:gd name="connsiteY24" fmla="*/ 40678 h 144260"/>
                <a:gd name="connsiteX25" fmla="*/ 70288 w 122078"/>
                <a:gd name="connsiteY25" fmla="*/ 133162 h 144260"/>
                <a:gd name="connsiteX26" fmla="*/ 59190 w 122078"/>
                <a:gd name="connsiteY26" fmla="*/ 133162 h 144260"/>
                <a:gd name="connsiteX27" fmla="*/ 59190 w 122078"/>
                <a:gd name="connsiteY27" fmla="*/ 112816 h 144260"/>
                <a:gd name="connsiteX28" fmla="*/ 53641 w 122078"/>
                <a:gd name="connsiteY28" fmla="*/ 107266 h 144260"/>
                <a:gd name="connsiteX29" fmla="*/ 27745 w 122078"/>
                <a:gd name="connsiteY29" fmla="*/ 107266 h 144260"/>
                <a:gd name="connsiteX30" fmla="*/ 22196 w 122078"/>
                <a:gd name="connsiteY30" fmla="*/ 112816 h 144260"/>
                <a:gd name="connsiteX31" fmla="*/ 22196 w 122078"/>
                <a:gd name="connsiteY31" fmla="*/ 133162 h 144260"/>
                <a:gd name="connsiteX32" fmla="*/ 11098 w 122078"/>
                <a:gd name="connsiteY32" fmla="*/ 133162 h 144260"/>
                <a:gd name="connsiteX33" fmla="*/ 11098 w 122078"/>
                <a:gd name="connsiteY33" fmla="*/ 61025 h 144260"/>
                <a:gd name="connsiteX34" fmla="*/ 20346 w 122078"/>
                <a:gd name="connsiteY34" fmla="*/ 51776 h 144260"/>
                <a:gd name="connsiteX35" fmla="*/ 61039 w 122078"/>
                <a:gd name="connsiteY35" fmla="*/ 51776 h 144260"/>
                <a:gd name="connsiteX36" fmla="*/ 70288 w 122078"/>
                <a:gd name="connsiteY36" fmla="*/ 61025 h 144260"/>
                <a:gd name="connsiteX37" fmla="*/ 70288 w 122078"/>
                <a:gd name="connsiteY37" fmla="*/ 133162 h 144260"/>
                <a:gd name="connsiteX38" fmla="*/ 33294 w 122078"/>
                <a:gd name="connsiteY38" fmla="*/ 133162 h 144260"/>
                <a:gd name="connsiteX39" fmla="*/ 33294 w 122078"/>
                <a:gd name="connsiteY39" fmla="*/ 118365 h 144260"/>
                <a:gd name="connsiteX40" fmla="*/ 48092 w 122078"/>
                <a:gd name="connsiteY40" fmla="*/ 118365 h 144260"/>
                <a:gd name="connsiteX41" fmla="*/ 48092 w 122078"/>
                <a:gd name="connsiteY41" fmla="*/ 133162 h 144260"/>
                <a:gd name="connsiteX42" fmla="*/ 33294 w 122078"/>
                <a:gd name="connsiteY42" fmla="*/ 133162 h 144260"/>
                <a:gd name="connsiteX43" fmla="*/ 81386 w 122078"/>
                <a:gd name="connsiteY43" fmla="*/ 133162 h 144260"/>
                <a:gd name="connsiteX44" fmla="*/ 81386 w 122078"/>
                <a:gd name="connsiteY44" fmla="*/ 70332 h 144260"/>
                <a:gd name="connsiteX45" fmla="*/ 110981 w 122078"/>
                <a:gd name="connsiteY45" fmla="*/ 101717 h 144260"/>
                <a:gd name="connsiteX46" fmla="*/ 110981 w 122078"/>
                <a:gd name="connsiteY46" fmla="*/ 133162 h 144260"/>
                <a:gd name="connsiteX47" fmla="*/ 81386 w 122078"/>
                <a:gd name="connsiteY47" fmla="*/ 133162 h 144260"/>
                <a:gd name="connsiteX48" fmla="*/ 44392 w 122078"/>
                <a:gd name="connsiteY48" fmla="*/ 22181 h 144260"/>
                <a:gd name="connsiteX49" fmla="*/ 36994 w 122078"/>
                <a:gd name="connsiteY49" fmla="*/ 22181 h 144260"/>
                <a:gd name="connsiteX50" fmla="*/ 36994 w 122078"/>
                <a:gd name="connsiteY50" fmla="*/ 11098 h 144260"/>
                <a:gd name="connsiteX51" fmla="*/ 44392 w 122078"/>
                <a:gd name="connsiteY51" fmla="*/ 11098 h 144260"/>
                <a:gd name="connsiteX52" fmla="*/ 44392 w 122078"/>
                <a:gd name="connsiteY52" fmla="*/ 22181 h 144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22078" h="144260">
                  <a:moveTo>
                    <a:pt x="31445" y="0"/>
                  </a:moveTo>
                  <a:cubicBezTo>
                    <a:pt x="28380" y="0"/>
                    <a:pt x="25895" y="2484"/>
                    <a:pt x="25895" y="5549"/>
                  </a:cubicBezTo>
                  <a:lnTo>
                    <a:pt x="25895" y="22181"/>
                  </a:lnTo>
                  <a:lnTo>
                    <a:pt x="16647" y="22181"/>
                  </a:lnTo>
                  <a:cubicBezTo>
                    <a:pt x="13582" y="22181"/>
                    <a:pt x="11098" y="24666"/>
                    <a:pt x="11098" y="27730"/>
                  </a:cubicBezTo>
                  <a:lnTo>
                    <a:pt x="11098" y="42898"/>
                  </a:lnTo>
                  <a:cubicBezTo>
                    <a:pt x="4286" y="46374"/>
                    <a:pt x="-1" y="53377"/>
                    <a:pt x="0" y="61025"/>
                  </a:cubicBezTo>
                  <a:lnTo>
                    <a:pt x="0" y="138711"/>
                  </a:lnTo>
                  <a:cubicBezTo>
                    <a:pt x="0" y="141781"/>
                    <a:pt x="2486" y="144260"/>
                    <a:pt x="5549" y="144260"/>
                  </a:cubicBezTo>
                  <a:lnTo>
                    <a:pt x="116530" y="144260"/>
                  </a:lnTo>
                  <a:cubicBezTo>
                    <a:pt x="119594" y="144260"/>
                    <a:pt x="122079" y="141776"/>
                    <a:pt x="122079" y="138711"/>
                  </a:cubicBezTo>
                  <a:lnTo>
                    <a:pt x="122079" y="101717"/>
                  </a:lnTo>
                  <a:cubicBezTo>
                    <a:pt x="122079" y="78912"/>
                    <a:pt x="104097" y="60164"/>
                    <a:pt x="81312" y="59212"/>
                  </a:cubicBezTo>
                  <a:cubicBezTo>
                    <a:pt x="80687" y="52250"/>
                    <a:pt x="76533" y="46096"/>
                    <a:pt x="70310" y="42913"/>
                  </a:cubicBezTo>
                  <a:lnTo>
                    <a:pt x="70310" y="27730"/>
                  </a:lnTo>
                  <a:cubicBezTo>
                    <a:pt x="70310" y="24666"/>
                    <a:pt x="67825" y="22181"/>
                    <a:pt x="64761" y="22181"/>
                  </a:cubicBezTo>
                  <a:lnTo>
                    <a:pt x="55490" y="22181"/>
                  </a:lnTo>
                  <a:lnTo>
                    <a:pt x="55490" y="5549"/>
                  </a:lnTo>
                  <a:cubicBezTo>
                    <a:pt x="55490" y="2484"/>
                    <a:pt x="53006" y="0"/>
                    <a:pt x="49941" y="0"/>
                  </a:cubicBezTo>
                  <a:lnTo>
                    <a:pt x="31445" y="0"/>
                  </a:lnTo>
                  <a:close/>
                  <a:moveTo>
                    <a:pt x="59212" y="40678"/>
                  </a:moveTo>
                  <a:lnTo>
                    <a:pt x="22196" y="40678"/>
                  </a:lnTo>
                  <a:lnTo>
                    <a:pt x="22196" y="33279"/>
                  </a:lnTo>
                  <a:lnTo>
                    <a:pt x="59212" y="33279"/>
                  </a:lnTo>
                  <a:lnTo>
                    <a:pt x="59212" y="40678"/>
                  </a:lnTo>
                  <a:close/>
                  <a:moveTo>
                    <a:pt x="70288" y="133162"/>
                  </a:moveTo>
                  <a:lnTo>
                    <a:pt x="59190" y="133162"/>
                  </a:lnTo>
                  <a:lnTo>
                    <a:pt x="59190" y="112816"/>
                  </a:lnTo>
                  <a:cubicBezTo>
                    <a:pt x="59190" y="109751"/>
                    <a:pt x="56705" y="107266"/>
                    <a:pt x="53641" y="107266"/>
                  </a:cubicBezTo>
                  <a:lnTo>
                    <a:pt x="27745" y="107266"/>
                  </a:lnTo>
                  <a:cubicBezTo>
                    <a:pt x="24681" y="107266"/>
                    <a:pt x="22196" y="109751"/>
                    <a:pt x="22196" y="112816"/>
                  </a:cubicBezTo>
                  <a:lnTo>
                    <a:pt x="22196" y="133162"/>
                  </a:lnTo>
                  <a:lnTo>
                    <a:pt x="11098" y="133162"/>
                  </a:lnTo>
                  <a:lnTo>
                    <a:pt x="11098" y="61025"/>
                  </a:lnTo>
                  <a:cubicBezTo>
                    <a:pt x="11098" y="55919"/>
                    <a:pt x="15241" y="51776"/>
                    <a:pt x="20346" y="51776"/>
                  </a:cubicBezTo>
                  <a:lnTo>
                    <a:pt x="61039" y="51776"/>
                  </a:lnTo>
                  <a:cubicBezTo>
                    <a:pt x="66144" y="51776"/>
                    <a:pt x="70288" y="55919"/>
                    <a:pt x="70288" y="61025"/>
                  </a:cubicBezTo>
                  <a:lnTo>
                    <a:pt x="70288" y="133162"/>
                  </a:lnTo>
                  <a:close/>
                  <a:moveTo>
                    <a:pt x="33294" y="133162"/>
                  </a:moveTo>
                  <a:lnTo>
                    <a:pt x="33294" y="118365"/>
                  </a:lnTo>
                  <a:lnTo>
                    <a:pt x="48092" y="118365"/>
                  </a:lnTo>
                  <a:lnTo>
                    <a:pt x="48092" y="133162"/>
                  </a:lnTo>
                  <a:lnTo>
                    <a:pt x="33294" y="133162"/>
                  </a:lnTo>
                  <a:close/>
                  <a:moveTo>
                    <a:pt x="81386" y="133162"/>
                  </a:moveTo>
                  <a:lnTo>
                    <a:pt x="81386" y="70332"/>
                  </a:lnTo>
                  <a:cubicBezTo>
                    <a:pt x="97885" y="71287"/>
                    <a:pt x="110981" y="84974"/>
                    <a:pt x="110981" y="101717"/>
                  </a:cubicBezTo>
                  <a:lnTo>
                    <a:pt x="110981" y="133162"/>
                  </a:lnTo>
                  <a:lnTo>
                    <a:pt x="81386" y="133162"/>
                  </a:lnTo>
                  <a:close/>
                  <a:moveTo>
                    <a:pt x="44392" y="22181"/>
                  </a:moveTo>
                  <a:lnTo>
                    <a:pt x="36994" y="22181"/>
                  </a:lnTo>
                  <a:lnTo>
                    <a:pt x="36994" y="11098"/>
                  </a:lnTo>
                  <a:lnTo>
                    <a:pt x="44392" y="11098"/>
                  </a:lnTo>
                  <a:lnTo>
                    <a:pt x="44392" y="22181"/>
                  </a:lnTo>
                  <a:close/>
                </a:path>
              </a:pathLst>
            </a:custGeom>
            <a:solidFill>
              <a:sysClr val="windowText" lastClr="000000"/>
            </a:solidFill>
            <a:ln w="71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Display"/>
                <a:ea typeface="+mn-ea"/>
                <a:cs typeface="+mn-cs"/>
              </a:endParaRPr>
            </a:p>
          </p:txBody>
        </p:sp>
      </p:grpSp>
    </p:spTree>
    <p:extLst>
      <p:ext uri="{BB962C8B-B14F-4D97-AF65-F5344CB8AC3E}">
        <p14:creationId xmlns:p14="http://schemas.microsoft.com/office/powerpoint/2010/main" val="41280706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500"/>
                                        <p:tgtEl>
                                          <p:spTgt spid="4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2"/>
                                        </p:tgtEl>
                                        <p:attrNameLst>
                                          <p:attrName>style.visibility</p:attrName>
                                        </p:attrNameLst>
                                      </p:cBhvr>
                                      <p:to>
                                        <p:strVal val="visible"/>
                                      </p:to>
                                    </p:set>
                                    <p:animEffect transition="in" filter="fade">
                                      <p:cBhvr>
                                        <p:cTn id="10" dur="500"/>
                                        <p:tgtEl>
                                          <p:spTgt spid="4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3"/>
                                        </p:tgtEl>
                                        <p:attrNameLst>
                                          <p:attrName>style.visibility</p:attrName>
                                        </p:attrNameLst>
                                      </p:cBhvr>
                                      <p:to>
                                        <p:strVal val="visible"/>
                                      </p:to>
                                    </p:set>
                                    <p:animEffect transition="in" filter="fade">
                                      <p:cBhvr>
                                        <p:cTn id="13" dur="500"/>
                                        <p:tgtEl>
                                          <p:spTgt spid="4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4"/>
                                        </p:tgtEl>
                                        <p:attrNameLst>
                                          <p:attrName>style.visibility</p:attrName>
                                        </p:attrNameLst>
                                      </p:cBhvr>
                                      <p:to>
                                        <p:strVal val="visible"/>
                                      </p:to>
                                    </p:set>
                                    <p:animEffect transition="in" filter="fade">
                                      <p:cBhvr>
                                        <p:cTn id="16" dur="500"/>
                                        <p:tgtEl>
                                          <p:spTgt spid="4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5"/>
                                        </p:tgtEl>
                                        <p:attrNameLst>
                                          <p:attrName>style.visibility</p:attrName>
                                        </p:attrNameLst>
                                      </p:cBhvr>
                                      <p:to>
                                        <p:strVal val="visible"/>
                                      </p:to>
                                    </p:set>
                                    <p:animEffect transition="in" filter="fade">
                                      <p:cBhvr>
                                        <p:cTn id="19" dur="500"/>
                                        <p:tgtEl>
                                          <p:spTgt spid="45"/>
                                        </p:tgtEl>
                                      </p:cBhvr>
                                    </p:animEffect>
                                  </p:childTnLst>
                                </p:cTn>
                              </p:par>
                              <p:par>
                                <p:cTn id="20" presetID="10" presetClass="entr" presetSubtype="0" fill="hold" nodeType="with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500"/>
                                        <p:tgtEl>
                                          <p:spTgt spid="46"/>
                                        </p:tgtEl>
                                      </p:cBhvr>
                                    </p:animEffect>
                                  </p:childTnLst>
                                </p:cTn>
                              </p:par>
                              <p:par>
                                <p:cTn id="23" presetID="10" presetClass="entr" presetSubtype="0" fill="hold" nodeType="withEffect">
                                  <p:stCondLst>
                                    <p:cond delay="0"/>
                                  </p:stCondLst>
                                  <p:childTnLst>
                                    <p:set>
                                      <p:cBhvr>
                                        <p:cTn id="24" dur="1" fill="hold">
                                          <p:stCondLst>
                                            <p:cond delay="0"/>
                                          </p:stCondLst>
                                        </p:cTn>
                                        <p:tgtEl>
                                          <p:spTgt spid="52"/>
                                        </p:tgtEl>
                                        <p:attrNameLst>
                                          <p:attrName>style.visibility</p:attrName>
                                        </p:attrNameLst>
                                      </p:cBhvr>
                                      <p:to>
                                        <p:strVal val="visible"/>
                                      </p:to>
                                    </p:set>
                                    <p:animEffect transition="in" filter="fade">
                                      <p:cBhvr>
                                        <p:cTn id="25" dur="500"/>
                                        <p:tgtEl>
                                          <p:spTgt spid="52"/>
                                        </p:tgtEl>
                                      </p:cBhvr>
                                    </p:animEffect>
                                  </p:childTnLst>
                                </p:cTn>
                              </p:par>
                              <p:par>
                                <p:cTn id="26" presetID="10" presetClass="entr" presetSubtype="0" fill="hold" nodeType="withEffect">
                                  <p:stCondLst>
                                    <p:cond delay="0"/>
                                  </p:stCondLst>
                                  <p:childTnLst>
                                    <p:set>
                                      <p:cBhvr>
                                        <p:cTn id="27" dur="1" fill="hold">
                                          <p:stCondLst>
                                            <p:cond delay="0"/>
                                          </p:stCondLst>
                                        </p:cTn>
                                        <p:tgtEl>
                                          <p:spTgt spid="54"/>
                                        </p:tgtEl>
                                        <p:attrNameLst>
                                          <p:attrName>style.visibility</p:attrName>
                                        </p:attrNameLst>
                                      </p:cBhvr>
                                      <p:to>
                                        <p:strVal val="visible"/>
                                      </p:to>
                                    </p:set>
                                    <p:animEffect transition="in" filter="fade">
                                      <p:cBhvr>
                                        <p:cTn id="28" dur="500"/>
                                        <p:tgtEl>
                                          <p:spTgt spid="54"/>
                                        </p:tgtEl>
                                      </p:cBhvr>
                                    </p:animEffect>
                                  </p:childTnLst>
                                </p:cTn>
                              </p:par>
                              <p:par>
                                <p:cTn id="29" presetID="10" presetClass="entr" presetSubtype="0" fill="hold" nodeType="withEffect">
                                  <p:stCondLst>
                                    <p:cond delay="0"/>
                                  </p:stCondLst>
                                  <p:childTnLst>
                                    <p:set>
                                      <p:cBhvr>
                                        <p:cTn id="30" dur="1" fill="hold">
                                          <p:stCondLst>
                                            <p:cond delay="0"/>
                                          </p:stCondLst>
                                        </p:cTn>
                                        <p:tgtEl>
                                          <p:spTgt spid="57"/>
                                        </p:tgtEl>
                                        <p:attrNameLst>
                                          <p:attrName>style.visibility</p:attrName>
                                        </p:attrNameLst>
                                      </p:cBhvr>
                                      <p:to>
                                        <p:strVal val="visible"/>
                                      </p:to>
                                    </p:set>
                                    <p:animEffect transition="in" filter="fade">
                                      <p:cBhvr>
                                        <p:cTn id="31" dur="500"/>
                                        <p:tgtEl>
                                          <p:spTgt spid="57"/>
                                        </p:tgtEl>
                                      </p:cBhvr>
                                    </p:animEffect>
                                  </p:childTnLst>
                                </p:cTn>
                              </p:par>
                              <p:par>
                                <p:cTn id="32" presetID="10" presetClass="entr" presetSubtype="0" fill="hold" nodeType="withEffect">
                                  <p:stCondLst>
                                    <p:cond delay="0"/>
                                  </p:stCondLst>
                                  <p:childTnLst>
                                    <p:set>
                                      <p:cBhvr>
                                        <p:cTn id="33" dur="1" fill="hold">
                                          <p:stCondLst>
                                            <p:cond delay="0"/>
                                          </p:stCondLst>
                                        </p:cTn>
                                        <p:tgtEl>
                                          <p:spTgt spid="58"/>
                                        </p:tgtEl>
                                        <p:attrNameLst>
                                          <p:attrName>style.visibility</p:attrName>
                                        </p:attrNameLst>
                                      </p:cBhvr>
                                      <p:to>
                                        <p:strVal val="visible"/>
                                      </p:to>
                                    </p:set>
                                    <p:animEffect transition="in" filter="fade">
                                      <p:cBhvr>
                                        <p:cTn id="34" dur="500"/>
                                        <p:tgtEl>
                                          <p:spTgt spid="58"/>
                                        </p:tgtEl>
                                      </p:cBhvr>
                                    </p:animEffect>
                                  </p:childTnLst>
                                </p:cTn>
                              </p:par>
                              <p:par>
                                <p:cTn id="35" presetID="10" presetClass="entr" presetSubtype="0" fill="hold" nodeType="withEffect">
                                  <p:stCondLst>
                                    <p:cond delay="0"/>
                                  </p:stCondLst>
                                  <p:childTnLst>
                                    <p:set>
                                      <p:cBhvr>
                                        <p:cTn id="36" dur="1" fill="hold">
                                          <p:stCondLst>
                                            <p:cond delay="0"/>
                                          </p:stCondLst>
                                        </p:cTn>
                                        <p:tgtEl>
                                          <p:spTgt spid="131"/>
                                        </p:tgtEl>
                                        <p:attrNameLst>
                                          <p:attrName>style.visibility</p:attrName>
                                        </p:attrNameLst>
                                      </p:cBhvr>
                                      <p:to>
                                        <p:strVal val="visible"/>
                                      </p:to>
                                    </p:set>
                                    <p:animEffect transition="in" filter="fade">
                                      <p:cBhvr>
                                        <p:cTn id="37" dur="500"/>
                                        <p:tgtEl>
                                          <p:spTgt spid="131"/>
                                        </p:tgtEl>
                                      </p:cBhvr>
                                    </p:animEffect>
                                  </p:childTnLst>
                                </p:cTn>
                              </p:par>
                              <p:par>
                                <p:cTn id="38" presetID="10" presetClass="entr" presetSubtype="0" fill="hold" nodeType="withEffect">
                                  <p:stCondLst>
                                    <p:cond delay="0"/>
                                  </p:stCondLst>
                                  <p:childTnLst>
                                    <p:set>
                                      <p:cBhvr>
                                        <p:cTn id="39" dur="1" fill="hold">
                                          <p:stCondLst>
                                            <p:cond delay="0"/>
                                          </p:stCondLst>
                                        </p:cTn>
                                        <p:tgtEl>
                                          <p:spTgt spid="133"/>
                                        </p:tgtEl>
                                        <p:attrNameLst>
                                          <p:attrName>style.visibility</p:attrName>
                                        </p:attrNameLst>
                                      </p:cBhvr>
                                      <p:to>
                                        <p:strVal val="visible"/>
                                      </p:to>
                                    </p:set>
                                    <p:animEffect transition="in" filter="fade">
                                      <p:cBhvr>
                                        <p:cTn id="40" dur="500"/>
                                        <p:tgtEl>
                                          <p:spTgt spid="133"/>
                                        </p:tgtEl>
                                      </p:cBhvr>
                                    </p:animEffect>
                                  </p:childTnLst>
                                </p:cTn>
                              </p:par>
                              <p:par>
                                <p:cTn id="41" presetID="10" presetClass="entr" presetSubtype="0" fill="hold" nodeType="withEffect">
                                  <p:stCondLst>
                                    <p:cond delay="0"/>
                                  </p:stCondLst>
                                  <p:childTnLst>
                                    <p:set>
                                      <p:cBhvr>
                                        <p:cTn id="42" dur="1" fill="hold">
                                          <p:stCondLst>
                                            <p:cond delay="0"/>
                                          </p:stCondLst>
                                        </p:cTn>
                                        <p:tgtEl>
                                          <p:spTgt spid="153"/>
                                        </p:tgtEl>
                                        <p:attrNameLst>
                                          <p:attrName>style.visibility</p:attrName>
                                        </p:attrNameLst>
                                      </p:cBhvr>
                                      <p:to>
                                        <p:strVal val="visible"/>
                                      </p:to>
                                    </p:set>
                                    <p:animEffect transition="in" filter="fade">
                                      <p:cBhvr>
                                        <p:cTn id="43" dur="500"/>
                                        <p:tgtEl>
                                          <p:spTgt spid="153"/>
                                        </p:tgtEl>
                                      </p:cBhvr>
                                    </p:animEffect>
                                  </p:childTnLst>
                                </p:cTn>
                              </p:par>
                            </p:childTnLst>
                          </p:cTn>
                        </p:par>
                        <p:par>
                          <p:cTn id="44" fill="hold">
                            <p:stCondLst>
                              <p:cond delay="500"/>
                            </p:stCondLst>
                            <p:childTnLst>
                              <p:par>
                                <p:cTn id="45" presetID="10" presetClass="entr" presetSubtype="0" fill="hold" nodeType="afterEffect">
                                  <p:stCondLst>
                                    <p:cond delay="0"/>
                                  </p:stCondLst>
                                  <p:childTnLst>
                                    <p:set>
                                      <p:cBhvr>
                                        <p:cTn id="46" dur="1" fill="hold">
                                          <p:stCondLst>
                                            <p:cond delay="0"/>
                                          </p:stCondLst>
                                        </p:cTn>
                                        <p:tgtEl>
                                          <p:spTgt spid="32"/>
                                        </p:tgtEl>
                                        <p:attrNameLst>
                                          <p:attrName>style.visibility</p:attrName>
                                        </p:attrNameLst>
                                      </p:cBhvr>
                                      <p:to>
                                        <p:strVal val="visible"/>
                                      </p:to>
                                    </p:set>
                                    <p:animEffect transition="in" filter="fade">
                                      <p:cBhvr>
                                        <p:cTn id="47" dur="500"/>
                                        <p:tgtEl>
                                          <p:spTgt spid="32"/>
                                        </p:tgtEl>
                                      </p:cBhvr>
                                    </p:animEffect>
                                  </p:childTnLst>
                                </p:cTn>
                              </p:par>
                              <p:par>
                                <p:cTn id="48" presetID="53" presetClass="entr" presetSubtype="16" fill="hold" nodeType="withEffect">
                                  <p:stCondLst>
                                    <p:cond delay="0"/>
                                  </p:stCondLst>
                                  <p:childTnLst>
                                    <p:set>
                                      <p:cBhvr>
                                        <p:cTn id="49" dur="1" fill="hold">
                                          <p:stCondLst>
                                            <p:cond delay="0"/>
                                          </p:stCondLst>
                                        </p:cTn>
                                        <p:tgtEl>
                                          <p:spTgt spid="1087"/>
                                        </p:tgtEl>
                                        <p:attrNameLst>
                                          <p:attrName>style.visibility</p:attrName>
                                        </p:attrNameLst>
                                      </p:cBhvr>
                                      <p:to>
                                        <p:strVal val="visible"/>
                                      </p:to>
                                    </p:set>
                                    <p:anim calcmode="lin" valueType="num">
                                      <p:cBhvr>
                                        <p:cTn id="50" dur="500" fill="hold"/>
                                        <p:tgtEl>
                                          <p:spTgt spid="1087"/>
                                        </p:tgtEl>
                                        <p:attrNameLst>
                                          <p:attrName>ppt_w</p:attrName>
                                        </p:attrNameLst>
                                      </p:cBhvr>
                                      <p:tavLst>
                                        <p:tav tm="0">
                                          <p:val>
                                            <p:fltVal val="0"/>
                                          </p:val>
                                        </p:tav>
                                        <p:tav tm="100000">
                                          <p:val>
                                            <p:strVal val="#ppt_w"/>
                                          </p:val>
                                        </p:tav>
                                      </p:tavLst>
                                    </p:anim>
                                    <p:anim calcmode="lin" valueType="num">
                                      <p:cBhvr>
                                        <p:cTn id="51" dur="500" fill="hold"/>
                                        <p:tgtEl>
                                          <p:spTgt spid="1087"/>
                                        </p:tgtEl>
                                        <p:attrNameLst>
                                          <p:attrName>ppt_h</p:attrName>
                                        </p:attrNameLst>
                                      </p:cBhvr>
                                      <p:tavLst>
                                        <p:tav tm="0">
                                          <p:val>
                                            <p:fltVal val="0"/>
                                          </p:val>
                                        </p:tav>
                                        <p:tav tm="100000">
                                          <p:val>
                                            <p:strVal val="#ppt_h"/>
                                          </p:val>
                                        </p:tav>
                                      </p:tavLst>
                                    </p:anim>
                                    <p:animEffect transition="in" filter="fade">
                                      <p:cBhvr>
                                        <p:cTn id="52" dur="500"/>
                                        <p:tgtEl>
                                          <p:spTgt spid="1087"/>
                                        </p:tgtEl>
                                      </p:cBhvr>
                                    </p:animEffect>
                                  </p:childTnLst>
                                </p:cTn>
                              </p:par>
                            </p:childTnLst>
                          </p:cTn>
                        </p:par>
                        <p:par>
                          <p:cTn id="53" fill="hold">
                            <p:stCondLst>
                              <p:cond delay="1000"/>
                            </p:stCondLst>
                            <p:childTnLst>
                              <p:par>
                                <p:cTn id="54" presetID="53" presetClass="entr" presetSubtype="16" fill="hold" nodeType="afterEffect">
                                  <p:stCondLst>
                                    <p:cond delay="0"/>
                                  </p:stCondLst>
                                  <p:childTnLst>
                                    <p:set>
                                      <p:cBhvr>
                                        <p:cTn id="55" dur="1" fill="hold">
                                          <p:stCondLst>
                                            <p:cond delay="0"/>
                                          </p:stCondLst>
                                        </p:cTn>
                                        <p:tgtEl>
                                          <p:spTgt spid="1081"/>
                                        </p:tgtEl>
                                        <p:attrNameLst>
                                          <p:attrName>style.visibility</p:attrName>
                                        </p:attrNameLst>
                                      </p:cBhvr>
                                      <p:to>
                                        <p:strVal val="visible"/>
                                      </p:to>
                                    </p:set>
                                    <p:anim calcmode="lin" valueType="num">
                                      <p:cBhvr>
                                        <p:cTn id="56" dur="500" fill="hold"/>
                                        <p:tgtEl>
                                          <p:spTgt spid="1081"/>
                                        </p:tgtEl>
                                        <p:attrNameLst>
                                          <p:attrName>ppt_w</p:attrName>
                                        </p:attrNameLst>
                                      </p:cBhvr>
                                      <p:tavLst>
                                        <p:tav tm="0">
                                          <p:val>
                                            <p:fltVal val="0"/>
                                          </p:val>
                                        </p:tav>
                                        <p:tav tm="100000">
                                          <p:val>
                                            <p:strVal val="#ppt_w"/>
                                          </p:val>
                                        </p:tav>
                                      </p:tavLst>
                                    </p:anim>
                                    <p:anim calcmode="lin" valueType="num">
                                      <p:cBhvr>
                                        <p:cTn id="57" dur="500" fill="hold"/>
                                        <p:tgtEl>
                                          <p:spTgt spid="1081"/>
                                        </p:tgtEl>
                                        <p:attrNameLst>
                                          <p:attrName>ppt_h</p:attrName>
                                        </p:attrNameLst>
                                      </p:cBhvr>
                                      <p:tavLst>
                                        <p:tav tm="0">
                                          <p:val>
                                            <p:fltVal val="0"/>
                                          </p:val>
                                        </p:tav>
                                        <p:tav tm="100000">
                                          <p:val>
                                            <p:strVal val="#ppt_h"/>
                                          </p:val>
                                        </p:tav>
                                      </p:tavLst>
                                    </p:anim>
                                    <p:animEffect transition="in" filter="fade">
                                      <p:cBhvr>
                                        <p:cTn id="58" dur="500"/>
                                        <p:tgtEl>
                                          <p:spTgt spid="1081"/>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8"/>
                                        </p:tgtEl>
                                        <p:attrNameLst>
                                          <p:attrName>style.visibility</p:attrName>
                                        </p:attrNameLst>
                                      </p:cBhvr>
                                      <p:to>
                                        <p:strVal val="visible"/>
                                      </p:to>
                                    </p:set>
                                    <p:animEffect transition="in" filter="fade">
                                      <p:cBhvr>
                                        <p:cTn id="61" dur="500"/>
                                        <p:tgtEl>
                                          <p:spTgt spid="18"/>
                                        </p:tgtEl>
                                      </p:cBhvr>
                                    </p:animEffect>
                                  </p:childTnLst>
                                </p:cTn>
                              </p:par>
                              <p:par>
                                <p:cTn id="62" presetID="53" presetClass="entr" presetSubtype="16" fill="hold" grpId="0" nodeType="withEffect">
                                  <p:stCondLst>
                                    <p:cond delay="200"/>
                                  </p:stCondLst>
                                  <p:childTnLst>
                                    <p:set>
                                      <p:cBhvr>
                                        <p:cTn id="63" dur="1" fill="hold">
                                          <p:stCondLst>
                                            <p:cond delay="0"/>
                                          </p:stCondLst>
                                        </p:cTn>
                                        <p:tgtEl>
                                          <p:spTgt spid="1084"/>
                                        </p:tgtEl>
                                        <p:attrNameLst>
                                          <p:attrName>style.visibility</p:attrName>
                                        </p:attrNameLst>
                                      </p:cBhvr>
                                      <p:to>
                                        <p:strVal val="visible"/>
                                      </p:to>
                                    </p:set>
                                    <p:anim calcmode="lin" valueType="num">
                                      <p:cBhvr>
                                        <p:cTn id="64" dur="500" fill="hold"/>
                                        <p:tgtEl>
                                          <p:spTgt spid="1084"/>
                                        </p:tgtEl>
                                        <p:attrNameLst>
                                          <p:attrName>ppt_w</p:attrName>
                                        </p:attrNameLst>
                                      </p:cBhvr>
                                      <p:tavLst>
                                        <p:tav tm="0">
                                          <p:val>
                                            <p:fltVal val="0"/>
                                          </p:val>
                                        </p:tav>
                                        <p:tav tm="100000">
                                          <p:val>
                                            <p:strVal val="#ppt_w"/>
                                          </p:val>
                                        </p:tav>
                                      </p:tavLst>
                                    </p:anim>
                                    <p:anim calcmode="lin" valueType="num">
                                      <p:cBhvr>
                                        <p:cTn id="65" dur="500" fill="hold"/>
                                        <p:tgtEl>
                                          <p:spTgt spid="1084"/>
                                        </p:tgtEl>
                                        <p:attrNameLst>
                                          <p:attrName>ppt_h</p:attrName>
                                        </p:attrNameLst>
                                      </p:cBhvr>
                                      <p:tavLst>
                                        <p:tav tm="0">
                                          <p:val>
                                            <p:fltVal val="0"/>
                                          </p:val>
                                        </p:tav>
                                        <p:tav tm="100000">
                                          <p:val>
                                            <p:strVal val="#ppt_h"/>
                                          </p:val>
                                        </p:tav>
                                      </p:tavLst>
                                    </p:anim>
                                    <p:animEffect transition="in" filter="fade">
                                      <p:cBhvr>
                                        <p:cTn id="66" dur="500"/>
                                        <p:tgtEl>
                                          <p:spTgt spid="1084"/>
                                        </p:tgtEl>
                                      </p:cBhvr>
                                    </p:animEffect>
                                  </p:childTnLst>
                                </p:cTn>
                              </p:par>
                              <p:par>
                                <p:cTn id="67" presetID="53" presetClass="entr" presetSubtype="16" fill="hold" grpId="0" nodeType="withEffect">
                                  <p:stCondLst>
                                    <p:cond delay="0"/>
                                  </p:stCondLst>
                                  <p:childTnLst>
                                    <p:set>
                                      <p:cBhvr>
                                        <p:cTn id="68" dur="1" fill="hold">
                                          <p:stCondLst>
                                            <p:cond delay="0"/>
                                          </p:stCondLst>
                                        </p:cTn>
                                        <p:tgtEl>
                                          <p:spTgt spid="1078"/>
                                        </p:tgtEl>
                                        <p:attrNameLst>
                                          <p:attrName>style.visibility</p:attrName>
                                        </p:attrNameLst>
                                      </p:cBhvr>
                                      <p:to>
                                        <p:strVal val="visible"/>
                                      </p:to>
                                    </p:set>
                                    <p:anim calcmode="lin" valueType="num">
                                      <p:cBhvr>
                                        <p:cTn id="69" dur="500" fill="hold"/>
                                        <p:tgtEl>
                                          <p:spTgt spid="1078"/>
                                        </p:tgtEl>
                                        <p:attrNameLst>
                                          <p:attrName>ppt_w</p:attrName>
                                        </p:attrNameLst>
                                      </p:cBhvr>
                                      <p:tavLst>
                                        <p:tav tm="0">
                                          <p:val>
                                            <p:fltVal val="0"/>
                                          </p:val>
                                        </p:tav>
                                        <p:tav tm="100000">
                                          <p:val>
                                            <p:strVal val="#ppt_w"/>
                                          </p:val>
                                        </p:tav>
                                      </p:tavLst>
                                    </p:anim>
                                    <p:anim calcmode="lin" valueType="num">
                                      <p:cBhvr>
                                        <p:cTn id="70" dur="500" fill="hold"/>
                                        <p:tgtEl>
                                          <p:spTgt spid="1078"/>
                                        </p:tgtEl>
                                        <p:attrNameLst>
                                          <p:attrName>ppt_h</p:attrName>
                                        </p:attrNameLst>
                                      </p:cBhvr>
                                      <p:tavLst>
                                        <p:tav tm="0">
                                          <p:val>
                                            <p:fltVal val="0"/>
                                          </p:val>
                                        </p:tav>
                                        <p:tav tm="100000">
                                          <p:val>
                                            <p:strVal val="#ppt_h"/>
                                          </p:val>
                                        </p:tav>
                                      </p:tavLst>
                                    </p:anim>
                                    <p:animEffect transition="in" filter="fade">
                                      <p:cBhvr>
                                        <p:cTn id="71" dur="500"/>
                                        <p:tgtEl>
                                          <p:spTgt spid="1078"/>
                                        </p:tgtEl>
                                      </p:cBhvr>
                                    </p:animEffect>
                                  </p:childTnLst>
                                </p:cTn>
                              </p:par>
                              <p:par>
                                <p:cTn id="72" presetID="53" presetClass="entr" presetSubtype="16" fill="hold" grpId="0" nodeType="withEffect">
                                  <p:stCondLst>
                                    <p:cond delay="200"/>
                                  </p:stCondLst>
                                  <p:childTnLst>
                                    <p:set>
                                      <p:cBhvr>
                                        <p:cTn id="73" dur="1" fill="hold">
                                          <p:stCondLst>
                                            <p:cond delay="0"/>
                                          </p:stCondLst>
                                        </p:cTn>
                                        <p:tgtEl>
                                          <p:spTgt spid="1067"/>
                                        </p:tgtEl>
                                        <p:attrNameLst>
                                          <p:attrName>style.visibility</p:attrName>
                                        </p:attrNameLst>
                                      </p:cBhvr>
                                      <p:to>
                                        <p:strVal val="visible"/>
                                      </p:to>
                                    </p:set>
                                    <p:anim calcmode="lin" valueType="num">
                                      <p:cBhvr>
                                        <p:cTn id="74" dur="500" fill="hold"/>
                                        <p:tgtEl>
                                          <p:spTgt spid="1067"/>
                                        </p:tgtEl>
                                        <p:attrNameLst>
                                          <p:attrName>ppt_w</p:attrName>
                                        </p:attrNameLst>
                                      </p:cBhvr>
                                      <p:tavLst>
                                        <p:tav tm="0">
                                          <p:val>
                                            <p:fltVal val="0"/>
                                          </p:val>
                                        </p:tav>
                                        <p:tav tm="100000">
                                          <p:val>
                                            <p:strVal val="#ppt_w"/>
                                          </p:val>
                                        </p:tav>
                                      </p:tavLst>
                                    </p:anim>
                                    <p:anim calcmode="lin" valueType="num">
                                      <p:cBhvr>
                                        <p:cTn id="75" dur="500" fill="hold"/>
                                        <p:tgtEl>
                                          <p:spTgt spid="1067"/>
                                        </p:tgtEl>
                                        <p:attrNameLst>
                                          <p:attrName>ppt_h</p:attrName>
                                        </p:attrNameLst>
                                      </p:cBhvr>
                                      <p:tavLst>
                                        <p:tav tm="0">
                                          <p:val>
                                            <p:fltVal val="0"/>
                                          </p:val>
                                        </p:tav>
                                        <p:tav tm="100000">
                                          <p:val>
                                            <p:strVal val="#ppt_h"/>
                                          </p:val>
                                        </p:tav>
                                      </p:tavLst>
                                    </p:anim>
                                    <p:animEffect transition="in" filter="fade">
                                      <p:cBhvr>
                                        <p:cTn id="76" dur="500"/>
                                        <p:tgtEl>
                                          <p:spTgt spid="1067"/>
                                        </p:tgtEl>
                                      </p:cBhvr>
                                    </p:animEffect>
                                  </p:childTnLst>
                                </p:cTn>
                              </p:par>
                              <p:par>
                                <p:cTn id="77" presetID="53" presetClass="entr" presetSubtype="16" fill="hold" nodeType="withEffect">
                                  <p:stCondLst>
                                    <p:cond delay="0"/>
                                  </p:stCondLst>
                                  <p:childTnLst>
                                    <p:set>
                                      <p:cBhvr>
                                        <p:cTn id="78" dur="1" fill="hold">
                                          <p:stCondLst>
                                            <p:cond delay="0"/>
                                          </p:stCondLst>
                                        </p:cTn>
                                        <p:tgtEl>
                                          <p:spTgt spid="1072"/>
                                        </p:tgtEl>
                                        <p:attrNameLst>
                                          <p:attrName>style.visibility</p:attrName>
                                        </p:attrNameLst>
                                      </p:cBhvr>
                                      <p:to>
                                        <p:strVal val="visible"/>
                                      </p:to>
                                    </p:set>
                                    <p:anim calcmode="lin" valueType="num">
                                      <p:cBhvr>
                                        <p:cTn id="79" dur="500" fill="hold"/>
                                        <p:tgtEl>
                                          <p:spTgt spid="1072"/>
                                        </p:tgtEl>
                                        <p:attrNameLst>
                                          <p:attrName>ppt_w</p:attrName>
                                        </p:attrNameLst>
                                      </p:cBhvr>
                                      <p:tavLst>
                                        <p:tav tm="0">
                                          <p:val>
                                            <p:fltVal val="0"/>
                                          </p:val>
                                        </p:tav>
                                        <p:tav tm="100000">
                                          <p:val>
                                            <p:strVal val="#ppt_w"/>
                                          </p:val>
                                        </p:tav>
                                      </p:tavLst>
                                    </p:anim>
                                    <p:anim calcmode="lin" valueType="num">
                                      <p:cBhvr>
                                        <p:cTn id="80" dur="500" fill="hold"/>
                                        <p:tgtEl>
                                          <p:spTgt spid="1072"/>
                                        </p:tgtEl>
                                        <p:attrNameLst>
                                          <p:attrName>ppt_h</p:attrName>
                                        </p:attrNameLst>
                                      </p:cBhvr>
                                      <p:tavLst>
                                        <p:tav tm="0">
                                          <p:val>
                                            <p:fltVal val="0"/>
                                          </p:val>
                                        </p:tav>
                                        <p:tav tm="100000">
                                          <p:val>
                                            <p:strVal val="#ppt_h"/>
                                          </p:val>
                                        </p:tav>
                                      </p:tavLst>
                                    </p:anim>
                                    <p:animEffect transition="in" filter="fade">
                                      <p:cBhvr>
                                        <p:cTn id="81" dur="500"/>
                                        <p:tgtEl>
                                          <p:spTgt spid="1072"/>
                                        </p:tgtEl>
                                      </p:cBhvr>
                                    </p:animEffect>
                                  </p:childTnLst>
                                </p:cTn>
                              </p:par>
                              <p:par>
                                <p:cTn id="82" presetID="53" presetClass="entr" presetSubtype="16" fill="hold" grpId="0" nodeType="withEffect">
                                  <p:stCondLst>
                                    <p:cond delay="600"/>
                                  </p:stCondLst>
                                  <p:childTnLst>
                                    <p:set>
                                      <p:cBhvr>
                                        <p:cTn id="83" dur="1" fill="hold">
                                          <p:stCondLst>
                                            <p:cond delay="0"/>
                                          </p:stCondLst>
                                        </p:cTn>
                                        <p:tgtEl>
                                          <p:spTgt spid="1075"/>
                                        </p:tgtEl>
                                        <p:attrNameLst>
                                          <p:attrName>style.visibility</p:attrName>
                                        </p:attrNameLst>
                                      </p:cBhvr>
                                      <p:to>
                                        <p:strVal val="visible"/>
                                      </p:to>
                                    </p:set>
                                    <p:anim calcmode="lin" valueType="num">
                                      <p:cBhvr>
                                        <p:cTn id="84" dur="500" fill="hold"/>
                                        <p:tgtEl>
                                          <p:spTgt spid="1075"/>
                                        </p:tgtEl>
                                        <p:attrNameLst>
                                          <p:attrName>ppt_w</p:attrName>
                                        </p:attrNameLst>
                                      </p:cBhvr>
                                      <p:tavLst>
                                        <p:tav tm="0">
                                          <p:val>
                                            <p:fltVal val="0"/>
                                          </p:val>
                                        </p:tav>
                                        <p:tav tm="100000">
                                          <p:val>
                                            <p:strVal val="#ppt_w"/>
                                          </p:val>
                                        </p:tav>
                                      </p:tavLst>
                                    </p:anim>
                                    <p:anim calcmode="lin" valueType="num">
                                      <p:cBhvr>
                                        <p:cTn id="85" dur="500" fill="hold"/>
                                        <p:tgtEl>
                                          <p:spTgt spid="1075"/>
                                        </p:tgtEl>
                                        <p:attrNameLst>
                                          <p:attrName>ppt_h</p:attrName>
                                        </p:attrNameLst>
                                      </p:cBhvr>
                                      <p:tavLst>
                                        <p:tav tm="0">
                                          <p:val>
                                            <p:fltVal val="0"/>
                                          </p:val>
                                        </p:tav>
                                        <p:tav tm="100000">
                                          <p:val>
                                            <p:strVal val="#ppt_h"/>
                                          </p:val>
                                        </p:tav>
                                      </p:tavLst>
                                    </p:anim>
                                    <p:animEffect transition="in" filter="fade">
                                      <p:cBhvr>
                                        <p:cTn id="86" dur="500"/>
                                        <p:tgtEl>
                                          <p:spTgt spid="1075"/>
                                        </p:tgtEl>
                                      </p:cBhvr>
                                    </p:animEffect>
                                  </p:childTnLst>
                                </p:cTn>
                              </p:par>
                              <p:par>
                                <p:cTn id="87" presetID="53" presetClass="entr" presetSubtype="16" fill="hold" grpId="0" nodeType="withEffect">
                                  <p:stCondLst>
                                    <p:cond delay="0"/>
                                  </p:stCondLst>
                                  <p:childTnLst>
                                    <p:set>
                                      <p:cBhvr>
                                        <p:cTn id="88" dur="1" fill="hold">
                                          <p:stCondLst>
                                            <p:cond delay="0"/>
                                          </p:stCondLst>
                                        </p:cTn>
                                        <p:tgtEl>
                                          <p:spTgt spid="1066"/>
                                        </p:tgtEl>
                                        <p:attrNameLst>
                                          <p:attrName>style.visibility</p:attrName>
                                        </p:attrNameLst>
                                      </p:cBhvr>
                                      <p:to>
                                        <p:strVal val="visible"/>
                                      </p:to>
                                    </p:set>
                                    <p:anim calcmode="lin" valueType="num">
                                      <p:cBhvr>
                                        <p:cTn id="89" dur="500" fill="hold"/>
                                        <p:tgtEl>
                                          <p:spTgt spid="1066"/>
                                        </p:tgtEl>
                                        <p:attrNameLst>
                                          <p:attrName>ppt_w</p:attrName>
                                        </p:attrNameLst>
                                      </p:cBhvr>
                                      <p:tavLst>
                                        <p:tav tm="0">
                                          <p:val>
                                            <p:fltVal val="0"/>
                                          </p:val>
                                        </p:tav>
                                        <p:tav tm="100000">
                                          <p:val>
                                            <p:strVal val="#ppt_w"/>
                                          </p:val>
                                        </p:tav>
                                      </p:tavLst>
                                    </p:anim>
                                    <p:anim calcmode="lin" valueType="num">
                                      <p:cBhvr>
                                        <p:cTn id="90" dur="500" fill="hold"/>
                                        <p:tgtEl>
                                          <p:spTgt spid="1066"/>
                                        </p:tgtEl>
                                        <p:attrNameLst>
                                          <p:attrName>ppt_h</p:attrName>
                                        </p:attrNameLst>
                                      </p:cBhvr>
                                      <p:tavLst>
                                        <p:tav tm="0">
                                          <p:val>
                                            <p:fltVal val="0"/>
                                          </p:val>
                                        </p:tav>
                                        <p:tav tm="100000">
                                          <p:val>
                                            <p:strVal val="#ppt_h"/>
                                          </p:val>
                                        </p:tav>
                                      </p:tavLst>
                                    </p:anim>
                                    <p:animEffect transition="in" filter="fade">
                                      <p:cBhvr>
                                        <p:cTn id="91" dur="500"/>
                                        <p:tgtEl>
                                          <p:spTgt spid="1066"/>
                                        </p:tgtEl>
                                      </p:cBhvr>
                                    </p:animEffect>
                                  </p:childTnLst>
                                </p:cTn>
                              </p:par>
                              <p:par>
                                <p:cTn id="92" presetID="53" presetClass="entr" presetSubtype="16" fill="hold" nodeType="withEffect">
                                  <p:stCondLst>
                                    <p:cond delay="200"/>
                                  </p:stCondLst>
                                  <p:childTnLst>
                                    <p:set>
                                      <p:cBhvr>
                                        <p:cTn id="93" dur="1" fill="hold">
                                          <p:stCondLst>
                                            <p:cond delay="0"/>
                                          </p:stCondLst>
                                        </p:cTn>
                                        <p:tgtEl>
                                          <p:spTgt spid="1069"/>
                                        </p:tgtEl>
                                        <p:attrNameLst>
                                          <p:attrName>style.visibility</p:attrName>
                                        </p:attrNameLst>
                                      </p:cBhvr>
                                      <p:to>
                                        <p:strVal val="visible"/>
                                      </p:to>
                                    </p:set>
                                    <p:anim calcmode="lin" valueType="num">
                                      <p:cBhvr>
                                        <p:cTn id="94" dur="500" fill="hold"/>
                                        <p:tgtEl>
                                          <p:spTgt spid="1069"/>
                                        </p:tgtEl>
                                        <p:attrNameLst>
                                          <p:attrName>ppt_w</p:attrName>
                                        </p:attrNameLst>
                                      </p:cBhvr>
                                      <p:tavLst>
                                        <p:tav tm="0">
                                          <p:val>
                                            <p:fltVal val="0"/>
                                          </p:val>
                                        </p:tav>
                                        <p:tav tm="100000">
                                          <p:val>
                                            <p:strVal val="#ppt_w"/>
                                          </p:val>
                                        </p:tav>
                                      </p:tavLst>
                                    </p:anim>
                                    <p:anim calcmode="lin" valueType="num">
                                      <p:cBhvr>
                                        <p:cTn id="95" dur="500" fill="hold"/>
                                        <p:tgtEl>
                                          <p:spTgt spid="1069"/>
                                        </p:tgtEl>
                                        <p:attrNameLst>
                                          <p:attrName>ppt_h</p:attrName>
                                        </p:attrNameLst>
                                      </p:cBhvr>
                                      <p:tavLst>
                                        <p:tav tm="0">
                                          <p:val>
                                            <p:fltVal val="0"/>
                                          </p:val>
                                        </p:tav>
                                        <p:tav tm="100000">
                                          <p:val>
                                            <p:strVal val="#ppt_h"/>
                                          </p:val>
                                        </p:tav>
                                      </p:tavLst>
                                    </p:anim>
                                    <p:animEffect transition="in" filter="fade">
                                      <p:cBhvr>
                                        <p:cTn id="96" dur="500"/>
                                        <p:tgtEl>
                                          <p:spTgt spid="1069"/>
                                        </p:tgtEl>
                                      </p:cBhvr>
                                    </p:animEffect>
                                  </p:childTnLst>
                                </p:cTn>
                              </p:par>
                              <p:par>
                                <p:cTn id="97" presetID="53" presetClass="entr" presetSubtype="16" fill="hold" grpId="0" nodeType="withEffect">
                                  <p:stCondLst>
                                    <p:cond delay="400"/>
                                  </p:stCondLst>
                                  <p:childTnLst>
                                    <p:set>
                                      <p:cBhvr>
                                        <p:cTn id="98" dur="1" fill="hold">
                                          <p:stCondLst>
                                            <p:cond delay="0"/>
                                          </p:stCondLst>
                                        </p:cTn>
                                        <p:tgtEl>
                                          <p:spTgt spid="1079"/>
                                        </p:tgtEl>
                                        <p:attrNameLst>
                                          <p:attrName>style.visibility</p:attrName>
                                        </p:attrNameLst>
                                      </p:cBhvr>
                                      <p:to>
                                        <p:strVal val="visible"/>
                                      </p:to>
                                    </p:set>
                                    <p:anim calcmode="lin" valueType="num">
                                      <p:cBhvr>
                                        <p:cTn id="99" dur="500" fill="hold"/>
                                        <p:tgtEl>
                                          <p:spTgt spid="1079"/>
                                        </p:tgtEl>
                                        <p:attrNameLst>
                                          <p:attrName>ppt_w</p:attrName>
                                        </p:attrNameLst>
                                      </p:cBhvr>
                                      <p:tavLst>
                                        <p:tav tm="0">
                                          <p:val>
                                            <p:fltVal val="0"/>
                                          </p:val>
                                        </p:tav>
                                        <p:tav tm="100000">
                                          <p:val>
                                            <p:strVal val="#ppt_w"/>
                                          </p:val>
                                        </p:tav>
                                      </p:tavLst>
                                    </p:anim>
                                    <p:anim calcmode="lin" valueType="num">
                                      <p:cBhvr>
                                        <p:cTn id="100" dur="500" fill="hold"/>
                                        <p:tgtEl>
                                          <p:spTgt spid="1079"/>
                                        </p:tgtEl>
                                        <p:attrNameLst>
                                          <p:attrName>ppt_h</p:attrName>
                                        </p:attrNameLst>
                                      </p:cBhvr>
                                      <p:tavLst>
                                        <p:tav tm="0">
                                          <p:val>
                                            <p:fltVal val="0"/>
                                          </p:val>
                                        </p:tav>
                                        <p:tav tm="100000">
                                          <p:val>
                                            <p:strVal val="#ppt_h"/>
                                          </p:val>
                                        </p:tav>
                                      </p:tavLst>
                                    </p:anim>
                                    <p:animEffect transition="in" filter="fade">
                                      <p:cBhvr>
                                        <p:cTn id="101" dur="500"/>
                                        <p:tgtEl>
                                          <p:spTgt spid="1079"/>
                                        </p:tgtEl>
                                      </p:cBhvr>
                                    </p:animEffect>
                                  </p:childTnLst>
                                </p:cTn>
                              </p:par>
                              <p:par>
                                <p:cTn id="102" presetID="53" presetClass="entr" presetSubtype="16" fill="hold" grpId="0" nodeType="withEffect">
                                  <p:stCondLst>
                                    <p:cond delay="0"/>
                                  </p:stCondLst>
                                  <p:childTnLst>
                                    <p:set>
                                      <p:cBhvr>
                                        <p:cTn id="103" dur="1" fill="hold">
                                          <p:stCondLst>
                                            <p:cond delay="0"/>
                                          </p:stCondLst>
                                        </p:cTn>
                                        <p:tgtEl>
                                          <p:spTgt spid="1076"/>
                                        </p:tgtEl>
                                        <p:attrNameLst>
                                          <p:attrName>style.visibility</p:attrName>
                                        </p:attrNameLst>
                                      </p:cBhvr>
                                      <p:to>
                                        <p:strVal val="visible"/>
                                      </p:to>
                                    </p:set>
                                    <p:anim calcmode="lin" valueType="num">
                                      <p:cBhvr>
                                        <p:cTn id="104" dur="500" fill="hold"/>
                                        <p:tgtEl>
                                          <p:spTgt spid="1076"/>
                                        </p:tgtEl>
                                        <p:attrNameLst>
                                          <p:attrName>ppt_w</p:attrName>
                                        </p:attrNameLst>
                                      </p:cBhvr>
                                      <p:tavLst>
                                        <p:tav tm="0">
                                          <p:val>
                                            <p:fltVal val="0"/>
                                          </p:val>
                                        </p:tav>
                                        <p:tav tm="100000">
                                          <p:val>
                                            <p:strVal val="#ppt_w"/>
                                          </p:val>
                                        </p:tav>
                                      </p:tavLst>
                                    </p:anim>
                                    <p:anim calcmode="lin" valueType="num">
                                      <p:cBhvr>
                                        <p:cTn id="105" dur="500" fill="hold"/>
                                        <p:tgtEl>
                                          <p:spTgt spid="1076"/>
                                        </p:tgtEl>
                                        <p:attrNameLst>
                                          <p:attrName>ppt_h</p:attrName>
                                        </p:attrNameLst>
                                      </p:cBhvr>
                                      <p:tavLst>
                                        <p:tav tm="0">
                                          <p:val>
                                            <p:fltVal val="0"/>
                                          </p:val>
                                        </p:tav>
                                        <p:tav tm="100000">
                                          <p:val>
                                            <p:strVal val="#ppt_h"/>
                                          </p:val>
                                        </p:tav>
                                      </p:tavLst>
                                    </p:anim>
                                    <p:animEffect transition="in" filter="fade">
                                      <p:cBhvr>
                                        <p:cTn id="106" dur="500"/>
                                        <p:tgtEl>
                                          <p:spTgt spid="1076"/>
                                        </p:tgtEl>
                                      </p:cBhvr>
                                    </p:animEffect>
                                  </p:childTnLst>
                                </p:cTn>
                              </p:par>
                              <p:par>
                                <p:cTn id="107" presetID="53" presetClass="entr" presetSubtype="16" fill="hold" grpId="0" nodeType="withEffect">
                                  <p:stCondLst>
                                    <p:cond delay="400"/>
                                  </p:stCondLst>
                                  <p:childTnLst>
                                    <p:set>
                                      <p:cBhvr>
                                        <p:cTn id="108" dur="1" fill="hold">
                                          <p:stCondLst>
                                            <p:cond delay="0"/>
                                          </p:stCondLst>
                                        </p:cTn>
                                        <p:tgtEl>
                                          <p:spTgt spid="1068"/>
                                        </p:tgtEl>
                                        <p:attrNameLst>
                                          <p:attrName>style.visibility</p:attrName>
                                        </p:attrNameLst>
                                      </p:cBhvr>
                                      <p:to>
                                        <p:strVal val="visible"/>
                                      </p:to>
                                    </p:set>
                                    <p:anim calcmode="lin" valueType="num">
                                      <p:cBhvr>
                                        <p:cTn id="109" dur="500" fill="hold"/>
                                        <p:tgtEl>
                                          <p:spTgt spid="1068"/>
                                        </p:tgtEl>
                                        <p:attrNameLst>
                                          <p:attrName>ppt_w</p:attrName>
                                        </p:attrNameLst>
                                      </p:cBhvr>
                                      <p:tavLst>
                                        <p:tav tm="0">
                                          <p:val>
                                            <p:fltVal val="0"/>
                                          </p:val>
                                        </p:tav>
                                        <p:tav tm="100000">
                                          <p:val>
                                            <p:strVal val="#ppt_w"/>
                                          </p:val>
                                        </p:tav>
                                      </p:tavLst>
                                    </p:anim>
                                    <p:anim calcmode="lin" valueType="num">
                                      <p:cBhvr>
                                        <p:cTn id="110" dur="500" fill="hold"/>
                                        <p:tgtEl>
                                          <p:spTgt spid="1068"/>
                                        </p:tgtEl>
                                        <p:attrNameLst>
                                          <p:attrName>ppt_h</p:attrName>
                                        </p:attrNameLst>
                                      </p:cBhvr>
                                      <p:tavLst>
                                        <p:tav tm="0">
                                          <p:val>
                                            <p:fltVal val="0"/>
                                          </p:val>
                                        </p:tav>
                                        <p:tav tm="100000">
                                          <p:val>
                                            <p:strVal val="#ppt_h"/>
                                          </p:val>
                                        </p:tav>
                                      </p:tavLst>
                                    </p:anim>
                                    <p:animEffect transition="in" filter="fade">
                                      <p:cBhvr>
                                        <p:cTn id="111" dur="500"/>
                                        <p:tgtEl>
                                          <p:spTgt spid="1068"/>
                                        </p:tgtEl>
                                      </p:cBhvr>
                                    </p:animEffect>
                                  </p:childTnLst>
                                </p:cTn>
                              </p:par>
                              <p:par>
                                <p:cTn id="112" presetID="53" presetClass="entr" presetSubtype="16" fill="hold" grpId="0" nodeType="withEffect">
                                  <p:stCondLst>
                                    <p:cond delay="0"/>
                                  </p:stCondLst>
                                  <p:childTnLst>
                                    <p:set>
                                      <p:cBhvr>
                                        <p:cTn id="113" dur="1" fill="hold">
                                          <p:stCondLst>
                                            <p:cond delay="0"/>
                                          </p:stCondLst>
                                        </p:cTn>
                                        <p:tgtEl>
                                          <p:spTgt spid="1086"/>
                                        </p:tgtEl>
                                        <p:attrNameLst>
                                          <p:attrName>style.visibility</p:attrName>
                                        </p:attrNameLst>
                                      </p:cBhvr>
                                      <p:to>
                                        <p:strVal val="visible"/>
                                      </p:to>
                                    </p:set>
                                    <p:anim calcmode="lin" valueType="num">
                                      <p:cBhvr>
                                        <p:cTn id="114" dur="500" fill="hold"/>
                                        <p:tgtEl>
                                          <p:spTgt spid="1086"/>
                                        </p:tgtEl>
                                        <p:attrNameLst>
                                          <p:attrName>ppt_w</p:attrName>
                                        </p:attrNameLst>
                                      </p:cBhvr>
                                      <p:tavLst>
                                        <p:tav tm="0">
                                          <p:val>
                                            <p:fltVal val="0"/>
                                          </p:val>
                                        </p:tav>
                                        <p:tav tm="100000">
                                          <p:val>
                                            <p:strVal val="#ppt_w"/>
                                          </p:val>
                                        </p:tav>
                                      </p:tavLst>
                                    </p:anim>
                                    <p:anim calcmode="lin" valueType="num">
                                      <p:cBhvr>
                                        <p:cTn id="115" dur="500" fill="hold"/>
                                        <p:tgtEl>
                                          <p:spTgt spid="1086"/>
                                        </p:tgtEl>
                                        <p:attrNameLst>
                                          <p:attrName>ppt_h</p:attrName>
                                        </p:attrNameLst>
                                      </p:cBhvr>
                                      <p:tavLst>
                                        <p:tav tm="0">
                                          <p:val>
                                            <p:fltVal val="0"/>
                                          </p:val>
                                        </p:tav>
                                        <p:tav tm="100000">
                                          <p:val>
                                            <p:strVal val="#ppt_h"/>
                                          </p:val>
                                        </p:tav>
                                      </p:tavLst>
                                    </p:anim>
                                    <p:animEffect transition="in" filter="fade">
                                      <p:cBhvr>
                                        <p:cTn id="116" dur="500"/>
                                        <p:tgtEl>
                                          <p:spTgt spid="1086"/>
                                        </p:tgtEl>
                                      </p:cBhvr>
                                    </p:animEffect>
                                  </p:childTnLst>
                                </p:cTn>
                              </p:par>
                              <p:par>
                                <p:cTn id="117" presetID="53" presetClass="entr" presetSubtype="16" fill="hold" grpId="0" nodeType="withEffect">
                                  <p:stCondLst>
                                    <p:cond delay="0"/>
                                  </p:stCondLst>
                                  <p:childTnLst>
                                    <p:set>
                                      <p:cBhvr>
                                        <p:cTn id="118" dur="1" fill="hold">
                                          <p:stCondLst>
                                            <p:cond delay="0"/>
                                          </p:stCondLst>
                                        </p:cTn>
                                        <p:tgtEl>
                                          <p:spTgt spid="1080"/>
                                        </p:tgtEl>
                                        <p:attrNameLst>
                                          <p:attrName>style.visibility</p:attrName>
                                        </p:attrNameLst>
                                      </p:cBhvr>
                                      <p:to>
                                        <p:strVal val="visible"/>
                                      </p:to>
                                    </p:set>
                                    <p:anim calcmode="lin" valueType="num">
                                      <p:cBhvr>
                                        <p:cTn id="119" dur="500" fill="hold"/>
                                        <p:tgtEl>
                                          <p:spTgt spid="1080"/>
                                        </p:tgtEl>
                                        <p:attrNameLst>
                                          <p:attrName>ppt_w</p:attrName>
                                        </p:attrNameLst>
                                      </p:cBhvr>
                                      <p:tavLst>
                                        <p:tav tm="0">
                                          <p:val>
                                            <p:fltVal val="0"/>
                                          </p:val>
                                        </p:tav>
                                        <p:tav tm="100000">
                                          <p:val>
                                            <p:strVal val="#ppt_w"/>
                                          </p:val>
                                        </p:tav>
                                      </p:tavLst>
                                    </p:anim>
                                    <p:anim calcmode="lin" valueType="num">
                                      <p:cBhvr>
                                        <p:cTn id="120" dur="500" fill="hold"/>
                                        <p:tgtEl>
                                          <p:spTgt spid="1080"/>
                                        </p:tgtEl>
                                        <p:attrNameLst>
                                          <p:attrName>ppt_h</p:attrName>
                                        </p:attrNameLst>
                                      </p:cBhvr>
                                      <p:tavLst>
                                        <p:tav tm="0">
                                          <p:val>
                                            <p:fltVal val="0"/>
                                          </p:val>
                                        </p:tav>
                                        <p:tav tm="100000">
                                          <p:val>
                                            <p:strVal val="#ppt_h"/>
                                          </p:val>
                                        </p:tav>
                                      </p:tavLst>
                                    </p:anim>
                                    <p:animEffect transition="in" filter="fade">
                                      <p:cBhvr>
                                        <p:cTn id="121" dur="500"/>
                                        <p:tgtEl>
                                          <p:spTgt spid="1080"/>
                                        </p:tgtEl>
                                      </p:cBhvr>
                                    </p:animEffect>
                                  </p:childTnLst>
                                </p:cTn>
                              </p:par>
                              <p:par>
                                <p:cTn id="122" presetID="53" presetClass="entr" presetSubtype="16" fill="hold" grpId="0" nodeType="withEffect">
                                  <p:stCondLst>
                                    <p:cond delay="0"/>
                                  </p:stCondLst>
                                  <p:childTnLst>
                                    <p:set>
                                      <p:cBhvr>
                                        <p:cTn id="123" dur="1" fill="hold">
                                          <p:stCondLst>
                                            <p:cond delay="0"/>
                                          </p:stCondLst>
                                        </p:cTn>
                                        <p:tgtEl>
                                          <p:spTgt spid="1077"/>
                                        </p:tgtEl>
                                        <p:attrNameLst>
                                          <p:attrName>style.visibility</p:attrName>
                                        </p:attrNameLst>
                                      </p:cBhvr>
                                      <p:to>
                                        <p:strVal val="visible"/>
                                      </p:to>
                                    </p:set>
                                    <p:anim calcmode="lin" valueType="num">
                                      <p:cBhvr>
                                        <p:cTn id="124" dur="500" fill="hold"/>
                                        <p:tgtEl>
                                          <p:spTgt spid="1077"/>
                                        </p:tgtEl>
                                        <p:attrNameLst>
                                          <p:attrName>ppt_w</p:attrName>
                                        </p:attrNameLst>
                                      </p:cBhvr>
                                      <p:tavLst>
                                        <p:tav tm="0">
                                          <p:val>
                                            <p:fltVal val="0"/>
                                          </p:val>
                                        </p:tav>
                                        <p:tav tm="100000">
                                          <p:val>
                                            <p:strVal val="#ppt_w"/>
                                          </p:val>
                                        </p:tav>
                                      </p:tavLst>
                                    </p:anim>
                                    <p:anim calcmode="lin" valueType="num">
                                      <p:cBhvr>
                                        <p:cTn id="125" dur="500" fill="hold"/>
                                        <p:tgtEl>
                                          <p:spTgt spid="1077"/>
                                        </p:tgtEl>
                                        <p:attrNameLst>
                                          <p:attrName>ppt_h</p:attrName>
                                        </p:attrNameLst>
                                      </p:cBhvr>
                                      <p:tavLst>
                                        <p:tav tm="0">
                                          <p:val>
                                            <p:fltVal val="0"/>
                                          </p:val>
                                        </p:tav>
                                        <p:tav tm="100000">
                                          <p:val>
                                            <p:strVal val="#ppt_h"/>
                                          </p:val>
                                        </p:tav>
                                      </p:tavLst>
                                    </p:anim>
                                    <p:animEffect transition="in" filter="fade">
                                      <p:cBhvr>
                                        <p:cTn id="126" dur="500"/>
                                        <p:tgtEl>
                                          <p:spTgt spid="1077"/>
                                        </p:tgtEl>
                                      </p:cBhvr>
                                    </p:animEffect>
                                  </p:childTnLst>
                                </p:cTn>
                              </p:par>
                              <p:par>
                                <p:cTn id="127" presetID="53" presetClass="entr" presetSubtype="16" fill="hold" grpId="0" nodeType="withEffect">
                                  <p:stCondLst>
                                    <p:cond delay="200"/>
                                  </p:stCondLst>
                                  <p:childTnLst>
                                    <p:set>
                                      <p:cBhvr>
                                        <p:cTn id="128" dur="1" fill="hold">
                                          <p:stCondLst>
                                            <p:cond delay="0"/>
                                          </p:stCondLst>
                                        </p:cTn>
                                        <p:tgtEl>
                                          <p:spTgt spid="1085"/>
                                        </p:tgtEl>
                                        <p:attrNameLst>
                                          <p:attrName>style.visibility</p:attrName>
                                        </p:attrNameLst>
                                      </p:cBhvr>
                                      <p:to>
                                        <p:strVal val="visible"/>
                                      </p:to>
                                    </p:set>
                                    <p:anim calcmode="lin" valueType="num">
                                      <p:cBhvr>
                                        <p:cTn id="129" dur="500" fill="hold"/>
                                        <p:tgtEl>
                                          <p:spTgt spid="1085"/>
                                        </p:tgtEl>
                                        <p:attrNameLst>
                                          <p:attrName>ppt_w</p:attrName>
                                        </p:attrNameLst>
                                      </p:cBhvr>
                                      <p:tavLst>
                                        <p:tav tm="0">
                                          <p:val>
                                            <p:fltVal val="0"/>
                                          </p:val>
                                        </p:tav>
                                        <p:tav tm="100000">
                                          <p:val>
                                            <p:strVal val="#ppt_w"/>
                                          </p:val>
                                        </p:tav>
                                      </p:tavLst>
                                    </p:anim>
                                    <p:anim calcmode="lin" valueType="num">
                                      <p:cBhvr>
                                        <p:cTn id="130" dur="500" fill="hold"/>
                                        <p:tgtEl>
                                          <p:spTgt spid="1085"/>
                                        </p:tgtEl>
                                        <p:attrNameLst>
                                          <p:attrName>ppt_h</p:attrName>
                                        </p:attrNameLst>
                                      </p:cBhvr>
                                      <p:tavLst>
                                        <p:tav tm="0">
                                          <p:val>
                                            <p:fltVal val="0"/>
                                          </p:val>
                                        </p:tav>
                                        <p:tav tm="100000">
                                          <p:val>
                                            <p:strVal val="#ppt_h"/>
                                          </p:val>
                                        </p:tav>
                                      </p:tavLst>
                                    </p:anim>
                                    <p:animEffect transition="in" filter="fade">
                                      <p:cBhvr>
                                        <p:cTn id="131" dur="500"/>
                                        <p:tgtEl>
                                          <p:spTgt spid="1085"/>
                                        </p:tgtEl>
                                      </p:cBhvr>
                                    </p:animEffect>
                                  </p:childTnLst>
                                </p:cTn>
                              </p:par>
                              <p:par>
                                <p:cTn id="132" presetID="53" presetClass="entr" presetSubtype="16" fill="hold" nodeType="withEffect">
                                  <p:stCondLst>
                                    <p:cond delay="200"/>
                                  </p:stCondLst>
                                  <p:childTnLst>
                                    <p:set>
                                      <p:cBhvr>
                                        <p:cTn id="133" dur="1" fill="hold">
                                          <p:stCondLst>
                                            <p:cond delay="0"/>
                                          </p:stCondLst>
                                        </p:cTn>
                                        <p:tgtEl>
                                          <p:spTgt spid="5"/>
                                        </p:tgtEl>
                                        <p:attrNameLst>
                                          <p:attrName>style.visibility</p:attrName>
                                        </p:attrNameLst>
                                      </p:cBhvr>
                                      <p:to>
                                        <p:strVal val="visible"/>
                                      </p:to>
                                    </p:set>
                                    <p:anim calcmode="lin" valueType="num">
                                      <p:cBhvr>
                                        <p:cTn id="134" dur="500" fill="hold"/>
                                        <p:tgtEl>
                                          <p:spTgt spid="5"/>
                                        </p:tgtEl>
                                        <p:attrNameLst>
                                          <p:attrName>ppt_w</p:attrName>
                                        </p:attrNameLst>
                                      </p:cBhvr>
                                      <p:tavLst>
                                        <p:tav tm="0">
                                          <p:val>
                                            <p:fltVal val="0"/>
                                          </p:val>
                                        </p:tav>
                                        <p:tav tm="100000">
                                          <p:val>
                                            <p:strVal val="#ppt_w"/>
                                          </p:val>
                                        </p:tav>
                                      </p:tavLst>
                                    </p:anim>
                                    <p:anim calcmode="lin" valueType="num">
                                      <p:cBhvr>
                                        <p:cTn id="135" dur="500" fill="hold"/>
                                        <p:tgtEl>
                                          <p:spTgt spid="5"/>
                                        </p:tgtEl>
                                        <p:attrNameLst>
                                          <p:attrName>ppt_h</p:attrName>
                                        </p:attrNameLst>
                                      </p:cBhvr>
                                      <p:tavLst>
                                        <p:tav tm="0">
                                          <p:val>
                                            <p:fltVal val="0"/>
                                          </p:val>
                                        </p:tav>
                                        <p:tav tm="100000">
                                          <p:val>
                                            <p:strVal val="#ppt_h"/>
                                          </p:val>
                                        </p:tav>
                                      </p:tavLst>
                                    </p:anim>
                                    <p:animEffect transition="in" filter="fade">
                                      <p:cBhvr>
                                        <p:cTn id="136" dur="500"/>
                                        <p:tgtEl>
                                          <p:spTgt spid="5"/>
                                        </p:tgtEl>
                                      </p:cBhvr>
                                    </p:animEffect>
                                  </p:childTnLst>
                                </p:cTn>
                              </p:par>
                              <p:par>
                                <p:cTn id="137" presetID="53" presetClass="entr" presetSubtype="16" fill="hold" nodeType="withEffect">
                                  <p:stCondLst>
                                    <p:cond delay="400"/>
                                  </p:stCondLst>
                                  <p:childTnLst>
                                    <p:set>
                                      <p:cBhvr>
                                        <p:cTn id="138" dur="1" fill="hold">
                                          <p:stCondLst>
                                            <p:cond delay="0"/>
                                          </p:stCondLst>
                                        </p:cTn>
                                        <p:tgtEl>
                                          <p:spTgt spid="4"/>
                                        </p:tgtEl>
                                        <p:attrNameLst>
                                          <p:attrName>style.visibility</p:attrName>
                                        </p:attrNameLst>
                                      </p:cBhvr>
                                      <p:to>
                                        <p:strVal val="visible"/>
                                      </p:to>
                                    </p:set>
                                    <p:anim calcmode="lin" valueType="num">
                                      <p:cBhvr>
                                        <p:cTn id="139" dur="500" fill="hold"/>
                                        <p:tgtEl>
                                          <p:spTgt spid="4"/>
                                        </p:tgtEl>
                                        <p:attrNameLst>
                                          <p:attrName>ppt_w</p:attrName>
                                        </p:attrNameLst>
                                      </p:cBhvr>
                                      <p:tavLst>
                                        <p:tav tm="0">
                                          <p:val>
                                            <p:fltVal val="0"/>
                                          </p:val>
                                        </p:tav>
                                        <p:tav tm="100000">
                                          <p:val>
                                            <p:strVal val="#ppt_w"/>
                                          </p:val>
                                        </p:tav>
                                      </p:tavLst>
                                    </p:anim>
                                    <p:anim calcmode="lin" valueType="num">
                                      <p:cBhvr>
                                        <p:cTn id="140" dur="500" fill="hold"/>
                                        <p:tgtEl>
                                          <p:spTgt spid="4"/>
                                        </p:tgtEl>
                                        <p:attrNameLst>
                                          <p:attrName>ppt_h</p:attrName>
                                        </p:attrNameLst>
                                      </p:cBhvr>
                                      <p:tavLst>
                                        <p:tav tm="0">
                                          <p:val>
                                            <p:fltVal val="0"/>
                                          </p:val>
                                        </p:tav>
                                        <p:tav tm="100000">
                                          <p:val>
                                            <p:strVal val="#ppt_h"/>
                                          </p:val>
                                        </p:tav>
                                      </p:tavLst>
                                    </p:anim>
                                    <p:animEffect transition="in" filter="fade">
                                      <p:cBhvr>
                                        <p:cTn id="141" dur="500"/>
                                        <p:tgtEl>
                                          <p:spTgt spid="4"/>
                                        </p:tgtEl>
                                      </p:cBhvr>
                                    </p:animEffect>
                                  </p:childTnLst>
                                </p:cTn>
                              </p:par>
                            </p:childTnLst>
                          </p:cTn>
                        </p:par>
                        <p:par>
                          <p:cTn id="142" fill="hold">
                            <p:stCondLst>
                              <p:cond delay="2100"/>
                            </p:stCondLst>
                            <p:childTnLst>
                              <p:par>
                                <p:cTn id="143" presetID="10" presetClass="entr" presetSubtype="0" fill="hold" nodeType="afterEffect">
                                  <p:stCondLst>
                                    <p:cond delay="0"/>
                                  </p:stCondLst>
                                  <p:childTnLst>
                                    <p:set>
                                      <p:cBhvr>
                                        <p:cTn id="144" dur="1" fill="hold">
                                          <p:stCondLst>
                                            <p:cond delay="0"/>
                                          </p:stCondLst>
                                        </p:cTn>
                                        <p:tgtEl>
                                          <p:spTgt spid="180"/>
                                        </p:tgtEl>
                                        <p:attrNameLst>
                                          <p:attrName>style.visibility</p:attrName>
                                        </p:attrNameLst>
                                      </p:cBhvr>
                                      <p:to>
                                        <p:strVal val="visible"/>
                                      </p:to>
                                    </p:set>
                                    <p:animEffect transition="in" filter="fade">
                                      <p:cBhvr>
                                        <p:cTn id="145" dur="500"/>
                                        <p:tgtEl>
                                          <p:spTgt spid="180"/>
                                        </p:tgtEl>
                                      </p:cBhvr>
                                    </p:animEffect>
                                  </p:childTnLst>
                                </p:cTn>
                              </p:par>
                              <p:par>
                                <p:cTn id="146" presetID="53" presetClass="entr" presetSubtype="16" fill="hold" nodeType="withEffect">
                                  <p:stCondLst>
                                    <p:cond delay="0"/>
                                  </p:stCondLst>
                                  <p:childTnLst>
                                    <p:set>
                                      <p:cBhvr>
                                        <p:cTn id="147" dur="1" fill="hold">
                                          <p:stCondLst>
                                            <p:cond delay="0"/>
                                          </p:stCondLst>
                                        </p:cTn>
                                        <p:tgtEl>
                                          <p:spTgt spid="183"/>
                                        </p:tgtEl>
                                        <p:attrNameLst>
                                          <p:attrName>style.visibility</p:attrName>
                                        </p:attrNameLst>
                                      </p:cBhvr>
                                      <p:to>
                                        <p:strVal val="visible"/>
                                      </p:to>
                                    </p:set>
                                    <p:anim calcmode="lin" valueType="num">
                                      <p:cBhvr>
                                        <p:cTn id="148" dur="500" fill="hold"/>
                                        <p:tgtEl>
                                          <p:spTgt spid="183"/>
                                        </p:tgtEl>
                                        <p:attrNameLst>
                                          <p:attrName>ppt_w</p:attrName>
                                        </p:attrNameLst>
                                      </p:cBhvr>
                                      <p:tavLst>
                                        <p:tav tm="0">
                                          <p:val>
                                            <p:fltVal val="0"/>
                                          </p:val>
                                        </p:tav>
                                        <p:tav tm="100000">
                                          <p:val>
                                            <p:strVal val="#ppt_w"/>
                                          </p:val>
                                        </p:tav>
                                      </p:tavLst>
                                    </p:anim>
                                    <p:anim calcmode="lin" valueType="num">
                                      <p:cBhvr>
                                        <p:cTn id="149" dur="500" fill="hold"/>
                                        <p:tgtEl>
                                          <p:spTgt spid="183"/>
                                        </p:tgtEl>
                                        <p:attrNameLst>
                                          <p:attrName>ppt_h</p:attrName>
                                        </p:attrNameLst>
                                      </p:cBhvr>
                                      <p:tavLst>
                                        <p:tav tm="0">
                                          <p:val>
                                            <p:fltVal val="0"/>
                                          </p:val>
                                        </p:tav>
                                        <p:tav tm="100000">
                                          <p:val>
                                            <p:strVal val="#ppt_h"/>
                                          </p:val>
                                        </p:tav>
                                      </p:tavLst>
                                    </p:anim>
                                    <p:animEffect transition="in" filter="fade">
                                      <p:cBhvr>
                                        <p:cTn id="150" dur="500"/>
                                        <p:tgtEl>
                                          <p:spTgt spid="183"/>
                                        </p:tgtEl>
                                      </p:cBhvr>
                                    </p:animEffect>
                                  </p:childTnLst>
                                </p:cTn>
                              </p:par>
                              <p:par>
                                <p:cTn id="151" presetID="10" presetClass="entr" presetSubtype="0" fill="hold" grpId="0" nodeType="withEffect">
                                  <p:stCondLst>
                                    <p:cond delay="0"/>
                                  </p:stCondLst>
                                  <p:childTnLst>
                                    <p:set>
                                      <p:cBhvr>
                                        <p:cTn id="152" dur="1" fill="hold">
                                          <p:stCondLst>
                                            <p:cond delay="0"/>
                                          </p:stCondLst>
                                        </p:cTn>
                                        <p:tgtEl>
                                          <p:spTgt spid="30"/>
                                        </p:tgtEl>
                                        <p:attrNameLst>
                                          <p:attrName>style.visibility</p:attrName>
                                        </p:attrNameLst>
                                      </p:cBhvr>
                                      <p:to>
                                        <p:strVal val="visible"/>
                                      </p:to>
                                    </p:set>
                                    <p:animEffect transition="in" filter="fade">
                                      <p:cBhvr>
                                        <p:cTn id="153" dur="500"/>
                                        <p:tgtEl>
                                          <p:spTgt spid="30"/>
                                        </p:tgtEl>
                                      </p:cBhvr>
                                    </p:animEffect>
                                  </p:childTnLst>
                                </p:cTn>
                              </p:par>
                              <p:par>
                                <p:cTn id="154" presetID="10" presetClass="entr" presetSubtype="0" fill="hold" grpId="0" nodeType="withEffect">
                                  <p:stCondLst>
                                    <p:cond delay="250"/>
                                  </p:stCondLst>
                                  <p:childTnLst>
                                    <p:set>
                                      <p:cBhvr>
                                        <p:cTn id="155" dur="1" fill="hold">
                                          <p:stCondLst>
                                            <p:cond delay="0"/>
                                          </p:stCondLst>
                                        </p:cTn>
                                        <p:tgtEl>
                                          <p:spTgt spid="1041"/>
                                        </p:tgtEl>
                                        <p:attrNameLst>
                                          <p:attrName>style.visibility</p:attrName>
                                        </p:attrNameLst>
                                      </p:cBhvr>
                                      <p:to>
                                        <p:strVal val="visible"/>
                                      </p:to>
                                    </p:set>
                                    <p:animEffect transition="in" filter="fade">
                                      <p:cBhvr>
                                        <p:cTn id="156" dur="500"/>
                                        <p:tgtEl>
                                          <p:spTgt spid="1041"/>
                                        </p:tgtEl>
                                      </p:cBhvr>
                                    </p:animEffect>
                                  </p:childTnLst>
                                </p:cTn>
                              </p:par>
                              <p:par>
                                <p:cTn id="157" presetID="10" presetClass="entr" presetSubtype="0" fill="hold" grpId="0" nodeType="withEffect">
                                  <p:stCondLst>
                                    <p:cond delay="500"/>
                                  </p:stCondLst>
                                  <p:childTnLst>
                                    <p:set>
                                      <p:cBhvr>
                                        <p:cTn id="158" dur="1" fill="hold">
                                          <p:stCondLst>
                                            <p:cond delay="0"/>
                                          </p:stCondLst>
                                        </p:cTn>
                                        <p:tgtEl>
                                          <p:spTgt spid="1042"/>
                                        </p:tgtEl>
                                        <p:attrNameLst>
                                          <p:attrName>style.visibility</p:attrName>
                                        </p:attrNameLst>
                                      </p:cBhvr>
                                      <p:to>
                                        <p:strVal val="visible"/>
                                      </p:to>
                                    </p:set>
                                    <p:animEffect transition="in" filter="fade">
                                      <p:cBhvr>
                                        <p:cTn id="159" dur="500"/>
                                        <p:tgtEl>
                                          <p:spTgt spid="1042"/>
                                        </p:tgtEl>
                                      </p:cBhvr>
                                    </p:animEffect>
                                  </p:childTnLst>
                                </p:cTn>
                              </p:par>
                              <p:par>
                                <p:cTn id="160" presetID="10" presetClass="entr" presetSubtype="0" fill="hold" grpId="0" nodeType="withEffect">
                                  <p:stCondLst>
                                    <p:cond delay="500"/>
                                  </p:stCondLst>
                                  <p:childTnLst>
                                    <p:set>
                                      <p:cBhvr>
                                        <p:cTn id="161" dur="1" fill="hold">
                                          <p:stCondLst>
                                            <p:cond delay="0"/>
                                          </p:stCondLst>
                                        </p:cTn>
                                        <p:tgtEl>
                                          <p:spTgt spid="1043"/>
                                        </p:tgtEl>
                                        <p:attrNameLst>
                                          <p:attrName>style.visibility</p:attrName>
                                        </p:attrNameLst>
                                      </p:cBhvr>
                                      <p:to>
                                        <p:strVal val="visible"/>
                                      </p:to>
                                    </p:set>
                                    <p:animEffect transition="in" filter="fade">
                                      <p:cBhvr>
                                        <p:cTn id="162" dur="500"/>
                                        <p:tgtEl>
                                          <p:spTgt spid="1043"/>
                                        </p:tgtEl>
                                      </p:cBhvr>
                                    </p:animEffect>
                                  </p:childTnLst>
                                </p:cTn>
                              </p:par>
                              <p:par>
                                <p:cTn id="163" presetID="10" presetClass="entr" presetSubtype="0" fill="hold" grpId="0" nodeType="withEffect">
                                  <p:stCondLst>
                                    <p:cond delay="500"/>
                                  </p:stCondLst>
                                  <p:childTnLst>
                                    <p:set>
                                      <p:cBhvr>
                                        <p:cTn id="164" dur="1" fill="hold">
                                          <p:stCondLst>
                                            <p:cond delay="0"/>
                                          </p:stCondLst>
                                        </p:cTn>
                                        <p:tgtEl>
                                          <p:spTgt spid="1044"/>
                                        </p:tgtEl>
                                        <p:attrNameLst>
                                          <p:attrName>style.visibility</p:attrName>
                                        </p:attrNameLst>
                                      </p:cBhvr>
                                      <p:to>
                                        <p:strVal val="visible"/>
                                      </p:to>
                                    </p:set>
                                    <p:animEffect transition="in" filter="fade">
                                      <p:cBhvr>
                                        <p:cTn id="165" dur="500"/>
                                        <p:tgtEl>
                                          <p:spTgt spid="1044"/>
                                        </p:tgtEl>
                                      </p:cBhvr>
                                    </p:animEffect>
                                  </p:childTnLst>
                                </p:cTn>
                              </p:par>
                              <p:par>
                                <p:cTn id="166" presetID="10" presetClass="entr" presetSubtype="0" fill="hold" grpId="0" nodeType="withEffect">
                                  <p:stCondLst>
                                    <p:cond delay="250"/>
                                  </p:stCondLst>
                                  <p:childTnLst>
                                    <p:set>
                                      <p:cBhvr>
                                        <p:cTn id="167" dur="1" fill="hold">
                                          <p:stCondLst>
                                            <p:cond delay="0"/>
                                          </p:stCondLst>
                                        </p:cTn>
                                        <p:tgtEl>
                                          <p:spTgt spid="1045"/>
                                        </p:tgtEl>
                                        <p:attrNameLst>
                                          <p:attrName>style.visibility</p:attrName>
                                        </p:attrNameLst>
                                      </p:cBhvr>
                                      <p:to>
                                        <p:strVal val="visible"/>
                                      </p:to>
                                    </p:set>
                                    <p:animEffect transition="in" filter="fade">
                                      <p:cBhvr>
                                        <p:cTn id="168" dur="500"/>
                                        <p:tgtEl>
                                          <p:spTgt spid="1045"/>
                                        </p:tgtEl>
                                      </p:cBhvr>
                                    </p:animEffect>
                                  </p:childTnLst>
                                </p:cTn>
                              </p:par>
                              <p:par>
                                <p:cTn id="169" presetID="10" presetClass="entr" presetSubtype="0" fill="hold" grpId="0" nodeType="withEffect">
                                  <p:stCondLst>
                                    <p:cond delay="500"/>
                                  </p:stCondLst>
                                  <p:childTnLst>
                                    <p:set>
                                      <p:cBhvr>
                                        <p:cTn id="170" dur="1" fill="hold">
                                          <p:stCondLst>
                                            <p:cond delay="0"/>
                                          </p:stCondLst>
                                        </p:cTn>
                                        <p:tgtEl>
                                          <p:spTgt spid="1046"/>
                                        </p:tgtEl>
                                        <p:attrNameLst>
                                          <p:attrName>style.visibility</p:attrName>
                                        </p:attrNameLst>
                                      </p:cBhvr>
                                      <p:to>
                                        <p:strVal val="visible"/>
                                      </p:to>
                                    </p:set>
                                    <p:animEffect transition="in" filter="fade">
                                      <p:cBhvr>
                                        <p:cTn id="171" dur="500"/>
                                        <p:tgtEl>
                                          <p:spTgt spid="1046"/>
                                        </p:tgtEl>
                                      </p:cBhvr>
                                    </p:animEffect>
                                  </p:childTnLst>
                                </p:cTn>
                              </p:par>
                              <p:par>
                                <p:cTn id="172" presetID="53" presetClass="entr" presetSubtype="16" fill="hold" grpId="0" nodeType="withEffect">
                                  <p:stCondLst>
                                    <p:cond delay="500"/>
                                  </p:stCondLst>
                                  <p:childTnLst>
                                    <p:set>
                                      <p:cBhvr>
                                        <p:cTn id="173" dur="1" fill="hold">
                                          <p:stCondLst>
                                            <p:cond delay="0"/>
                                          </p:stCondLst>
                                        </p:cTn>
                                        <p:tgtEl>
                                          <p:spTgt spid="206"/>
                                        </p:tgtEl>
                                        <p:attrNameLst>
                                          <p:attrName>style.visibility</p:attrName>
                                        </p:attrNameLst>
                                      </p:cBhvr>
                                      <p:to>
                                        <p:strVal val="visible"/>
                                      </p:to>
                                    </p:set>
                                    <p:anim calcmode="lin" valueType="num">
                                      <p:cBhvr>
                                        <p:cTn id="174" dur="500" fill="hold"/>
                                        <p:tgtEl>
                                          <p:spTgt spid="206"/>
                                        </p:tgtEl>
                                        <p:attrNameLst>
                                          <p:attrName>ppt_w</p:attrName>
                                        </p:attrNameLst>
                                      </p:cBhvr>
                                      <p:tavLst>
                                        <p:tav tm="0">
                                          <p:val>
                                            <p:fltVal val="0"/>
                                          </p:val>
                                        </p:tav>
                                        <p:tav tm="100000">
                                          <p:val>
                                            <p:strVal val="#ppt_w"/>
                                          </p:val>
                                        </p:tav>
                                      </p:tavLst>
                                    </p:anim>
                                    <p:anim calcmode="lin" valueType="num">
                                      <p:cBhvr>
                                        <p:cTn id="175" dur="500" fill="hold"/>
                                        <p:tgtEl>
                                          <p:spTgt spid="206"/>
                                        </p:tgtEl>
                                        <p:attrNameLst>
                                          <p:attrName>ppt_h</p:attrName>
                                        </p:attrNameLst>
                                      </p:cBhvr>
                                      <p:tavLst>
                                        <p:tav tm="0">
                                          <p:val>
                                            <p:fltVal val="0"/>
                                          </p:val>
                                        </p:tav>
                                        <p:tav tm="100000">
                                          <p:val>
                                            <p:strVal val="#ppt_h"/>
                                          </p:val>
                                        </p:tav>
                                      </p:tavLst>
                                    </p:anim>
                                    <p:animEffect transition="in" filter="fade">
                                      <p:cBhvr>
                                        <p:cTn id="176" dur="500"/>
                                        <p:tgtEl>
                                          <p:spTgt spid="206"/>
                                        </p:tgtEl>
                                      </p:cBhvr>
                                    </p:animEffect>
                                  </p:childTnLst>
                                </p:cTn>
                              </p:par>
                              <p:par>
                                <p:cTn id="177" presetID="53" presetClass="entr" presetSubtype="16" fill="hold" grpId="0" nodeType="withEffect">
                                  <p:stCondLst>
                                    <p:cond delay="500"/>
                                  </p:stCondLst>
                                  <p:childTnLst>
                                    <p:set>
                                      <p:cBhvr>
                                        <p:cTn id="178" dur="1" fill="hold">
                                          <p:stCondLst>
                                            <p:cond delay="0"/>
                                          </p:stCondLst>
                                        </p:cTn>
                                        <p:tgtEl>
                                          <p:spTgt spid="207"/>
                                        </p:tgtEl>
                                        <p:attrNameLst>
                                          <p:attrName>style.visibility</p:attrName>
                                        </p:attrNameLst>
                                      </p:cBhvr>
                                      <p:to>
                                        <p:strVal val="visible"/>
                                      </p:to>
                                    </p:set>
                                    <p:anim calcmode="lin" valueType="num">
                                      <p:cBhvr>
                                        <p:cTn id="179" dur="500" fill="hold"/>
                                        <p:tgtEl>
                                          <p:spTgt spid="207"/>
                                        </p:tgtEl>
                                        <p:attrNameLst>
                                          <p:attrName>ppt_w</p:attrName>
                                        </p:attrNameLst>
                                      </p:cBhvr>
                                      <p:tavLst>
                                        <p:tav tm="0">
                                          <p:val>
                                            <p:fltVal val="0"/>
                                          </p:val>
                                        </p:tav>
                                        <p:tav tm="100000">
                                          <p:val>
                                            <p:strVal val="#ppt_w"/>
                                          </p:val>
                                        </p:tav>
                                      </p:tavLst>
                                    </p:anim>
                                    <p:anim calcmode="lin" valueType="num">
                                      <p:cBhvr>
                                        <p:cTn id="180" dur="500" fill="hold"/>
                                        <p:tgtEl>
                                          <p:spTgt spid="207"/>
                                        </p:tgtEl>
                                        <p:attrNameLst>
                                          <p:attrName>ppt_h</p:attrName>
                                        </p:attrNameLst>
                                      </p:cBhvr>
                                      <p:tavLst>
                                        <p:tav tm="0">
                                          <p:val>
                                            <p:fltVal val="0"/>
                                          </p:val>
                                        </p:tav>
                                        <p:tav tm="100000">
                                          <p:val>
                                            <p:strVal val="#ppt_h"/>
                                          </p:val>
                                        </p:tav>
                                      </p:tavLst>
                                    </p:anim>
                                    <p:animEffect transition="in" filter="fade">
                                      <p:cBhvr>
                                        <p:cTn id="181" dur="500"/>
                                        <p:tgtEl>
                                          <p:spTgt spid="207"/>
                                        </p:tgtEl>
                                      </p:cBhvr>
                                    </p:animEffect>
                                  </p:childTnLst>
                                </p:cTn>
                              </p:par>
                              <p:par>
                                <p:cTn id="182" presetID="53" presetClass="entr" presetSubtype="16" fill="hold" grpId="0" nodeType="withEffect">
                                  <p:stCondLst>
                                    <p:cond delay="500"/>
                                  </p:stCondLst>
                                  <p:childTnLst>
                                    <p:set>
                                      <p:cBhvr>
                                        <p:cTn id="183" dur="1" fill="hold">
                                          <p:stCondLst>
                                            <p:cond delay="0"/>
                                          </p:stCondLst>
                                        </p:cTn>
                                        <p:tgtEl>
                                          <p:spTgt spid="208"/>
                                        </p:tgtEl>
                                        <p:attrNameLst>
                                          <p:attrName>style.visibility</p:attrName>
                                        </p:attrNameLst>
                                      </p:cBhvr>
                                      <p:to>
                                        <p:strVal val="visible"/>
                                      </p:to>
                                    </p:set>
                                    <p:anim calcmode="lin" valueType="num">
                                      <p:cBhvr>
                                        <p:cTn id="184" dur="500" fill="hold"/>
                                        <p:tgtEl>
                                          <p:spTgt spid="208"/>
                                        </p:tgtEl>
                                        <p:attrNameLst>
                                          <p:attrName>ppt_w</p:attrName>
                                        </p:attrNameLst>
                                      </p:cBhvr>
                                      <p:tavLst>
                                        <p:tav tm="0">
                                          <p:val>
                                            <p:fltVal val="0"/>
                                          </p:val>
                                        </p:tav>
                                        <p:tav tm="100000">
                                          <p:val>
                                            <p:strVal val="#ppt_w"/>
                                          </p:val>
                                        </p:tav>
                                      </p:tavLst>
                                    </p:anim>
                                    <p:anim calcmode="lin" valueType="num">
                                      <p:cBhvr>
                                        <p:cTn id="185" dur="500" fill="hold"/>
                                        <p:tgtEl>
                                          <p:spTgt spid="208"/>
                                        </p:tgtEl>
                                        <p:attrNameLst>
                                          <p:attrName>ppt_h</p:attrName>
                                        </p:attrNameLst>
                                      </p:cBhvr>
                                      <p:tavLst>
                                        <p:tav tm="0">
                                          <p:val>
                                            <p:fltVal val="0"/>
                                          </p:val>
                                        </p:tav>
                                        <p:tav tm="100000">
                                          <p:val>
                                            <p:strVal val="#ppt_h"/>
                                          </p:val>
                                        </p:tav>
                                      </p:tavLst>
                                    </p:anim>
                                    <p:animEffect transition="in" filter="fade">
                                      <p:cBhvr>
                                        <p:cTn id="186" dur="500"/>
                                        <p:tgtEl>
                                          <p:spTgt spid="208"/>
                                        </p:tgtEl>
                                      </p:cBhvr>
                                    </p:animEffect>
                                  </p:childTnLst>
                                </p:cTn>
                              </p:par>
                              <p:par>
                                <p:cTn id="187" presetID="53" presetClass="entr" presetSubtype="16" fill="hold" grpId="0" nodeType="withEffect">
                                  <p:stCondLst>
                                    <p:cond delay="500"/>
                                  </p:stCondLst>
                                  <p:childTnLst>
                                    <p:set>
                                      <p:cBhvr>
                                        <p:cTn id="188" dur="1" fill="hold">
                                          <p:stCondLst>
                                            <p:cond delay="0"/>
                                          </p:stCondLst>
                                        </p:cTn>
                                        <p:tgtEl>
                                          <p:spTgt spid="209"/>
                                        </p:tgtEl>
                                        <p:attrNameLst>
                                          <p:attrName>style.visibility</p:attrName>
                                        </p:attrNameLst>
                                      </p:cBhvr>
                                      <p:to>
                                        <p:strVal val="visible"/>
                                      </p:to>
                                    </p:set>
                                    <p:anim calcmode="lin" valueType="num">
                                      <p:cBhvr>
                                        <p:cTn id="189" dur="500" fill="hold"/>
                                        <p:tgtEl>
                                          <p:spTgt spid="209"/>
                                        </p:tgtEl>
                                        <p:attrNameLst>
                                          <p:attrName>ppt_w</p:attrName>
                                        </p:attrNameLst>
                                      </p:cBhvr>
                                      <p:tavLst>
                                        <p:tav tm="0">
                                          <p:val>
                                            <p:fltVal val="0"/>
                                          </p:val>
                                        </p:tav>
                                        <p:tav tm="100000">
                                          <p:val>
                                            <p:strVal val="#ppt_w"/>
                                          </p:val>
                                        </p:tav>
                                      </p:tavLst>
                                    </p:anim>
                                    <p:anim calcmode="lin" valueType="num">
                                      <p:cBhvr>
                                        <p:cTn id="190" dur="500" fill="hold"/>
                                        <p:tgtEl>
                                          <p:spTgt spid="209"/>
                                        </p:tgtEl>
                                        <p:attrNameLst>
                                          <p:attrName>ppt_h</p:attrName>
                                        </p:attrNameLst>
                                      </p:cBhvr>
                                      <p:tavLst>
                                        <p:tav tm="0">
                                          <p:val>
                                            <p:fltVal val="0"/>
                                          </p:val>
                                        </p:tav>
                                        <p:tav tm="100000">
                                          <p:val>
                                            <p:strVal val="#ppt_h"/>
                                          </p:val>
                                        </p:tav>
                                      </p:tavLst>
                                    </p:anim>
                                    <p:animEffect transition="in" filter="fade">
                                      <p:cBhvr>
                                        <p:cTn id="191" dur="500"/>
                                        <p:tgtEl>
                                          <p:spTgt spid="209"/>
                                        </p:tgtEl>
                                      </p:cBhvr>
                                    </p:animEffect>
                                  </p:childTnLst>
                                </p:cTn>
                              </p:par>
                              <p:par>
                                <p:cTn id="192" presetID="53" presetClass="entr" presetSubtype="16" fill="hold" grpId="0" nodeType="withEffect">
                                  <p:stCondLst>
                                    <p:cond delay="500"/>
                                  </p:stCondLst>
                                  <p:childTnLst>
                                    <p:set>
                                      <p:cBhvr>
                                        <p:cTn id="193" dur="1" fill="hold">
                                          <p:stCondLst>
                                            <p:cond delay="0"/>
                                          </p:stCondLst>
                                        </p:cTn>
                                        <p:tgtEl>
                                          <p:spTgt spid="210"/>
                                        </p:tgtEl>
                                        <p:attrNameLst>
                                          <p:attrName>style.visibility</p:attrName>
                                        </p:attrNameLst>
                                      </p:cBhvr>
                                      <p:to>
                                        <p:strVal val="visible"/>
                                      </p:to>
                                    </p:set>
                                    <p:anim calcmode="lin" valueType="num">
                                      <p:cBhvr>
                                        <p:cTn id="194" dur="500" fill="hold"/>
                                        <p:tgtEl>
                                          <p:spTgt spid="210"/>
                                        </p:tgtEl>
                                        <p:attrNameLst>
                                          <p:attrName>ppt_w</p:attrName>
                                        </p:attrNameLst>
                                      </p:cBhvr>
                                      <p:tavLst>
                                        <p:tav tm="0">
                                          <p:val>
                                            <p:fltVal val="0"/>
                                          </p:val>
                                        </p:tav>
                                        <p:tav tm="100000">
                                          <p:val>
                                            <p:strVal val="#ppt_w"/>
                                          </p:val>
                                        </p:tav>
                                      </p:tavLst>
                                    </p:anim>
                                    <p:anim calcmode="lin" valueType="num">
                                      <p:cBhvr>
                                        <p:cTn id="195" dur="500" fill="hold"/>
                                        <p:tgtEl>
                                          <p:spTgt spid="210"/>
                                        </p:tgtEl>
                                        <p:attrNameLst>
                                          <p:attrName>ppt_h</p:attrName>
                                        </p:attrNameLst>
                                      </p:cBhvr>
                                      <p:tavLst>
                                        <p:tav tm="0">
                                          <p:val>
                                            <p:fltVal val="0"/>
                                          </p:val>
                                        </p:tav>
                                        <p:tav tm="100000">
                                          <p:val>
                                            <p:strVal val="#ppt_h"/>
                                          </p:val>
                                        </p:tav>
                                      </p:tavLst>
                                    </p:anim>
                                    <p:animEffect transition="in" filter="fade">
                                      <p:cBhvr>
                                        <p:cTn id="196" dur="500"/>
                                        <p:tgtEl>
                                          <p:spTgt spid="210"/>
                                        </p:tgtEl>
                                      </p:cBhvr>
                                    </p:animEffect>
                                  </p:childTnLst>
                                </p:cTn>
                              </p:par>
                              <p:par>
                                <p:cTn id="197" presetID="53" presetClass="entr" presetSubtype="16" fill="hold" grpId="0" nodeType="withEffect">
                                  <p:stCondLst>
                                    <p:cond delay="500"/>
                                  </p:stCondLst>
                                  <p:childTnLst>
                                    <p:set>
                                      <p:cBhvr>
                                        <p:cTn id="198" dur="1" fill="hold">
                                          <p:stCondLst>
                                            <p:cond delay="0"/>
                                          </p:stCondLst>
                                        </p:cTn>
                                        <p:tgtEl>
                                          <p:spTgt spid="211"/>
                                        </p:tgtEl>
                                        <p:attrNameLst>
                                          <p:attrName>style.visibility</p:attrName>
                                        </p:attrNameLst>
                                      </p:cBhvr>
                                      <p:to>
                                        <p:strVal val="visible"/>
                                      </p:to>
                                    </p:set>
                                    <p:anim calcmode="lin" valueType="num">
                                      <p:cBhvr>
                                        <p:cTn id="199" dur="500" fill="hold"/>
                                        <p:tgtEl>
                                          <p:spTgt spid="211"/>
                                        </p:tgtEl>
                                        <p:attrNameLst>
                                          <p:attrName>ppt_w</p:attrName>
                                        </p:attrNameLst>
                                      </p:cBhvr>
                                      <p:tavLst>
                                        <p:tav tm="0">
                                          <p:val>
                                            <p:fltVal val="0"/>
                                          </p:val>
                                        </p:tav>
                                        <p:tav tm="100000">
                                          <p:val>
                                            <p:strVal val="#ppt_w"/>
                                          </p:val>
                                        </p:tav>
                                      </p:tavLst>
                                    </p:anim>
                                    <p:anim calcmode="lin" valueType="num">
                                      <p:cBhvr>
                                        <p:cTn id="200" dur="500" fill="hold"/>
                                        <p:tgtEl>
                                          <p:spTgt spid="211"/>
                                        </p:tgtEl>
                                        <p:attrNameLst>
                                          <p:attrName>ppt_h</p:attrName>
                                        </p:attrNameLst>
                                      </p:cBhvr>
                                      <p:tavLst>
                                        <p:tav tm="0">
                                          <p:val>
                                            <p:fltVal val="0"/>
                                          </p:val>
                                        </p:tav>
                                        <p:tav tm="100000">
                                          <p:val>
                                            <p:strVal val="#ppt_h"/>
                                          </p:val>
                                        </p:tav>
                                      </p:tavLst>
                                    </p:anim>
                                    <p:animEffect transition="in" filter="fade">
                                      <p:cBhvr>
                                        <p:cTn id="201" dur="500"/>
                                        <p:tgtEl>
                                          <p:spTgt spid="211"/>
                                        </p:tgtEl>
                                      </p:cBhvr>
                                    </p:animEffect>
                                  </p:childTnLst>
                                </p:cTn>
                              </p:par>
                              <p:par>
                                <p:cTn id="202" presetID="53" presetClass="entr" presetSubtype="16" fill="hold" grpId="0" nodeType="withEffect">
                                  <p:stCondLst>
                                    <p:cond delay="500"/>
                                  </p:stCondLst>
                                  <p:childTnLst>
                                    <p:set>
                                      <p:cBhvr>
                                        <p:cTn id="203" dur="1" fill="hold">
                                          <p:stCondLst>
                                            <p:cond delay="0"/>
                                          </p:stCondLst>
                                        </p:cTn>
                                        <p:tgtEl>
                                          <p:spTgt spid="212"/>
                                        </p:tgtEl>
                                        <p:attrNameLst>
                                          <p:attrName>style.visibility</p:attrName>
                                        </p:attrNameLst>
                                      </p:cBhvr>
                                      <p:to>
                                        <p:strVal val="visible"/>
                                      </p:to>
                                    </p:set>
                                    <p:anim calcmode="lin" valueType="num">
                                      <p:cBhvr>
                                        <p:cTn id="204" dur="500" fill="hold"/>
                                        <p:tgtEl>
                                          <p:spTgt spid="212"/>
                                        </p:tgtEl>
                                        <p:attrNameLst>
                                          <p:attrName>ppt_w</p:attrName>
                                        </p:attrNameLst>
                                      </p:cBhvr>
                                      <p:tavLst>
                                        <p:tav tm="0">
                                          <p:val>
                                            <p:fltVal val="0"/>
                                          </p:val>
                                        </p:tav>
                                        <p:tav tm="100000">
                                          <p:val>
                                            <p:strVal val="#ppt_w"/>
                                          </p:val>
                                        </p:tav>
                                      </p:tavLst>
                                    </p:anim>
                                    <p:anim calcmode="lin" valueType="num">
                                      <p:cBhvr>
                                        <p:cTn id="205" dur="500" fill="hold"/>
                                        <p:tgtEl>
                                          <p:spTgt spid="212"/>
                                        </p:tgtEl>
                                        <p:attrNameLst>
                                          <p:attrName>ppt_h</p:attrName>
                                        </p:attrNameLst>
                                      </p:cBhvr>
                                      <p:tavLst>
                                        <p:tav tm="0">
                                          <p:val>
                                            <p:fltVal val="0"/>
                                          </p:val>
                                        </p:tav>
                                        <p:tav tm="100000">
                                          <p:val>
                                            <p:strVal val="#ppt_h"/>
                                          </p:val>
                                        </p:tav>
                                      </p:tavLst>
                                    </p:anim>
                                    <p:animEffect transition="in" filter="fade">
                                      <p:cBhvr>
                                        <p:cTn id="206" dur="500"/>
                                        <p:tgtEl>
                                          <p:spTgt spid="212"/>
                                        </p:tgtEl>
                                      </p:cBhvr>
                                    </p:animEffect>
                                  </p:childTnLst>
                                </p:cTn>
                              </p:par>
                              <p:par>
                                <p:cTn id="207" presetID="53" presetClass="entr" presetSubtype="16" fill="hold" grpId="0" nodeType="withEffect">
                                  <p:stCondLst>
                                    <p:cond delay="500"/>
                                  </p:stCondLst>
                                  <p:childTnLst>
                                    <p:set>
                                      <p:cBhvr>
                                        <p:cTn id="208" dur="1" fill="hold">
                                          <p:stCondLst>
                                            <p:cond delay="0"/>
                                          </p:stCondLst>
                                        </p:cTn>
                                        <p:tgtEl>
                                          <p:spTgt spid="213"/>
                                        </p:tgtEl>
                                        <p:attrNameLst>
                                          <p:attrName>style.visibility</p:attrName>
                                        </p:attrNameLst>
                                      </p:cBhvr>
                                      <p:to>
                                        <p:strVal val="visible"/>
                                      </p:to>
                                    </p:set>
                                    <p:anim calcmode="lin" valueType="num">
                                      <p:cBhvr>
                                        <p:cTn id="209" dur="500" fill="hold"/>
                                        <p:tgtEl>
                                          <p:spTgt spid="213"/>
                                        </p:tgtEl>
                                        <p:attrNameLst>
                                          <p:attrName>ppt_w</p:attrName>
                                        </p:attrNameLst>
                                      </p:cBhvr>
                                      <p:tavLst>
                                        <p:tav tm="0">
                                          <p:val>
                                            <p:fltVal val="0"/>
                                          </p:val>
                                        </p:tav>
                                        <p:tav tm="100000">
                                          <p:val>
                                            <p:strVal val="#ppt_w"/>
                                          </p:val>
                                        </p:tav>
                                      </p:tavLst>
                                    </p:anim>
                                    <p:anim calcmode="lin" valueType="num">
                                      <p:cBhvr>
                                        <p:cTn id="210" dur="500" fill="hold"/>
                                        <p:tgtEl>
                                          <p:spTgt spid="213"/>
                                        </p:tgtEl>
                                        <p:attrNameLst>
                                          <p:attrName>ppt_h</p:attrName>
                                        </p:attrNameLst>
                                      </p:cBhvr>
                                      <p:tavLst>
                                        <p:tav tm="0">
                                          <p:val>
                                            <p:fltVal val="0"/>
                                          </p:val>
                                        </p:tav>
                                        <p:tav tm="100000">
                                          <p:val>
                                            <p:strVal val="#ppt_h"/>
                                          </p:val>
                                        </p:tav>
                                      </p:tavLst>
                                    </p:anim>
                                    <p:animEffect transition="in" filter="fade">
                                      <p:cBhvr>
                                        <p:cTn id="211" dur="500"/>
                                        <p:tgtEl>
                                          <p:spTgt spid="213"/>
                                        </p:tgtEl>
                                      </p:cBhvr>
                                    </p:animEffect>
                                  </p:childTnLst>
                                </p:cTn>
                              </p:par>
                              <p:par>
                                <p:cTn id="212" presetID="53" presetClass="entr" presetSubtype="16" fill="hold" grpId="0" nodeType="withEffect">
                                  <p:stCondLst>
                                    <p:cond delay="500"/>
                                  </p:stCondLst>
                                  <p:childTnLst>
                                    <p:set>
                                      <p:cBhvr>
                                        <p:cTn id="213" dur="1" fill="hold">
                                          <p:stCondLst>
                                            <p:cond delay="0"/>
                                          </p:stCondLst>
                                        </p:cTn>
                                        <p:tgtEl>
                                          <p:spTgt spid="214"/>
                                        </p:tgtEl>
                                        <p:attrNameLst>
                                          <p:attrName>style.visibility</p:attrName>
                                        </p:attrNameLst>
                                      </p:cBhvr>
                                      <p:to>
                                        <p:strVal val="visible"/>
                                      </p:to>
                                    </p:set>
                                    <p:anim calcmode="lin" valueType="num">
                                      <p:cBhvr>
                                        <p:cTn id="214" dur="500" fill="hold"/>
                                        <p:tgtEl>
                                          <p:spTgt spid="214"/>
                                        </p:tgtEl>
                                        <p:attrNameLst>
                                          <p:attrName>ppt_w</p:attrName>
                                        </p:attrNameLst>
                                      </p:cBhvr>
                                      <p:tavLst>
                                        <p:tav tm="0">
                                          <p:val>
                                            <p:fltVal val="0"/>
                                          </p:val>
                                        </p:tav>
                                        <p:tav tm="100000">
                                          <p:val>
                                            <p:strVal val="#ppt_w"/>
                                          </p:val>
                                        </p:tav>
                                      </p:tavLst>
                                    </p:anim>
                                    <p:anim calcmode="lin" valueType="num">
                                      <p:cBhvr>
                                        <p:cTn id="215" dur="500" fill="hold"/>
                                        <p:tgtEl>
                                          <p:spTgt spid="214"/>
                                        </p:tgtEl>
                                        <p:attrNameLst>
                                          <p:attrName>ppt_h</p:attrName>
                                        </p:attrNameLst>
                                      </p:cBhvr>
                                      <p:tavLst>
                                        <p:tav tm="0">
                                          <p:val>
                                            <p:fltVal val="0"/>
                                          </p:val>
                                        </p:tav>
                                        <p:tav tm="100000">
                                          <p:val>
                                            <p:strVal val="#ppt_h"/>
                                          </p:val>
                                        </p:tav>
                                      </p:tavLst>
                                    </p:anim>
                                    <p:animEffect transition="in" filter="fade">
                                      <p:cBhvr>
                                        <p:cTn id="216" dur="500"/>
                                        <p:tgtEl>
                                          <p:spTgt spid="214"/>
                                        </p:tgtEl>
                                      </p:cBhvr>
                                    </p:animEffect>
                                  </p:childTnLst>
                                </p:cTn>
                              </p:par>
                              <p:par>
                                <p:cTn id="217" presetID="53" presetClass="entr" presetSubtype="16" fill="hold" grpId="0" nodeType="withEffect">
                                  <p:stCondLst>
                                    <p:cond delay="500"/>
                                  </p:stCondLst>
                                  <p:childTnLst>
                                    <p:set>
                                      <p:cBhvr>
                                        <p:cTn id="218" dur="1" fill="hold">
                                          <p:stCondLst>
                                            <p:cond delay="0"/>
                                          </p:stCondLst>
                                        </p:cTn>
                                        <p:tgtEl>
                                          <p:spTgt spid="215"/>
                                        </p:tgtEl>
                                        <p:attrNameLst>
                                          <p:attrName>style.visibility</p:attrName>
                                        </p:attrNameLst>
                                      </p:cBhvr>
                                      <p:to>
                                        <p:strVal val="visible"/>
                                      </p:to>
                                    </p:set>
                                    <p:anim calcmode="lin" valueType="num">
                                      <p:cBhvr>
                                        <p:cTn id="219" dur="500" fill="hold"/>
                                        <p:tgtEl>
                                          <p:spTgt spid="215"/>
                                        </p:tgtEl>
                                        <p:attrNameLst>
                                          <p:attrName>ppt_w</p:attrName>
                                        </p:attrNameLst>
                                      </p:cBhvr>
                                      <p:tavLst>
                                        <p:tav tm="0">
                                          <p:val>
                                            <p:fltVal val="0"/>
                                          </p:val>
                                        </p:tav>
                                        <p:tav tm="100000">
                                          <p:val>
                                            <p:strVal val="#ppt_w"/>
                                          </p:val>
                                        </p:tav>
                                      </p:tavLst>
                                    </p:anim>
                                    <p:anim calcmode="lin" valueType="num">
                                      <p:cBhvr>
                                        <p:cTn id="220" dur="500" fill="hold"/>
                                        <p:tgtEl>
                                          <p:spTgt spid="215"/>
                                        </p:tgtEl>
                                        <p:attrNameLst>
                                          <p:attrName>ppt_h</p:attrName>
                                        </p:attrNameLst>
                                      </p:cBhvr>
                                      <p:tavLst>
                                        <p:tav tm="0">
                                          <p:val>
                                            <p:fltVal val="0"/>
                                          </p:val>
                                        </p:tav>
                                        <p:tav tm="100000">
                                          <p:val>
                                            <p:strVal val="#ppt_h"/>
                                          </p:val>
                                        </p:tav>
                                      </p:tavLst>
                                    </p:anim>
                                    <p:animEffect transition="in" filter="fade">
                                      <p:cBhvr>
                                        <p:cTn id="221" dur="500"/>
                                        <p:tgtEl>
                                          <p:spTgt spid="215"/>
                                        </p:tgtEl>
                                      </p:cBhvr>
                                    </p:animEffect>
                                  </p:childTnLst>
                                </p:cTn>
                              </p:par>
                              <p:par>
                                <p:cTn id="222" presetID="53" presetClass="entr" presetSubtype="16" fill="hold" grpId="0" nodeType="withEffect">
                                  <p:stCondLst>
                                    <p:cond delay="500"/>
                                  </p:stCondLst>
                                  <p:childTnLst>
                                    <p:set>
                                      <p:cBhvr>
                                        <p:cTn id="223" dur="1" fill="hold">
                                          <p:stCondLst>
                                            <p:cond delay="0"/>
                                          </p:stCondLst>
                                        </p:cTn>
                                        <p:tgtEl>
                                          <p:spTgt spid="216"/>
                                        </p:tgtEl>
                                        <p:attrNameLst>
                                          <p:attrName>style.visibility</p:attrName>
                                        </p:attrNameLst>
                                      </p:cBhvr>
                                      <p:to>
                                        <p:strVal val="visible"/>
                                      </p:to>
                                    </p:set>
                                    <p:anim calcmode="lin" valueType="num">
                                      <p:cBhvr>
                                        <p:cTn id="224" dur="500" fill="hold"/>
                                        <p:tgtEl>
                                          <p:spTgt spid="216"/>
                                        </p:tgtEl>
                                        <p:attrNameLst>
                                          <p:attrName>ppt_w</p:attrName>
                                        </p:attrNameLst>
                                      </p:cBhvr>
                                      <p:tavLst>
                                        <p:tav tm="0">
                                          <p:val>
                                            <p:fltVal val="0"/>
                                          </p:val>
                                        </p:tav>
                                        <p:tav tm="100000">
                                          <p:val>
                                            <p:strVal val="#ppt_w"/>
                                          </p:val>
                                        </p:tav>
                                      </p:tavLst>
                                    </p:anim>
                                    <p:anim calcmode="lin" valueType="num">
                                      <p:cBhvr>
                                        <p:cTn id="225" dur="500" fill="hold"/>
                                        <p:tgtEl>
                                          <p:spTgt spid="216"/>
                                        </p:tgtEl>
                                        <p:attrNameLst>
                                          <p:attrName>ppt_h</p:attrName>
                                        </p:attrNameLst>
                                      </p:cBhvr>
                                      <p:tavLst>
                                        <p:tav tm="0">
                                          <p:val>
                                            <p:fltVal val="0"/>
                                          </p:val>
                                        </p:tav>
                                        <p:tav tm="100000">
                                          <p:val>
                                            <p:strVal val="#ppt_h"/>
                                          </p:val>
                                        </p:tav>
                                      </p:tavLst>
                                    </p:anim>
                                    <p:animEffect transition="in" filter="fade">
                                      <p:cBhvr>
                                        <p:cTn id="226" dur="500"/>
                                        <p:tgtEl>
                                          <p:spTgt spid="216"/>
                                        </p:tgtEl>
                                      </p:cBhvr>
                                    </p:animEffect>
                                  </p:childTnLst>
                                </p:cTn>
                              </p:par>
                              <p:par>
                                <p:cTn id="227" presetID="53" presetClass="entr" presetSubtype="16" fill="hold" grpId="0" nodeType="withEffect">
                                  <p:stCondLst>
                                    <p:cond delay="500"/>
                                  </p:stCondLst>
                                  <p:childTnLst>
                                    <p:set>
                                      <p:cBhvr>
                                        <p:cTn id="228" dur="1" fill="hold">
                                          <p:stCondLst>
                                            <p:cond delay="0"/>
                                          </p:stCondLst>
                                        </p:cTn>
                                        <p:tgtEl>
                                          <p:spTgt spid="217"/>
                                        </p:tgtEl>
                                        <p:attrNameLst>
                                          <p:attrName>style.visibility</p:attrName>
                                        </p:attrNameLst>
                                      </p:cBhvr>
                                      <p:to>
                                        <p:strVal val="visible"/>
                                      </p:to>
                                    </p:set>
                                    <p:anim calcmode="lin" valueType="num">
                                      <p:cBhvr>
                                        <p:cTn id="229" dur="500" fill="hold"/>
                                        <p:tgtEl>
                                          <p:spTgt spid="217"/>
                                        </p:tgtEl>
                                        <p:attrNameLst>
                                          <p:attrName>ppt_w</p:attrName>
                                        </p:attrNameLst>
                                      </p:cBhvr>
                                      <p:tavLst>
                                        <p:tav tm="0">
                                          <p:val>
                                            <p:fltVal val="0"/>
                                          </p:val>
                                        </p:tav>
                                        <p:tav tm="100000">
                                          <p:val>
                                            <p:strVal val="#ppt_w"/>
                                          </p:val>
                                        </p:tav>
                                      </p:tavLst>
                                    </p:anim>
                                    <p:anim calcmode="lin" valueType="num">
                                      <p:cBhvr>
                                        <p:cTn id="230" dur="500" fill="hold"/>
                                        <p:tgtEl>
                                          <p:spTgt spid="217"/>
                                        </p:tgtEl>
                                        <p:attrNameLst>
                                          <p:attrName>ppt_h</p:attrName>
                                        </p:attrNameLst>
                                      </p:cBhvr>
                                      <p:tavLst>
                                        <p:tav tm="0">
                                          <p:val>
                                            <p:fltVal val="0"/>
                                          </p:val>
                                        </p:tav>
                                        <p:tav tm="100000">
                                          <p:val>
                                            <p:strVal val="#ppt_h"/>
                                          </p:val>
                                        </p:tav>
                                      </p:tavLst>
                                    </p:anim>
                                    <p:animEffect transition="in" filter="fade">
                                      <p:cBhvr>
                                        <p:cTn id="231" dur="500"/>
                                        <p:tgtEl>
                                          <p:spTgt spid="217"/>
                                        </p:tgtEl>
                                      </p:cBhvr>
                                    </p:animEffect>
                                  </p:childTnLst>
                                </p:cTn>
                              </p:par>
                              <p:par>
                                <p:cTn id="232" presetID="10" presetClass="entr" presetSubtype="0" fill="hold" grpId="0" nodeType="withEffect">
                                  <p:stCondLst>
                                    <p:cond delay="250"/>
                                  </p:stCondLst>
                                  <p:childTnLst>
                                    <p:set>
                                      <p:cBhvr>
                                        <p:cTn id="233" dur="1" fill="hold">
                                          <p:stCondLst>
                                            <p:cond delay="0"/>
                                          </p:stCondLst>
                                        </p:cTn>
                                        <p:tgtEl>
                                          <p:spTgt spid="1024"/>
                                        </p:tgtEl>
                                        <p:attrNameLst>
                                          <p:attrName>style.visibility</p:attrName>
                                        </p:attrNameLst>
                                      </p:cBhvr>
                                      <p:to>
                                        <p:strVal val="visible"/>
                                      </p:to>
                                    </p:set>
                                    <p:animEffect transition="in" filter="fade">
                                      <p:cBhvr>
                                        <p:cTn id="234" dur="500"/>
                                        <p:tgtEl>
                                          <p:spTgt spid="1024"/>
                                        </p:tgtEl>
                                      </p:cBhvr>
                                    </p:animEffect>
                                  </p:childTnLst>
                                </p:cTn>
                              </p:par>
                              <p:par>
                                <p:cTn id="235" presetID="10" presetClass="entr" presetSubtype="0" fill="hold" nodeType="withEffect">
                                  <p:stCondLst>
                                    <p:cond delay="500"/>
                                  </p:stCondLst>
                                  <p:childTnLst>
                                    <p:set>
                                      <p:cBhvr>
                                        <p:cTn id="236" dur="1" fill="hold">
                                          <p:stCondLst>
                                            <p:cond delay="0"/>
                                          </p:stCondLst>
                                        </p:cTn>
                                        <p:tgtEl>
                                          <p:spTgt spid="6"/>
                                        </p:tgtEl>
                                        <p:attrNameLst>
                                          <p:attrName>style.visibility</p:attrName>
                                        </p:attrNameLst>
                                      </p:cBhvr>
                                      <p:to>
                                        <p:strVal val="visible"/>
                                      </p:to>
                                    </p:set>
                                    <p:animEffect transition="in" filter="fade">
                                      <p:cBhvr>
                                        <p:cTn id="237" dur="500"/>
                                        <p:tgtEl>
                                          <p:spTgt spid="6"/>
                                        </p:tgtEl>
                                      </p:cBhvr>
                                    </p:animEffect>
                                  </p:childTnLst>
                                </p:cTn>
                              </p:par>
                              <p:par>
                                <p:cTn id="238" presetID="10" presetClass="entr" presetSubtype="0" fill="hold" grpId="0" nodeType="withEffect">
                                  <p:stCondLst>
                                    <p:cond delay="500"/>
                                  </p:stCondLst>
                                  <p:childTnLst>
                                    <p:set>
                                      <p:cBhvr>
                                        <p:cTn id="239" dur="1" fill="hold">
                                          <p:stCondLst>
                                            <p:cond delay="0"/>
                                          </p:stCondLst>
                                        </p:cTn>
                                        <p:tgtEl>
                                          <p:spTgt spid="1029"/>
                                        </p:tgtEl>
                                        <p:attrNameLst>
                                          <p:attrName>style.visibility</p:attrName>
                                        </p:attrNameLst>
                                      </p:cBhvr>
                                      <p:to>
                                        <p:strVal val="visible"/>
                                      </p:to>
                                    </p:set>
                                    <p:animEffect transition="in" filter="fade">
                                      <p:cBhvr>
                                        <p:cTn id="240" dur="500"/>
                                        <p:tgtEl>
                                          <p:spTgt spid="1029"/>
                                        </p:tgtEl>
                                      </p:cBhvr>
                                    </p:animEffect>
                                  </p:childTnLst>
                                </p:cTn>
                              </p:par>
                              <p:par>
                                <p:cTn id="241" presetID="10" presetClass="entr" presetSubtype="0" fill="hold" nodeType="withEffect">
                                  <p:stCondLst>
                                    <p:cond delay="250"/>
                                  </p:stCondLst>
                                  <p:childTnLst>
                                    <p:set>
                                      <p:cBhvr>
                                        <p:cTn id="242" dur="1" fill="hold">
                                          <p:stCondLst>
                                            <p:cond delay="0"/>
                                          </p:stCondLst>
                                        </p:cTn>
                                        <p:tgtEl>
                                          <p:spTgt spid="9"/>
                                        </p:tgtEl>
                                        <p:attrNameLst>
                                          <p:attrName>style.visibility</p:attrName>
                                        </p:attrNameLst>
                                      </p:cBhvr>
                                      <p:to>
                                        <p:strVal val="visible"/>
                                      </p:to>
                                    </p:set>
                                    <p:animEffect transition="in" filter="fade">
                                      <p:cBhvr>
                                        <p:cTn id="243" dur="500"/>
                                        <p:tgtEl>
                                          <p:spTgt spid="9"/>
                                        </p:tgtEl>
                                      </p:cBhvr>
                                    </p:animEffect>
                                  </p:childTnLst>
                                </p:cTn>
                              </p:par>
                              <p:par>
                                <p:cTn id="244" presetID="10" presetClass="entr" presetSubtype="0" fill="hold" nodeType="withEffect">
                                  <p:stCondLst>
                                    <p:cond delay="500"/>
                                  </p:stCondLst>
                                  <p:childTnLst>
                                    <p:set>
                                      <p:cBhvr>
                                        <p:cTn id="245" dur="1" fill="hold">
                                          <p:stCondLst>
                                            <p:cond delay="0"/>
                                          </p:stCondLst>
                                        </p:cTn>
                                        <p:tgtEl>
                                          <p:spTgt spid="7"/>
                                        </p:tgtEl>
                                        <p:attrNameLst>
                                          <p:attrName>style.visibility</p:attrName>
                                        </p:attrNameLst>
                                      </p:cBhvr>
                                      <p:to>
                                        <p:strVal val="visible"/>
                                      </p:to>
                                    </p:set>
                                    <p:animEffect transition="in" filter="fade">
                                      <p:cBhvr>
                                        <p:cTn id="246" dur="500"/>
                                        <p:tgtEl>
                                          <p:spTgt spid="7"/>
                                        </p:tgtEl>
                                      </p:cBhvr>
                                    </p:animEffect>
                                  </p:childTnLst>
                                </p:cTn>
                              </p:par>
                              <p:par>
                                <p:cTn id="247" presetID="10" presetClass="entr" presetSubtype="0" fill="hold" grpId="0" nodeType="withEffect">
                                  <p:stCondLst>
                                    <p:cond delay="500"/>
                                  </p:stCondLst>
                                  <p:childTnLst>
                                    <p:set>
                                      <p:cBhvr>
                                        <p:cTn id="248" dur="1" fill="hold">
                                          <p:stCondLst>
                                            <p:cond delay="0"/>
                                          </p:stCondLst>
                                        </p:cTn>
                                        <p:tgtEl>
                                          <p:spTgt spid="1034"/>
                                        </p:tgtEl>
                                        <p:attrNameLst>
                                          <p:attrName>style.visibility</p:attrName>
                                        </p:attrNameLst>
                                      </p:cBhvr>
                                      <p:to>
                                        <p:strVal val="visible"/>
                                      </p:to>
                                    </p:set>
                                    <p:animEffect transition="in" filter="fade">
                                      <p:cBhvr>
                                        <p:cTn id="249" dur="500"/>
                                        <p:tgtEl>
                                          <p:spTgt spid="1034"/>
                                        </p:tgtEl>
                                      </p:cBhvr>
                                    </p:animEffect>
                                  </p:childTnLst>
                                </p:cTn>
                              </p:par>
                            </p:childTnLst>
                          </p:cTn>
                        </p:par>
                        <p:par>
                          <p:cTn id="250" fill="hold">
                            <p:stCondLst>
                              <p:cond delay="3100"/>
                            </p:stCondLst>
                            <p:childTnLst>
                              <p:par>
                                <p:cTn id="251" presetID="10" presetClass="entr" presetSubtype="0" fill="hold" grpId="0" nodeType="afterEffect">
                                  <p:stCondLst>
                                    <p:cond delay="0"/>
                                  </p:stCondLst>
                                  <p:childTnLst>
                                    <p:set>
                                      <p:cBhvr>
                                        <p:cTn id="252" dur="1" fill="hold">
                                          <p:stCondLst>
                                            <p:cond delay="0"/>
                                          </p:stCondLst>
                                        </p:cTn>
                                        <p:tgtEl>
                                          <p:spTgt spid="157"/>
                                        </p:tgtEl>
                                        <p:attrNameLst>
                                          <p:attrName>style.visibility</p:attrName>
                                        </p:attrNameLst>
                                      </p:cBhvr>
                                      <p:to>
                                        <p:strVal val="visible"/>
                                      </p:to>
                                    </p:set>
                                    <p:animEffect transition="in" filter="fade">
                                      <p:cBhvr>
                                        <p:cTn id="253" dur="500"/>
                                        <p:tgtEl>
                                          <p:spTgt spid="157"/>
                                        </p:tgtEl>
                                      </p:cBhvr>
                                    </p:animEffect>
                                  </p:childTnLst>
                                </p:cTn>
                              </p:par>
                              <p:par>
                                <p:cTn id="254" presetID="10" presetClass="entr" presetSubtype="0" fill="hold" grpId="0" nodeType="withEffect">
                                  <p:stCondLst>
                                    <p:cond delay="0"/>
                                  </p:stCondLst>
                                  <p:childTnLst>
                                    <p:set>
                                      <p:cBhvr>
                                        <p:cTn id="255" dur="1" fill="hold">
                                          <p:stCondLst>
                                            <p:cond delay="0"/>
                                          </p:stCondLst>
                                        </p:cTn>
                                        <p:tgtEl>
                                          <p:spTgt spid="164"/>
                                        </p:tgtEl>
                                        <p:attrNameLst>
                                          <p:attrName>style.visibility</p:attrName>
                                        </p:attrNameLst>
                                      </p:cBhvr>
                                      <p:to>
                                        <p:strVal val="visible"/>
                                      </p:to>
                                    </p:set>
                                    <p:animEffect transition="in" filter="fade">
                                      <p:cBhvr>
                                        <p:cTn id="256" dur="500"/>
                                        <p:tgtEl>
                                          <p:spTgt spid="164"/>
                                        </p:tgtEl>
                                      </p:cBhvr>
                                    </p:animEffect>
                                  </p:childTnLst>
                                </p:cTn>
                              </p:par>
                              <p:par>
                                <p:cTn id="257" presetID="10" presetClass="entr" presetSubtype="0" fill="hold" grpId="0" nodeType="withEffect">
                                  <p:stCondLst>
                                    <p:cond delay="0"/>
                                  </p:stCondLst>
                                  <p:childTnLst>
                                    <p:set>
                                      <p:cBhvr>
                                        <p:cTn id="258" dur="1" fill="hold">
                                          <p:stCondLst>
                                            <p:cond delay="0"/>
                                          </p:stCondLst>
                                        </p:cTn>
                                        <p:tgtEl>
                                          <p:spTgt spid="170"/>
                                        </p:tgtEl>
                                        <p:attrNameLst>
                                          <p:attrName>style.visibility</p:attrName>
                                        </p:attrNameLst>
                                      </p:cBhvr>
                                      <p:to>
                                        <p:strVal val="visible"/>
                                      </p:to>
                                    </p:set>
                                    <p:animEffect transition="in" filter="fade">
                                      <p:cBhvr>
                                        <p:cTn id="259" dur="500"/>
                                        <p:tgtEl>
                                          <p:spTgt spid="170"/>
                                        </p:tgtEl>
                                      </p:cBhvr>
                                    </p:animEffect>
                                  </p:childTnLst>
                                </p:cTn>
                              </p:par>
                              <p:par>
                                <p:cTn id="260" presetID="10" presetClass="entr" presetSubtype="0" fill="hold" grpId="0" nodeType="withEffect">
                                  <p:stCondLst>
                                    <p:cond delay="0"/>
                                  </p:stCondLst>
                                  <p:childTnLst>
                                    <p:set>
                                      <p:cBhvr>
                                        <p:cTn id="261" dur="1" fill="hold">
                                          <p:stCondLst>
                                            <p:cond delay="0"/>
                                          </p:stCondLst>
                                        </p:cTn>
                                        <p:tgtEl>
                                          <p:spTgt spid="175"/>
                                        </p:tgtEl>
                                        <p:attrNameLst>
                                          <p:attrName>style.visibility</p:attrName>
                                        </p:attrNameLst>
                                      </p:cBhvr>
                                      <p:to>
                                        <p:strVal val="visible"/>
                                      </p:to>
                                    </p:set>
                                    <p:animEffect transition="in" filter="fade">
                                      <p:cBhvr>
                                        <p:cTn id="262" dur="500"/>
                                        <p:tgtEl>
                                          <p:spTgt spid="175"/>
                                        </p:tgtEl>
                                      </p:cBhvr>
                                    </p:animEffect>
                                  </p:childTnLst>
                                </p:cTn>
                              </p:par>
                              <p:par>
                                <p:cTn id="263" presetID="10" presetClass="entr" presetSubtype="0" fill="hold" grpId="0" nodeType="withEffect">
                                  <p:stCondLst>
                                    <p:cond delay="0"/>
                                  </p:stCondLst>
                                  <p:childTnLst>
                                    <p:set>
                                      <p:cBhvr>
                                        <p:cTn id="264" dur="1" fill="hold">
                                          <p:stCondLst>
                                            <p:cond delay="0"/>
                                          </p:stCondLst>
                                        </p:cTn>
                                        <p:tgtEl>
                                          <p:spTgt spid="166"/>
                                        </p:tgtEl>
                                        <p:attrNameLst>
                                          <p:attrName>style.visibility</p:attrName>
                                        </p:attrNameLst>
                                      </p:cBhvr>
                                      <p:to>
                                        <p:strVal val="visible"/>
                                      </p:to>
                                    </p:set>
                                    <p:animEffect transition="in" filter="fade">
                                      <p:cBhvr>
                                        <p:cTn id="265" dur="500"/>
                                        <p:tgtEl>
                                          <p:spTgt spid="166"/>
                                        </p:tgtEl>
                                      </p:cBhvr>
                                    </p:animEffect>
                                  </p:childTnLst>
                                </p:cTn>
                              </p:par>
                              <p:par>
                                <p:cTn id="266" presetID="10" presetClass="entr" presetSubtype="0" fill="hold" grpId="0" nodeType="withEffect">
                                  <p:stCondLst>
                                    <p:cond delay="0"/>
                                  </p:stCondLst>
                                  <p:childTnLst>
                                    <p:set>
                                      <p:cBhvr>
                                        <p:cTn id="267" dur="1" fill="hold">
                                          <p:stCondLst>
                                            <p:cond delay="0"/>
                                          </p:stCondLst>
                                        </p:cTn>
                                        <p:tgtEl>
                                          <p:spTgt spid="168"/>
                                        </p:tgtEl>
                                        <p:attrNameLst>
                                          <p:attrName>style.visibility</p:attrName>
                                        </p:attrNameLst>
                                      </p:cBhvr>
                                      <p:to>
                                        <p:strVal val="visible"/>
                                      </p:to>
                                    </p:set>
                                    <p:animEffect transition="in" filter="fade">
                                      <p:cBhvr>
                                        <p:cTn id="268" dur="500"/>
                                        <p:tgtEl>
                                          <p:spTgt spid="168"/>
                                        </p:tgtEl>
                                      </p:cBhvr>
                                    </p:animEffect>
                                  </p:childTnLst>
                                </p:cTn>
                              </p:par>
                              <p:par>
                                <p:cTn id="269" presetID="10" presetClass="entr" presetSubtype="0" fill="hold" grpId="0" nodeType="withEffect">
                                  <p:stCondLst>
                                    <p:cond delay="0"/>
                                  </p:stCondLst>
                                  <p:childTnLst>
                                    <p:set>
                                      <p:cBhvr>
                                        <p:cTn id="270" dur="1" fill="hold">
                                          <p:stCondLst>
                                            <p:cond delay="0"/>
                                          </p:stCondLst>
                                        </p:cTn>
                                        <p:tgtEl>
                                          <p:spTgt spid="172"/>
                                        </p:tgtEl>
                                        <p:attrNameLst>
                                          <p:attrName>style.visibility</p:attrName>
                                        </p:attrNameLst>
                                      </p:cBhvr>
                                      <p:to>
                                        <p:strVal val="visible"/>
                                      </p:to>
                                    </p:set>
                                    <p:animEffect transition="in" filter="fade">
                                      <p:cBhvr>
                                        <p:cTn id="271" dur="500"/>
                                        <p:tgtEl>
                                          <p:spTgt spid="172"/>
                                        </p:tgtEl>
                                      </p:cBhvr>
                                    </p:animEffect>
                                  </p:childTnLst>
                                </p:cTn>
                              </p:par>
                              <p:par>
                                <p:cTn id="272" presetID="10" presetClass="entr" presetSubtype="0" fill="hold" nodeType="withEffect">
                                  <p:stCondLst>
                                    <p:cond delay="0"/>
                                  </p:stCondLst>
                                  <p:childTnLst>
                                    <p:set>
                                      <p:cBhvr>
                                        <p:cTn id="273" dur="1" fill="hold">
                                          <p:stCondLst>
                                            <p:cond delay="0"/>
                                          </p:stCondLst>
                                        </p:cTn>
                                        <p:tgtEl>
                                          <p:spTgt spid="176"/>
                                        </p:tgtEl>
                                        <p:attrNameLst>
                                          <p:attrName>style.visibility</p:attrName>
                                        </p:attrNameLst>
                                      </p:cBhvr>
                                      <p:to>
                                        <p:strVal val="visible"/>
                                      </p:to>
                                    </p:set>
                                    <p:animEffect transition="in" filter="fade">
                                      <p:cBhvr>
                                        <p:cTn id="274" dur="500"/>
                                        <p:tgtEl>
                                          <p:spTgt spid="176"/>
                                        </p:tgtEl>
                                      </p:cBhvr>
                                    </p:animEffect>
                                  </p:childTnLst>
                                </p:cTn>
                              </p:par>
                              <p:par>
                                <p:cTn id="275" presetID="10" presetClass="entr" presetSubtype="0" fill="hold" nodeType="withEffect">
                                  <p:stCondLst>
                                    <p:cond delay="0"/>
                                  </p:stCondLst>
                                  <p:childTnLst>
                                    <p:set>
                                      <p:cBhvr>
                                        <p:cTn id="276" dur="1" fill="hold">
                                          <p:stCondLst>
                                            <p:cond delay="0"/>
                                          </p:stCondLst>
                                        </p:cTn>
                                        <p:tgtEl>
                                          <p:spTgt spid="177"/>
                                        </p:tgtEl>
                                        <p:attrNameLst>
                                          <p:attrName>style.visibility</p:attrName>
                                        </p:attrNameLst>
                                      </p:cBhvr>
                                      <p:to>
                                        <p:strVal val="visible"/>
                                      </p:to>
                                    </p:set>
                                    <p:animEffect transition="in" filter="fade">
                                      <p:cBhvr>
                                        <p:cTn id="277" dur="500"/>
                                        <p:tgtEl>
                                          <p:spTgt spid="177"/>
                                        </p:tgtEl>
                                      </p:cBhvr>
                                    </p:animEffect>
                                  </p:childTnLst>
                                </p:cTn>
                              </p:par>
                              <p:par>
                                <p:cTn id="278" presetID="10" presetClass="entr" presetSubtype="0" fill="hold" nodeType="withEffect">
                                  <p:stCondLst>
                                    <p:cond delay="0"/>
                                  </p:stCondLst>
                                  <p:childTnLst>
                                    <p:set>
                                      <p:cBhvr>
                                        <p:cTn id="279" dur="1" fill="hold">
                                          <p:stCondLst>
                                            <p:cond delay="0"/>
                                          </p:stCondLst>
                                        </p:cTn>
                                        <p:tgtEl>
                                          <p:spTgt spid="178"/>
                                        </p:tgtEl>
                                        <p:attrNameLst>
                                          <p:attrName>style.visibility</p:attrName>
                                        </p:attrNameLst>
                                      </p:cBhvr>
                                      <p:to>
                                        <p:strVal val="visible"/>
                                      </p:to>
                                    </p:set>
                                    <p:animEffect transition="in" filter="fade">
                                      <p:cBhvr>
                                        <p:cTn id="280" dur="500"/>
                                        <p:tgtEl>
                                          <p:spTgt spid="178"/>
                                        </p:tgtEl>
                                      </p:cBhvr>
                                    </p:animEffect>
                                  </p:childTnLst>
                                </p:cTn>
                              </p:par>
                              <p:par>
                                <p:cTn id="281" presetID="10" presetClass="entr" presetSubtype="0" fill="hold" nodeType="withEffect">
                                  <p:stCondLst>
                                    <p:cond delay="0"/>
                                  </p:stCondLst>
                                  <p:childTnLst>
                                    <p:set>
                                      <p:cBhvr>
                                        <p:cTn id="282" dur="1" fill="hold">
                                          <p:stCondLst>
                                            <p:cond delay="0"/>
                                          </p:stCondLst>
                                        </p:cTn>
                                        <p:tgtEl>
                                          <p:spTgt spid="179"/>
                                        </p:tgtEl>
                                        <p:attrNameLst>
                                          <p:attrName>style.visibility</p:attrName>
                                        </p:attrNameLst>
                                      </p:cBhvr>
                                      <p:to>
                                        <p:strVal val="visible"/>
                                      </p:to>
                                    </p:set>
                                    <p:animEffect transition="in" filter="fade">
                                      <p:cBhvr>
                                        <p:cTn id="283" dur="500"/>
                                        <p:tgtEl>
                                          <p:spTgt spid="1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2" grpId="0"/>
      <p:bldP spid="43" grpId="0"/>
      <p:bldP spid="44" grpId="0"/>
      <p:bldP spid="45" grpId="0"/>
      <p:bldP spid="157" grpId="0" animBg="1"/>
      <p:bldP spid="164" grpId="0"/>
      <p:bldP spid="166" grpId="0"/>
      <p:bldP spid="168" grpId="0"/>
      <p:bldP spid="170" grpId="0"/>
      <p:bldP spid="172" grpId="0"/>
      <p:bldP spid="175" grpId="0"/>
      <p:bldP spid="1024" grpId="0" animBg="1"/>
      <p:bldP spid="1029" grpId="0" animBg="1"/>
      <p:bldP spid="1034" grpId="0" animBg="1"/>
      <p:bldP spid="1041" grpId="0" animBg="1"/>
      <p:bldP spid="1042" grpId="0" animBg="1"/>
      <p:bldP spid="1043" grpId="0" animBg="1"/>
      <p:bldP spid="1044" grpId="0" animBg="1"/>
      <p:bldP spid="1045" grpId="0" animBg="1"/>
      <p:bldP spid="1046" grpId="0" animBg="1"/>
      <p:bldP spid="1066" grpId="0" animBg="1"/>
      <p:bldP spid="1067" grpId="0" animBg="1"/>
      <p:bldP spid="1068" grpId="0" animBg="1"/>
      <p:bldP spid="1075" grpId="0" animBg="1"/>
      <p:bldP spid="1076" grpId="0" animBg="1"/>
      <p:bldP spid="1077" grpId="0" animBg="1"/>
      <p:bldP spid="1078" grpId="0" animBg="1"/>
      <p:bldP spid="1079" grpId="0" animBg="1"/>
      <p:bldP spid="1080" grpId="0" animBg="1"/>
      <p:bldP spid="1084" grpId="0" animBg="1"/>
      <p:bldP spid="1085" grpId="0" animBg="1"/>
      <p:bldP spid="1086" grpId="0" animBg="1"/>
      <p:bldP spid="206" grpId="0" animBg="1"/>
      <p:bldP spid="207" grpId="0" animBg="1"/>
      <p:bldP spid="208" grpId="0" animBg="1"/>
      <p:bldP spid="209" grpId="0" animBg="1"/>
      <p:bldP spid="210" grpId="0" animBg="1"/>
      <p:bldP spid="211" grpId="0" animBg="1"/>
      <p:bldP spid="212" grpId="0" animBg="1"/>
      <p:bldP spid="213" grpId="0" animBg="1"/>
      <p:bldP spid="214" grpId="0" animBg="1"/>
      <p:bldP spid="215" grpId="0" animBg="1"/>
      <p:bldP spid="216" grpId="0" animBg="1"/>
      <p:bldP spid="217" grpId="0" animBg="1"/>
      <p:bldP spid="18" grpId="0"/>
      <p:bldP spid="30"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AF6A86-C83A-69F1-F438-3E6636D9F3E2}"/>
            </a:ext>
          </a:extLst>
        </p:cNvPr>
        <p:cNvGrpSpPr/>
        <p:nvPr/>
      </p:nvGrpSpPr>
      <p:grpSpPr>
        <a:xfrm>
          <a:off x="0" y="0"/>
          <a:ext cx="0" cy="0"/>
          <a:chOff x="0" y="0"/>
          <a:chExt cx="0" cy="0"/>
        </a:xfrm>
      </p:grpSpPr>
      <p:grpSp>
        <p:nvGrpSpPr>
          <p:cNvPr id="2638" name="Group 2637">
            <a:extLst>
              <a:ext uri="{FF2B5EF4-FFF2-40B4-BE49-F238E27FC236}">
                <a16:creationId xmlns:a16="http://schemas.microsoft.com/office/drawing/2014/main" id="{5C121875-5F06-0007-27BE-0F71B7E6D33C}"/>
              </a:ext>
              <a:ext uri="{C183D7F6-B498-43B3-948B-1728B52AA6E4}">
                <adec:decorative xmlns:adec="http://schemas.microsoft.com/office/drawing/2017/decorative" val="1"/>
              </a:ext>
            </a:extLst>
          </p:cNvPr>
          <p:cNvGrpSpPr>
            <a:grpSpLocks/>
          </p:cNvGrpSpPr>
          <p:nvPr/>
        </p:nvGrpSpPr>
        <p:grpSpPr>
          <a:xfrm>
            <a:off x="5890502" y="3224780"/>
            <a:ext cx="440628" cy="440628"/>
            <a:chOff x="5735358" y="4865906"/>
            <a:chExt cx="721284" cy="721284"/>
          </a:xfrm>
        </p:grpSpPr>
        <p:grpSp>
          <p:nvGrpSpPr>
            <p:cNvPr id="2639" name="Group 2638">
              <a:extLst>
                <a:ext uri="{FF2B5EF4-FFF2-40B4-BE49-F238E27FC236}">
                  <a16:creationId xmlns:a16="http://schemas.microsoft.com/office/drawing/2014/main" id="{D432D90C-7FDC-2A11-D022-C32F7A2D0669}"/>
                </a:ext>
              </a:extLst>
            </p:cNvPr>
            <p:cNvGrpSpPr/>
            <p:nvPr/>
          </p:nvGrpSpPr>
          <p:grpSpPr>
            <a:xfrm>
              <a:off x="5735358" y="4865906"/>
              <a:ext cx="721284" cy="721284"/>
              <a:chOff x="6351735" y="3356388"/>
              <a:chExt cx="451805" cy="451805"/>
            </a:xfrm>
          </p:grpSpPr>
          <p:sp>
            <p:nvSpPr>
              <p:cNvPr id="2641" name="Oval 2640">
                <a:extLst>
                  <a:ext uri="{FF2B5EF4-FFF2-40B4-BE49-F238E27FC236}">
                    <a16:creationId xmlns:a16="http://schemas.microsoft.com/office/drawing/2014/main" id="{CF4E1EB5-3160-EED4-28B1-9F212E56197D}"/>
                  </a:ext>
                </a:extLst>
              </p:cNvPr>
              <p:cNvSpPr/>
              <p:nvPr/>
            </p:nvSpPr>
            <p:spPr bwMode="auto">
              <a:xfrm>
                <a:off x="6351735" y="3356388"/>
                <a:ext cx="451805" cy="451805"/>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642" name="Oval 2641">
                <a:extLst>
                  <a:ext uri="{FF2B5EF4-FFF2-40B4-BE49-F238E27FC236}">
                    <a16:creationId xmlns:a16="http://schemas.microsoft.com/office/drawing/2014/main" id="{AF824785-E363-7723-6013-E39B05D0965A}"/>
                  </a:ext>
                </a:extLst>
              </p:cNvPr>
              <p:cNvSpPr/>
              <p:nvPr/>
            </p:nvSpPr>
            <p:spPr bwMode="auto">
              <a:xfrm>
                <a:off x="6396037" y="3400692"/>
                <a:ext cx="363201" cy="363198"/>
              </a:xfrm>
              <a:prstGeom prst="ellipse">
                <a:avLst/>
              </a:prstGeom>
              <a:solidFill>
                <a:sysClr val="window" lastClr="FFFFFF"/>
              </a:solidFill>
              <a:ln w="127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Segoe Sans Display"/>
                  <a:ea typeface="+mn-ea"/>
                  <a:cs typeface="+mn-cs"/>
                </a:endParaRPr>
              </a:p>
            </p:txBody>
          </p:sp>
        </p:grpSp>
        <p:sp>
          <p:nvSpPr>
            <p:cNvPr id="2640" name="Graphic 38">
              <a:extLst>
                <a:ext uri="{FF2B5EF4-FFF2-40B4-BE49-F238E27FC236}">
                  <a16:creationId xmlns:a16="http://schemas.microsoft.com/office/drawing/2014/main" id="{534530E5-4046-8CEF-0479-E4891C1A5125}"/>
                </a:ext>
              </a:extLst>
            </p:cNvPr>
            <p:cNvSpPr/>
            <p:nvPr/>
          </p:nvSpPr>
          <p:spPr>
            <a:xfrm>
              <a:off x="5943600" y="5089388"/>
              <a:ext cx="304800" cy="289560"/>
            </a:xfrm>
            <a:custGeom>
              <a:avLst/>
              <a:gdLst>
                <a:gd name="connsiteX0" fmla="*/ 194371 w 304800"/>
                <a:gd name="connsiteY0" fmla="*/ 106680 h 289560"/>
                <a:gd name="connsiteX1" fmla="*/ 221041 w 304800"/>
                <a:gd name="connsiteY1" fmla="*/ 133350 h 289560"/>
                <a:gd name="connsiteX2" fmla="*/ 221041 w 304800"/>
                <a:gd name="connsiteY2" fmla="*/ 182880 h 289560"/>
                <a:gd name="connsiteX3" fmla="*/ 220980 w 304800"/>
                <a:gd name="connsiteY3" fmla="*/ 182880 h 289560"/>
                <a:gd name="connsiteX4" fmla="*/ 220980 w 304800"/>
                <a:gd name="connsiteY4" fmla="*/ 186690 h 289560"/>
                <a:gd name="connsiteX5" fmla="*/ 209550 w 304800"/>
                <a:gd name="connsiteY5" fmla="*/ 198120 h 289560"/>
                <a:gd name="connsiteX6" fmla="*/ 198120 w 304800"/>
                <a:gd name="connsiteY6" fmla="*/ 186690 h 289560"/>
                <a:gd name="connsiteX7" fmla="*/ 198120 w 304800"/>
                <a:gd name="connsiteY7" fmla="*/ 152400 h 289560"/>
                <a:gd name="connsiteX8" fmla="*/ 198181 w 304800"/>
                <a:gd name="connsiteY8" fmla="*/ 152400 h 289560"/>
                <a:gd name="connsiteX9" fmla="*/ 198181 w 304800"/>
                <a:gd name="connsiteY9" fmla="*/ 133350 h 289560"/>
                <a:gd name="connsiteX10" fmla="*/ 194371 w 304800"/>
                <a:gd name="connsiteY10" fmla="*/ 129540 h 289560"/>
                <a:gd name="connsiteX11" fmla="*/ 110520 w 304800"/>
                <a:gd name="connsiteY11" fmla="*/ 129540 h 289560"/>
                <a:gd name="connsiteX12" fmla="*/ 106710 w 304800"/>
                <a:gd name="connsiteY12" fmla="*/ 133350 h 289560"/>
                <a:gd name="connsiteX13" fmla="*/ 106710 w 304800"/>
                <a:gd name="connsiteY13" fmla="*/ 182880 h 289560"/>
                <a:gd name="connsiteX14" fmla="*/ 106680 w 304800"/>
                <a:gd name="connsiteY14" fmla="*/ 182880 h 289560"/>
                <a:gd name="connsiteX15" fmla="*/ 106680 w 304800"/>
                <a:gd name="connsiteY15" fmla="*/ 186690 h 289560"/>
                <a:gd name="connsiteX16" fmla="*/ 95250 w 304800"/>
                <a:gd name="connsiteY16" fmla="*/ 198120 h 289560"/>
                <a:gd name="connsiteX17" fmla="*/ 83820 w 304800"/>
                <a:gd name="connsiteY17" fmla="*/ 186690 h 289560"/>
                <a:gd name="connsiteX18" fmla="*/ 83820 w 304800"/>
                <a:gd name="connsiteY18" fmla="*/ 152400 h 289560"/>
                <a:gd name="connsiteX19" fmla="*/ 83850 w 304800"/>
                <a:gd name="connsiteY19" fmla="*/ 152400 h 289560"/>
                <a:gd name="connsiteX20" fmla="*/ 83850 w 304800"/>
                <a:gd name="connsiteY20" fmla="*/ 133350 h 289560"/>
                <a:gd name="connsiteX21" fmla="*/ 110520 w 304800"/>
                <a:gd name="connsiteY21" fmla="*/ 106680 h 289560"/>
                <a:gd name="connsiteX22" fmla="*/ 194371 w 304800"/>
                <a:gd name="connsiteY22" fmla="*/ 106680 h 289560"/>
                <a:gd name="connsiteX23" fmla="*/ 281940 w 304800"/>
                <a:gd name="connsiteY23" fmla="*/ 133350 h 289560"/>
                <a:gd name="connsiteX24" fmla="*/ 281940 w 304800"/>
                <a:gd name="connsiteY24" fmla="*/ 186690 h 289560"/>
                <a:gd name="connsiteX25" fmla="*/ 293370 w 304800"/>
                <a:gd name="connsiteY25" fmla="*/ 198120 h 289560"/>
                <a:gd name="connsiteX26" fmla="*/ 304800 w 304800"/>
                <a:gd name="connsiteY26" fmla="*/ 186690 h 289560"/>
                <a:gd name="connsiteX27" fmla="*/ 304800 w 304800"/>
                <a:gd name="connsiteY27" fmla="*/ 133350 h 289560"/>
                <a:gd name="connsiteX28" fmla="*/ 278130 w 304800"/>
                <a:gd name="connsiteY28" fmla="*/ 106680 h 289560"/>
                <a:gd name="connsiteX29" fmla="*/ 226695 w 304800"/>
                <a:gd name="connsiteY29" fmla="*/ 106680 h 289560"/>
                <a:gd name="connsiteX30" fmla="*/ 236113 w 304800"/>
                <a:gd name="connsiteY30" fmla="*/ 129540 h 289560"/>
                <a:gd name="connsiteX31" fmla="*/ 278130 w 304800"/>
                <a:gd name="connsiteY31" fmla="*/ 129540 h 289560"/>
                <a:gd name="connsiteX32" fmla="*/ 281940 w 304800"/>
                <a:gd name="connsiteY32" fmla="*/ 133350 h 289560"/>
                <a:gd name="connsiteX33" fmla="*/ 0 w 304800"/>
                <a:gd name="connsiteY33" fmla="*/ 186690 h 289560"/>
                <a:gd name="connsiteX34" fmla="*/ 11430 w 304800"/>
                <a:gd name="connsiteY34" fmla="*/ 198120 h 289560"/>
                <a:gd name="connsiteX35" fmla="*/ 22860 w 304800"/>
                <a:gd name="connsiteY35" fmla="*/ 186690 h 289560"/>
                <a:gd name="connsiteX36" fmla="*/ 22860 w 304800"/>
                <a:gd name="connsiteY36" fmla="*/ 133350 h 289560"/>
                <a:gd name="connsiteX37" fmla="*/ 26670 w 304800"/>
                <a:gd name="connsiteY37" fmla="*/ 129540 h 289560"/>
                <a:gd name="connsiteX38" fmla="*/ 68778 w 304800"/>
                <a:gd name="connsiteY38" fmla="*/ 129540 h 289560"/>
                <a:gd name="connsiteX39" fmla="*/ 78196 w 304800"/>
                <a:gd name="connsiteY39" fmla="*/ 106680 h 289560"/>
                <a:gd name="connsiteX40" fmla="*/ 26670 w 304800"/>
                <a:gd name="connsiteY40" fmla="*/ 106680 h 289560"/>
                <a:gd name="connsiteX41" fmla="*/ 0 w 304800"/>
                <a:gd name="connsiteY41" fmla="*/ 133350 h 289560"/>
                <a:gd name="connsiteX42" fmla="*/ 0 w 304800"/>
                <a:gd name="connsiteY42" fmla="*/ 186690 h 289560"/>
                <a:gd name="connsiteX43" fmla="*/ 152400 w 304800"/>
                <a:gd name="connsiteY43" fmla="*/ 0 h 289560"/>
                <a:gd name="connsiteX44" fmla="*/ 198120 w 304800"/>
                <a:gd name="connsiteY44" fmla="*/ 45720 h 289560"/>
                <a:gd name="connsiteX45" fmla="*/ 152400 w 304800"/>
                <a:gd name="connsiteY45" fmla="*/ 91440 h 289560"/>
                <a:gd name="connsiteX46" fmla="*/ 106680 w 304800"/>
                <a:gd name="connsiteY46" fmla="*/ 45720 h 289560"/>
                <a:gd name="connsiteX47" fmla="*/ 152400 w 304800"/>
                <a:gd name="connsiteY47" fmla="*/ 0 h 289560"/>
                <a:gd name="connsiteX48" fmla="*/ 152400 w 304800"/>
                <a:gd name="connsiteY48" fmla="*/ 22860 h 289560"/>
                <a:gd name="connsiteX49" fmla="*/ 129540 w 304800"/>
                <a:gd name="connsiteY49" fmla="*/ 45720 h 289560"/>
                <a:gd name="connsiteX50" fmla="*/ 152400 w 304800"/>
                <a:gd name="connsiteY50" fmla="*/ 68580 h 289560"/>
                <a:gd name="connsiteX51" fmla="*/ 175260 w 304800"/>
                <a:gd name="connsiteY51" fmla="*/ 45720 h 289560"/>
                <a:gd name="connsiteX52" fmla="*/ 152400 w 304800"/>
                <a:gd name="connsiteY52" fmla="*/ 22860 h 289560"/>
                <a:gd name="connsiteX53" fmla="*/ 251460 w 304800"/>
                <a:gd name="connsiteY53" fmla="*/ 15240 h 289560"/>
                <a:gd name="connsiteX54" fmla="*/ 289560 w 304800"/>
                <a:gd name="connsiteY54" fmla="*/ 53340 h 289560"/>
                <a:gd name="connsiteX55" fmla="*/ 251460 w 304800"/>
                <a:gd name="connsiteY55" fmla="*/ 91440 h 289560"/>
                <a:gd name="connsiteX56" fmla="*/ 213360 w 304800"/>
                <a:gd name="connsiteY56" fmla="*/ 53340 h 289560"/>
                <a:gd name="connsiteX57" fmla="*/ 251460 w 304800"/>
                <a:gd name="connsiteY57" fmla="*/ 15240 h 289560"/>
                <a:gd name="connsiteX58" fmla="*/ 251460 w 304800"/>
                <a:gd name="connsiteY58" fmla="*/ 38100 h 289560"/>
                <a:gd name="connsiteX59" fmla="*/ 236220 w 304800"/>
                <a:gd name="connsiteY59" fmla="*/ 53340 h 289560"/>
                <a:gd name="connsiteX60" fmla="*/ 251460 w 304800"/>
                <a:gd name="connsiteY60" fmla="*/ 68580 h 289560"/>
                <a:gd name="connsiteX61" fmla="*/ 266700 w 304800"/>
                <a:gd name="connsiteY61" fmla="*/ 53340 h 289560"/>
                <a:gd name="connsiteX62" fmla="*/ 251460 w 304800"/>
                <a:gd name="connsiteY62" fmla="*/ 38100 h 289560"/>
                <a:gd name="connsiteX63" fmla="*/ 53340 w 304800"/>
                <a:gd name="connsiteY63" fmla="*/ 15240 h 289560"/>
                <a:gd name="connsiteX64" fmla="*/ 91440 w 304800"/>
                <a:gd name="connsiteY64" fmla="*/ 53340 h 289560"/>
                <a:gd name="connsiteX65" fmla="*/ 53340 w 304800"/>
                <a:gd name="connsiteY65" fmla="*/ 91440 h 289560"/>
                <a:gd name="connsiteX66" fmla="*/ 15240 w 304800"/>
                <a:gd name="connsiteY66" fmla="*/ 53340 h 289560"/>
                <a:gd name="connsiteX67" fmla="*/ 53340 w 304800"/>
                <a:gd name="connsiteY67" fmla="*/ 15240 h 289560"/>
                <a:gd name="connsiteX68" fmla="*/ 53340 w 304800"/>
                <a:gd name="connsiteY68" fmla="*/ 38100 h 289560"/>
                <a:gd name="connsiteX69" fmla="*/ 38100 w 304800"/>
                <a:gd name="connsiteY69" fmla="*/ 53340 h 289560"/>
                <a:gd name="connsiteX70" fmla="*/ 53340 w 304800"/>
                <a:gd name="connsiteY70" fmla="*/ 68580 h 289560"/>
                <a:gd name="connsiteX71" fmla="*/ 68580 w 304800"/>
                <a:gd name="connsiteY71" fmla="*/ 53340 h 289560"/>
                <a:gd name="connsiteX72" fmla="*/ 53340 w 304800"/>
                <a:gd name="connsiteY72" fmla="*/ 38100 h 289560"/>
                <a:gd name="connsiteX73" fmla="*/ 11430 w 304800"/>
                <a:gd name="connsiteY73" fmla="*/ 213360 h 289560"/>
                <a:gd name="connsiteX74" fmla="*/ 0 w 304800"/>
                <a:gd name="connsiteY74" fmla="*/ 224790 h 289560"/>
                <a:gd name="connsiteX75" fmla="*/ 0 w 304800"/>
                <a:gd name="connsiteY75" fmla="*/ 232410 h 289560"/>
                <a:gd name="connsiteX76" fmla="*/ 57150 w 304800"/>
                <a:gd name="connsiteY76" fmla="*/ 289560 h 289560"/>
                <a:gd name="connsiteX77" fmla="*/ 247650 w 304800"/>
                <a:gd name="connsiteY77" fmla="*/ 289560 h 289560"/>
                <a:gd name="connsiteX78" fmla="*/ 304800 w 304800"/>
                <a:gd name="connsiteY78" fmla="*/ 232410 h 289560"/>
                <a:gd name="connsiteX79" fmla="*/ 304800 w 304800"/>
                <a:gd name="connsiteY79" fmla="*/ 224790 h 289560"/>
                <a:gd name="connsiteX80" fmla="*/ 293370 w 304800"/>
                <a:gd name="connsiteY80" fmla="*/ 213360 h 289560"/>
                <a:gd name="connsiteX81" fmla="*/ 11430 w 304800"/>
                <a:gd name="connsiteY81" fmla="*/ 213360 h 289560"/>
                <a:gd name="connsiteX82" fmla="*/ 57150 w 304800"/>
                <a:gd name="connsiteY82" fmla="*/ 266700 h 289560"/>
                <a:gd name="connsiteX83" fmla="*/ 23073 w 304800"/>
                <a:gd name="connsiteY83" fmla="*/ 236220 h 289560"/>
                <a:gd name="connsiteX84" fmla="*/ 281727 w 304800"/>
                <a:gd name="connsiteY84" fmla="*/ 236220 h 289560"/>
                <a:gd name="connsiteX85" fmla="*/ 247650 w 304800"/>
                <a:gd name="connsiteY85" fmla="*/ 266700 h 289560"/>
                <a:gd name="connsiteX86" fmla="*/ 57150 w 304800"/>
                <a:gd name="connsiteY86" fmla="*/ 266700 h 289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04800" h="289560">
                  <a:moveTo>
                    <a:pt x="194371" y="106680"/>
                  </a:moveTo>
                  <a:cubicBezTo>
                    <a:pt x="209093" y="106680"/>
                    <a:pt x="221041" y="118628"/>
                    <a:pt x="221041" y="133350"/>
                  </a:cubicBezTo>
                  <a:lnTo>
                    <a:pt x="221041" y="182880"/>
                  </a:lnTo>
                  <a:lnTo>
                    <a:pt x="220980" y="182880"/>
                  </a:lnTo>
                  <a:lnTo>
                    <a:pt x="220980" y="186690"/>
                  </a:lnTo>
                  <a:cubicBezTo>
                    <a:pt x="220980" y="193002"/>
                    <a:pt x="215862" y="198120"/>
                    <a:pt x="209550" y="198120"/>
                  </a:cubicBezTo>
                  <a:cubicBezTo>
                    <a:pt x="203238" y="198120"/>
                    <a:pt x="198120" y="193002"/>
                    <a:pt x="198120" y="186690"/>
                  </a:cubicBezTo>
                  <a:lnTo>
                    <a:pt x="198120" y="152400"/>
                  </a:lnTo>
                  <a:lnTo>
                    <a:pt x="198181" y="152400"/>
                  </a:lnTo>
                  <a:lnTo>
                    <a:pt x="198181" y="133350"/>
                  </a:lnTo>
                  <a:cubicBezTo>
                    <a:pt x="198181" y="131245"/>
                    <a:pt x="196476" y="129540"/>
                    <a:pt x="194371" y="129540"/>
                  </a:cubicBezTo>
                  <a:lnTo>
                    <a:pt x="110520" y="129540"/>
                  </a:lnTo>
                  <a:cubicBezTo>
                    <a:pt x="108416" y="129540"/>
                    <a:pt x="106710" y="131245"/>
                    <a:pt x="106710" y="133350"/>
                  </a:cubicBezTo>
                  <a:lnTo>
                    <a:pt x="106710" y="182880"/>
                  </a:lnTo>
                  <a:lnTo>
                    <a:pt x="106680" y="182880"/>
                  </a:lnTo>
                  <a:lnTo>
                    <a:pt x="106680" y="186690"/>
                  </a:lnTo>
                  <a:cubicBezTo>
                    <a:pt x="106680" y="193002"/>
                    <a:pt x="101563" y="198120"/>
                    <a:pt x="95250" y="198120"/>
                  </a:cubicBezTo>
                  <a:cubicBezTo>
                    <a:pt x="88937" y="198120"/>
                    <a:pt x="83820" y="193002"/>
                    <a:pt x="83820" y="186690"/>
                  </a:cubicBezTo>
                  <a:lnTo>
                    <a:pt x="83820" y="152400"/>
                  </a:lnTo>
                  <a:lnTo>
                    <a:pt x="83850" y="152400"/>
                  </a:lnTo>
                  <a:lnTo>
                    <a:pt x="83850" y="133350"/>
                  </a:lnTo>
                  <a:cubicBezTo>
                    <a:pt x="83850" y="118628"/>
                    <a:pt x="95783" y="106680"/>
                    <a:pt x="110520" y="106680"/>
                  </a:cubicBezTo>
                  <a:lnTo>
                    <a:pt x="194371" y="106680"/>
                  </a:lnTo>
                  <a:close/>
                  <a:moveTo>
                    <a:pt x="281940" y="133350"/>
                  </a:moveTo>
                  <a:lnTo>
                    <a:pt x="281940" y="186690"/>
                  </a:lnTo>
                  <a:cubicBezTo>
                    <a:pt x="281940" y="193002"/>
                    <a:pt x="287058" y="198120"/>
                    <a:pt x="293370" y="198120"/>
                  </a:cubicBezTo>
                  <a:cubicBezTo>
                    <a:pt x="299682" y="198120"/>
                    <a:pt x="304800" y="193002"/>
                    <a:pt x="304800" y="186690"/>
                  </a:cubicBezTo>
                  <a:lnTo>
                    <a:pt x="304800" y="133350"/>
                  </a:lnTo>
                  <a:cubicBezTo>
                    <a:pt x="304800" y="118621"/>
                    <a:pt x="292859" y="106680"/>
                    <a:pt x="278130" y="106680"/>
                  </a:cubicBezTo>
                  <a:lnTo>
                    <a:pt x="226695" y="106680"/>
                  </a:lnTo>
                  <a:cubicBezTo>
                    <a:pt x="231922" y="113005"/>
                    <a:pt x="235336" y="120884"/>
                    <a:pt x="236113" y="129540"/>
                  </a:cubicBezTo>
                  <a:lnTo>
                    <a:pt x="278130" y="129540"/>
                  </a:lnTo>
                  <a:cubicBezTo>
                    <a:pt x="280235" y="129540"/>
                    <a:pt x="281940" y="131245"/>
                    <a:pt x="281940" y="133350"/>
                  </a:cubicBezTo>
                  <a:close/>
                  <a:moveTo>
                    <a:pt x="0" y="186690"/>
                  </a:moveTo>
                  <a:cubicBezTo>
                    <a:pt x="0" y="193002"/>
                    <a:pt x="5117" y="198120"/>
                    <a:pt x="11430" y="198120"/>
                  </a:cubicBezTo>
                  <a:cubicBezTo>
                    <a:pt x="17743" y="198120"/>
                    <a:pt x="22860" y="193002"/>
                    <a:pt x="22860" y="186690"/>
                  </a:cubicBezTo>
                  <a:lnTo>
                    <a:pt x="22860" y="133350"/>
                  </a:lnTo>
                  <a:cubicBezTo>
                    <a:pt x="22860" y="131245"/>
                    <a:pt x="24566" y="129540"/>
                    <a:pt x="26670" y="129540"/>
                  </a:cubicBezTo>
                  <a:lnTo>
                    <a:pt x="68778" y="129540"/>
                  </a:lnTo>
                  <a:cubicBezTo>
                    <a:pt x="69536" y="121143"/>
                    <a:pt x="72820" y="113174"/>
                    <a:pt x="78196" y="106680"/>
                  </a:cubicBezTo>
                  <a:lnTo>
                    <a:pt x="26670" y="106680"/>
                  </a:lnTo>
                  <a:cubicBezTo>
                    <a:pt x="11941" y="106680"/>
                    <a:pt x="0" y="118621"/>
                    <a:pt x="0" y="133350"/>
                  </a:cubicBezTo>
                  <a:lnTo>
                    <a:pt x="0" y="186690"/>
                  </a:lnTo>
                  <a:close/>
                  <a:moveTo>
                    <a:pt x="152400" y="0"/>
                  </a:moveTo>
                  <a:cubicBezTo>
                    <a:pt x="177651" y="0"/>
                    <a:pt x="198120" y="20470"/>
                    <a:pt x="198120" y="45720"/>
                  </a:cubicBezTo>
                  <a:cubicBezTo>
                    <a:pt x="198120" y="70970"/>
                    <a:pt x="177651" y="91440"/>
                    <a:pt x="152400" y="91440"/>
                  </a:cubicBezTo>
                  <a:cubicBezTo>
                    <a:pt x="127149" y="91440"/>
                    <a:pt x="106680" y="70970"/>
                    <a:pt x="106680" y="45720"/>
                  </a:cubicBezTo>
                  <a:cubicBezTo>
                    <a:pt x="106680" y="20470"/>
                    <a:pt x="127149" y="0"/>
                    <a:pt x="152400" y="0"/>
                  </a:cubicBezTo>
                  <a:close/>
                  <a:moveTo>
                    <a:pt x="152400" y="22860"/>
                  </a:moveTo>
                  <a:cubicBezTo>
                    <a:pt x="139775" y="22860"/>
                    <a:pt x="129540" y="33095"/>
                    <a:pt x="129540" y="45720"/>
                  </a:cubicBezTo>
                  <a:cubicBezTo>
                    <a:pt x="129540" y="58345"/>
                    <a:pt x="139775" y="68580"/>
                    <a:pt x="152400" y="68580"/>
                  </a:cubicBezTo>
                  <a:cubicBezTo>
                    <a:pt x="165025" y="68580"/>
                    <a:pt x="175260" y="58345"/>
                    <a:pt x="175260" y="45720"/>
                  </a:cubicBezTo>
                  <a:cubicBezTo>
                    <a:pt x="175260" y="33095"/>
                    <a:pt x="165025" y="22860"/>
                    <a:pt x="152400" y="22860"/>
                  </a:cubicBezTo>
                  <a:close/>
                  <a:moveTo>
                    <a:pt x="251460" y="15240"/>
                  </a:moveTo>
                  <a:cubicBezTo>
                    <a:pt x="272502" y="15240"/>
                    <a:pt x="289560" y="32298"/>
                    <a:pt x="289560" y="53340"/>
                  </a:cubicBezTo>
                  <a:cubicBezTo>
                    <a:pt x="289560" y="74382"/>
                    <a:pt x="272502" y="91440"/>
                    <a:pt x="251460" y="91440"/>
                  </a:cubicBezTo>
                  <a:cubicBezTo>
                    <a:pt x="230418" y="91440"/>
                    <a:pt x="213360" y="74382"/>
                    <a:pt x="213360" y="53340"/>
                  </a:cubicBezTo>
                  <a:cubicBezTo>
                    <a:pt x="213360" y="32298"/>
                    <a:pt x="230418" y="15240"/>
                    <a:pt x="251460" y="15240"/>
                  </a:cubicBezTo>
                  <a:close/>
                  <a:moveTo>
                    <a:pt x="251460" y="38100"/>
                  </a:moveTo>
                  <a:cubicBezTo>
                    <a:pt x="243043" y="38100"/>
                    <a:pt x="236220" y="44923"/>
                    <a:pt x="236220" y="53340"/>
                  </a:cubicBezTo>
                  <a:cubicBezTo>
                    <a:pt x="236220" y="61757"/>
                    <a:pt x="243043" y="68580"/>
                    <a:pt x="251460" y="68580"/>
                  </a:cubicBezTo>
                  <a:cubicBezTo>
                    <a:pt x="259877" y="68580"/>
                    <a:pt x="266700" y="61757"/>
                    <a:pt x="266700" y="53340"/>
                  </a:cubicBezTo>
                  <a:cubicBezTo>
                    <a:pt x="266700" y="44923"/>
                    <a:pt x="259877" y="38100"/>
                    <a:pt x="251460" y="38100"/>
                  </a:cubicBezTo>
                  <a:close/>
                  <a:moveTo>
                    <a:pt x="53340" y="15240"/>
                  </a:moveTo>
                  <a:cubicBezTo>
                    <a:pt x="74382" y="15240"/>
                    <a:pt x="91440" y="32298"/>
                    <a:pt x="91440" y="53340"/>
                  </a:cubicBezTo>
                  <a:cubicBezTo>
                    <a:pt x="91440" y="74382"/>
                    <a:pt x="74382" y="91440"/>
                    <a:pt x="53340" y="91440"/>
                  </a:cubicBezTo>
                  <a:cubicBezTo>
                    <a:pt x="32298" y="91440"/>
                    <a:pt x="15240" y="74382"/>
                    <a:pt x="15240" y="53340"/>
                  </a:cubicBezTo>
                  <a:cubicBezTo>
                    <a:pt x="15240" y="32298"/>
                    <a:pt x="32298" y="15240"/>
                    <a:pt x="53340" y="15240"/>
                  </a:cubicBezTo>
                  <a:close/>
                  <a:moveTo>
                    <a:pt x="53340" y="38100"/>
                  </a:moveTo>
                  <a:cubicBezTo>
                    <a:pt x="44923" y="38100"/>
                    <a:pt x="38100" y="44923"/>
                    <a:pt x="38100" y="53340"/>
                  </a:cubicBezTo>
                  <a:cubicBezTo>
                    <a:pt x="38100" y="61757"/>
                    <a:pt x="44923" y="68580"/>
                    <a:pt x="53340" y="68580"/>
                  </a:cubicBezTo>
                  <a:cubicBezTo>
                    <a:pt x="61757" y="68580"/>
                    <a:pt x="68580" y="61757"/>
                    <a:pt x="68580" y="53340"/>
                  </a:cubicBezTo>
                  <a:cubicBezTo>
                    <a:pt x="68580" y="44923"/>
                    <a:pt x="61757" y="38100"/>
                    <a:pt x="53340" y="38100"/>
                  </a:cubicBezTo>
                  <a:close/>
                  <a:moveTo>
                    <a:pt x="11430" y="213360"/>
                  </a:moveTo>
                  <a:cubicBezTo>
                    <a:pt x="5117" y="213360"/>
                    <a:pt x="0" y="218478"/>
                    <a:pt x="0" y="224790"/>
                  </a:cubicBezTo>
                  <a:lnTo>
                    <a:pt x="0" y="232410"/>
                  </a:lnTo>
                  <a:cubicBezTo>
                    <a:pt x="0" y="263974"/>
                    <a:pt x="25587" y="289560"/>
                    <a:pt x="57150" y="289560"/>
                  </a:cubicBezTo>
                  <a:lnTo>
                    <a:pt x="247650" y="289560"/>
                  </a:lnTo>
                  <a:cubicBezTo>
                    <a:pt x="279214" y="289560"/>
                    <a:pt x="304800" y="263974"/>
                    <a:pt x="304800" y="232410"/>
                  </a:cubicBezTo>
                  <a:lnTo>
                    <a:pt x="304800" y="224790"/>
                  </a:lnTo>
                  <a:cubicBezTo>
                    <a:pt x="304800" y="218478"/>
                    <a:pt x="299682" y="213360"/>
                    <a:pt x="293370" y="213360"/>
                  </a:cubicBezTo>
                  <a:lnTo>
                    <a:pt x="11430" y="213360"/>
                  </a:lnTo>
                  <a:close/>
                  <a:moveTo>
                    <a:pt x="57150" y="266700"/>
                  </a:moveTo>
                  <a:cubicBezTo>
                    <a:pt x="39687" y="266700"/>
                    <a:pt x="25014" y="253575"/>
                    <a:pt x="23073" y="236220"/>
                  </a:cubicBezTo>
                  <a:lnTo>
                    <a:pt x="281727" y="236220"/>
                  </a:lnTo>
                  <a:cubicBezTo>
                    <a:pt x="279787" y="253575"/>
                    <a:pt x="265114" y="266700"/>
                    <a:pt x="247650" y="266700"/>
                  </a:cubicBezTo>
                  <a:lnTo>
                    <a:pt x="57150" y="266700"/>
                  </a:lnTo>
                  <a:close/>
                </a:path>
              </a:pathLst>
            </a:custGeom>
            <a:solidFill>
              <a:schemeClr val="bg1"/>
            </a:solid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Display"/>
                <a:ea typeface="+mn-ea"/>
                <a:cs typeface="+mn-cs"/>
              </a:endParaRPr>
            </a:p>
          </p:txBody>
        </p:sp>
      </p:grpSp>
      <p:sp>
        <p:nvSpPr>
          <p:cNvPr id="2643" name="Oval 2642">
            <a:extLst>
              <a:ext uri="{FF2B5EF4-FFF2-40B4-BE49-F238E27FC236}">
                <a16:creationId xmlns:a16="http://schemas.microsoft.com/office/drawing/2014/main" id="{A629FB54-9DA6-A8F0-BDE0-157779DD2A55}"/>
              </a:ext>
              <a:ext uri="{C183D7F6-B498-43B3-948B-1728B52AA6E4}">
                <adec:decorative xmlns:adec="http://schemas.microsoft.com/office/drawing/2017/decorative" val="1"/>
              </a:ext>
            </a:extLst>
          </p:cNvPr>
          <p:cNvSpPr/>
          <p:nvPr/>
        </p:nvSpPr>
        <p:spPr bwMode="auto">
          <a:xfrm>
            <a:off x="5805690" y="3472057"/>
            <a:ext cx="194092" cy="194092"/>
          </a:xfrm>
          <a:prstGeom prst="ellipse">
            <a:avLst/>
          </a:prstGeom>
          <a:solidFill>
            <a:schemeClr val="bg1">
              <a:alpha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644" name="Oval 2643">
            <a:extLst>
              <a:ext uri="{FF2B5EF4-FFF2-40B4-BE49-F238E27FC236}">
                <a16:creationId xmlns:a16="http://schemas.microsoft.com/office/drawing/2014/main" id="{609F5571-C6CF-1279-549B-B2E1574ED528}"/>
              </a:ext>
              <a:ext uri="{C183D7F6-B498-43B3-948B-1728B52AA6E4}">
                <adec:decorative xmlns:adec="http://schemas.microsoft.com/office/drawing/2017/decorative" val="1"/>
              </a:ext>
            </a:extLst>
          </p:cNvPr>
          <p:cNvSpPr/>
          <p:nvPr/>
        </p:nvSpPr>
        <p:spPr bwMode="auto">
          <a:xfrm>
            <a:off x="5824722" y="3491089"/>
            <a:ext cx="156029" cy="156027"/>
          </a:xfrm>
          <a:prstGeom prst="ellipse">
            <a:avLst/>
          </a:prstGeom>
          <a:solidFill>
            <a:sysClr val="window" lastClr="FFFFFF"/>
          </a:solidFill>
          <a:ln w="127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Segoe Sans Display"/>
              <a:ea typeface="+mn-ea"/>
              <a:cs typeface="+mn-cs"/>
            </a:endParaRPr>
          </a:p>
        </p:txBody>
      </p:sp>
      <p:sp>
        <p:nvSpPr>
          <p:cNvPr id="2645" name="Graphic 252">
            <a:extLst>
              <a:ext uri="{FF2B5EF4-FFF2-40B4-BE49-F238E27FC236}">
                <a16:creationId xmlns:a16="http://schemas.microsoft.com/office/drawing/2014/main" id="{46E92F6E-D3A9-F124-FA0F-77AF204D42E7}"/>
              </a:ext>
              <a:ext uri="{C183D7F6-B498-43B3-948B-1728B52AA6E4}">
                <adec:decorative xmlns:adec="http://schemas.microsoft.com/office/drawing/2017/decorative" val="1"/>
              </a:ext>
            </a:extLst>
          </p:cNvPr>
          <p:cNvSpPr/>
          <p:nvPr/>
        </p:nvSpPr>
        <p:spPr>
          <a:xfrm>
            <a:off x="5858863" y="3527452"/>
            <a:ext cx="87755" cy="81148"/>
          </a:xfrm>
          <a:custGeom>
            <a:avLst/>
            <a:gdLst>
              <a:gd name="connsiteX0" fmla="*/ 81130 w 182110"/>
              <a:gd name="connsiteY0" fmla="*/ 2565 h 168400"/>
              <a:gd name="connsiteX1" fmla="*/ 108198 w 182110"/>
              <a:gd name="connsiteY1" fmla="*/ 9297 h 168400"/>
              <a:gd name="connsiteX2" fmla="*/ 108953 w 182110"/>
              <a:gd name="connsiteY2" fmla="*/ 10553 h 168400"/>
              <a:gd name="connsiteX3" fmla="*/ 179547 w 182110"/>
              <a:gd name="connsiteY3" fmla="*/ 138012 h 168400"/>
              <a:gd name="connsiteX4" fmla="*/ 171546 w 182110"/>
              <a:gd name="connsiteY4" fmla="*/ 165835 h 168400"/>
              <a:gd name="connsiteX5" fmla="*/ 163043 w 182110"/>
              <a:gd name="connsiteY5" fmla="*/ 168346 h 168400"/>
              <a:gd name="connsiteX6" fmla="*/ 161642 w 182110"/>
              <a:gd name="connsiteY6" fmla="*/ 168401 h 168400"/>
              <a:gd name="connsiteX7" fmla="*/ 20471 w 182110"/>
              <a:gd name="connsiteY7" fmla="*/ 168401 h 168400"/>
              <a:gd name="connsiteX8" fmla="*/ 0 w 182110"/>
              <a:gd name="connsiteY8" fmla="*/ 147929 h 168400"/>
              <a:gd name="connsiteX9" fmla="*/ 1902 w 182110"/>
              <a:gd name="connsiteY9" fmla="*/ 139313 h 168400"/>
              <a:gd name="connsiteX10" fmla="*/ 2557 w 182110"/>
              <a:gd name="connsiteY10" fmla="*/ 138012 h 168400"/>
              <a:gd name="connsiteX11" fmla="*/ 73133 w 182110"/>
              <a:gd name="connsiteY11" fmla="*/ 10553 h 168400"/>
              <a:gd name="connsiteX12" fmla="*/ 81121 w 182110"/>
              <a:gd name="connsiteY12" fmla="*/ 2565 h 168400"/>
              <a:gd name="connsiteX13" fmla="*/ 167610 w 182110"/>
              <a:gd name="connsiteY13" fmla="*/ 144618 h 168400"/>
              <a:gd name="connsiteX14" fmla="*/ 97007 w 182110"/>
              <a:gd name="connsiteY14" fmla="*/ 17168 h 168400"/>
              <a:gd name="connsiteX15" fmla="*/ 87728 w 182110"/>
              <a:gd name="connsiteY15" fmla="*/ 14516 h 168400"/>
              <a:gd name="connsiteX16" fmla="*/ 85598 w 182110"/>
              <a:gd name="connsiteY16" fmla="*/ 16367 h 168400"/>
              <a:gd name="connsiteX17" fmla="*/ 85079 w 182110"/>
              <a:gd name="connsiteY17" fmla="*/ 17168 h 168400"/>
              <a:gd name="connsiteX18" fmla="*/ 14503 w 182110"/>
              <a:gd name="connsiteY18" fmla="*/ 144618 h 168400"/>
              <a:gd name="connsiteX19" fmla="*/ 17157 w 182110"/>
              <a:gd name="connsiteY19" fmla="*/ 153896 h 168400"/>
              <a:gd name="connsiteX20" fmla="*/ 19607 w 182110"/>
              <a:gd name="connsiteY20" fmla="*/ 154699 h 168400"/>
              <a:gd name="connsiteX21" fmla="*/ 20471 w 182110"/>
              <a:gd name="connsiteY21" fmla="*/ 154753 h 168400"/>
              <a:gd name="connsiteX22" fmla="*/ 161642 w 182110"/>
              <a:gd name="connsiteY22" fmla="*/ 154753 h 168400"/>
              <a:gd name="connsiteX23" fmla="*/ 168460 w 182110"/>
              <a:gd name="connsiteY23" fmla="*/ 147924 h 168400"/>
              <a:gd name="connsiteX24" fmla="*/ 167974 w 182110"/>
              <a:gd name="connsiteY24" fmla="*/ 145400 h 168400"/>
              <a:gd name="connsiteX25" fmla="*/ 167610 w 182110"/>
              <a:gd name="connsiteY25" fmla="*/ 144618 h 168400"/>
              <a:gd name="connsiteX26" fmla="*/ 97007 w 182110"/>
              <a:gd name="connsiteY26" fmla="*/ 17168 h 168400"/>
              <a:gd name="connsiteX27" fmla="*/ 167610 w 182110"/>
              <a:gd name="connsiteY27" fmla="*/ 144618 h 168400"/>
              <a:gd name="connsiteX28" fmla="*/ 91047 w 182110"/>
              <a:gd name="connsiteY28" fmla="*/ 122845 h 168400"/>
              <a:gd name="connsiteX29" fmla="*/ 100420 w 182110"/>
              <a:gd name="connsiteY29" fmla="*/ 131642 h 168400"/>
              <a:gd name="connsiteX30" fmla="*/ 91622 w 182110"/>
              <a:gd name="connsiteY30" fmla="*/ 141015 h 168400"/>
              <a:gd name="connsiteX31" fmla="*/ 91047 w 182110"/>
              <a:gd name="connsiteY31" fmla="*/ 141015 h 168400"/>
              <a:gd name="connsiteX32" fmla="*/ 82250 w 182110"/>
              <a:gd name="connsiteY32" fmla="*/ 131642 h 168400"/>
              <a:gd name="connsiteX33" fmla="*/ 91047 w 182110"/>
              <a:gd name="connsiteY33" fmla="*/ 122845 h 168400"/>
              <a:gd name="connsiteX34" fmla="*/ 91002 w 182110"/>
              <a:gd name="connsiteY34" fmla="*/ 54589 h 168400"/>
              <a:gd name="connsiteX35" fmla="*/ 97771 w 182110"/>
              <a:gd name="connsiteY35" fmla="*/ 60476 h 168400"/>
              <a:gd name="connsiteX36" fmla="*/ 97835 w 182110"/>
              <a:gd name="connsiteY36" fmla="*/ 61404 h 168400"/>
              <a:gd name="connsiteX37" fmla="*/ 97871 w 182110"/>
              <a:gd name="connsiteY37" fmla="*/ 102365 h 168400"/>
              <a:gd name="connsiteX38" fmla="*/ 91128 w 182110"/>
              <a:gd name="connsiteY38" fmla="*/ 109268 h 168400"/>
              <a:gd name="connsiteX39" fmla="*/ 84278 w 182110"/>
              <a:gd name="connsiteY39" fmla="*/ 103302 h 168400"/>
              <a:gd name="connsiteX40" fmla="*/ 84224 w 182110"/>
              <a:gd name="connsiteY40" fmla="*/ 102374 h 168400"/>
              <a:gd name="connsiteX41" fmla="*/ 84187 w 182110"/>
              <a:gd name="connsiteY41" fmla="*/ 61413 h 168400"/>
              <a:gd name="connsiteX42" fmla="*/ 91011 w 182110"/>
              <a:gd name="connsiteY42" fmla="*/ 54589 h 16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82110" h="168400">
                <a:moveTo>
                  <a:pt x="81130" y="2565"/>
                </a:moveTo>
                <a:cubicBezTo>
                  <a:pt x="90522" y="-2636"/>
                  <a:pt x="102337" y="303"/>
                  <a:pt x="108198" y="9297"/>
                </a:cubicBezTo>
                <a:lnTo>
                  <a:pt x="108953" y="10553"/>
                </a:lnTo>
                <a:lnTo>
                  <a:pt x="179547" y="138012"/>
                </a:lnTo>
                <a:cubicBezTo>
                  <a:pt x="185021" y="147905"/>
                  <a:pt x="181439" y="160361"/>
                  <a:pt x="171546" y="165835"/>
                </a:cubicBezTo>
                <a:cubicBezTo>
                  <a:pt x="168930" y="167283"/>
                  <a:pt x="166027" y="168141"/>
                  <a:pt x="163043" y="168346"/>
                </a:cubicBezTo>
                <a:lnTo>
                  <a:pt x="161642" y="168401"/>
                </a:lnTo>
                <a:lnTo>
                  <a:pt x="20471" y="168401"/>
                </a:lnTo>
                <a:cubicBezTo>
                  <a:pt x="9165" y="168401"/>
                  <a:pt x="0" y="159235"/>
                  <a:pt x="0" y="147929"/>
                </a:cubicBezTo>
                <a:cubicBezTo>
                  <a:pt x="0" y="144953"/>
                  <a:pt x="649" y="142013"/>
                  <a:pt x="1902" y="139313"/>
                </a:cubicBezTo>
                <a:lnTo>
                  <a:pt x="2557" y="138012"/>
                </a:lnTo>
                <a:lnTo>
                  <a:pt x="73133" y="10553"/>
                </a:lnTo>
                <a:cubicBezTo>
                  <a:pt x="74993" y="7194"/>
                  <a:pt x="77762" y="4425"/>
                  <a:pt x="81121" y="2565"/>
                </a:cubicBezTo>
                <a:close/>
                <a:moveTo>
                  <a:pt x="167610" y="144618"/>
                </a:moveTo>
                <a:lnTo>
                  <a:pt x="97007" y="17168"/>
                </a:lnTo>
                <a:cubicBezTo>
                  <a:pt x="95177" y="13873"/>
                  <a:pt x="91023" y="12686"/>
                  <a:pt x="87728" y="14516"/>
                </a:cubicBezTo>
                <a:cubicBezTo>
                  <a:pt x="86897" y="14978"/>
                  <a:pt x="86171" y="15608"/>
                  <a:pt x="85598" y="16367"/>
                </a:cubicBezTo>
                <a:lnTo>
                  <a:pt x="85079" y="17168"/>
                </a:lnTo>
                <a:lnTo>
                  <a:pt x="14503" y="144618"/>
                </a:lnTo>
                <a:cubicBezTo>
                  <a:pt x="12674" y="147913"/>
                  <a:pt x="13862" y="152066"/>
                  <a:pt x="17157" y="153896"/>
                </a:cubicBezTo>
                <a:cubicBezTo>
                  <a:pt x="17915" y="154316"/>
                  <a:pt x="18747" y="154589"/>
                  <a:pt x="19607" y="154699"/>
                </a:cubicBezTo>
                <a:lnTo>
                  <a:pt x="20471" y="154753"/>
                </a:lnTo>
                <a:lnTo>
                  <a:pt x="161642" y="154753"/>
                </a:lnTo>
                <a:cubicBezTo>
                  <a:pt x="165410" y="154750"/>
                  <a:pt x="168463" y="151692"/>
                  <a:pt x="168460" y="147924"/>
                </a:cubicBezTo>
                <a:cubicBezTo>
                  <a:pt x="168460" y="147060"/>
                  <a:pt x="168294" y="146203"/>
                  <a:pt x="167974" y="145400"/>
                </a:cubicBezTo>
                <a:lnTo>
                  <a:pt x="167610" y="144618"/>
                </a:lnTo>
                <a:lnTo>
                  <a:pt x="97007" y="17168"/>
                </a:lnTo>
                <a:lnTo>
                  <a:pt x="167610" y="144618"/>
                </a:lnTo>
                <a:close/>
                <a:moveTo>
                  <a:pt x="91047" y="122845"/>
                </a:moveTo>
                <a:cubicBezTo>
                  <a:pt x="96065" y="122686"/>
                  <a:pt x="100260" y="126625"/>
                  <a:pt x="100420" y="131642"/>
                </a:cubicBezTo>
                <a:cubicBezTo>
                  <a:pt x="100579" y="136660"/>
                  <a:pt x="96640" y="140855"/>
                  <a:pt x="91622" y="141015"/>
                </a:cubicBezTo>
                <a:cubicBezTo>
                  <a:pt x="91430" y="141021"/>
                  <a:pt x="91239" y="141021"/>
                  <a:pt x="91047" y="141015"/>
                </a:cubicBezTo>
                <a:cubicBezTo>
                  <a:pt x="86030" y="140855"/>
                  <a:pt x="82091" y="136660"/>
                  <a:pt x="82250" y="131642"/>
                </a:cubicBezTo>
                <a:cubicBezTo>
                  <a:pt x="82402" y="126848"/>
                  <a:pt x="86254" y="122997"/>
                  <a:pt x="91047" y="122845"/>
                </a:cubicBezTo>
                <a:close/>
                <a:moveTo>
                  <a:pt x="91002" y="54589"/>
                </a:moveTo>
                <a:cubicBezTo>
                  <a:pt x="94412" y="54584"/>
                  <a:pt x="97303" y="57098"/>
                  <a:pt x="97771" y="60476"/>
                </a:cubicBezTo>
                <a:lnTo>
                  <a:pt x="97835" y="61404"/>
                </a:lnTo>
                <a:lnTo>
                  <a:pt x="97871" y="102365"/>
                </a:lnTo>
                <a:cubicBezTo>
                  <a:pt x="97915" y="106133"/>
                  <a:pt x="94896" y="109224"/>
                  <a:pt x="91128" y="109268"/>
                </a:cubicBezTo>
                <a:cubicBezTo>
                  <a:pt x="87660" y="109308"/>
                  <a:pt x="84714" y="106742"/>
                  <a:pt x="84278" y="103302"/>
                </a:cubicBezTo>
                <a:lnTo>
                  <a:pt x="84224" y="102374"/>
                </a:lnTo>
                <a:lnTo>
                  <a:pt x="84187" y="61413"/>
                </a:lnTo>
                <a:cubicBezTo>
                  <a:pt x="84187" y="57644"/>
                  <a:pt x="87243" y="54589"/>
                  <a:pt x="91011" y="54589"/>
                </a:cubicBezTo>
                <a:close/>
              </a:path>
            </a:pathLst>
          </a:custGeom>
          <a:solidFill>
            <a:schemeClr val="bg1"/>
          </a:solidFill>
          <a:ln w="8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Display"/>
              <a:ea typeface="+mn-ea"/>
              <a:cs typeface="+mn-cs"/>
            </a:endParaRPr>
          </a:p>
        </p:txBody>
      </p:sp>
      <p:sp>
        <p:nvSpPr>
          <p:cNvPr id="2646" name="Oval 2645">
            <a:extLst>
              <a:ext uri="{FF2B5EF4-FFF2-40B4-BE49-F238E27FC236}">
                <a16:creationId xmlns:a16="http://schemas.microsoft.com/office/drawing/2014/main" id="{DBA544C2-2323-6C0B-4C8B-CD5741DCB97C}"/>
              </a:ext>
              <a:ext uri="{C183D7F6-B498-43B3-948B-1728B52AA6E4}">
                <adec:decorative xmlns:adec="http://schemas.microsoft.com/office/drawing/2017/decorative" val="1"/>
              </a:ext>
            </a:extLst>
          </p:cNvPr>
          <p:cNvSpPr/>
          <p:nvPr/>
        </p:nvSpPr>
        <p:spPr bwMode="auto">
          <a:xfrm>
            <a:off x="5811087" y="3184945"/>
            <a:ext cx="115745" cy="115745"/>
          </a:xfrm>
          <a:prstGeom prst="ellipse">
            <a:avLst/>
          </a:prstGeom>
          <a:solidFill>
            <a:schemeClr val="bg1">
              <a:alpha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647" name="Oval 2646">
            <a:extLst>
              <a:ext uri="{FF2B5EF4-FFF2-40B4-BE49-F238E27FC236}">
                <a16:creationId xmlns:a16="http://schemas.microsoft.com/office/drawing/2014/main" id="{418A0CC5-4A48-3942-EED8-0941927ADD25}"/>
              </a:ext>
              <a:ext uri="{C183D7F6-B498-43B3-948B-1728B52AA6E4}">
                <adec:decorative xmlns:adec="http://schemas.microsoft.com/office/drawing/2017/decorative" val="1"/>
              </a:ext>
            </a:extLst>
          </p:cNvPr>
          <p:cNvSpPr/>
          <p:nvPr/>
        </p:nvSpPr>
        <p:spPr bwMode="auto">
          <a:xfrm>
            <a:off x="5822437" y="3196295"/>
            <a:ext cx="93047" cy="93046"/>
          </a:xfrm>
          <a:prstGeom prst="ellipse">
            <a:avLst/>
          </a:prstGeom>
          <a:solidFill>
            <a:sysClr val="window" lastClr="FFFFFF"/>
          </a:solidFill>
          <a:ln w="127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Segoe Sans Display"/>
              <a:ea typeface="+mn-ea"/>
              <a:cs typeface="+mn-cs"/>
            </a:endParaRPr>
          </a:p>
        </p:txBody>
      </p:sp>
      <p:sp>
        <p:nvSpPr>
          <p:cNvPr id="2648" name="Graphic 261">
            <a:extLst>
              <a:ext uri="{FF2B5EF4-FFF2-40B4-BE49-F238E27FC236}">
                <a16:creationId xmlns:a16="http://schemas.microsoft.com/office/drawing/2014/main" id="{40F34CD6-1FCC-16AE-4174-0AE1745789D9}"/>
              </a:ext>
              <a:ext uri="{C183D7F6-B498-43B3-948B-1728B52AA6E4}">
                <adec:decorative xmlns:adec="http://schemas.microsoft.com/office/drawing/2017/decorative" val="1"/>
              </a:ext>
            </a:extLst>
          </p:cNvPr>
          <p:cNvSpPr/>
          <p:nvPr/>
        </p:nvSpPr>
        <p:spPr>
          <a:xfrm>
            <a:off x="5842814" y="3219286"/>
            <a:ext cx="52291" cy="49676"/>
          </a:xfrm>
          <a:custGeom>
            <a:avLst/>
            <a:gdLst>
              <a:gd name="connsiteX0" fmla="*/ 10852 w 108515"/>
              <a:gd name="connsiteY0" fmla="*/ 59678 h 103089"/>
              <a:gd name="connsiteX1" fmla="*/ 59683 w 108515"/>
              <a:gd name="connsiteY1" fmla="*/ 59683 h 103089"/>
              <a:gd name="connsiteX2" fmla="*/ 70508 w 108515"/>
              <a:gd name="connsiteY2" fmla="*/ 69721 h 103089"/>
              <a:gd name="connsiteX3" fmla="*/ 70535 w 108515"/>
              <a:gd name="connsiteY3" fmla="*/ 70535 h 103089"/>
              <a:gd name="connsiteX4" fmla="*/ 70535 w 108515"/>
              <a:gd name="connsiteY4" fmla="*/ 78673 h 103089"/>
              <a:gd name="connsiteX5" fmla="*/ 35267 w 108515"/>
              <a:gd name="connsiteY5" fmla="*/ 103089 h 103089"/>
              <a:gd name="connsiteX6" fmla="*/ 27 w 108515"/>
              <a:gd name="connsiteY6" fmla="*/ 79921 h 103089"/>
              <a:gd name="connsiteX7" fmla="*/ 0 w 108515"/>
              <a:gd name="connsiteY7" fmla="*/ 78673 h 103089"/>
              <a:gd name="connsiteX8" fmla="*/ 0 w 108515"/>
              <a:gd name="connsiteY8" fmla="*/ 70529 h 103089"/>
              <a:gd name="connsiteX9" fmla="*/ 10038 w 108515"/>
              <a:gd name="connsiteY9" fmla="*/ 59705 h 103089"/>
              <a:gd name="connsiteX10" fmla="*/ 10852 w 108515"/>
              <a:gd name="connsiteY10" fmla="*/ 59683 h 103089"/>
              <a:gd name="connsiteX11" fmla="*/ 71728 w 108515"/>
              <a:gd name="connsiteY11" fmla="*/ 59683 h 103089"/>
              <a:gd name="connsiteX12" fmla="*/ 97664 w 108515"/>
              <a:gd name="connsiteY12" fmla="*/ 59683 h 103089"/>
              <a:gd name="connsiteX13" fmla="*/ 108482 w 108515"/>
              <a:gd name="connsiteY13" fmla="*/ 69721 h 103089"/>
              <a:gd name="connsiteX14" fmla="*/ 108515 w 108515"/>
              <a:gd name="connsiteY14" fmla="*/ 70535 h 103089"/>
              <a:gd name="connsiteX15" fmla="*/ 108515 w 108515"/>
              <a:gd name="connsiteY15" fmla="*/ 75961 h 103089"/>
              <a:gd name="connsiteX16" fmla="*/ 81386 w 108515"/>
              <a:gd name="connsiteY16" fmla="*/ 97664 h 103089"/>
              <a:gd name="connsiteX17" fmla="*/ 69775 w 108515"/>
              <a:gd name="connsiteY17" fmla="*/ 95916 h 103089"/>
              <a:gd name="connsiteX18" fmla="*/ 74127 w 108515"/>
              <a:gd name="connsiteY18" fmla="*/ 88716 h 103089"/>
              <a:gd name="connsiteX19" fmla="*/ 81386 w 108515"/>
              <a:gd name="connsiteY19" fmla="*/ 89525 h 103089"/>
              <a:gd name="connsiteX20" fmla="*/ 82835 w 108515"/>
              <a:gd name="connsiteY20" fmla="*/ 89492 h 103089"/>
              <a:gd name="connsiteX21" fmla="*/ 100338 w 108515"/>
              <a:gd name="connsiteY21" fmla="*/ 77073 h 103089"/>
              <a:gd name="connsiteX22" fmla="*/ 100376 w 108515"/>
              <a:gd name="connsiteY22" fmla="*/ 75961 h 103089"/>
              <a:gd name="connsiteX23" fmla="*/ 100376 w 108515"/>
              <a:gd name="connsiteY23" fmla="*/ 70535 h 103089"/>
              <a:gd name="connsiteX24" fmla="*/ 98152 w 108515"/>
              <a:gd name="connsiteY24" fmla="*/ 67865 h 103089"/>
              <a:gd name="connsiteX25" fmla="*/ 97664 w 108515"/>
              <a:gd name="connsiteY25" fmla="*/ 67822 h 103089"/>
              <a:gd name="connsiteX26" fmla="*/ 75684 w 108515"/>
              <a:gd name="connsiteY26" fmla="*/ 67822 h 103089"/>
              <a:gd name="connsiteX27" fmla="*/ 72455 w 108515"/>
              <a:gd name="connsiteY27" fmla="*/ 60551 h 103089"/>
              <a:gd name="connsiteX28" fmla="*/ 71728 w 108515"/>
              <a:gd name="connsiteY28" fmla="*/ 59683 h 103089"/>
              <a:gd name="connsiteX29" fmla="*/ 97664 w 108515"/>
              <a:gd name="connsiteY29" fmla="*/ 59683 h 103089"/>
              <a:gd name="connsiteX30" fmla="*/ 71728 w 108515"/>
              <a:gd name="connsiteY30" fmla="*/ 59683 h 103089"/>
              <a:gd name="connsiteX31" fmla="*/ 10852 w 108515"/>
              <a:gd name="connsiteY31" fmla="*/ 67816 h 103089"/>
              <a:gd name="connsiteX32" fmla="*/ 10309 w 108515"/>
              <a:gd name="connsiteY32" fmla="*/ 67871 h 103089"/>
              <a:gd name="connsiteX33" fmla="*/ 8931 w 108515"/>
              <a:gd name="connsiteY33" fmla="*/ 68609 h 103089"/>
              <a:gd name="connsiteX34" fmla="*/ 8193 w 108515"/>
              <a:gd name="connsiteY34" fmla="*/ 69981 h 103089"/>
              <a:gd name="connsiteX35" fmla="*/ 8139 w 108515"/>
              <a:gd name="connsiteY35" fmla="*/ 70529 h 103089"/>
              <a:gd name="connsiteX36" fmla="*/ 8139 w 108515"/>
              <a:gd name="connsiteY36" fmla="*/ 78673 h 103089"/>
              <a:gd name="connsiteX37" fmla="*/ 15827 w 108515"/>
              <a:gd name="connsiteY37" fmla="*/ 90838 h 103089"/>
              <a:gd name="connsiteX38" fmla="*/ 33547 w 108515"/>
              <a:gd name="connsiteY38" fmla="*/ 94924 h 103089"/>
              <a:gd name="connsiteX39" fmla="*/ 35267 w 108515"/>
              <a:gd name="connsiteY39" fmla="*/ 94951 h 103089"/>
              <a:gd name="connsiteX40" fmla="*/ 36987 w 108515"/>
              <a:gd name="connsiteY40" fmla="*/ 94924 h 103089"/>
              <a:gd name="connsiteX41" fmla="*/ 54708 w 108515"/>
              <a:gd name="connsiteY41" fmla="*/ 90838 h 103089"/>
              <a:gd name="connsiteX42" fmla="*/ 62369 w 108515"/>
              <a:gd name="connsiteY42" fmla="*/ 79677 h 103089"/>
              <a:gd name="connsiteX43" fmla="*/ 62396 w 108515"/>
              <a:gd name="connsiteY43" fmla="*/ 78668 h 103089"/>
              <a:gd name="connsiteX44" fmla="*/ 62396 w 108515"/>
              <a:gd name="connsiteY44" fmla="*/ 70535 h 103089"/>
              <a:gd name="connsiteX45" fmla="*/ 60172 w 108515"/>
              <a:gd name="connsiteY45" fmla="*/ 67865 h 103089"/>
              <a:gd name="connsiteX46" fmla="*/ 59683 w 108515"/>
              <a:gd name="connsiteY46" fmla="*/ 67822 h 103089"/>
              <a:gd name="connsiteX47" fmla="*/ 10852 w 108515"/>
              <a:gd name="connsiteY47" fmla="*/ 67816 h 103089"/>
              <a:gd name="connsiteX48" fmla="*/ 35267 w 108515"/>
              <a:gd name="connsiteY48" fmla="*/ 0 h 103089"/>
              <a:gd name="connsiteX49" fmla="*/ 59683 w 108515"/>
              <a:gd name="connsiteY49" fmla="*/ 24416 h 103089"/>
              <a:gd name="connsiteX50" fmla="*/ 35267 w 108515"/>
              <a:gd name="connsiteY50" fmla="*/ 48832 h 103089"/>
              <a:gd name="connsiteX51" fmla="*/ 10852 w 108515"/>
              <a:gd name="connsiteY51" fmla="*/ 24416 h 103089"/>
              <a:gd name="connsiteX52" fmla="*/ 35267 w 108515"/>
              <a:gd name="connsiteY52" fmla="*/ 0 h 103089"/>
              <a:gd name="connsiteX53" fmla="*/ 84099 w 108515"/>
              <a:gd name="connsiteY53" fmla="*/ 10852 h 103089"/>
              <a:gd name="connsiteX54" fmla="*/ 103089 w 108515"/>
              <a:gd name="connsiteY54" fmla="*/ 29842 h 103089"/>
              <a:gd name="connsiteX55" fmla="*/ 84099 w 108515"/>
              <a:gd name="connsiteY55" fmla="*/ 48832 h 103089"/>
              <a:gd name="connsiteX56" fmla="*/ 65109 w 108515"/>
              <a:gd name="connsiteY56" fmla="*/ 29842 h 103089"/>
              <a:gd name="connsiteX57" fmla="*/ 84099 w 108515"/>
              <a:gd name="connsiteY57" fmla="*/ 10852 h 103089"/>
              <a:gd name="connsiteX58" fmla="*/ 35267 w 108515"/>
              <a:gd name="connsiteY58" fmla="*/ 8139 h 103089"/>
              <a:gd name="connsiteX59" fmla="*/ 18990 w 108515"/>
              <a:gd name="connsiteY59" fmla="*/ 24416 h 103089"/>
              <a:gd name="connsiteX60" fmla="*/ 35267 w 108515"/>
              <a:gd name="connsiteY60" fmla="*/ 40693 h 103089"/>
              <a:gd name="connsiteX61" fmla="*/ 51545 w 108515"/>
              <a:gd name="connsiteY61" fmla="*/ 24416 h 103089"/>
              <a:gd name="connsiteX62" fmla="*/ 35267 w 108515"/>
              <a:gd name="connsiteY62" fmla="*/ 8139 h 103089"/>
              <a:gd name="connsiteX63" fmla="*/ 84099 w 108515"/>
              <a:gd name="connsiteY63" fmla="*/ 18990 h 103089"/>
              <a:gd name="connsiteX64" fmla="*/ 73248 w 108515"/>
              <a:gd name="connsiteY64" fmla="*/ 29842 h 103089"/>
              <a:gd name="connsiteX65" fmla="*/ 84099 w 108515"/>
              <a:gd name="connsiteY65" fmla="*/ 40693 h 103089"/>
              <a:gd name="connsiteX66" fmla="*/ 94951 w 108515"/>
              <a:gd name="connsiteY66" fmla="*/ 29842 h 103089"/>
              <a:gd name="connsiteX67" fmla="*/ 84099 w 108515"/>
              <a:gd name="connsiteY67" fmla="*/ 18990 h 103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08515" h="103089">
                <a:moveTo>
                  <a:pt x="10852" y="59678"/>
                </a:moveTo>
                <a:lnTo>
                  <a:pt x="59683" y="59683"/>
                </a:lnTo>
                <a:cubicBezTo>
                  <a:pt x="65362" y="59682"/>
                  <a:pt x="70082" y="64058"/>
                  <a:pt x="70508" y="69721"/>
                </a:cubicBezTo>
                <a:lnTo>
                  <a:pt x="70535" y="70535"/>
                </a:lnTo>
                <a:lnTo>
                  <a:pt x="70535" y="78673"/>
                </a:lnTo>
                <a:cubicBezTo>
                  <a:pt x="70529" y="97664"/>
                  <a:pt x="50373" y="103089"/>
                  <a:pt x="35267" y="103089"/>
                </a:cubicBezTo>
                <a:cubicBezTo>
                  <a:pt x="20498" y="103089"/>
                  <a:pt x="895" y="97902"/>
                  <a:pt x="27" y="79921"/>
                </a:cubicBezTo>
                <a:lnTo>
                  <a:pt x="0" y="78673"/>
                </a:lnTo>
                <a:lnTo>
                  <a:pt x="0" y="70529"/>
                </a:lnTo>
                <a:cubicBezTo>
                  <a:pt x="0" y="64811"/>
                  <a:pt x="4427" y="60123"/>
                  <a:pt x="10038" y="59705"/>
                </a:cubicBezTo>
                <a:lnTo>
                  <a:pt x="10852" y="59683"/>
                </a:lnTo>
                <a:close/>
                <a:moveTo>
                  <a:pt x="71728" y="59683"/>
                </a:moveTo>
                <a:lnTo>
                  <a:pt x="97664" y="59683"/>
                </a:lnTo>
                <a:cubicBezTo>
                  <a:pt x="103382" y="59683"/>
                  <a:pt x="108070" y="64111"/>
                  <a:pt x="108482" y="69721"/>
                </a:cubicBezTo>
                <a:lnTo>
                  <a:pt x="108515" y="70535"/>
                </a:lnTo>
                <a:lnTo>
                  <a:pt x="108515" y="75961"/>
                </a:lnTo>
                <a:cubicBezTo>
                  <a:pt x="108510" y="92574"/>
                  <a:pt x="93008" y="97664"/>
                  <a:pt x="81386" y="97664"/>
                </a:cubicBezTo>
                <a:cubicBezTo>
                  <a:pt x="77450" y="97673"/>
                  <a:pt x="73535" y="97083"/>
                  <a:pt x="69775" y="95916"/>
                </a:cubicBezTo>
                <a:cubicBezTo>
                  <a:pt x="71598" y="93822"/>
                  <a:pt x="73069" y="91429"/>
                  <a:pt x="74127" y="88716"/>
                </a:cubicBezTo>
                <a:cubicBezTo>
                  <a:pt x="76510" y="89249"/>
                  <a:pt x="78944" y="89520"/>
                  <a:pt x="81386" y="89525"/>
                </a:cubicBezTo>
                <a:lnTo>
                  <a:pt x="82835" y="89492"/>
                </a:lnTo>
                <a:cubicBezTo>
                  <a:pt x="88179" y="89259"/>
                  <a:pt x="99579" y="87523"/>
                  <a:pt x="100338" y="77073"/>
                </a:cubicBezTo>
                <a:lnTo>
                  <a:pt x="100376" y="75961"/>
                </a:lnTo>
                <a:lnTo>
                  <a:pt x="100376" y="70535"/>
                </a:lnTo>
                <a:cubicBezTo>
                  <a:pt x="100375" y="69226"/>
                  <a:pt x="99439" y="68103"/>
                  <a:pt x="98152" y="67865"/>
                </a:cubicBezTo>
                <a:lnTo>
                  <a:pt x="97664" y="67822"/>
                </a:lnTo>
                <a:lnTo>
                  <a:pt x="75684" y="67822"/>
                </a:lnTo>
                <a:cubicBezTo>
                  <a:pt x="75235" y="65166"/>
                  <a:pt x="74125" y="62665"/>
                  <a:pt x="72455" y="60551"/>
                </a:cubicBezTo>
                <a:lnTo>
                  <a:pt x="71728" y="59683"/>
                </a:lnTo>
                <a:lnTo>
                  <a:pt x="97664" y="59683"/>
                </a:lnTo>
                <a:lnTo>
                  <a:pt x="71728" y="59683"/>
                </a:lnTo>
                <a:close/>
                <a:moveTo>
                  <a:pt x="10852" y="67816"/>
                </a:moveTo>
                <a:lnTo>
                  <a:pt x="10309" y="67871"/>
                </a:lnTo>
                <a:cubicBezTo>
                  <a:pt x="9788" y="67979"/>
                  <a:pt x="9310" y="68235"/>
                  <a:pt x="8931" y="68609"/>
                </a:cubicBezTo>
                <a:cubicBezTo>
                  <a:pt x="8557" y="68985"/>
                  <a:pt x="8301" y="69462"/>
                  <a:pt x="8193" y="69981"/>
                </a:cubicBezTo>
                <a:lnTo>
                  <a:pt x="8139" y="70529"/>
                </a:lnTo>
                <a:lnTo>
                  <a:pt x="8139" y="78673"/>
                </a:lnTo>
                <a:cubicBezTo>
                  <a:pt x="8139" y="84148"/>
                  <a:pt x="10580" y="88017"/>
                  <a:pt x="15827" y="90838"/>
                </a:cubicBezTo>
                <a:cubicBezTo>
                  <a:pt x="20309" y="93252"/>
                  <a:pt x="26695" y="94712"/>
                  <a:pt x="33547" y="94924"/>
                </a:cubicBezTo>
                <a:lnTo>
                  <a:pt x="35267" y="94951"/>
                </a:lnTo>
                <a:lnTo>
                  <a:pt x="36987" y="94924"/>
                </a:lnTo>
                <a:cubicBezTo>
                  <a:pt x="43840" y="94712"/>
                  <a:pt x="50221" y="93252"/>
                  <a:pt x="54708" y="90838"/>
                </a:cubicBezTo>
                <a:cubicBezTo>
                  <a:pt x="59624" y="88190"/>
                  <a:pt x="62081" y="84625"/>
                  <a:pt x="62369" y="79677"/>
                </a:cubicBezTo>
                <a:lnTo>
                  <a:pt x="62396" y="78668"/>
                </a:lnTo>
                <a:lnTo>
                  <a:pt x="62396" y="70535"/>
                </a:lnTo>
                <a:cubicBezTo>
                  <a:pt x="62394" y="69226"/>
                  <a:pt x="61459" y="68103"/>
                  <a:pt x="60172" y="67865"/>
                </a:cubicBezTo>
                <a:lnTo>
                  <a:pt x="59683" y="67822"/>
                </a:lnTo>
                <a:lnTo>
                  <a:pt x="10852" y="67816"/>
                </a:lnTo>
                <a:close/>
                <a:moveTo>
                  <a:pt x="35267" y="0"/>
                </a:moveTo>
                <a:cubicBezTo>
                  <a:pt x="48752" y="0"/>
                  <a:pt x="59683" y="10931"/>
                  <a:pt x="59683" y="24416"/>
                </a:cubicBezTo>
                <a:cubicBezTo>
                  <a:pt x="59683" y="37900"/>
                  <a:pt x="48752" y="48832"/>
                  <a:pt x="35267" y="48832"/>
                </a:cubicBezTo>
                <a:cubicBezTo>
                  <a:pt x="21783" y="48832"/>
                  <a:pt x="10852" y="37900"/>
                  <a:pt x="10852" y="24416"/>
                </a:cubicBezTo>
                <a:cubicBezTo>
                  <a:pt x="10852" y="10931"/>
                  <a:pt x="21783" y="0"/>
                  <a:pt x="35267" y="0"/>
                </a:cubicBezTo>
                <a:close/>
                <a:moveTo>
                  <a:pt x="84099" y="10852"/>
                </a:moveTo>
                <a:cubicBezTo>
                  <a:pt x="94587" y="10852"/>
                  <a:pt x="103089" y="19354"/>
                  <a:pt x="103089" y="29842"/>
                </a:cubicBezTo>
                <a:cubicBezTo>
                  <a:pt x="103089" y="40330"/>
                  <a:pt x="94587" y="48832"/>
                  <a:pt x="84099" y="48832"/>
                </a:cubicBezTo>
                <a:cubicBezTo>
                  <a:pt x="73611" y="48832"/>
                  <a:pt x="65109" y="40330"/>
                  <a:pt x="65109" y="29842"/>
                </a:cubicBezTo>
                <a:cubicBezTo>
                  <a:pt x="65109" y="19354"/>
                  <a:pt x="73611" y="10852"/>
                  <a:pt x="84099" y="10852"/>
                </a:cubicBezTo>
                <a:close/>
                <a:moveTo>
                  <a:pt x="35267" y="8139"/>
                </a:moveTo>
                <a:cubicBezTo>
                  <a:pt x="26293" y="8139"/>
                  <a:pt x="18990" y="15442"/>
                  <a:pt x="18990" y="24416"/>
                </a:cubicBezTo>
                <a:cubicBezTo>
                  <a:pt x="18990" y="33390"/>
                  <a:pt x="26293" y="40693"/>
                  <a:pt x="35267" y="40693"/>
                </a:cubicBezTo>
                <a:cubicBezTo>
                  <a:pt x="44242" y="40693"/>
                  <a:pt x="51545" y="33390"/>
                  <a:pt x="51545" y="24416"/>
                </a:cubicBezTo>
                <a:cubicBezTo>
                  <a:pt x="51545" y="15442"/>
                  <a:pt x="44242" y="8139"/>
                  <a:pt x="35267" y="8139"/>
                </a:cubicBezTo>
                <a:close/>
                <a:moveTo>
                  <a:pt x="84099" y="18990"/>
                </a:moveTo>
                <a:cubicBezTo>
                  <a:pt x="78115" y="18990"/>
                  <a:pt x="73248" y="23857"/>
                  <a:pt x="73248" y="29842"/>
                </a:cubicBezTo>
                <a:cubicBezTo>
                  <a:pt x="73248" y="35826"/>
                  <a:pt x="78115" y="40693"/>
                  <a:pt x="84099" y="40693"/>
                </a:cubicBezTo>
                <a:cubicBezTo>
                  <a:pt x="90084" y="40693"/>
                  <a:pt x="94951" y="35826"/>
                  <a:pt x="94951" y="29842"/>
                </a:cubicBezTo>
                <a:cubicBezTo>
                  <a:pt x="94951" y="23857"/>
                  <a:pt x="90084" y="18990"/>
                  <a:pt x="84099" y="18990"/>
                </a:cubicBezTo>
                <a:close/>
              </a:path>
            </a:pathLst>
          </a:custGeom>
          <a:solidFill>
            <a:schemeClr val="bg1"/>
          </a:solidFill>
          <a:ln w="515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Display"/>
              <a:ea typeface="+mn-ea"/>
              <a:cs typeface="+mn-cs"/>
            </a:endParaRPr>
          </a:p>
        </p:txBody>
      </p:sp>
      <p:sp>
        <p:nvSpPr>
          <p:cNvPr id="2649" name="Oval 2648">
            <a:extLst>
              <a:ext uri="{FF2B5EF4-FFF2-40B4-BE49-F238E27FC236}">
                <a16:creationId xmlns:a16="http://schemas.microsoft.com/office/drawing/2014/main" id="{28BAB5EF-732F-1A5F-1261-849377E67D87}"/>
              </a:ext>
              <a:ext uri="{C183D7F6-B498-43B3-948B-1728B52AA6E4}">
                <adec:decorative xmlns:adec="http://schemas.microsoft.com/office/drawing/2017/decorative" val="1"/>
              </a:ext>
            </a:extLst>
          </p:cNvPr>
          <p:cNvSpPr/>
          <p:nvPr/>
        </p:nvSpPr>
        <p:spPr bwMode="auto">
          <a:xfrm>
            <a:off x="6426340" y="3253888"/>
            <a:ext cx="52502" cy="52502"/>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650" name="Oval 2649">
            <a:extLst>
              <a:ext uri="{FF2B5EF4-FFF2-40B4-BE49-F238E27FC236}">
                <a16:creationId xmlns:a16="http://schemas.microsoft.com/office/drawing/2014/main" id="{0F4ED5D1-C8EE-A6EA-E747-7983F1809278}"/>
              </a:ext>
              <a:ext uri="{C183D7F6-B498-43B3-948B-1728B52AA6E4}">
                <adec:decorative xmlns:adec="http://schemas.microsoft.com/office/drawing/2017/decorative" val="1"/>
              </a:ext>
            </a:extLst>
          </p:cNvPr>
          <p:cNvSpPr>
            <a:spLocks noChangeAspect="1"/>
          </p:cNvSpPr>
          <p:nvPr/>
        </p:nvSpPr>
        <p:spPr bwMode="auto">
          <a:xfrm>
            <a:off x="5723548" y="3295703"/>
            <a:ext cx="26306" cy="26306"/>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651" name="Oval 2650">
            <a:extLst>
              <a:ext uri="{FF2B5EF4-FFF2-40B4-BE49-F238E27FC236}">
                <a16:creationId xmlns:a16="http://schemas.microsoft.com/office/drawing/2014/main" id="{365B0154-C617-FB58-9411-6E510241647E}"/>
              </a:ext>
              <a:ext uri="{C183D7F6-B498-43B3-948B-1728B52AA6E4}">
                <adec:decorative xmlns:adec="http://schemas.microsoft.com/office/drawing/2017/decorative" val="1"/>
              </a:ext>
            </a:extLst>
          </p:cNvPr>
          <p:cNvSpPr/>
          <p:nvPr/>
        </p:nvSpPr>
        <p:spPr bwMode="auto">
          <a:xfrm>
            <a:off x="6490124" y="3255125"/>
            <a:ext cx="52502" cy="52502"/>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grpSp>
        <p:nvGrpSpPr>
          <p:cNvPr id="2652" name="Group 2651">
            <a:extLst>
              <a:ext uri="{FF2B5EF4-FFF2-40B4-BE49-F238E27FC236}">
                <a16:creationId xmlns:a16="http://schemas.microsoft.com/office/drawing/2014/main" id="{C4F98CD8-9AD5-64E6-DFB9-322E38772B24}"/>
              </a:ext>
              <a:ext uri="{C183D7F6-B498-43B3-948B-1728B52AA6E4}">
                <adec:decorative xmlns:adec="http://schemas.microsoft.com/office/drawing/2017/decorative" val="1"/>
              </a:ext>
            </a:extLst>
          </p:cNvPr>
          <p:cNvGrpSpPr/>
          <p:nvPr/>
        </p:nvGrpSpPr>
        <p:grpSpPr>
          <a:xfrm>
            <a:off x="5661492" y="2938048"/>
            <a:ext cx="158286" cy="158286"/>
            <a:chOff x="5406198" y="3263693"/>
            <a:chExt cx="275106" cy="275106"/>
          </a:xfrm>
        </p:grpSpPr>
        <p:sp>
          <p:nvSpPr>
            <p:cNvPr id="2653" name="Oval 2652">
              <a:extLst>
                <a:ext uri="{FF2B5EF4-FFF2-40B4-BE49-F238E27FC236}">
                  <a16:creationId xmlns:a16="http://schemas.microsoft.com/office/drawing/2014/main" id="{3285D254-2FAD-0230-C656-39A1FC5E333C}"/>
                </a:ext>
              </a:extLst>
            </p:cNvPr>
            <p:cNvSpPr/>
            <p:nvPr/>
          </p:nvSpPr>
          <p:spPr bwMode="auto">
            <a:xfrm>
              <a:off x="5406198" y="3263693"/>
              <a:ext cx="275106" cy="275106"/>
            </a:xfrm>
            <a:prstGeom prst="ellipse">
              <a:avLst/>
            </a:prstGeom>
            <a:solidFill>
              <a:sysClr val="window" lastClr="FFFFFF"/>
            </a:solidFill>
            <a:ln w="12700" cap="flat" cmpd="sng" algn="ctr">
              <a:solidFill>
                <a:schemeClr val="bg1"/>
              </a:solidFill>
              <a:prstDash val="solid"/>
              <a:headEnd type="none" w="med" len="med"/>
              <a:tailEnd type="none" w="med" len="med"/>
            </a:ln>
            <a:effectLst/>
          </p:spPr>
          <p:txBody>
            <a:bodyPr rot="0" spcFirstLastPara="0" vertOverflow="overflow" horzOverflow="overflow" vert="horz" wrap="square" lIns="201168" tIns="160934" rIns="201168" bIns="160934" numCol="1" spcCol="0" rtlCol="0" fromWordArt="0" anchor="t" anchorCtr="0" forceAA="0" compatLnSpc="1">
              <a:prstTxWarp prst="textNoShape">
                <a:avLst/>
              </a:prstTxWarp>
              <a:noAutofit/>
            </a:bodyPr>
            <a:lstStyle/>
            <a:p>
              <a:pPr marL="0" marR="0" lvl="0" indent="0" algn="l" defTabSz="1025756"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a:ln>
                  <a:noFill/>
                </a:ln>
                <a:solidFill>
                  <a:srgbClr val="FFFFFF"/>
                </a:solidFill>
                <a:effectLst/>
                <a:uLnTx/>
                <a:uFillTx/>
                <a:latin typeface="Segoe UI Variable Display"/>
                <a:ea typeface="+mn-ea"/>
                <a:cs typeface="Segoe UI" pitchFamily="34" charset="0"/>
              </a:endParaRPr>
            </a:p>
          </p:txBody>
        </p:sp>
        <p:pic>
          <p:nvPicPr>
            <p:cNvPr id="2654" name="Graphic 2653">
              <a:extLst>
                <a:ext uri="{FF2B5EF4-FFF2-40B4-BE49-F238E27FC236}">
                  <a16:creationId xmlns:a16="http://schemas.microsoft.com/office/drawing/2014/main" id="{451F8581-AFE6-F2A8-6FFC-0B6A7A922A2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452311" y="3309806"/>
              <a:ext cx="182880" cy="182880"/>
            </a:xfrm>
            <a:prstGeom prst="rect">
              <a:avLst/>
            </a:prstGeom>
          </p:spPr>
        </p:pic>
      </p:grpSp>
      <p:grpSp>
        <p:nvGrpSpPr>
          <p:cNvPr id="2655" name="Group 2654">
            <a:extLst>
              <a:ext uri="{FF2B5EF4-FFF2-40B4-BE49-F238E27FC236}">
                <a16:creationId xmlns:a16="http://schemas.microsoft.com/office/drawing/2014/main" id="{AB7D0A15-7216-3F8D-4812-0335EF0F1FEA}"/>
              </a:ext>
              <a:ext uri="{C183D7F6-B498-43B3-948B-1728B52AA6E4}">
                <adec:decorative xmlns:adec="http://schemas.microsoft.com/office/drawing/2017/decorative" val="1"/>
              </a:ext>
            </a:extLst>
          </p:cNvPr>
          <p:cNvGrpSpPr/>
          <p:nvPr/>
        </p:nvGrpSpPr>
        <p:grpSpPr>
          <a:xfrm>
            <a:off x="5618679" y="3064206"/>
            <a:ext cx="158286" cy="158286"/>
            <a:chOff x="5580493" y="5301407"/>
            <a:chExt cx="275106" cy="275106"/>
          </a:xfrm>
        </p:grpSpPr>
        <p:sp>
          <p:nvSpPr>
            <p:cNvPr id="2656" name="Oval 2655">
              <a:extLst>
                <a:ext uri="{FF2B5EF4-FFF2-40B4-BE49-F238E27FC236}">
                  <a16:creationId xmlns:a16="http://schemas.microsoft.com/office/drawing/2014/main" id="{43D9447A-2280-6ADA-5482-E6B596F6554E}"/>
                </a:ext>
              </a:extLst>
            </p:cNvPr>
            <p:cNvSpPr/>
            <p:nvPr/>
          </p:nvSpPr>
          <p:spPr bwMode="auto">
            <a:xfrm>
              <a:off x="5580493" y="5301407"/>
              <a:ext cx="275106" cy="275106"/>
            </a:xfrm>
            <a:prstGeom prst="ellipse">
              <a:avLst/>
            </a:prstGeom>
            <a:solidFill>
              <a:sysClr val="window" lastClr="FFFFFF"/>
            </a:solidFill>
            <a:ln w="12700" cap="flat" cmpd="sng" algn="ctr">
              <a:solidFill>
                <a:schemeClr val="bg1"/>
              </a:solidFill>
              <a:prstDash val="solid"/>
              <a:headEnd type="none" w="med" len="med"/>
              <a:tailEnd type="none" w="med" len="med"/>
            </a:ln>
            <a:effectLst/>
          </p:spPr>
          <p:txBody>
            <a:bodyPr rot="0" spcFirstLastPara="0" vertOverflow="overflow" horzOverflow="overflow" vert="horz" wrap="square" lIns="201168" tIns="160934" rIns="201168" bIns="160934" numCol="1" spcCol="0" rtlCol="0" fromWordArt="0" anchor="t" anchorCtr="0" forceAA="0" compatLnSpc="1">
              <a:prstTxWarp prst="textNoShape">
                <a:avLst/>
              </a:prstTxWarp>
              <a:noAutofit/>
            </a:bodyPr>
            <a:lstStyle/>
            <a:p>
              <a:pPr marL="0" marR="0" lvl="0" indent="0" algn="l" defTabSz="1025756"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err="1">
                <a:ln>
                  <a:noFill/>
                </a:ln>
                <a:solidFill>
                  <a:srgbClr val="FFFFFF"/>
                </a:solidFill>
                <a:effectLst/>
                <a:uLnTx/>
                <a:uFillTx/>
                <a:latin typeface="Segoe UI Variable Display"/>
                <a:ea typeface="+mn-ea"/>
                <a:cs typeface="Segoe UI" pitchFamily="34" charset="0"/>
              </a:endParaRPr>
            </a:p>
          </p:txBody>
        </p:sp>
        <p:pic>
          <p:nvPicPr>
            <p:cNvPr id="2657" name="Graphic 2656">
              <a:extLst>
                <a:ext uri="{FF2B5EF4-FFF2-40B4-BE49-F238E27FC236}">
                  <a16:creationId xmlns:a16="http://schemas.microsoft.com/office/drawing/2014/main" id="{FBBC852C-C9F2-AE4B-FBE4-E79F9C1B4D9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26606" y="5347520"/>
              <a:ext cx="182880" cy="182880"/>
            </a:xfrm>
            <a:prstGeom prst="rect">
              <a:avLst/>
            </a:prstGeom>
          </p:spPr>
        </p:pic>
      </p:grpSp>
      <p:sp>
        <p:nvSpPr>
          <p:cNvPr id="2658" name="Oval 2657">
            <a:extLst>
              <a:ext uri="{FF2B5EF4-FFF2-40B4-BE49-F238E27FC236}">
                <a16:creationId xmlns:a16="http://schemas.microsoft.com/office/drawing/2014/main" id="{A0E8A329-BCA3-AD8A-80FC-E544101B9F7C}"/>
              </a:ext>
              <a:ext uri="{C183D7F6-B498-43B3-948B-1728B52AA6E4}">
                <adec:decorative xmlns:adec="http://schemas.microsoft.com/office/drawing/2017/decorative" val="1"/>
              </a:ext>
            </a:extLst>
          </p:cNvPr>
          <p:cNvSpPr/>
          <p:nvPr/>
        </p:nvSpPr>
        <p:spPr bwMode="auto">
          <a:xfrm>
            <a:off x="6014226" y="3290829"/>
            <a:ext cx="52502" cy="52502"/>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659" name="Oval 2658">
            <a:extLst>
              <a:ext uri="{FF2B5EF4-FFF2-40B4-BE49-F238E27FC236}">
                <a16:creationId xmlns:a16="http://schemas.microsoft.com/office/drawing/2014/main" id="{FF78FB02-C3EB-31A9-5900-3E56357096EF}"/>
              </a:ext>
              <a:ext uri="{C183D7F6-B498-43B3-948B-1728B52AA6E4}">
                <adec:decorative xmlns:adec="http://schemas.microsoft.com/office/drawing/2017/decorative" val="1"/>
              </a:ext>
            </a:extLst>
          </p:cNvPr>
          <p:cNvSpPr/>
          <p:nvPr/>
        </p:nvSpPr>
        <p:spPr bwMode="auto">
          <a:xfrm>
            <a:off x="6572491" y="3250013"/>
            <a:ext cx="52502" cy="52502"/>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660" name="Oval 2659">
            <a:extLst>
              <a:ext uri="{FF2B5EF4-FFF2-40B4-BE49-F238E27FC236}">
                <a16:creationId xmlns:a16="http://schemas.microsoft.com/office/drawing/2014/main" id="{CF8F3157-63E6-8689-4891-10AC276BD47B}"/>
              </a:ext>
              <a:ext uri="{C183D7F6-B498-43B3-948B-1728B52AA6E4}">
                <adec:decorative xmlns:adec="http://schemas.microsoft.com/office/drawing/2017/decorative" val="1"/>
              </a:ext>
            </a:extLst>
          </p:cNvPr>
          <p:cNvSpPr>
            <a:spLocks noChangeAspect="1"/>
          </p:cNvSpPr>
          <p:nvPr/>
        </p:nvSpPr>
        <p:spPr bwMode="auto">
          <a:xfrm>
            <a:off x="6430448" y="3277676"/>
            <a:ext cx="26306" cy="26306"/>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661" name="Oval 2660">
            <a:extLst>
              <a:ext uri="{FF2B5EF4-FFF2-40B4-BE49-F238E27FC236}">
                <a16:creationId xmlns:a16="http://schemas.microsoft.com/office/drawing/2014/main" id="{50C9C02A-0985-CF09-8285-5EDAF3B26A00}"/>
              </a:ext>
              <a:ext uri="{C183D7F6-B498-43B3-948B-1728B52AA6E4}">
                <adec:decorative xmlns:adec="http://schemas.microsoft.com/office/drawing/2017/decorative" val="1"/>
              </a:ext>
            </a:extLst>
          </p:cNvPr>
          <p:cNvSpPr>
            <a:spLocks noChangeAspect="1"/>
          </p:cNvSpPr>
          <p:nvPr/>
        </p:nvSpPr>
        <p:spPr bwMode="auto">
          <a:xfrm>
            <a:off x="6148899" y="3232051"/>
            <a:ext cx="26306" cy="26306"/>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662" name="Oval 2661">
            <a:extLst>
              <a:ext uri="{FF2B5EF4-FFF2-40B4-BE49-F238E27FC236}">
                <a16:creationId xmlns:a16="http://schemas.microsoft.com/office/drawing/2014/main" id="{D38991A3-3499-3D5B-FCFA-ED9BD26F1C37}"/>
              </a:ext>
              <a:ext uri="{C183D7F6-B498-43B3-948B-1728B52AA6E4}">
                <adec:decorative xmlns:adec="http://schemas.microsoft.com/office/drawing/2017/decorative" val="1"/>
              </a:ext>
            </a:extLst>
          </p:cNvPr>
          <p:cNvSpPr/>
          <p:nvPr/>
        </p:nvSpPr>
        <p:spPr bwMode="auto">
          <a:xfrm>
            <a:off x="6426340" y="3209845"/>
            <a:ext cx="52502" cy="52502"/>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663" name="Oval 2662">
            <a:extLst>
              <a:ext uri="{FF2B5EF4-FFF2-40B4-BE49-F238E27FC236}">
                <a16:creationId xmlns:a16="http://schemas.microsoft.com/office/drawing/2014/main" id="{5E064655-6904-8D6D-160A-6B12175B3D62}"/>
              </a:ext>
              <a:ext uri="{C183D7F6-B498-43B3-948B-1728B52AA6E4}">
                <adec:decorative xmlns:adec="http://schemas.microsoft.com/office/drawing/2017/decorative" val="1"/>
              </a:ext>
            </a:extLst>
          </p:cNvPr>
          <p:cNvSpPr>
            <a:spLocks noChangeAspect="1"/>
          </p:cNvSpPr>
          <p:nvPr/>
        </p:nvSpPr>
        <p:spPr bwMode="auto">
          <a:xfrm>
            <a:off x="5831489" y="2911265"/>
            <a:ext cx="26306" cy="26306"/>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664" name="Oval 2663">
            <a:extLst>
              <a:ext uri="{FF2B5EF4-FFF2-40B4-BE49-F238E27FC236}">
                <a16:creationId xmlns:a16="http://schemas.microsoft.com/office/drawing/2014/main" id="{DC147F97-0D77-ACAA-6BBE-7CCE388E01C9}"/>
              </a:ext>
              <a:ext uri="{C183D7F6-B498-43B3-948B-1728B52AA6E4}">
                <adec:decorative xmlns:adec="http://schemas.microsoft.com/office/drawing/2017/decorative" val="1"/>
              </a:ext>
            </a:extLst>
          </p:cNvPr>
          <p:cNvSpPr/>
          <p:nvPr/>
        </p:nvSpPr>
        <p:spPr bwMode="auto">
          <a:xfrm>
            <a:off x="5740745" y="3107055"/>
            <a:ext cx="52502" cy="52502"/>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665" name="Oval 2664">
            <a:extLst>
              <a:ext uri="{FF2B5EF4-FFF2-40B4-BE49-F238E27FC236}">
                <a16:creationId xmlns:a16="http://schemas.microsoft.com/office/drawing/2014/main" id="{D8C87373-A40B-0660-24BE-FF836C58C005}"/>
              </a:ext>
              <a:ext uri="{C183D7F6-B498-43B3-948B-1728B52AA6E4}">
                <adec:decorative xmlns:adec="http://schemas.microsoft.com/office/drawing/2017/decorative" val="1"/>
              </a:ext>
            </a:extLst>
          </p:cNvPr>
          <p:cNvSpPr>
            <a:spLocks noChangeAspect="1"/>
          </p:cNvSpPr>
          <p:nvPr/>
        </p:nvSpPr>
        <p:spPr bwMode="auto">
          <a:xfrm>
            <a:off x="6163880" y="3310360"/>
            <a:ext cx="26306" cy="26306"/>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666" name="Oval 2665">
            <a:extLst>
              <a:ext uri="{FF2B5EF4-FFF2-40B4-BE49-F238E27FC236}">
                <a16:creationId xmlns:a16="http://schemas.microsoft.com/office/drawing/2014/main" id="{2E161705-8D71-21B2-0590-0292EC737C69}"/>
              </a:ext>
              <a:ext uri="{C183D7F6-B498-43B3-948B-1728B52AA6E4}">
                <adec:decorative xmlns:adec="http://schemas.microsoft.com/office/drawing/2017/decorative" val="1"/>
              </a:ext>
            </a:extLst>
          </p:cNvPr>
          <p:cNvSpPr>
            <a:spLocks noChangeAspect="1"/>
          </p:cNvSpPr>
          <p:nvPr/>
        </p:nvSpPr>
        <p:spPr bwMode="auto">
          <a:xfrm>
            <a:off x="5782353" y="3043497"/>
            <a:ext cx="26306" cy="26306"/>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grpSp>
        <p:nvGrpSpPr>
          <p:cNvPr id="2667" name="Group 2666">
            <a:extLst>
              <a:ext uri="{FF2B5EF4-FFF2-40B4-BE49-F238E27FC236}">
                <a16:creationId xmlns:a16="http://schemas.microsoft.com/office/drawing/2014/main" id="{0DDEB97C-BD73-34F3-30B2-06134BC3606A}"/>
              </a:ext>
              <a:ext uri="{C183D7F6-B498-43B3-948B-1728B52AA6E4}">
                <adec:decorative xmlns:adec="http://schemas.microsoft.com/office/drawing/2017/decorative" val="1"/>
              </a:ext>
            </a:extLst>
          </p:cNvPr>
          <p:cNvGrpSpPr/>
          <p:nvPr/>
        </p:nvGrpSpPr>
        <p:grpSpPr>
          <a:xfrm>
            <a:off x="5940287" y="2795925"/>
            <a:ext cx="440628" cy="440628"/>
            <a:chOff x="5735361" y="3524485"/>
            <a:chExt cx="721284" cy="721284"/>
          </a:xfrm>
        </p:grpSpPr>
        <p:grpSp>
          <p:nvGrpSpPr>
            <p:cNvPr id="2668" name="Group 2667">
              <a:extLst>
                <a:ext uri="{FF2B5EF4-FFF2-40B4-BE49-F238E27FC236}">
                  <a16:creationId xmlns:a16="http://schemas.microsoft.com/office/drawing/2014/main" id="{94C99D6B-65FF-254B-5391-4DE20042B099}"/>
                </a:ext>
              </a:extLst>
            </p:cNvPr>
            <p:cNvGrpSpPr/>
            <p:nvPr/>
          </p:nvGrpSpPr>
          <p:grpSpPr>
            <a:xfrm>
              <a:off x="5735361" y="3524485"/>
              <a:ext cx="721284" cy="721284"/>
              <a:chOff x="6351737" y="3356390"/>
              <a:chExt cx="451805" cy="451805"/>
            </a:xfrm>
          </p:grpSpPr>
          <p:sp>
            <p:nvSpPr>
              <p:cNvPr id="2670" name="Oval 2669">
                <a:extLst>
                  <a:ext uri="{FF2B5EF4-FFF2-40B4-BE49-F238E27FC236}">
                    <a16:creationId xmlns:a16="http://schemas.microsoft.com/office/drawing/2014/main" id="{8D0B6E8E-7826-4FDC-6DA2-E6BF9E500C3D}"/>
                  </a:ext>
                </a:extLst>
              </p:cNvPr>
              <p:cNvSpPr/>
              <p:nvPr/>
            </p:nvSpPr>
            <p:spPr bwMode="auto">
              <a:xfrm>
                <a:off x="6351737" y="3356390"/>
                <a:ext cx="451805" cy="451805"/>
              </a:xfrm>
              <a:prstGeom prst="ellipse">
                <a:avLst/>
              </a:prstGeom>
              <a:solidFill>
                <a:schemeClr val="bg1">
                  <a:alpha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2671" name="Oval 2670">
                <a:extLst>
                  <a:ext uri="{FF2B5EF4-FFF2-40B4-BE49-F238E27FC236}">
                    <a16:creationId xmlns:a16="http://schemas.microsoft.com/office/drawing/2014/main" id="{EA807BEF-BB62-D544-D627-3C239EF28328}"/>
                  </a:ext>
                </a:extLst>
              </p:cNvPr>
              <p:cNvSpPr/>
              <p:nvPr/>
            </p:nvSpPr>
            <p:spPr bwMode="auto">
              <a:xfrm>
                <a:off x="6396037" y="3400692"/>
                <a:ext cx="363201" cy="363198"/>
              </a:xfrm>
              <a:prstGeom prst="ellipse">
                <a:avLst/>
              </a:prstGeom>
              <a:solidFill>
                <a:sysClr val="window" lastClr="FFFFFF"/>
              </a:solidFill>
              <a:ln w="12700" cap="flat" cmpd="sng" algn="ctr">
                <a:solidFill>
                  <a:schemeClr val="bg1"/>
                </a:solidFill>
                <a:prstDash val="solid"/>
                <a:headEnd type="none" w="med" len="med"/>
                <a:tailEnd type="none" w="med" len="med"/>
              </a:ln>
              <a:effectLst/>
            </p:spPr>
            <p:txBody>
              <a:bodyPr rot="0" spcFirstLastPara="0" vertOverflow="overflow" horzOverflow="overflow" vert="horz" wrap="square" lIns="201168" tIns="160934" rIns="201168" bIns="160934" numCol="1" spcCol="0" rtlCol="0" fromWordArt="0" anchor="t" anchorCtr="0" forceAA="0" compatLnSpc="1">
                <a:prstTxWarp prst="textNoShape">
                  <a:avLst/>
                </a:prstTxWarp>
                <a:noAutofit/>
              </a:bodyPr>
              <a:lstStyle/>
              <a:p>
                <a:pPr marL="0" marR="0" lvl="0" indent="0" algn="l" defTabSz="1025756"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a:ln>
                    <a:noFill/>
                  </a:ln>
                  <a:solidFill>
                    <a:srgbClr val="FFFFFF"/>
                  </a:solidFill>
                  <a:effectLst/>
                  <a:uLnTx/>
                  <a:uFillTx/>
                  <a:latin typeface="Segoe UI Variable Display"/>
                  <a:ea typeface="+mn-ea"/>
                  <a:cs typeface="Segoe UI" pitchFamily="34" charset="0"/>
                </a:endParaRPr>
              </a:p>
            </p:txBody>
          </p:sp>
        </p:grpSp>
        <p:pic>
          <p:nvPicPr>
            <p:cNvPr id="2669" name="Graphic 2668">
              <a:extLst>
                <a:ext uri="{FF2B5EF4-FFF2-40B4-BE49-F238E27FC236}">
                  <a16:creationId xmlns:a16="http://schemas.microsoft.com/office/drawing/2014/main" id="{2EB727EF-24F8-3994-454E-4824F85B5B5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913123" y="3702247"/>
              <a:ext cx="365760" cy="365760"/>
            </a:xfrm>
            <a:prstGeom prst="rect">
              <a:avLst/>
            </a:prstGeom>
          </p:spPr>
        </p:pic>
      </p:grpSp>
      <p:sp>
        <p:nvSpPr>
          <p:cNvPr id="2672" name="Oval 2671">
            <a:extLst>
              <a:ext uri="{FF2B5EF4-FFF2-40B4-BE49-F238E27FC236}">
                <a16:creationId xmlns:a16="http://schemas.microsoft.com/office/drawing/2014/main" id="{ABA6DC80-EDF7-9C91-5BC0-8A1114AC7F9A}"/>
              </a:ext>
              <a:ext uri="{C183D7F6-B498-43B3-948B-1728B52AA6E4}">
                <adec:decorative xmlns:adec="http://schemas.microsoft.com/office/drawing/2017/decorative" val="1"/>
              </a:ext>
            </a:extLst>
          </p:cNvPr>
          <p:cNvSpPr/>
          <p:nvPr/>
        </p:nvSpPr>
        <p:spPr bwMode="auto">
          <a:xfrm>
            <a:off x="6030978" y="3284104"/>
            <a:ext cx="57282" cy="57282"/>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673" name="Oval 2672">
            <a:extLst>
              <a:ext uri="{FF2B5EF4-FFF2-40B4-BE49-F238E27FC236}">
                <a16:creationId xmlns:a16="http://schemas.microsoft.com/office/drawing/2014/main" id="{8DCC3B67-DCBB-2CA8-E31A-ACE701C6E036}"/>
              </a:ext>
              <a:ext uri="{C183D7F6-B498-43B3-948B-1728B52AA6E4}">
                <adec:decorative xmlns:adec="http://schemas.microsoft.com/office/drawing/2017/decorative" val="1"/>
              </a:ext>
            </a:extLst>
          </p:cNvPr>
          <p:cNvSpPr/>
          <p:nvPr/>
        </p:nvSpPr>
        <p:spPr bwMode="auto">
          <a:xfrm>
            <a:off x="6042435" y="3492641"/>
            <a:ext cx="30844" cy="30844"/>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674" name="Oval 2673">
            <a:extLst>
              <a:ext uri="{FF2B5EF4-FFF2-40B4-BE49-F238E27FC236}">
                <a16:creationId xmlns:a16="http://schemas.microsoft.com/office/drawing/2014/main" id="{85AEE8D9-D14B-F80A-F672-882F2DA4A408}"/>
              </a:ext>
              <a:ext uri="{C183D7F6-B498-43B3-948B-1728B52AA6E4}">
                <adec:decorative xmlns:adec="http://schemas.microsoft.com/office/drawing/2017/decorative" val="1"/>
              </a:ext>
            </a:extLst>
          </p:cNvPr>
          <p:cNvSpPr/>
          <p:nvPr/>
        </p:nvSpPr>
        <p:spPr bwMode="auto">
          <a:xfrm>
            <a:off x="6053254" y="3448705"/>
            <a:ext cx="57282" cy="57282"/>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675" name="Oval 2674">
            <a:extLst>
              <a:ext uri="{FF2B5EF4-FFF2-40B4-BE49-F238E27FC236}">
                <a16:creationId xmlns:a16="http://schemas.microsoft.com/office/drawing/2014/main" id="{2D5849AC-F8BE-CE1B-316A-5037C89F5D2B}"/>
              </a:ext>
              <a:ext uri="{C183D7F6-B498-43B3-948B-1728B52AA6E4}">
                <adec:decorative xmlns:adec="http://schemas.microsoft.com/office/drawing/2017/decorative" val="1"/>
              </a:ext>
            </a:extLst>
          </p:cNvPr>
          <p:cNvSpPr/>
          <p:nvPr/>
        </p:nvSpPr>
        <p:spPr bwMode="auto">
          <a:xfrm>
            <a:off x="6404782" y="3251556"/>
            <a:ext cx="57282" cy="57282"/>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676" name="Oval 2675">
            <a:extLst>
              <a:ext uri="{FF2B5EF4-FFF2-40B4-BE49-F238E27FC236}">
                <a16:creationId xmlns:a16="http://schemas.microsoft.com/office/drawing/2014/main" id="{480561C1-640C-56FA-B18C-64F6872A3D7B}"/>
              </a:ext>
              <a:ext uri="{C183D7F6-B498-43B3-948B-1728B52AA6E4}">
                <adec:decorative xmlns:adec="http://schemas.microsoft.com/office/drawing/2017/decorative" val="1"/>
              </a:ext>
            </a:extLst>
          </p:cNvPr>
          <p:cNvSpPr/>
          <p:nvPr/>
        </p:nvSpPr>
        <p:spPr bwMode="auto">
          <a:xfrm>
            <a:off x="6398205" y="3221933"/>
            <a:ext cx="57282" cy="57282"/>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677" name="Oval 2676">
            <a:extLst>
              <a:ext uri="{FF2B5EF4-FFF2-40B4-BE49-F238E27FC236}">
                <a16:creationId xmlns:a16="http://schemas.microsoft.com/office/drawing/2014/main" id="{9DFB38D3-226A-D24F-6328-67650C2DCF80}"/>
              </a:ext>
              <a:ext uri="{C183D7F6-B498-43B3-948B-1728B52AA6E4}">
                <adec:decorative xmlns:adec="http://schemas.microsoft.com/office/drawing/2017/decorative" val="1"/>
              </a:ext>
            </a:extLst>
          </p:cNvPr>
          <p:cNvSpPr/>
          <p:nvPr/>
        </p:nvSpPr>
        <p:spPr bwMode="auto">
          <a:xfrm>
            <a:off x="6535067" y="3177159"/>
            <a:ext cx="57282" cy="57282"/>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678" name="Oval 2677">
            <a:extLst>
              <a:ext uri="{FF2B5EF4-FFF2-40B4-BE49-F238E27FC236}">
                <a16:creationId xmlns:a16="http://schemas.microsoft.com/office/drawing/2014/main" id="{3821AD1F-E3A5-AC9F-DD54-74D2F6C9C845}"/>
              </a:ext>
              <a:ext uri="{C183D7F6-B498-43B3-948B-1728B52AA6E4}">
                <adec:decorative xmlns:adec="http://schemas.microsoft.com/office/drawing/2017/decorative" val="1"/>
              </a:ext>
            </a:extLst>
          </p:cNvPr>
          <p:cNvSpPr/>
          <p:nvPr/>
        </p:nvSpPr>
        <p:spPr bwMode="auto">
          <a:xfrm>
            <a:off x="6050548" y="3343872"/>
            <a:ext cx="57282" cy="57282"/>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679" name="Oval 2678">
            <a:extLst>
              <a:ext uri="{FF2B5EF4-FFF2-40B4-BE49-F238E27FC236}">
                <a16:creationId xmlns:a16="http://schemas.microsoft.com/office/drawing/2014/main" id="{9B42A1C7-7203-168D-E59A-7C8FBF17177D}"/>
              </a:ext>
              <a:ext uri="{C183D7F6-B498-43B3-948B-1728B52AA6E4}">
                <adec:decorative xmlns:adec="http://schemas.microsoft.com/office/drawing/2017/decorative" val="1"/>
              </a:ext>
            </a:extLst>
          </p:cNvPr>
          <p:cNvSpPr/>
          <p:nvPr/>
        </p:nvSpPr>
        <p:spPr bwMode="auto">
          <a:xfrm>
            <a:off x="5791180" y="3736123"/>
            <a:ext cx="30844" cy="30844"/>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680" name="Oval 2679">
            <a:extLst>
              <a:ext uri="{FF2B5EF4-FFF2-40B4-BE49-F238E27FC236}">
                <a16:creationId xmlns:a16="http://schemas.microsoft.com/office/drawing/2014/main" id="{CD3A5C12-2688-E3AC-E8BA-2ECFB4886CDE}"/>
              </a:ext>
              <a:ext uri="{C183D7F6-B498-43B3-948B-1728B52AA6E4}">
                <adec:decorative xmlns:adec="http://schemas.microsoft.com/office/drawing/2017/decorative" val="1"/>
              </a:ext>
            </a:extLst>
          </p:cNvPr>
          <p:cNvSpPr/>
          <p:nvPr/>
        </p:nvSpPr>
        <p:spPr bwMode="auto">
          <a:xfrm>
            <a:off x="6307304" y="3184945"/>
            <a:ext cx="30844" cy="30844"/>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681" name="Oval 2680">
            <a:extLst>
              <a:ext uri="{FF2B5EF4-FFF2-40B4-BE49-F238E27FC236}">
                <a16:creationId xmlns:a16="http://schemas.microsoft.com/office/drawing/2014/main" id="{6E42DA19-A48C-BC49-27CD-05E6FB5A77E7}"/>
              </a:ext>
              <a:ext uri="{C183D7F6-B498-43B3-948B-1728B52AA6E4}">
                <adec:decorative xmlns:adec="http://schemas.microsoft.com/office/drawing/2017/decorative" val="1"/>
              </a:ext>
            </a:extLst>
          </p:cNvPr>
          <p:cNvSpPr/>
          <p:nvPr/>
        </p:nvSpPr>
        <p:spPr bwMode="auto">
          <a:xfrm>
            <a:off x="5708567" y="3316502"/>
            <a:ext cx="30844" cy="30844"/>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682" name="Oval 2681">
            <a:extLst>
              <a:ext uri="{FF2B5EF4-FFF2-40B4-BE49-F238E27FC236}">
                <a16:creationId xmlns:a16="http://schemas.microsoft.com/office/drawing/2014/main" id="{A2E3E180-1EA7-5592-4201-2BAB657E3B32}"/>
              </a:ext>
              <a:ext uri="{C183D7F6-B498-43B3-948B-1728B52AA6E4}">
                <adec:decorative xmlns:adec="http://schemas.microsoft.com/office/drawing/2017/decorative" val="1"/>
              </a:ext>
            </a:extLst>
          </p:cNvPr>
          <p:cNvSpPr/>
          <p:nvPr/>
        </p:nvSpPr>
        <p:spPr bwMode="auto">
          <a:xfrm>
            <a:off x="6429397" y="3357091"/>
            <a:ext cx="30844" cy="30844"/>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683" name="Oval 2682">
            <a:extLst>
              <a:ext uri="{FF2B5EF4-FFF2-40B4-BE49-F238E27FC236}">
                <a16:creationId xmlns:a16="http://schemas.microsoft.com/office/drawing/2014/main" id="{5645D171-33EC-F8FA-7922-9CC90E3589C0}"/>
              </a:ext>
              <a:ext uri="{C183D7F6-B498-43B3-948B-1728B52AA6E4}">
                <adec:decorative xmlns:adec="http://schemas.microsoft.com/office/drawing/2017/decorative" val="1"/>
              </a:ext>
            </a:extLst>
          </p:cNvPr>
          <p:cNvSpPr/>
          <p:nvPr/>
        </p:nvSpPr>
        <p:spPr bwMode="auto">
          <a:xfrm>
            <a:off x="6276287" y="3503235"/>
            <a:ext cx="30844" cy="30844"/>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grpSp>
        <p:nvGrpSpPr>
          <p:cNvPr id="2084" name="Group 2083">
            <a:extLst>
              <a:ext uri="{FF2B5EF4-FFF2-40B4-BE49-F238E27FC236}">
                <a16:creationId xmlns:a16="http://schemas.microsoft.com/office/drawing/2014/main" id="{052E8448-40F9-D30F-5150-BEE2555099C8}"/>
              </a:ext>
              <a:ext uri="{C183D7F6-B498-43B3-948B-1728B52AA6E4}">
                <adec:decorative xmlns:adec="http://schemas.microsoft.com/office/drawing/2017/decorative" val="1"/>
              </a:ext>
            </a:extLst>
          </p:cNvPr>
          <p:cNvGrpSpPr/>
          <p:nvPr/>
        </p:nvGrpSpPr>
        <p:grpSpPr>
          <a:xfrm>
            <a:off x="3938955" y="1612630"/>
            <a:ext cx="4314092" cy="3632742"/>
            <a:chOff x="5267489" y="902367"/>
            <a:chExt cx="6232486" cy="5248156"/>
          </a:xfrm>
          <a:noFill/>
          <a:scene3d>
            <a:camera prst="perspectiveRight" fov="0">
              <a:rot lat="0" lon="0" rev="0"/>
            </a:camera>
            <a:lightRig rig="flood" dir="t"/>
          </a:scene3d>
        </p:grpSpPr>
        <p:grpSp>
          <p:nvGrpSpPr>
            <p:cNvPr id="2085" name="Group 2084">
              <a:extLst>
                <a:ext uri="{FF2B5EF4-FFF2-40B4-BE49-F238E27FC236}">
                  <a16:creationId xmlns:a16="http://schemas.microsoft.com/office/drawing/2014/main" id="{6B28F5EE-247D-7B85-DAF0-F0BA6495D17E}"/>
                </a:ext>
              </a:extLst>
            </p:cNvPr>
            <p:cNvGrpSpPr/>
            <p:nvPr/>
          </p:nvGrpSpPr>
          <p:grpSpPr>
            <a:xfrm>
              <a:off x="5756493" y="1145957"/>
              <a:ext cx="5207912" cy="4691749"/>
              <a:chOff x="5723133" y="1035454"/>
              <a:chExt cx="5411648" cy="4875298"/>
            </a:xfrm>
            <a:grpFill/>
          </p:grpSpPr>
          <p:sp>
            <p:nvSpPr>
              <p:cNvPr id="2135" name="Oval 2134">
                <a:extLst>
                  <a:ext uri="{FF2B5EF4-FFF2-40B4-BE49-F238E27FC236}">
                    <a16:creationId xmlns:a16="http://schemas.microsoft.com/office/drawing/2014/main" id="{615C6DD3-AFCA-48DF-A2C1-F5BE3E24F596}"/>
                  </a:ext>
                </a:extLst>
              </p:cNvPr>
              <p:cNvSpPr>
                <a:spLocks/>
              </p:cNvSpPr>
              <p:nvPr/>
            </p:nvSpPr>
            <p:spPr bwMode="auto">
              <a:xfrm>
                <a:off x="6185168" y="4355605"/>
                <a:ext cx="64464" cy="6446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36" name="Oval 2135">
                <a:extLst>
                  <a:ext uri="{FF2B5EF4-FFF2-40B4-BE49-F238E27FC236}">
                    <a16:creationId xmlns:a16="http://schemas.microsoft.com/office/drawing/2014/main" id="{35A30EB9-9141-EA77-99B5-23A661FC43D0}"/>
                  </a:ext>
                </a:extLst>
              </p:cNvPr>
              <p:cNvSpPr>
                <a:spLocks/>
              </p:cNvSpPr>
              <p:nvPr/>
            </p:nvSpPr>
            <p:spPr bwMode="auto">
              <a:xfrm>
                <a:off x="6299294" y="4993563"/>
                <a:ext cx="91650" cy="9165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37" name="Oval 2136">
                <a:extLst>
                  <a:ext uri="{FF2B5EF4-FFF2-40B4-BE49-F238E27FC236}">
                    <a16:creationId xmlns:a16="http://schemas.microsoft.com/office/drawing/2014/main" id="{4B58E197-49BD-C3AD-D485-46849D418968}"/>
                  </a:ext>
                </a:extLst>
              </p:cNvPr>
              <p:cNvSpPr>
                <a:spLocks/>
              </p:cNvSpPr>
              <p:nvPr/>
            </p:nvSpPr>
            <p:spPr bwMode="auto">
              <a:xfrm>
                <a:off x="10419814" y="1882864"/>
                <a:ext cx="64464" cy="6446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38" name="Oval 2137">
                <a:extLst>
                  <a:ext uri="{FF2B5EF4-FFF2-40B4-BE49-F238E27FC236}">
                    <a16:creationId xmlns:a16="http://schemas.microsoft.com/office/drawing/2014/main" id="{BE1CBA92-497D-D6ED-CAE2-7813709575B3}"/>
                  </a:ext>
                </a:extLst>
              </p:cNvPr>
              <p:cNvSpPr>
                <a:spLocks/>
              </p:cNvSpPr>
              <p:nvPr/>
            </p:nvSpPr>
            <p:spPr bwMode="auto">
              <a:xfrm>
                <a:off x="10636545" y="2489222"/>
                <a:ext cx="91650" cy="9165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39" name="Oval 2138">
                <a:extLst>
                  <a:ext uri="{FF2B5EF4-FFF2-40B4-BE49-F238E27FC236}">
                    <a16:creationId xmlns:a16="http://schemas.microsoft.com/office/drawing/2014/main" id="{30C69562-B580-2D97-F5A7-6C0C9EDB3966}"/>
                  </a:ext>
                </a:extLst>
              </p:cNvPr>
              <p:cNvSpPr>
                <a:spLocks/>
              </p:cNvSpPr>
              <p:nvPr/>
            </p:nvSpPr>
            <p:spPr bwMode="auto">
              <a:xfrm>
                <a:off x="10850723" y="3024079"/>
                <a:ext cx="91650" cy="9165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40" name="Oval 2139">
                <a:extLst>
                  <a:ext uri="{FF2B5EF4-FFF2-40B4-BE49-F238E27FC236}">
                    <a16:creationId xmlns:a16="http://schemas.microsoft.com/office/drawing/2014/main" id="{7F5F1297-D2F1-5EF2-F283-D4FDA5EF9471}"/>
                  </a:ext>
                </a:extLst>
              </p:cNvPr>
              <p:cNvSpPr>
                <a:spLocks/>
              </p:cNvSpPr>
              <p:nvPr/>
            </p:nvSpPr>
            <p:spPr bwMode="auto">
              <a:xfrm>
                <a:off x="10961349" y="2702067"/>
                <a:ext cx="64464" cy="6446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41" name="Oval 2140">
                <a:extLst>
                  <a:ext uri="{FF2B5EF4-FFF2-40B4-BE49-F238E27FC236}">
                    <a16:creationId xmlns:a16="http://schemas.microsoft.com/office/drawing/2014/main" id="{33109ABE-79C2-B695-F18F-8565CB890C4A}"/>
                  </a:ext>
                </a:extLst>
              </p:cNvPr>
              <p:cNvSpPr>
                <a:spLocks/>
              </p:cNvSpPr>
              <p:nvPr/>
            </p:nvSpPr>
            <p:spPr bwMode="auto">
              <a:xfrm>
                <a:off x="10759073" y="3612536"/>
                <a:ext cx="91650" cy="9165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42" name="Oval 2141">
                <a:extLst>
                  <a:ext uri="{FF2B5EF4-FFF2-40B4-BE49-F238E27FC236}">
                    <a16:creationId xmlns:a16="http://schemas.microsoft.com/office/drawing/2014/main" id="{27B39F8E-AC25-CEBA-A785-35969C52034E}"/>
                  </a:ext>
                </a:extLst>
              </p:cNvPr>
              <p:cNvSpPr>
                <a:spLocks/>
              </p:cNvSpPr>
              <p:nvPr/>
            </p:nvSpPr>
            <p:spPr bwMode="auto">
              <a:xfrm>
                <a:off x="10728195" y="4155168"/>
                <a:ext cx="91650" cy="9165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43" name="Oval 2142">
                <a:extLst>
                  <a:ext uri="{FF2B5EF4-FFF2-40B4-BE49-F238E27FC236}">
                    <a16:creationId xmlns:a16="http://schemas.microsoft.com/office/drawing/2014/main" id="{62CD0C56-F36A-04A0-241B-89B2D23AC10B}"/>
                  </a:ext>
                </a:extLst>
              </p:cNvPr>
              <p:cNvSpPr>
                <a:spLocks/>
              </p:cNvSpPr>
              <p:nvPr/>
            </p:nvSpPr>
            <p:spPr bwMode="auto">
              <a:xfrm>
                <a:off x="10282339" y="5254325"/>
                <a:ext cx="91650" cy="9165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44" name="Oval 2143">
                <a:extLst>
                  <a:ext uri="{FF2B5EF4-FFF2-40B4-BE49-F238E27FC236}">
                    <a16:creationId xmlns:a16="http://schemas.microsoft.com/office/drawing/2014/main" id="{E3518EE2-8C3F-71E0-DB2E-BAC8C3658568}"/>
                  </a:ext>
                </a:extLst>
              </p:cNvPr>
              <p:cNvSpPr>
                <a:spLocks/>
              </p:cNvSpPr>
              <p:nvPr/>
            </p:nvSpPr>
            <p:spPr bwMode="auto">
              <a:xfrm>
                <a:off x="10392628" y="4851254"/>
                <a:ext cx="91650" cy="9165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45" name="Oval 2144">
                <a:extLst>
                  <a:ext uri="{FF2B5EF4-FFF2-40B4-BE49-F238E27FC236}">
                    <a16:creationId xmlns:a16="http://schemas.microsoft.com/office/drawing/2014/main" id="{FE68F484-2B16-2483-D130-7DBF6F6649E9}"/>
                  </a:ext>
                </a:extLst>
              </p:cNvPr>
              <p:cNvSpPr>
                <a:spLocks/>
              </p:cNvSpPr>
              <p:nvPr/>
            </p:nvSpPr>
            <p:spPr bwMode="auto">
              <a:xfrm>
                <a:off x="9705568" y="5346176"/>
                <a:ext cx="91650" cy="9165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46" name="Oval 2145">
                <a:extLst>
                  <a:ext uri="{FF2B5EF4-FFF2-40B4-BE49-F238E27FC236}">
                    <a16:creationId xmlns:a16="http://schemas.microsoft.com/office/drawing/2014/main" id="{9F99F008-91C7-1232-FF13-D5E06574370D}"/>
                  </a:ext>
                </a:extLst>
              </p:cNvPr>
              <p:cNvSpPr>
                <a:spLocks/>
              </p:cNvSpPr>
              <p:nvPr/>
            </p:nvSpPr>
            <p:spPr bwMode="auto">
              <a:xfrm>
                <a:off x="5931001" y="3966240"/>
                <a:ext cx="91650" cy="9165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47" name="Oval 2146">
                <a:extLst>
                  <a:ext uri="{FF2B5EF4-FFF2-40B4-BE49-F238E27FC236}">
                    <a16:creationId xmlns:a16="http://schemas.microsoft.com/office/drawing/2014/main" id="{5625F767-5111-7AE7-6036-9617C878E4B3}"/>
                  </a:ext>
                </a:extLst>
              </p:cNvPr>
              <p:cNvSpPr>
                <a:spLocks/>
              </p:cNvSpPr>
              <p:nvPr/>
            </p:nvSpPr>
            <p:spPr bwMode="auto">
              <a:xfrm>
                <a:off x="5976826" y="3062164"/>
                <a:ext cx="91650" cy="9165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48" name="Oval 2147">
                <a:extLst>
                  <a:ext uri="{FF2B5EF4-FFF2-40B4-BE49-F238E27FC236}">
                    <a16:creationId xmlns:a16="http://schemas.microsoft.com/office/drawing/2014/main" id="{A8DCFD2C-D464-C334-6784-866A425C8503}"/>
                  </a:ext>
                </a:extLst>
              </p:cNvPr>
              <p:cNvSpPr>
                <a:spLocks/>
              </p:cNvSpPr>
              <p:nvPr/>
            </p:nvSpPr>
            <p:spPr bwMode="auto">
              <a:xfrm>
                <a:off x="5893817" y="3450748"/>
                <a:ext cx="64464" cy="6446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49" name="Oval 2148">
                <a:extLst>
                  <a:ext uri="{FF2B5EF4-FFF2-40B4-BE49-F238E27FC236}">
                    <a16:creationId xmlns:a16="http://schemas.microsoft.com/office/drawing/2014/main" id="{666C8A7F-A249-2B72-F72F-471602E65B0A}"/>
                  </a:ext>
                </a:extLst>
              </p:cNvPr>
              <p:cNvSpPr>
                <a:spLocks/>
              </p:cNvSpPr>
              <p:nvPr/>
            </p:nvSpPr>
            <p:spPr bwMode="auto">
              <a:xfrm>
                <a:off x="6612604" y="5176272"/>
                <a:ext cx="64464" cy="6446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50" name="Oval 2149">
                <a:extLst>
                  <a:ext uri="{FF2B5EF4-FFF2-40B4-BE49-F238E27FC236}">
                    <a16:creationId xmlns:a16="http://schemas.microsoft.com/office/drawing/2014/main" id="{E6EF5E30-8A47-7D6B-6351-B734A12E067A}"/>
                  </a:ext>
                </a:extLst>
              </p:cNvPr>
              <p:cNvSpPr>
                <a:spLocks/>
              </p:cNvSpPr>
              <p:nvPr/>
            </p:nvSpPr>
            <p:spPr bwMode="auto">
              <a:xfrm>
                <a:off x="6958994" y="5513753"/>
                <a:ext cx="91650" cy="9165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51" name="Oval 2150">
                <a:extLst>
                  <a:ext uri="{FF2B5EF4-FFF2-40B4-BE49-F238E27FC236}">
                    <a16:creationId xmlns:a16="http://schemas.microsoft.com/office/drawing/2014/main" id="{71E01640-EE33-DE48-E8E4-F069583EE589}"/>
                  </a:ext>
                </a:extLst>
              </p:cNvPr>
              <p:cNvSpPr>
                <a:spLocks/>
              </p:cNvSpPr>
              <p:nvPr/>
            </p:nvSpPr>
            <p:spPr bwMode="auto">
              <a:xfrm>
                <a:off x="11070317" y="3358397"/>
                <a:ext cx="64464" cy="6446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52" name="Oval 2151">
                <a:extLst>
                  <a:ext uri="{FF2B5EF4-FFF2-40B4-BE49-F238E27FC236}">
                    <a16:creationId xmlns:a16="http://schemas.microsoft.com/office/drawing/2014/main" id="{F9D6CE5F-D62B-D101-732F-71AA05605FA9}"/>
                  </a:ext>
                </a:extLst>
              </p:cNvPr>
              <p:cNvSpPr>
                <a:spLocks/>
              </p:cNvSpPr>
              <p:nvPr/>
            </p:nvSpPr>
            <p:spPr bwMode="auto">
              <a:xfrm>
                <a:off x="10942681" y="3877187"/>
                <a:ext cx="64464" cy="6446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53" name="Oval 2152">
                <a:extLst>
                  <a:ext uri="{FF2B5EF4-FFF2-40B4-BE49-F238E27FC236}">
                    <a16:creationId xmlns:a16="http://schemas.microsoft.com/office/drawing/2014/main" id="{5B1A44FE-E1C6-CEE0-4C03-21E86C05A17A}"/>
                  </a:ext>
                </a:extLst>
              </p:cNvPr>
              <p:cNvSpPr>
                <a:spLocks/>
              </p:cNvSpPr>
              <p:nvPr/>
            </p:nvSpPr>
            <p:spPr bwMode="auto">
              <a:xfrm>
                <a:off x="10663731" y="4581463"/>
                <a:ext cx="64464" cy="6446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54" name="Oval 2153">
                <a:extLst>
                  <a:ext uri="{FF2B5EF4-FFF2-40B4-BE49-F238E27FC236}">
                    <a16:creationId xmlns:a16="http://schemas.microsoft.com/office/drawing/2014/main" id="{86AA85F8-19A6-59A3-3290-FB7F2EAD72EB}"/>
                  </a:ext>
                </a:extLst>
              </p:cNvPr>
              <p:cNvSpPr>
                <a:spLocks/>
              </p:cNvSpPr>
              <p:nvPr/>
            </p:nvSpPr>
            <p:spPr bwMode="auto">
              <a:xfrm>
                <a:off x="9288951" y="5606212"/>
                <a:ext cx="64464" cy="6446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55" name="Oval 2154">
                <a:extLst>
                  <a:ext uri="{FF2B5EF4-FFF2-40B4-BE49-F238E27FC236}">
                    <a16:creationId xmlns:a16="http://schemas.microsoft.com/office/drawing/2014/main" id="{7EB269E6-CDB6-EA31-74B8-C237FA512FE2}"/>
                  </a:ext>
                </a:extLst>
              </p:cNvPr>
              <p:cNvSpPr>
                <a:spLocks/>
              </p:cNvSpPr>
              <p:nvPr/>
            </p:nvSpPr>
            <p:spPr bwMode="auto">
              <a:xfrm>
                <a:off x="6275504" y="4678715"/>
                <a:ext cx="64464" cy="6446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56" name="Oval 2155">
                <a:extLst>
                  <a:ext uri="{FF2B5EF4-FFF2-40B4-BE49-F238E27FC236}">
                    <a16:creationId xmlns:a16="http://schemas.microsoft.com/office/drawing/2014/main" id="{4CD1196D-FAE6-24CE-4D67-BD0D1B1D6FF5}"/>
                  </a:ext>
                </a:extLst>
              </p:cNvPr>
              <p:cNvSpPr>
                <a:spLocks/>
              </p:cNvSpPr>
              <p:nvPr/>
            </p:nvSpPr>
            <p:spPr bwMode="auto">
              <a:xfrm>
                <a:off x="6032043" y="3758588"/>
                <a:ext cx="64464" cy="6446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57" name="Oval 2156">
                <a:extLst>
                  <a:ext uri="{FF2B5EF4-FFF2-40B4-BE49-F238E27FC236}">
                    <a16:creationId xmlns:a16="http://schemas.microsoft.com/office/drawing/2014/main" id="{DC8579D8-9D59-E013-0206-85F614887AC4}"/>
                  </a:ext>
                </a:extLst>
              </p:cNvPr>
              <p:cNvSpPr>
                <a:spLocks/>
              </p:cNvSpPr>
              <p:nvPr/>
            </p:nvSpPr>
            <p:spPr bwMode="auto">
              <a:xfrm>
                <a:off x="5999811" y="2669835"/>
                <a:ext cx="64464" cy="6446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58" name="Oval 2157">
                <a:extLst>
                  <a:ext uri="{FF2B5EF4-FFF2-40B4-BE49-F238E27FC236}">
                    <a16:creationId xmlns:a16="http://schemas.microsoft.com/office/drawing/2014/main" id="{D677D17B-E09F-F26F-B40B-B959653116A0}"/>
                  </a:ext>
                </a:extLst>
              </p:cNvPr>
              <p:cNvSpPr>
                <a:spLocks/>
              </p:cNvSpPr>
              <p:nvPr/>
            </p:nvSpPr>
            <p:spPr bwMode="auto">
              <a:xfrm>
                <a:off x="6123308" y="2197470"/>
                <a:ext cx="91650" cy="9165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59" name="Oval 2158">
                <a:extLst>
                  <a:ext uri="{FF2B5EF4-FFF2-40B4-BE49-F238E27FC236}">
                    <a16:creationId xmlns:a16="http://schemas.microsoft.com/office/drawing/2014/main" id="{FA1919A5-0C6B-34CB-46DE-34764B8A3D5C}"/>
                  </a:ext>
                </a:extLst>
              </p:cNvPr>
              <p:cNvSpPr>
                <a:spLocks/>
              </p:cNvSpPr>
              <p:nvPr/>
            </p:nvSpPr>
            <p:spPr bwMode="auto">
              <a:xfrm>
                <a:off x="6623670" y="1814149"/>
                <a:ext cx="91650" cy="9165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60" name="Oval 2159">
                <a:extLst>
                  <a:ext uri="{FF2B5EF4-FFF2-40B4-BE49-F238E27FC236}">
                    <a16:creationId xmlns:a16="http://schemas.microsoft.com/office/drawing/2014/main" id="{24C76C18-29F9-1FFB-6FD4-C0336DEB1183}"/>
                  </a:ext>
                </a:extLst>
              </p:cNvPr>
              <p:cNvSpPr>
                <a:spLocks/>
              </p:cNvSpPr>
              <p:nvPr/>
            </p:nvSpPr>
            <p:spPr bwMode="auto">
              <a:xfrm>
                <a:off x="7147878" y="1317393"/>
                <a:ext cx="91650" cy="9165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61" name="Oval 2160">
                <a:extLst>
                  <a:ext uri="{FF2B5EF4-FFF2-40B4-BE49-F238E27FC236}">
                    <a16:creationId xmlns:a16="http://schemas.microsoft.com/office/drawing/2014/main" id="{4668CF6B-92EA-6994-30AA-755399AE1691}"/>
                  </a:ext>
                </a:extLst>
              </p:cNvPr>
              <p:cNvSpPr>
                <a:spLocks/>
              </p:cNvSpPr>
              <p:nvPr/>
            </p:nvSpPr>
            <p:spPr bwMode="auto">
              <a:xfrm>
                <a:off x="6365375" y="1943752"/>
                <a:ext cx="64464" cy="6446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62" name="Oval 2161">
                <a:extLst>
                  <a:ext uri="{FF2B5EF4-FFF2-40B4-BE49-F238E27FC236}">
                    <a16:creationId xmlns:a16="http://schemas.microsoft.com/office/drawing/2014/main" id="{49248D02-F2BD-393F-3BA7-757FD9863CF4}"/>
                  </a:ext>
                </a:extLst>
              </p:cNvPr>
              <p:cNvSpPr>
                <a:spLocks/>
              </p:cNvSpPr>
              <p:nvPr/>
            </p:nvSpPr>
            <p:spPr bwMode="auto">
              <a:xfrm>
                <a:off x="6847142" y="1548806"/>
                <a:ext cx="64464" cy="6446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63" name="Oval 2162">
                <a:extLst>
                  <a:ext uri="{FF2B5EF4-FFF2-40B4-BE49-F238E27FC236}">
                    <a16:creationId xmlns:a16="http://schemas.microsoft.com/office/drawing/2014/main" id="{CF983882-3162-2E3A-8A76-16537F136CD0}"/>
                  </a:ext>
                </a:extLst>
              </p:cNvPr>
              <p:cNvSpPr>
                <a:spLocks/>
              </p:cNvSpPr>
              <p:nvPr/>
            </p:nvSpPr>
            <p:spPr bwMode="auto">
              <a:xfrm>
                <a:off x="5723133" y="2832839"/>
                <a:ext cx="64464" cy="6446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64" name="Oval 2163">
                <a:extLst>
                  <a:ext uri="{FF2B5EF4-FFF2-40B4-BE49-F238E27FC236}">
                    <a16:creationId xmlns:a16="http://schemas.microsoft.com/office/drawing/2014/main" id="{42877BCB-0C34-0C1E-4588-13DEC8E2F907}"/>
                  </a:ext>
                </a:extLst>
              </p:cNvPr>
              <p:cNvSpPr>
                <a:spLocks/>
              </p:cNvSpPr>
              <p:nvPr/>
            </p:nvSpPr>
            <p:spPr bwMode="auto">
              <a:xfrm>
                <a:off x="7412507" y="5680814"/>
                <a:ext cx="64464" cy="6446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65" name="Oval 2164">
                <a:extLst>
                  <a:ext uri="{FF2B5EF4-FFF2-40B4-BE49-F238E27FC236}">
                    <a16:creationId xmlns:a16="http://schemas.microsoft.com/office/drawing/2014/main" id="{F92A3632-6C48-6996-9482-E31419437EE1}"/>
                  </a:ext>
                </a:extLst>
              </p:cNvPr>
              <p:cNvSpPr>
                <a:spLocks/>
              </p:cNvSpPr>
              <p:nvPr/>
            </p:nvSpPr>
            <p:spPr bwMode="auto">
              <a:xfrm>
                <a:off x="6437197" y="1605773"/>
                <a:ext cx="64464" cy="6446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66" name="Oval 2165">
                <a:extLst>
                  <a:ext uri="{FF2B5EF4-FFF2-40B4-BE49-F238E27FC236}">
                    <a16:creationId xmlns:a16="http://schemas.microsoft.com/office/drawing/2014/main" id="{89E0A954-98C2-D0E4-0801-1723084C2AC8}"/>
                  </a:ext>
                </a:extLst>
              </p:cNvPr>
              <p:cNvSpPr>
                <a:spLocks/>
              </p:cNvSpPr>
              <p:nvPr/>
            </p:nvSpPr>
            <p:spPr bwMode="auto">
              <a:xfrm>
                <a:off x="7468778" y="1251180"/>
                <a:ext cx="64464" cy="6446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67" name="Oval 2166">
                <a:extLst>
                  <a:ext uri="{FF2B5EF4-FFF2-40B4-BE49-F238E27FC236}">
                    <a16:creationId xmlns:a16="http://schemas.microsoft.com/office/drawing/2014/main" id="{767A5BA2-A875-0F99-0CA0-CB0A06645921}"/>
                  </a:ext>
                </a:extLst>
              </p:cNvPr>
              <p:cNvSpPr>
                <a:spLocks/>
              </p:cNvSpPr>
              <p:nvPr/>
            </p:nvSpPr>
            <p:spPr bwMode="auto">
              <a:xfrm>
                <a:off x="7733447" y="5762442"/>
                <a:ext cx="91650" cy="9165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68" name="Oval 2167">
                <a:extLst>
                  <a:ext uri="{FF2B5EF4-FFF2-40B4-BE49-F238E27FC236}">
                    <a16:creationId xmlns:a16="http://schemas.microsoft.com/office/drawing/2014/main" id="{4A1E855A-02CC-988A-F6F4-FEB681701FE2}"/>
                  </a:ext>
                </a:extLst>
              </p:cNvPr>
              <p:cNvSpPr>
                <a:spLocks/>
              </p:cNvSpPr>
              <p:nvPr/>
            </p:nvSpPr>
            <p:spPr bwMode="auto">
              <a:xfrm>
                <a:off x="5750735" y="3694124"/>
                <a:ext cx="64464" cy="6446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69" name="Oval 2168">
                <a:extLst>
                  <a:ext uri="{FF2B5EF4-FFF2-40B4-BE49-F238E27FC236}">
                    <a16:creationId xmlns:a16="http://schemas.microsoft.com/office/drawing/2014/main" id="{CC428B9D-12BD-FD23-4A7F-4D5D75AA6B55}"/>
                  </a:ext>
                </a:extLst>
              </p:cNvPr>
              <p:cNvSpPr>
                <a:spLocks/>
              </p:cNvSpPr>
              <p:nvPr/>
            </p:nvSpPr>
            <p:spPr bwMode="auto">
              <a:xfrm>
                <a:off x="6637263" y="5462812"/>
                <a:ext cx="64464" cy="6446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70" name="Oval 2169">
                <a:extLst>
                  <a:ext uri="{FF2B5EF4-FFF2-40B4-BE49-F238E27FC236}">
                    <a16:creationId xmlns:a16="http://schemas.microsoft.com/office/drawing/2014/main" id="{7C7C81BB-E51E-0E23-64ED-AC3830FDED5D}"/>
                  </a:ext>
                </a:extLst>
              </p:cNvPr>
              <p:cNvSpPr>
                <a:spLocks/>
              </p:cNvSpPr>
              <p:nvPr/>
            </p:nvSpPr>
            <p:spPr bwMode="auto">
              <a:xfrm>
                <a:off x="8504616" y="5846288"/>
                <a:ext cx="64464" cy="6446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71" name="Oval 2170">
                <a:extLst>
                  <a:ext uri="{FF2B5EF4-FFF2-40B4-BE49-F238E27FC236}">
                    <a16:creationId xmlns:a16="http://schemas.microsoft.com/office/drawing/2014/main" id="{8538192D-1AB2-306B-0F4E-0B46A7E16EBE}"/>
                  </a:ext>
                </a:extLst>
              </p:cNvPr>
              <p:cNvSpPr>
                <a:spLocks/>
              </p:cNvSpPr>
              <p:nvPr/>
            </p:nvSpPr>
            <p:spPr bwMode="auto">
              <a:xfrm>
                <a:off x="10469630" y="2133006"/>
                <a:ext cx="64464" cy="6446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72" name="Oval 2171">
                <a:extLst>
                  <a:ext uri="{FF2B5EF4-FFF2-40B4-BE49-F238E27FC236}">
                    <a16:creationId xmlns:a16="http://schemas.microsoft.com/office/drawing/2014/main" id="{B515C7F4-064B-C61E-E417-0FF36197BC72}"/>
                  </a:ext>
                </a:extLst>
              </p:cNvPr>
              <p:cNvSpPr>
                <a:spLocks/>
              </p:cNvSpPr>
              <p:nvPr/>
            </p:nvSpPr>
            <p:spPr bwMode="auto">
              <a:xfrm>
                <a:off x="9865472" y="1457705"/>
                <a:ext cx="64464" cy="6446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73" name="Oval 2172">
                <a:extLst>
                  <a:ext uri="{FF2B5EF4-FFF2-40B4-BE49-F238E27FC236}">
                    <a16:creationId xmlns:a16="http://schemas.microsoft.com/office/drawing/2014/main" id="{671AD336-0A17-14C1-9E35-41825208CCA4}"/>
                  </a:ext>
                </a:extLst>
              </p:cNvPr>
              <p:cNvSpPr>
                <a:spLocks/>
              </p:cNvSpPr>
              <p:nvPr/>
            </p:nvSpPr>
            <p:spPr bwMode="auto">
              <a:xfrm>
                <a:off x="9395902" y="1206772"/>
                <a:ext cx="91650" cy="9165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74" name="Oval 2173">
                <a:extLst>
                  <a:ext uri="{FF2B5EF4-FFF2-40B4-BE49-F238E27FC236}">
                    <a16:creationId xmlns:a16="http://schemas.microsoft.com/office/drawing/2014/main" id="{C9EA7A4F-145C-3EFE-A59D-E9032B4E4CCD}"/>
                  </a:ext>
                </a:extLst>
              </p:cNvPr>
              <p:cNvSpPr>
                <a:spLocks/>
              </p:cNvSpPr>
              <p:nvPr/>
            </p:nvSpPr>
            <p:spPr bwMode="auto">
              <a:xfrm>
                <a:off x="7843688" y="1035454"/>
                <a:ext cx="91650" cy="9165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75" name="Oval 2174">
                <a:extLst>
                  <a:ext uri="{FF2B5EF4-FFF2-40B4-BE49-F238E27FC236}">
                    <a16:creationId xmlns:a16="http://schemas.microsoft.com/office/drawing/2014/main" id="{749AF9AA-ABD6-D55D-42A8-A55428E56E45}"/>
                  </a:ext>
                </a:extLst>
              </p:cNvPr>
              <p:cNvSpPr>
                <a:spLocks/>
              </p:cNvSpPr>
              <p:nvPr/>
            </p:nvSpPr>
            <p:spPr bwMode="auto">
              <a:xfrm>
                <a:off x="8472984" y="1080400"/>
                <a:ext cx="64464" cy="6446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76" name="Oval 2175">
                <a:extLst>
                  <a:ext uri="{FF2B5EF4-FFF2-40B4-BE49-F238E27FC236}">
                    <a16:creationId xmlns:a16="http://schemas.microsoft.com/office/drawing/2014/main" id="{E6C28902-55D3-F0A4-107F-CDE8D2C903CA}"/>
                  </a:ext>
                </a:extLst>
              </p:cNvPr>
              <p:cNvSpPr>
                <a:spLocks/>
              </p:cNvSpPr>
              <p:nvPr/>
            </p:nvSpPr>
            <p:spPr bwMode="auto">
              <a:xfrm>
                <a:off x="8984512" y="1047407"/>
                <a:ext cx="64464" cy="6446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77" name="Oval 2176">
                <a:extLst>
                  <a:ext uri="{FF2B5EF4-FFF2-40B4-BE49-F238E27FC236}">
                    <a16:creationId xmlns:a16="http://schemas.microsoft.com/office/drawing/2014/main" id="{312BA94A-DA1A-B654-CA30-CEE28925A08D}"/>
                  </a:ext>
                </a:extLst>
              </p:cNvPr>
              <p:cNvSpPr>
                <a:spLocks/>
              </p:cNvSpPr>
              <p:nvPr/>
            </p:nvSpPr>
            <p:spPr bwMode="auto">
              <a:xfrm>
                <a:off x="5897593" y="4508918"/>
                <a:ext cx="91650" cy="9165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78" name="Oval 2177">
                <a:extLst>
                  <a:ext uri="{FF2B5EF4-FFF2-40B4-BE49-F238E27FC236}">
                    <a16:creationId xmlns:a16="http://schemas.microsoft.com/office/drawing/2014/main" id="{3C215724-81E9-C0AC-C08F-856366DBF8D5}"/>
                  </a:ext>
                </a:extLst>
              </p:cNvPr>
              <p:cNvSpPr>
                <a:spLocks/>
              </p:cNvSpPr>
              <p:nvPr/>
            </p:nvSpPr>
            <p:spPr bwMode="auto">
              <a:xfrm>
                <a:off x="10636545" y="4866149"/>
                <a:ext cx="91650" cy="9165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79" name="Oval 2178">
                <a:extLst>
                  <a:ext uri="{FF2B5EF4-FFF2-40B4-BE49-F238E27FC236}">
                    <a16:creationId xmlns:a16="http://schemas.microsoft.com/office/drawing/2014/main" id="{87862484-6D2B-0EA6-6491-8869C27DBDB3}"/>
                  </a:ext>
                </a:extLst>
              </p:cNvPr>
              <p:cNvSpPr>
                <a:spLocks/>
              </p:cNvSpPr>
              <p:nvPr/>
            </p:nvSpPr>
            <p:spPr bwMode="auto">
              <a:xfrm>
                <a:off x="11070317" y="4304723"/>
                <a:ext cx="64464" cy="6446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80" name="Oval 2179">
                <a:extLst>
                  <a:ext uri="{FF2B5EF4-FFF2-40B4-BE49-F238E27FC236}">
                    <a16:creationId xmlns:a16="http://schemas.microsoft.com/office/drawing/2014/main" id="{192EE179-9B49-D46F-FA7A-7A00B8D94403}"/>
                  </a:ext>
                </a:extLst>
              </p:cNvPr>
              <p:cNvSpPr>
                <a:spLocks/>
              </p:cNvSpPr>
              <p:nvPr/>
            </p:nvSpPr>
            <p:spPr bwMode="auto">
              <a:xfrm>
                <a:off x="9780906" y="1170912"/>
                <a:ext cx="64464" cy="6446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81" name="Oval 2180">
                <a:extLst>
                  <a:ext uri="{FF2B5EF4-FFF2-40B4-BE49-F238E27FC236}">
                    <a16:creationId xmlns:a16="http://schemas.microsoft.com/office/drawing/2014/main" id="{EE5CD443-16C7-54E5-2F92-C1E718CADBD3}"/>
                  </a:ext>
                </a:extLst>
              </p:cNvPr>
              <p:cNvSpPr>
                <a:spLocks/>
              </p:cNvSpPr>
              <p:nvPr/>
            </p:nvSpPr>
            <p:spPr bwMode="auto">
              <a:xfrm>
                <a:off x="10263700" y="1505315"/>
                <a:ext cx="91650" cy="9165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grpSp>
        <p:grpSp>
          <p:nvGrpSpPr>
            <p:cNvPr id="2086" name="Group 2085">
              <a:extLst>
                <a:ext uri="{FF2B5EF4-FFF2-40B4-BE49-F238E27FC236}">
                  <a16:creationId xmlns:a16="http://schemas.microsoft.com/office/drawing/2014/main" id="{2009E9D2-7C18-9C95-EBC1-AAA5D776B5F1}"/>
                </a:ext>
              </a:extLst>
            </p:cNvPr>
            <p:cNvGrpSpPr/>
            <p:nvPr/>
          </p:nvGrpSpPr>
          <p:grpSpPr>
            <a:xfrm>
              <a:off x="5267489" y="902367"/>
              <a:ext cx="6232486" cy="5248156"/>
              <a:chOff x="5267489" y="902367"/>
              <a:chExt cx="6232486" cy="5248156"/>
            </a:xfrm>
            <a:grpFill/>
          </p:grpSpPr>
          <p:sp>
            <p:nvSpPr>
              <p:cNvPr id="2087" name="Oval 2086">
                <a:extLst>
                  <a:ext uri="{FF2B5EF4-FFF2-40B4-BE49-F238E27FC236}">
                    <a16:creationId xmlns:a16="http://schemas.microsoft.com/office/drawing/2014/main" id="{742EB381-16F9-5529-CA19-39253DEDC6F9}"/>
                  </a:ext>
                </a:extLst>
              </p:cNvPr>
              <p:cNvSpPr>
                <a:spLocks/>
              </p:cNvSpPr>
              <p:nvPr/>
            </p:nvSpPr>
            <p:spPr bwMode="auto">
              <a:xfrm rot="467850" flipV="1">
                <a:off x="6011949" y="2062864"/>
                <a:ext cx="72236" cy="7223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088" name="Oval 2087">
                <a:extLst>
                  <a:ext uri="{FF2B5EF4-FFF2-40B4-BE49-F238E27FC236}">
                    <a16:creationId xmlns:a16="http://schemas.microsoft.com/office/drawing/2014/main" id="{0B254228-6C7E-0A01-4DC9-00C7462D796F}"/>
                  </a:ext>
                </a:extLst>
              </p:cNvPr>
              <p:cNvSpPr>
                <a:spLocks/>
              </p:cNvSpPr>
              <p:nvPr/>
            </p:nvSpPr>
            <p:spPr bwMode="auto">
              <a:xfrm rot="467850" flipV="1">
                <a:off x="6237568" y="1343693"/>
                <a:ext cx="102700" cy="10270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089" name="Oval 2088">
                <a:extLst>
                  <a:ext uri="{FF2B5EF4-FFF2-40B4-BE49-F238E27FC236}">
                    <a16:creationId xmlns:a16="http://schemas.microsoft.com/office/drawing/2014/main" id="{C6BE17C4-F423-20E4-38D0-BCC702227A2B}"/>
                  </a:ext>
                </a:extLst>
              </p:cNvPr>
              <p:cNvSpPr>
                <a:spLocks/>
              </p:cNvSpPr>
              <p:nvPr/>
            </p:nvSpPr>
            <p:spPr bwMode="auto">
              <a:xfrm rot="467850" flipV="1">
                <a:off x="10337351" y="5451911"/>
                <a:ext cx="72236" cy="7223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090" name="Oval 2089">
                <a:extLst>
                  <a:ext uri="{FF2B5EF4-FFF2-40B4-BE49-F238E27FC236}">
                    <a16:creationId xmlns:a16="http://schemas.microsoft.com/office/drawing/2014/main" id="{C1445882-9065-1F68-2894-E24A7E8A306C}"/>
                  </a:ext>
                </a:extLst>
              </p:cNvPr>
              <p:cNvSpPr>
                <a:spLocks/>
              </p:cNvSpPr>
              <p:nvPr/>
            </p:nvSpPr>
            <p:spPr bwMode="auto">
              <a:xfrm rot="467850" flipV="1">
                <a:off x="10672077" y="4783422"/>
                <a:ext cx="102700" cy="10270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091" name="Oval 2090">
                <a:extLst>
                  <a:ext uri="{FF2B5EF4-FFF2-40B4-BE49-F238E27FC236}">
                    <a16:creationId xmlns:a16="http://schemas.microsoft.com/office/drawing/2014/main" id="{7B75FBE5-AB20-8201-AC6C-6E2FFBDC28BA}"/>
                  </a:ext>
                </a:extLst>
              </p:cNvPr>
              <p:cNvSpPr>
                <a:spLocks/>
              </p:cNvSpPr>
              <p:nvPr/>
            </p:nvSpPr>
            <p:spPr bwMode="auto">
              <a:xfrm rot="467850" flipV="1">
                <a:off x="11075840" y="4101895"/>
                <a:ext cx="102700" cy="10270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092" name="Oval 2091">
                <a:extLst>
                  <a:ext uri="{FF2B5EF4-FFF2-40B4-BE49-F238E27FC236}">
                    <a16:creationId xmlns:a16="http://schemas.microsoft.com/office/drawing/2014/main" id="{B29111E3-1148-C772-9166-72A32DBEC27E}"/>
                  </a:ext>
                </a:extLst>
              </p:cNvPr>
              <p:cNvSpPr>
                <a:spLocks/>
              </p:cNvSpPr>
              <p:nvPr/>
            </p:nvSpPr>
            <p:spPr bwMode="auto">
              <a:xfrm rot="467850" flipV="1">
                <a:off x="11063111" y="4624756"/>
                <a:ext cx="72236" cy="7223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093" name="Oval 2092">
                <a:extLst>
                  <a:ext uri="{FF2B5EF4-FFF2-40B4-BE49-F238E27FC236}">
                    <a16:creationId xmlns:a16="http://schemas.microsoft.com/office/drawing/2014/main" id="{3BAAFDF8-84EF-CA38-0618-2159179E0B33}"/>
                  </a:ext>
                </a:extLst>
              </p:cNvPr>
              <p:cNvSpPr>
                <a:spLocks/>
              </p:cNvSpPr>
              <p:nvPr/>
            </p:nvSpPr>
            <p:spPr bwMode="auto">
              <a:xfrm rot="467850" flipV="1">
                <a:off x="10978887" y="3554938"/>
                <a:ext cx="102700" cy="10270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094" name="Oval 2093">
                <a:extLst>
                  <a:ext uri="{FF2B5EF4-FFF2-40B4-BE49-F238E27FC236}">
                    <a16:creationId xmlns:a16="http://schemas.microsoft.com/office/drawing/2014/main" id="{DD526DCA-9E56-7426-540A-86F57166D0B6}"/>
                  </a:ext>
                </a:extLst>
              </p:cNvPr>
              <p:cNvSpPr>
                <a:spLocks/>
              </p:cNvSpPr>
              <p:nvPr/>
            </p:nvSpPr>
            <p:spPr bwMode="auto">
              <a:xfrm rot="467850" flipV="1">
                <a:off x="11027101" y="2947810"/>
                <a:ext cx="102700" cy="10270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095" name="Oval 2094">
                <a:extLst>
                  <a:ext uri="{FF2B5EF4-FFF2-40B4-BE49-F238E27FC236}">
                    <a16:creationId xmlns:a16="http://schemas.microsoft.com/office/drawing/2014/main" id="{A34FB0F6-8866-794B-498E-703646811546}"/>
                  </a:ext>
                </a:extLst>
              </p:cNvPr>
              <p:cNvSpPr>
                <a:spLocks/>
              </p:cNvSpPr>
              <p:nvPr/>
            </p:nvSpPr>
            <p:spPr bwMode="auto">
              <a:xfrm rot="467850" flipV="1">
                <a:off x="10699215" y="1659735"/>
                <a:ext cx="102700" cy="10270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096" name="Oval 2095">
                <a:extLst>
                  <a:ext uri="{FF2B5EF4-FFF2-40B4-BE49-F238E27FC236}">
                    <a16:creationId xmlns:a16="http://schemas.microsoft.com/office/drawing/2014/main" id="{AAFEEF0F-9616-1918-27D6-96E25F1752B6}"/>
                  </a:ext>
                </a:extLst>
              </p:cNvPr>
              <p:cNvSpPr>
                <a:spLocks/>
              </p:cNvSpPr>
              <p:nvPr/>
            </p:nvSpPr>
            <p:spPr bwMode="auto">
              <a:xfrm rot="467850" flipV="1">
                <a:off x="10760379" y="2123995"/>
                <a:ext cx="102700" cy="10270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097" name="Oval 2096">
                <a:extLst>
                  <a:ext uri="{FF2B5EF4-FFF2-40B4-BE49-F238E27FC236}">
                    <a16:creationId xmlns:a16="http://schemas.microsoft.com/office/drawing/2014/main" id="{02A1B2CA-C8A6-E29E-6FFC-E31DEFD158FA}"/>
                  </a:ext>
                </a:extLst>
              </p:cNvPr>
              <p:cNvSpPr>
                <a:spLocks/>
              </p:cNvSpPr>
              <p:nvPr/>
            </p:nvSpPr>
            <p:spPr bwMode="auto">
              <a:xfrm rot="467850" flipV="1">
                <a:off x="10318090" y="1314125"/>
                <a:ext cx="102700" cy="10270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098" name="Oval 2097">
                <a:extLst>
                  <a:ext uri="{FF2B5EF4-FFF2-40B4-BE49-F238E27FC236}">
                    <a16:creationId xmlns:a16="http://schemas.microsoft.com/office/drawing/2014/main" id="{31D95976-E464-9740-0127-F5484ADD1F87}"/>
                  </a:ext>
                </a:extLst>
              </p:cNvPr>
              <p:cNvSpPr>
                <a:spLocks/>
              </p:cNvSpPr>
              <p:nvPr/>
            </p:nvSpPr>
            <p:spPr bwMode="auto">
              <a:xfrm rot="467850" flipV="1">
                <a:off x="5672503" y="2428242"/>
                <a:ext cx="102700" cy="10270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099" name="Oval 2098">
                <a:extLst>
                  <a:ext uri="{FF2B5EF4-FFF2-40B4-BE49-F238E27FC236}">
                    <a16:creationId xmlns:a16="http://schemas.microsoft.com/office/drawing/2014/main" id="{FDF9D6FF-8855-C5D9-82AA-026216F3B66C}"/>
                  </a:ext>
                </a:extLst>
              </p:cNvPr>
              <p:cNvSpPr>
                <a:spLocks/>
              </p:cNvSpPr>
              <p:nvPr/>
            </p:nvSpPr>
            <p:spPr bwMode="auto">
              <a:xfrm rot="467850" flipV="1">
                <a:off x="5585931" y="3438921"/>
                <a:ext cx="102700" cy="10270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00" name="Oval 2099">
                <a:extLst>
                  <a:ext uri="{FF2B5EF4-FFF2-40B4-BE49-F238E27FC236}">
                    <a16:creationId xmlns:a16="http://schemas.microsoft.com/office/drawing/2014/main" id="{D80DA070-89CD-4549-AE8C-5ACD62DC63FE}"/>
                  </a:ext>
                </a:extLst>
              </p:cNvPr>
              <p:cNvSpPr>
                <a:spLocks/>
              </p:cNvSpPr>
              <p:nvPr/>
            </p:nvSpPr>
            <p:spPr bwMode="auto">
              <a:xfrm rot="467850" flipV="1">
                <a:off x="5550925" y="3023149"/>
                <a:ext cx="72236" cy="7223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01" name="Oval 2100">
                <a:extLst>
                  <a:ext uri="{FF2B5EF4-FFF2-40B4-BE49-F238E27FC236}">
                    <a16:creationId xmlns:a16="http://schemas.microsoft.com/office/drawing/2014/main" id="{366F9B65-9333-183E-3ECD-0DC35CE65981}"/>
                  </a:ext>
                </a:extLst>
              </p:cNvPr>
              <p:cNvSpPr>
                <a:spLocks/>
              </p:cNvSpPr>
              <p:nvPr/>
            </p:nvSpPr>
            <p:spPr bwMode="auto">
              <a:xfrm rot="467850" flipV="1">
                <a:off x="6611258" y="1216737"/>
                <a:ext cx="72236" cy="7223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02" name="Oval 2101">
                <a:extLst>
                  <a:ext uri="{FF2B5EF4-FFF2-40B4-BE49-F238E27FC236}">
                    <a16:creationId xmlns:a16="http://schemas.microsoft.com/office/drawing/2014/main" id="{A1EF75AA-3949-1D1B-1D85-809C1DB1B60E}"/>
                  </a:ext>
                </a:extLst>
              </p:cNvPr>
              <p:cNvSpPr>
                <a:spLocks/>
              </p:cNvSpPr>
              <p:nvPr/>
            </p:nvSpPr>
            <p:spPr bwMode="auto">
              <a:xfrm rot="467850" flipV="1">
                <a:off x="7095623" y="1053899"/>
                <a:ext cx="102700" cy="10270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03" name="Oval 2102">
                <a:extLst>
                  <a:ext uri="{FF2B5EF4-FFF2-40B4-BE49-F238E27FC236}">
                    <a16:creationId xmlns:a16="http://schemas.microsoft.com/office/drawing/2014/main" id="{B6157643-30EF-D35E-00A4-DDAE52367BEC}"/>
                  </a:ext>
                </a:extLst>
              </p:cNvPr>
              <p:cNvSpPr>
                <a:spLocks/>
              </p:cNvSpPr>
              <p:nvPr/>
            </p:nvSpPr>
            <p:spPr bwMode="auto">
              <a:xfrm rot="467850" flipV="1">
                <a:off x="11283869" y="3912661"/>
                <a:ext cx="72236" cy="7223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04" name="Oval 2103">
                <a:extLst>
                  <a:ext uri="{FF2B5EF4-FFF2-40B4-BE49-F238E27FC236}">
                    <a16:creationId xmlns:a16="http://schemas.microsoft.com/office/drawing/2014/main" id="{80E63909-D8A9-3F85-FAE4-B65D90E7ACD7}"/>
                  </a:ext>
                </a:extLst>
              </p:cNvPr>
              <p:cNvSpPr>
                <a:spLocks/>
              </p:cNvSpPr>
              <p:nvPr/>
            </p:nvSpPr>
            <p:spPr bwMode="auto">
              <a:xfrm rot="467850" flipV="1">
                <a:off x="11221038" y="3317292"/>
                <a:ext cx="72236" cy="7223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05" name="Oval 2104">
                <a:extLst>
                  <a:ext uri="{FF2B5EF4-FFF2-40B4-BE49-F238E27FC236}">
                    <a16:creationId xmlns:a16="http://schemas.microsoft.com/office/drawing/2014/main" id="{24423A72-197C-8DB7-6DB9-69ABF2AE94FE}"/>
                  </a:ext>
                </a:extLst>
              </p:cNvPr>
              <p:cNvSpPr>
                <a:spLocks/>
              </p:cNvSpPr>
              <p:nvPr/>
            </p:nvSpPr>
            <p:spPr bwMode="auto">
              <a:xfrm rot="467850" flipV="1">
                <a:off x="11018417" y="2492991"/>
                <a:ext cx="72236" cy="7223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06" name="Oval 2105">
                <a:extLst>
                  <a:ext uri="{FF2B5EF4-FFF2-40B4-BE49-F238E27FC236}">
                    <a16:creationId xmlns:a16="http://schemas.microsoft.com/office/drawing/2014/main" id="{343025A2-6B50-7E27-81EF-D6A96FF00435}"/>
                  </a:ext>
                </a:extLst>
              </p:cNvPr>
              <p:cNvSpPr>
                <a:spLocks/>
              </p:cNvSpPr>
              <p:nvPr/>
            </p:nvSpPr>
            <p:spPr bwMode="auto">
              <a:xfrm rot="467850" flipV="1">
                <a:off x="9903579" y="1023309"/>
                <a:ext cx="72236" cy="7223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07" name="Oval 2106">
                <a:extLst>
                  <a:ext uri="{FF2B5EF4-FFF2-40B4-BE49-F238E27FC236}">
                    <a16:creationId xmlns:a16="http://schemas.microsoft.com/office/drawing/2014/main" id="{DBA12349-32D4-5D91-5D95-C8F810C99235}"/>
                  </a:ext>
                </a:extLst>
              </p:cNvPr>
              <p:cNvSpPr>
                <a:spLocks/>
              </p:cNvSpPr>
              <p:nvPr/>
            </p:nvSpPr>
            <p:spPr bwMode="auto">
              <a:xfrm rot="467850" flipV="1">
                <a:off x="6161364" y="1717879"/>
                <a:ext cx="72236" cy="7223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08" name="Oval 2107">
                <a:extLst>
                  <a:ext uri="{FF2B5EF4-FFF2-40B4-BE49-F238E27FC236}">
                    <a16:creationId xmlns:a16="http://schemas.microsoft.com/office/drawing/2014/main" id="{61376990-FCB4-4D51-6C30-B1C8A1C5184C}"/>
                  </a:ext>
                </a:extLst>
              </p:cNvPr>
              <p:cNvSpPr>
                <a:spLocks/>
              </p:cNvSpPr>
              <p:nvPr/>
            </p:nvSpPr>
            <p:spPr bwMode="auto">
              <a:xfrm rot="467850" flipV="1">
                <a:off x="5751185" y="2702396"/>
                <a:ext cx="72236" cy="7223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09" name="Oval 2108">
                <a:extLst>
                  <a:ext uri="{FF2B5EF4-FFF2-40B4-BE49-F238E27FC236}">
                    <a16:creationId xmlns:a16="http://schemas.microsoft.com/office/drawing/2014/main" id="{6EF60708-B872-23FE-DBE9-F88763EEA1BC}"/>
                  </a:ext>
                </a:extLst>
              </p:cNvPr>
              <p:cNvSpPr>
                <a:spLocks/>
              </p:cNvSpPr>
              <p:nvPr/>
            </p:nvSpPr>
            <p:spPr bwMode="auto">
              <a:xfrm rot="467850" flipV="1">
                <a:off x="5549877" y="3906237"/>
                <a:ext cx="72236" cy="7223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10" name="Oval 2109">
                <a:extLst>
                  <a:ext uri="{FF2B5EF4-FFF2-40B4-BE49-F238E27FC236}">
                    <a16:creationId xmlns:a16="http://schemas.microsoft.com/office/drawing/2014/main" id="{794E42B0-523E-C0E5-576D-D876CEF8A169}"/>
                  </a:ext>
                </a:extLst>
              </p:cNvPr>
              <p:cNvSpPr>
                <a:spLocks/>
              </p:cNvSpPr>
              <p:nvPr/>
            </p:nvSpPr>
            <p:spPr bwMode="auto">
              <a:xfrm rot="467850" flipV="1">
                <a:off x="5617097" y="4421179"/>
                <a:ext cx="102700" cy="10270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11" name="Oval 2110">
                <a:extLst>
                  <a:ext uri="{FF2B5EF4-FFF2-40B4-BE49-F238E27FC236}">
                    <a16:creationId xmlns:a16="http://schemas.microsoft.com/office/drawing/2014/main" id="{D92C89AB-1583-B72B-E361-A29A5DF8FBF1}"/>
                  </a:ext>
                </a:extLst>
              </p:cNvPr>
              <p:cNvSpPr>
                <a:spLocks/>
              </p:cNvSpPr>
              <p:nvPr/>
            </p:nvSpPr>
            <p:spPr bwMode="auto">
              <a:xfrm rot="467850" flipV="1">
                <a:off x="6114325" y="4922814"/>
                <a:ext cx="102700" cy="10270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12" name="Oval 2111">
                <a:extLst>
                  <a:ext uri="{FF2B5EF4-FFF2-40B4-BE49-F238E27FC236}">
                    <a16:creationId xmlns:a16="http://schemas.microsoft.com/office/drawing/2014/main" id="{94325163-0AE3-E86A-E6F1-459830A7A2EC}"/>
                  </a:ext>
                </a:extLst>
              </p:cNvPr>
              <p:cNvSpPr>
                <a:spLocks/>
              </p:cNvSpPr>
              <p:nvPr/>
            </p:nvSpPr>
            <p:spPr bwMode="auto">
              <a:xfrm rot="467850" flipV="1">
                <a:off x="6674064" y="5775719"/>
                <a:ext cx="102700" cy="10270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13" name="Oval 2112">
                <a:extLst>
                  <a:ext uri="{FF2B5EF4-FFF2-40B4-BE49-F238E27FC236}">
                    <a16:creationId xmlns:a16="http://schemas.microsoft.com/office/drawing/2014/main" id="{83672D5C-9683-3346-D980-9DE2BF841F38}"/>
                  </a:ext>
                </a:extLst>
              </p:cNvPr>
              <p:cNvSpPr>
                <a:spLocks/>
              </p:cNvSpPr>
              <p:nvPr/>
            </p:nvSpPr>
            <p:spPr bwMode="auto">
              <a:xfrm rot="467850" flipV="1">
                <a:off x="5845343" y="4767916"/>
                <a:ext cx="72236" cy="7223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14" name="Oval 2113">
                <a:extLst>
                  <a:ext uri="{FF2B5EF4-FFF2-40B4-BE49-F238E27FC236}">
                    <a16:creationId xmlns:a16="http://schemas.microsoft.com/office/drawing/2014/main" id="{06A9B036-F8DB-7893-B493-4144EDC16E97}"/>
                  </a:ext>
                </a:extLst>
              </p:cNvPr>
              <p:cNvSpPr>
                <a:spLocks/>
              </p:cNvSpPr>
              <p:nvPr/>
            </p:nvSpPr>
            <p:spPr bwMode="auto">
              <a:xfrm rot="467850" flipV="1">
                <a:off x="6320160" y="5279631"/>
                <a:ext cx="72236" cy="7223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15" name="Oval 2114">
                <a:extLst>
                  <a:ext uri="{FF2B5EF4-FFF2-40B4-BE49-F238E27FC236}">
                    <a16:creationId xmlns:a16="http://schemas.microsoft.com/office/drawing/2014/main" id="{5F8D9BEF-3D4E-EF00-AABB-60FC7B4238F4}"/>
                  </a:ext>
                </a:extLst>
              </p:cNvPr>
              <p:cNvSpPr>
                <a:spLocks/>
              </p:cNvSpPr>
              <p:nvPr/>
            </p:nvSpPr>
            <p:spPr bwMode="auto">
              <a:xfrm rot="467850" flipV="1">
                <a:off x="5267489" y="3683206"/>
                <a:ext cx="72236" cy="7223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16" name="Oval 2115">
                <a:extLst>
                  <a:ext uri="{FF2B5EF4-FFF2-40B4-BE49-F238E27FC236}">
                    <a16:creationId xmlns:a16="http://schemas.microsoft.com/office/drawing/2014/main" id="{9C80B270-2BB5-FE75-EAF3-C0EF3081AAF0}"/>
                  </a:ext>
                </a:extLst>
              </p:cNvPr>
              <p:cNvSpPr>
                <a:spLocks/>
              </p:cNvSpPr>
              <p:nvPr/>
            </p:nvSpPr>
            <p:spPr bwMode="auto">
              <a:xfrm rot="467850" flipV="1">
                <a:off x="7588721" y="1100385"/>
                <a:ext cx="72236" cy="7223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17" name="Oval 2116">
                <a:extLst>
                  <a:ext uri="{FF2B5EF4-FFF2-40B4-BE49-F238E27FC236}">
                    <a16:creationId xmlns:a16="http://schemas.microsoft.com/office/drawing/2014/main" id="{A9B0DA40-156F-1D22-B34C-0C929526E90A}"/>
                  </a:ext>
                </a:extLst>
              </p:cNvPr>
              <p:cNvSpPr>
                <a:spLocks/>
              </p:cNvSpPr>
              <p:nvPr/>
            </p:nvSpPr>
            <p:spPr bwMode="auto">
              <a:xfrm rot="467850" flipV="1">
                <a:off x="5873696" y="5154062"/>
                <a:ext cx="72236" cy="7223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18" name="Oval 2117">
                <a:extLst>
                  <a:ext uri="{FF2B5EF4-FFF2-40B4-BE49-F238E27FC236}">
                    <a16:creationId xmlns:a16="http://schemas.microsoft.com/office/drawing/2014/main" id="{A9EC7CE3-65F5-AFB9-07BB-7828B5A870F5}"/>
                  </a:ext>
                </a:extLst>
              </p:cNvPr>
              <p:cNvSpPr>
                <a:spLocks/>
              </p:cNvSpPr>
              <p:nvPr/>
            </p:nvSpPr>
            <p:spPr bwMode="auto">
              <a:xfrm rot="467850" flipV="1">
                <a:off x="6965056" y="5704565"/>
                <a:ext cx="72236" cy="7223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19" name="Oval 2118">
                <a:extLst>
                  <a:ext uri="{FF2B5EF4-FFF2-40B4-BE49-F238E27FC236}">
                    <a16:creationId xmlns:a16="http://schemas.microsoft.com/office/drawing/2014/main" id="{CB94ED28-7D28-C61B-9B76-CA67C2E65944}"/>
                  </a:ext>
                </a:extLst>
              </p:cNvPr>
              <p:cNvSpPr>
                <a:spLocks/>
              </p:cNvSpPr>
              <p:nvPr/>
            </p:nvSpPr>
            <p:spPr bwMode="auto">
              <a:xfrm rot="467850" flipV="1">
                <a:off x="8028706" y="938215"/>
                <a:ext cx="102700" cy="10270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20" name="Oval 2119">
                <a:extLst>
                  <a:ext uri="{FF2B5EF4-FFF2-40B4-BE49-F238E27FC236}">
                    <a16:creationId xmlns:a16="http://schemas.microsoft.com/office/drawing/2014/main" id="{70705F93-BD14-6C74-92EC-CE14C62D3FDA}"/>
                  </a:ext>
                </a:extLst>
              </p:cNvPr>
              <p:cNvSpPr>
                <a:spLocks/>
              </p:cNvSpPr>
              <p:nvPr/>
            </p:nvSpPr>
            <p:spPr bwMode="auto">
              <a:xfrm rot="467850" flipV="1">
                <a:off x="5429074" y="2731198"/>
                <a:ext cx="72236" cy="7223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21" name="Oval 2120">
                <a:extLst>
                  <a:ext uri="{FF2B5EF4-FFF2-40B4-BE49-F238E27FC236}">
                    <a16:creationId xmlns:a16="http://schemas.microsoft.com/office/drawing/2014/main" id="{F85FADD8-A197-5AF8-E8C7-EA47F59A343C}"/>
                  </a:ext>
                </a:extLst>
              </p:cNvPr>
              <p:cNvSpPr>
                <a:spLocks/>
              </p:cNvSpPr>
              <p:nvPr/>
            </p:nvSpPr>
            <p:spPr bwMode="auto">
              <a:xfrm rot="467850" flipV="1">
                <a:off x="6682197" y="902367"/>
                <a:ext cx="72236" cy="7223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22" name="Oval 2121">
                <a:extLst>
                  <a:ext uri="{FF2B5EF4-FFF2-40B4-BE49-F238E27FC236}">
                    <a16:creationId xmlns:a16="http://schemas.microsoft.com/office/drawing/2014/main" id="{515987B6-61CA-BA8F-257F-926DC84F537E}"/>
                  </a:ext>
                </a:extLst>
              </p:cNvPr>
              <p:cNvSpPr>
                <a:spLocks/>
              </p:cNvSpPr>
              <p:nvPr/>
            </p:nvSpPr>
            <p:spPr bwMode="auto">
              <a:xfrm rot="467850" flipV="1">
                <a:off x="8585041" y="904456"/>
                <a:ext cx="72236" cy="7223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23" name="Oval 2122">
                <a:extLst>
                  <a:ext uri="{FF2B5EF4-FFF2-40B4-BE49-F238E27FC236}">
                    <a16:creationId xmlns:a16="http://schemas.microsoft.com/office/drawing/2014/main" id="{857138EF-06C5-0E5F-989E-A8B791D155FF}"/>
                  </a:ext>
                </a:extLst>
              </p:cNvPr>
              <p:cNvSpPr>
                <a:spLocks/>
              </p:cNvSpPr>
              <p:nvPr/>
            </p:nvSpPr>
            <p:spPr bwMode="auto">
              <a:xfrm rot="467850" flipV="1">
                <a:off x="10430686" y="5181776"/>
                <a:ext cx="72236" cy="7223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24" name="Oval 2123">
                <a:extLst>
                  <a:ext uri="{FF2B5EF4-FFF2-40B4-BE49-F238E27FC236}">
                    <a16:creationId xmlns:a16="http://schemas.microsoft.com/office/drawing/2014/main" id="{20133F4A-04C4-BBE6-DE56-3A6FF1A74CF5}"/>
                  </a:ext>
                </a:extLst>
              </p:cNvPr>
              <p:cNvSpPr>
                <a:spLocks/>
              </p:cNvSpPr>
              <p:nvPr/>
            </p:nvSpPr>
            <p:spPr bwMode="auto">
              <a:xfrm rot="467850" flipV="1">
                <a:off x="9623414" y="5733108"/>
                <a:ext cx="72236" cy="7223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25" name="Oval 2124">
                <a:extLst>
                  <a:ext uri="{FF2B5EF4-FFF2-40B4-BE49-F238E27FC236}">
                    <a16:creationId xmlns:a16="http://schemas.microsoft.com/office/drawing/2014/main" id="{7746D408-0786-6C50-E829-0870F0E5D9EA}"/>
                  </a:ext>
                </a:extLst>
              </p:cNvPr>
              <p:cNvSpPr>
                <a:spLocks/>
              </p:cNvSpPr>
              <p:nvPr/>
            </p:nvSpPr>
            <p:spPr bwMode="auto">
              <a:xfrm rot="467850" flipV="1">
                <a:off x="8933162" y="5775719"/>
                <a:ext cx="102700" cy="10270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26" name="Oval 2125">
                <a:extLst>
                  <a:ext uri="{FF2B5EF4-FFF2-40B4-BE49-F238E27FC236}">
                    <a16:creationId xmlns:a16="http://schemas.microsoft.com/office/drawing/2014/main" id="{2D4AB7BB-6E72-FC56-B206-8F4CE13318C8}"/>
                  </a:ext>
                </a:extLst>
              </p:cNvPr>
              <p:cNvSpPr>
                <a:spLocks/>
              </p:cNvSpPr>
              <p:nvPr/>
            </p:nvSpPr>
            <p:spPr bwMode="auto">
              <a:xfrm rot="467850" flipV="1">
                <a:off x="7464714" y="5958019"/>
                <a:ext cx="102700" cy="10270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27" name="Oval 2126">
                <a:extLst>
                  <a:ext uri="{FF2B5EF4-FFF2-40B4-BE49-F238E27FC236}">
                    <a16:creationId xmlns:a16="http://schemas.microsoft.com/office/drawing/2014/main" id="{DAF14B39-6576-6C1F-0193-4BE867FBA33C}"/>
                  </a:ext>
                </a:extLst>
              </p:cNvPr>
              <p:cNvSpPr>
                <a:spLocks/>
              </p:cNvSpPr>
              <p:nvPr/>
            </p:nvSpPr>
            <p:spPr bwMode="auto">
              <a:xfrm rot="467850" flipV="1">
                <a:off x="8084623" y="5830936"/>
                <a:ext cx="72236" cy="7223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28" name="Oval 2127">
                <a:extLst>
                  <a:ext uri="{FF2B5EF4-FFF2-40B4-BE49-F238E27FC236}">
                    <a16:creationId xmlns:a16="http://schemas.microsoft.com/office/drawing/2014/main" id="{B92954A2-C1B7-821A-C4B2-F4672879317D}"/>
                  </a:ext>
                </a:extLst>
              </p:cNvPr>
              <p:cNvSpPr>
                <a:spLocks/>
              </p:cNvSpPr>
              <p:nvPr/>
            </p:nvSpPr>
            <p:spPr bwMode="auto">
              <a:xfrm rot="467850" flipV="1">
                <a:off x="8467386" y="6078287"/>
                <a:ext cx="72236" cy="7223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29" name="Oval 2128">
                <a:extLst>
                  <a:ext uri="{FF2B5EF4-FFF2-40B4-BE49-F238E27FC236}">
                    <a16:creationId xmlns:a16="http://schemas.microsoft.com/office/drawing/2014/main" id="{E32C1493-516F-505A-4121-407149ABF0C6}"/>
                  </a:ext>
                </a:extLst>
              </p:cNvPr>
              <p:cNvSpPr>
                <a:spLocks/>
              </p:cNvSpPr>
              <p:nvPr/>
            </p:nvSpPr>
            <p:spPr bwMode="auto">
              <a:xfrm rot="467850" flipV="1">
                <a:off x="5717916" y="1820678"/>
                <a:ext cx="102700" cy="10270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30" name="Oval 2129">
                <a:extLst>
                  <a:ext uri="{FF2B5EF4-FFF2-40B4-BE49-F238E27FC236}">
                    <a16:creationId xmlns:a16="http://schemas.microsoft.com/office/drawing/2014/main" id="{A2093DB8-07E5-E34E-E410-C2F0BA140A6D}"/>
                  </a:ext>
                </a:extLst>
              </p:cNvPr>
              <p:cNvSpPr>
                <a:spLocks/>
              </p:cNvSpPr>
              <p:nvPr/>
            </p:nvSpPr>
            <p:spPr bwMode="auto">
              <a:xfrm rot="467850" flipV="1">
                <a:off x="11033442" y="2144541"/>
                <a:ext cx="102700" cy="10270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31" name="Oval 2130">
                <a:extLst>
                  <a:ext uri="{FF2B5EF4-FFF2-40B4-BE49-F238E27FC236}">
                    <a16:creationId xmlns:a16="http://schemas.microsoft.com/office/drawing/2014/main" id="{6AD44FEC-D43E-A608-E2EA-2F351D23A305}"/>
                  </a:ext>
                </a:extLst>
              </p:cNvPr>
              <p:cNvSpPr>
                <a:spLocks/>
              </p:cNvSpPr>
              <p:nvPr/>
            </p:nvSpPr>
            <p:spPr bwMode="auto">
              <a:xfrm rot="467850" flipV="1">
                <a:off x="11427739" y="2862043"/>
                <a:ext cx="72236" cy="7223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32" name="Oval 2131">
                <a:extLst>
                  <a:ext uri="{FF2B5EF4-FFF2-40B4-BE49-F238E27FC236}">
                    <a16:creationId xmlns:a16="http://schemas.microsoft.com/office/drawing/2014/main" id="{35D5F260-FA61-7E5A-BF7D-B714307CD66C}"/>
                  </a:ext>
                </a:extLst>
              </p:cNvPr>
              <p:cNvSpPr>
                <a:spLocks/>
              </p:cNvSpPr>
              <p:nvPr/>
            </p:nvSpPr>
            <p:spPr bwMode="auto">
              <a:xfrm rot="467850" flipV="1">
                <a:off x="9176894" y="6078287"/>
                <a:ext cx="72236" cy="7223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33" name="Oval 2132">
                <a:extLst>
                  <a:ext uri="{FF2B5EF4-FFF2-40B4-BE49-F238E27FC236}">
                    <a16:creationId xmlns:a16="http://schemas.microsoft.com/office/drawing/2014/main" id="{594A5DA3-141A-164C-8E6C-3B04ADF6FDF0}"/>
                  </a:ext>
                </a:extLst>
              </p:cNvPr>
              <p:cNvSpPr>
                <a:spLocks/>
              </p:cNvSpPr>
              <p:nvPr/>
            </p:nvSpPr>
            <p:spPr bwMode="auto">
              <a:xfrm rot="467850" flipV="1">
                <a:off x="9947691" y="5660034"/>
                <a:ext cx="102700" cy="10270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34" name="Oval 2133">
                <a:extLst>
                  <a:ext uri="{FF2B5EF4-FFF2-40B4-BE49-F238E27FC236}">
                    <a16:creationId xmlns:a16="http://schemas.microsoft.com/office/drawing/2014/main" id="{9BDBE9B7-E10A-9D95-FE65-E74DF34F1F21}"/>
                  </a:ext>
                </a:extLst>
              </p:cNvPr>
              <p:cNvSpPr>
                <a:spLocks/>
              </p:cNvSpPr>
              <p:nvPr/>
            </p:nvSpPr>
            <p:spPr bwMode="auto">
              <a:xfrm rot="4295831" flipV="1">
                <a:off x="9268579" y="1011289"/>
                <a:ext cx="72236" cy="7223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grpSp>
      </p:grpSp>
      <p:grpSp>
        <p:nvGrpSpPr>
          <p:cNvPr id="2182" name="Group 2181">
            <a:extLst>
              <a:ext uri="{FF2B5EF4-FFF2-40B4-BE49-F238E27FC236}">
                <a16:creationId xmlns:a16="http://schemas.microsoft.com/office/drawing/2014/main" id="{E1003632-025B-9073-D77C-A0987081D325}"/>
              </a:ext>
              <a:ext uri="{C183D7F6-B498-43B3-948B-1728B52AA6E4}">
                <adec:decorative xmlns:adec="http://schemas.microsoft.com/office/drawing/2017/decorative" val="1"/>
              </a:ext>
            </a:extLst>
          </p:cNvPr>
          <p:cNvGrpSpPr/>
          <p:nvPr/>
        </p:nvGrpSpPr>
        <p:grpSpPr>
          <a:xfrm>
            <a:off x="4497174" y="1825641"/>
            <a:ext cx="3197652" cy="3206720"/>
            <a:chOff x="-362276" y="-300783"/>
            <a:chExt cx="7643974" cy="7665651"/>
          </a:xfrm>
          <a:noFill/>
        </p:grpSpPr>
        <p:grpSp>
          <p:nvGrpSpPr>
            <p:cNvPr id="2183" name="Lines">
              <a:extLst>
                <a:ext uri="{FF2B5EF4-FFF2-40B4-BE49-F238E27FC236}">
                  <a16:creationId xmlns:a16="http://schemas.microsoft.com/office/drawing/2014/main" id="{83622735-19AB-8304-9E3B-42ECDD1BCE29}"/>
                </a:ext>
              </a:extLst>
            </p:cNvPr>
            <p:cNvGrpSpPr/>
            <p:nvPr/>
          </p:nvGrpSpPr>
          <p:grpSpPr>
            <a:xfrm rot="3966908">
              <a:off x="-373261" y="-273583"/>
              <a:ext cx="7653457" cy="7614171"/>
              <a:chOff x="3482559" y="826090"/>
              <a:chExt cx="5471355" cy="5443271"/>
            </a:xfrm>
            <a:grpFill/>
            <a:scene3d>
              <a:camera prst="isometricOffAxis1Right">
                <a:rot lat="0" lon="0" rev="0"/>
              </a:camera>
              <a:lightRig rig="flood" dir="t"/>
            </a:scene3d>
          </p:grpSpPr>
          <p:sp>
            <p:nvSpPr>
              <p:cNvPr id="2297" name="Freeform: Shape 2296">
                <a:extLst>
                  <a:ext uri="{FF2B5EF4-FFF2-40B4-BE49-F238E27FC236}">
                    <a16:creationId xmlns:a16="http://schemas.microsoft.com/office/drawing/2014/main" id="{EEFD235E-6DC6-8C24-F25D-04F284609DAA}"/>
                  </a:ext>
                </a:extLst>
              </p:cNvPr>
              <p:cNvSpPr/>
              <p:nvPr/>
            </p:nvSpPr>
            <p:spPr>
              <a:xfrm>
                <a:off x="3532138" y="855916"/>
                <a:ext cx="5421776" cy="5413445"/>
              </a:xfrm>
              <a:custGeom>
                <a:avLst/>
                <a:gdLst>
                  <a:gd name="connsiteX0" fmla="*/ 4292084 w 6943344"/>
                  <a:gd name="connsiteY0" fmla="*/ 6824858 h 6932675"/>
                  <a:gd name="connsiteX1" fmla="*/ 1057106 w 6943344"/>
                  <a:gd name="connsiteY1" fmla="*/ 6007981 h 6932675"/>
                  <a:gd name="connsiteX2" fmla="*/ 1055340 w 6943344"/>
                  <a:gd name="connsiteY2" fmla="*/ 6006379 h 6932675"/>
                  <a:gd name="connsiteX3" fmla="*/ 1168041 w 6943344"/>
                  <a:gd name="connsiteY3" fmla="*/ 5678790 h 6932675"/>
                  <a:gd name="connsiteX4" fmla="*/ 605357 w 6943344"/>
                  <a:gd name="connsiteY4" fmla="*/ 5506864 h 6932675"/>
                  <a:gd name="connsiteX5" fmla="*/ 605604 w 6943344"/>
                  <a:gd name="connsiteY5" fmla="*/ 5503989 h 6932675"/>
                  <a:gd name="connsiteX6" fmla="*/ 664870 w 6943344"/>
                  <a:gd name="connsiteY6" fmla="*/ 4730361 h 6932675"/>
                  <a:gd name="connsiteX7" fmla="*/ 0 w 6943344"/>
                  <a:gd name="connsiteY7" fmla="*/ 4096623 h 6932675"/>
                  <a:gd name="connsiteX8" fmla="*/ 187082 w 6943344"/>
                  <a:gd name="connsiteY8" fmla="*/ 3500466 h 6932675"/>
                  <a:gd name="connsiteX9" fmla="*/ 193366 w 6943344"/>
                  <a:gd name="connsiteY9" fmla="*/ 2148917 h 6932675"/>
                  <a:gd name="connsiteX10" fmla="*/ 195173 w 6943344"/>
                  <a:gd name="connsiteY10" fmla="*/ 2147890 h 6932675"/>
                  <a:gd name="connsiteX11" fmla="*/ 528060 w 6943344"/>
                  <a:gd name="connsiteY11" fmla="*/ 1957933 h 6932675"/>
                  <a:gd name="connsiteX12" fmla="*/ 666636 w 6943344"/>
                  <a:gd name="connsiteY12" fmla="*/ 1335162 h 6932675"/>
                  <a:gd name="connsiteX13" fmla="*/ 667745 w 6943344"/>
                  <a:gd name="connsiteY13" fmla="*/ 1334340 h 6932675"/>
                  <a:gd name="connsiteX14" fmla="*/ 1698770 w 6943344"/>
                  <a:gd name="connsiteY14" fmla="*/ 587368 h 6932675"/>
                  <a:gd name="connsiteX15" fmla="*/ 1699592 w 6943344"/>
                  <a:gd name="connsiteY15" fmla="*/ 587244 h 6932675"/>
                  <a:gd name="connsiteX16" fmla="*/ 2370746 w 6943344"/>
                  <a:gd name="connsiteY16" fmla="*/ 478815 h 6932675"/>
                  <a:gd name="connsiteX17" fmla="*/ 3867443 w 6943344"/>
                  <a:gd name="connsiteY17" fmla="*/ 0 h 6932675"/>
                  <a:gd name="connsiteX18" fmla="*/ 3869660 w 6943344"/>
                  <a:gd name="connsiteY18" fmla="*/ 6900 h 6932675"/>
                  <a:gd name="connsiteX19" fmla="*/ 2372471 w 6943344"/>
                  <a:gd name="connsiteY19" fmla="*/ 485879 h 6932675"/>
                  <a:gd name="connsiteX20" fmla="*/ 1701604 w 6943344"/>
                  <a:gd name="connsiteY20" fmla="*/ 594268 h 6932675"/>
                  <a:gd name="connsiteX21" fmla="*/ 673084 w 6943344"/>
                  <a:gd name="connsiteY21" fmla="*/ 1339433 h 6932675"/>
                  <a:gd name="connsiteX22" fmla="*/ 534426 w 6943344"/>
                  <a:gd name="connsiteY22" fmla="*/ 1962615 h 6932675"/>
                  <a:gd name="connsiteX23" fmla="*/ 533030 w 6943344"/>
                  <a:gd name="connsiteY23" fmla="*/ 1963437 h 6932675"/>
                  <a:gd name="connsiteX24" fmla="*/ 200554 w 6943344"/>
                  <a:gd name="connsiteY24" fmla="*/ 2153148 h 6932675"/>
                  <a:gd name="connsiteX25" fmla="*/ 194311 w 6943344"/>
                  <a:gd name="connsiteY25" fmla="*/ 3501575 h 6932675"/>
                  <a:gd name="connsiteX26" fmla="*/ 194146 w 6943344"/>
                  <a:gd name="connsiteY26" fmla="*/ 3502109 h 6932675"/>
                  <a:gd name="connsiteX27" fmla="*/ 8255 w 6943344"/>
                  <a:gd name="connsiteY27" fmla="*/ 4094488 h 6932675"/>
                  <a:gd name="connsiteX28" fmla="*/ 672386 w 6943344"/>
                  <a:gd name="connsiteY28" fmla="*/ 4727486 h 6932675"/>
                  <a:gd name="connsiteX29" fmla="*/ 672263 w 6943344"/>
                  <a:gd name="connsiteY29" fmla="*/ 4729211 h 6932675"/>
                  <a:gd name="connsiteX30" fmla="*/ 613120 w 6943344"/>
                  <a:gd name="connsiteY30" fmla="*/ 5501689 h 6932675"/>
                  <a:gd name="connsiteX31" fmla="*/ 1177405 w 6943344"/>
                  <a:gd name="connsiteY31" fmla="*/ 5674109 h 6932675"/>
                  <a:gd name="connsiteX32" fmla="*/ 1176173 w 6943344"/>
                  <a:gd name="connsiteY32" fmla="*/ 5677641 h 6932675"/>
                  <a:gd name="connsiteX33" fmla="*/ 1063800 w 6943344"/>
                  <a:gd name="connsiteY33" fmla="*/ 6004284 h 6932675"/>
                  <a:gd name="connsiteX34" fmla="*/ 4290359 w 6943344"/>
                  <a:gd name="connsiteY34" fmla="*/ 6817835 h 6932675"/>
                  <a:gd name="connsiteX35" fmla="*/ 4840885 w 6943344"/>
                  <a:gd name="connsiteY35" fmla="*/ 6629931 h 6932675"/>
                  <a:gd name="connsiteX36" fmla="*/ 6011144 w 6943344"/>
                  <a:gd name="connsiteY36" fmla="*/ 5796667 h 6932675"/>
                  <a:gd name="connsiteX37" fmla="*/ 6046753 w 6943344"/>
                  <a:gd name="connsiteY37" fmla="*/ 5584572 h 6932675"/>
                  <a:gd name="connsiteX38" fmla="*/ 6048396 w 6943344"/>
                  <a:gd name="connsiteY38" fmla="*/ 5583751 h 6932675"/>
                  <a:gd name="connsiteX39" fmla="*/ 6278521 w 6943344"/>
                  <a:gd name="connsiteY39" fmla="*/ 5469078 h 6932675"/>
                  <a:gd name="connsiteX40" fmla="*/ 6870160 w 6943344"/>
                  <a:gd name="connsiteY40" fmla="*/ 4110546 h 6932675"/>
                  <a:gd name="connsiteX41" fmla="*/ 6564340 w 6943344"/>
                  <a:gd name="connsiteY41" fmla="*/ 4977408 h 6932675"/>
                  <a:gd name="connsiteX42" fmla="*/ 6581590 w 6943344"/>
                  <a:gd name="connsiteY42" fmla="*/ 4387083 h 6932675"/>
                  <a:gd name="connsiteX43" fmla="*/ 5677394 w 6943344"/>
                  <a:gd name="connsiteY43" fmla="*/ 4914034 h 6932675"/>
                  <a:gd name="connsiteX44" fmla="*/ 5673739 w 6943344"/>
                  <a:gd name="connsiteY44" fmla="*/ 4907791 h 6932675"/>
                  <a:gd name="connsiteX45" fmla="*/ 6581959 w 6943344"/>
                  <a:gd name="connsiteY45" fmla="*/ 4378499 h 6932675"/>
                  <a:gd name="connsiteX46" fmla="*/ 6650713 w 6943344"/>
                  <a:gd name="connsiteY46" fmla="*/ 3601133 h 6932675"/>
                  <a:gd name="connsiteX47" fmla="*/ 6400258 w 6943344"/>
                  <a:gd name="connsiteY47" fmla="*/ 3049128 h 6932675"/>
                  <a:gd name="connsiteX48" fmla="*/ 6401079 w 6943344"/>
                  <a:gd name="connsiteY48" fmla="*/ 3047568 h 6932675"/>
                  <a:gd name="connsiteX49" fmla="*/ 6760087 w 6943344"/>
                  <a:gd name="connsiteY49" fmla="*/ 2355960 h 6932675"/>
                  <a:gd name="connsiteX50" fmla="*/ 6285955 w 6943344"/>
                  <a:gd name="connsiteY50" fmla="*/ 1929019 h 6932675"/>
                  <a:gd name="connsiteX51" fmla="*/ 6285955 w 6943344"/>
                  <a:gd name="connsiteY51" fmla="*/ 1927335 h 6932675"/>
                  <a:gd name="connsiteX52" fmla="*/ 6301192 w 6943344"/>
                  <a:gd name="connsiteY52" fmla="*/ 1444331 h 6932675"/>
                  <a:gd name="connsiteX53" fmla="*/ 5810960 w 6943344"/>
                  <a:gd name="connsiteY53" fmla="*/ 1218312 h 6932675"/>
                  <a:gd name="connsiteX54" fmla="*/ 5792477 w 6943344"/>
                  <a:gd name="connsiteY54" fmla="*/ 857866 h 6932675"/>
                  <a:gd name="connsiteX55" fmla="*/ 5798967 w 6943344"/>
                  <a:gd name="connsiteY55" fmla="*/ 863740 h 6932675"/>
                  <a:gd name="connsiteX56" fmla="*/ 6837795 w 6943344"/>
                  <a:gd name="connsiteY56" fmla="*/ 2590192 h 6932675"/>
                  <a:gd name="connsiteX57" fmla="*/ 6283860 w 6943344"/>
                  <a:gd name="connsiteY57" fmla="*/ 5474130 h 6932675"/>
                  <a:gd name="connsiteX58" fmla="*/ 6282546 w 6943344"/>
                  <a:gd name="connsiteY58" fmla="*/ 5475239 h 6932675"/>
                  <a:gd name="connsiteX59" fmla="*/ 6053283 w 6943344"/>
                  <a:gd name="connsiteY59" fmla="*/ 5589459 h 6932675"/>
                  <a:gd name="connsiteX60" fmla="*/ 6017920 w 6943344"/>
                  <a:gd name="connsiteY60" fmla="*/ 5800075 h 6932675"/>
                  <a:gd name="connsiteX61" fmla="*/ 6017181 w 6943344"/>
                  <a:gd name="connsiteY61" fmla="*/ 5800856 h 6932675"/>
                  <a:gd name="connsiteX62" fmla="*/ 4843760 w 6943344"/>
                  <a:gd name="connsiteY62" fmla="*/ 6636626 h 6932675"/>
                  <a:gd name="connsiteX63" fmla="*/ 4292125 w 6943344"/>
                  <a:gd name="connsiteY63" fmla="*/ 6824899 h 6932675"/>
                  <a:gd name="connsiteX64" fmla="*/ 6588942 w 6943344"/>
                  <a:gd name="connsiteY64" fmla="*/ 4382195 h 6932675"/>
                  <a:gd name="connsiteX65" fmla="*/ 6572882 w 6943344"/>
                  <a:gd name="connsiteY65" fmla="*/ 4931284 h 6932675"/>
                  <a:gd name="connsiteX66" fmla="*/ 6866012 w 6943344"/>
                  <a:gd name="connsiteY66" fmla="*/ 4100443 h 6932675"/>
                  <a:gd name="connsiteX67" fmla="*/ 6588942 w 6943344"/>
                  <a:gd name="connsiteY67" fmla="*/ 4382154 h 6932675"/>
                  <a:gd name="connsiteX68" fmla="*/ 6656792 w 6943344"/>
                  <a:gd name="connsiteY68" fmla="*/ 3614523 h 6932675"/>
                  <a:gd name="connsiteX69" fmla="*/ 6589886 w 6943344"/>
                  <a:gd name="connsiteY69" fmla="*/ 4370942 h 6932675"/>
                  <a:gd name="connsiteX70" fmla="*/ 6870530 w 6943344"/>
                  <a:gd name="connsiteY70" fmla="*/ 4085575 h 6932675"/>
                  <a:gd name="connsiteX71" fmla="*/ 6656792 w 6943344"/>
                  <a:gd name="connsiteY71" fmla="*/ 3614564 h 6932675"/>
                  <a:gd name="connsiteX72" fmla="*/ 6769699 w 6943344"/>
                  <a:gd name="connsiteY72" fmla="*/ 2378508 h 6932675"/>
                  <a:gd name="connsiteX73" fmla="*/ 6877553 w 6943344"/>
                  <a:gd name="connsiteY73" fmla="*/ 4071939 h 6932675"/>
                  <a:gd name="connsiteX74" fmla="*/ 6830772 w 6943344"/>
                  <a:gd name="connsiteY74" fmla="*/ 2591876 h 6932675"/>
                  <a:gd name="connsiteX75" fmla="*/ 6769699 w 6943344"/>
                  <a:gd name="connsiteY75" fmla="*/ 2378467 h 6932675"/>
                  <a:gd name="connsiteX76" fmla="*/ 6658106 w 6943344"/>
                  <a:gd name="connsiteY76" fmla="*/ 3599860 h 6932675"/>
                  <a:gd name="connsiteX77" fmla="*/ 6869996 w 6943344"/>
                  <a:gd name="connsiteY77" fmla="*/ 4066805 h 6932675"/>
                  <a:gd name="connsiteX78" fmla="*/ 6763990 w 6943344"/>
                  <a:gd name="connsiteY78" fmla="*/ 2402823 h 6932675"/>
                  <a:gd name="connsiteX79" fmla="*/ 6658106 w 6943344"/>
                  <a:gd name="connsiteY79" fmla="*/ 3599819 h 6932675"/>
                  <a:gd name="connsiteX80" fmla="*/ 6408308 w 6943344"/>
                  <a:gd name="connsiteY80" fmla="*/ 3049334 h 6932675"/>
                  <a:gd name="connsiteX81" fmla="*/ 6652028 w 6943344"/>
                  <a:gd name="connsiteY81" fmla="*/ 3586471 h 6932675"/>
                  <a:gd name="connsiteX82" fmla="*/ 6759390 w 6943344"/>
                  <a:gd name="connsiteY82" fmla="*/ 2373046 h 6932675"/>
                  <a:gd name="connsiteX83" fmla="*/ 6408308 w 6943344"/>
                  <a:gd name="connsiteY83" fmla="*/ 3049334 h 6932675"/>
                  <a:gd name="connsiteX84" fmla="*/ 6293307 w 6943344"/>
                  <a:gd name="connsiteY84" fmla="*/ 1925856 h 6932675"/>
                  <a:gd name="connsiteX85" fmla="*/ 6758773 w 6943344"/>
                  <a:gd name="connsiteY85" fmla="*/ 2344994 h 6932675"/>
                  <a:gd name="connsiteX86" fmla="*/ 6308257 w 6943344"/>
                  <a:gd name="connsiteY86" fmla="*/ 1449423 h 6932675"/>
                  <a:gd name="connsiteX87" fmla="*/ 6293307 w 6943344"/>
                  <a:gd name="connsiteY87" fmla="*/ 1925856 h 6932675"/>
                  <a:gd name="connsiteX88" fmla="*/ 5817983 w 6943344"/>
                  <a:gd name="connsiteY88" fmla="*/ 1213548 h 6932675"/>
                  <a:gd name="connsiteX89" fmla="*/ 6297989 w 6943344"/>
                  <a:gd name="connsiteY89" fmla="*/ 1434843 h 6932675"/>
                  <a:gd name="connsiteX90" fmla="*/ 5800610 w 6943344"/>
                  <a:gd name="connsiteY90" fmla="*/ 874911 h 6932675"/>
                  <a:gd name="connsiteX91" fmla="*/ 5817983 w 6943344"/>
                  <a:gd name="connsiteY91" fmla="*/ 1213507 h 6932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6943344" h="6932675">
                    <a:moveTo>
                      <a:pt x="4292084" y="6824858"/>
                    </a:moveTo>
                    <a:cubicBezTo>
                      <a:pt x="3139404" y="7115564"/>
                      <a:pt x="1930045" y="6810195"/>
                      <a:pt x="1057106" y="6007981"/>
                    </a:cubicBezTo>
                    <a:lnTo>
                      <a:pt x="1055340" y="6006379"/>
                    </a:lnTo>
                    <a:lnTo>
                      <a:pt x="1168041" y="5678790"/>
                    </a:lnTo>
                    <a:lnTo>
                      <a:pt x="605357" y="5506864"/>
                    </a:lnTo>
                    <a:lnTo>
                      <a:pt x="605604" y="5503989"/>
                    </a:lnTo>
                    <a:lnTo>
                      <a:pt x="664870" y="4730361"/>
                    </a:lnTo>
                    <a:lnTo>
                      <a:pt x="0" y="4096623"/>
                    </a:lnTo>
                    <a:lnTo>
                      <a:pt x="187082" y="3500466"/>
                    </a:lnTo>
                    <a:lnTo>
                      <a:pt x="193366" y="2148917"/>
                    </a:lnTo>
                    <a:lnTo>
                      <a:pt x="195173" y="2147890"/>
                    </a:lnTo>
                    <a:lnTo>
                      <a:pt x="528060" y="1957933"/>
                    </a:lnTo>
                    <a:lnTo>
                      <a:pt x="666636" y="1335162"/>
                    </a:lnTo>
                    <a:lnTo>
                      <a:pt x="667745" y="1334340"/>
                    </a:lnTo>
                    <a:lnTo>
                      <a:pt x="1698770" y="587368"/>
                    </a:lnTo>
                    <a:lnTo>
                      <a:pt x="1699592" y="587244"/>
                    </a:lnTo>
                    <a:lnTo>
                      <a:pt x="2370746" y="478815"/>
                    </a:lnTo>
                    <a:lnTo>
                      <a:pt x="3867443" y="0"/>
                    </a:lnTo>
                    <a:lnTo>
                      <a:pt x="3869660" y="6900"/>
                    </a:lnTo>
                    <a:lnTo>
                      <a:pt x="2372471" y="485879"/>
                    </a:lnTo>
                    <a:lnTo>
                      <a:pt x="1701604" y="594268"/>
                    </a:lnTo>
                    <a:lnTo>
                      <a:pt x="673084" y="1339433"/>
                    </a:lnTo>
                    <a:lnTo>
                      <a:pt x="534426" y="1962615"/>
                    </a:lnTo>
                    <a:lnTo>
                      <a:pt x="533030" y="1963437"/>
                    </a:lnTo>
                    <a:lnTo>
                      <a:pt x="200554" y="2153148"/>
                    </a:lnTo>
                    <a:lnTo>
                      <a:pt x="194311" y="3501575"/>
                    </a:lnTo>
                    <a:lnTo>
                      <a:pt x="194146" y="3502109"/>
                    </a:lnTo>
                    <a:lnTo>
                      <a:pt x="8255" y="4094488"/>
                    </a:lnTo>
                    <a:lnTo>
                      <a:pt x="672386" y="4727486"/>
                    </a:lnTo>
                    <a:lnTo>
                      <a:pt x="672263" y="4729211"/>
                    </a:lnTo>
                    <a:lnTo>
                      <a:pt x="613120" y="5501689"/>
                    </a:lnTo>
                    <a:lnTo>
                      <a:pt x="1177405" y="5674109"/>
                    </a:lnTo>
                    <a:lnTo>
                      <a:pt x="1176173" y="5677641"/>
                    </a:lnTo>
                    <a:lnTo>
                      <a:pt x="1063800" y="6004284"/>
                    </a:lnTo>
                    <a:cubicBezTo>
                      <a:pt x="1934810" y="6803583"/>
                      <a:pt x="3140801" y="7107760"/>
                      <a:pt x="4290359" y="6817835"/>
                    </a:cubicBezTo>
                    <a:cubicBezTo>
                      <a:pt x="4478879" y="6770314"/>
                      <a:pt x="4664071" y="6707064"/>
                      <a:pt x="4840885" y="6629931"/>
                    </a:cubicBezTo>
                    <a:cubicBezTo>
                      <a:pt x="5287171" y="6435210"/>
                      <a:pt x="5680886" y="6154895"/>
                      <a:pt x="6011144" y="5796667"/>
                    </a:cubicBezTo>
                    <a:lnTo>
                      <a:pt x="6046753" y="5584572"/>
                    </a:lnTo>
                    <a:lnTo>
                      <a:pt x="6048396" y="5583751"/>
                    </a:lnTo>
                    <a:lnTo>
                      <a:pt x="6278521" y="5469078"/>
                    </a:lnTo>
                    <a:cubicBezTo>
                      <a:pt x="6575059" y="5057416"/>
                      <a:pt x="6774340" y="4593838"/>
                      <a:pt x="6870160" y="4110546"/>
                    </a:cubicBezTo>
                    <a:lnTo>
                      <a:pt x="6564340" y="4977408"/>
                    </a:lnTo>
                    <a:lnTo>
                      <a:pt x="6581590" y="4387083"/>
                    </a:lnTo>
                    <a:lnTo>
                      <a:pt x="5677394" y="4914034"/>
                    </a:lnTo>
                    <a:lnTo>
                      <a:pt x="5673739" y="4907791"/>
                    </a:lnTo>
                    <a:lnTo>
                      <a:pt x="6581959" y="4378499"/>
                    </a:lnTo>
                    <a:lnTo>
                      <a:pt x="6650713" y="3601133"/>
                    </a:lnTo>
                    <a:lnTo>
                      <a:pt x="6400258" y="3049128"/>
                    </a:lnTo>
                    <a:lnTo>
                      <a:pt x="6401079" y="3047568"/>
                    </a:lnTo>
                    <a:lnTo>
                      <a:pt x="6760087" y="2355960"/>
                    </a:lnTo>
                    <a:lnTo>
                      <a:pt x="6285955" y="1929019"/>
                    </a:lnTo>
                    <a:lnTo>
                      <a:pt x="6285955" y="1927335"/>
                    </a:lnTo>
                    <a:cubicBezTo>
                      <a:pt x="6285955" y="1927335"/>
                      <a:pt x="6301192" y="1444331"/>
                      <a:pt x="6301192" y="1444331"/>
                    </a:cubicBezTo>
                    <a:lnTo>
                      <a:pt x="5810960" y="1218312"/>
                    </a:lnTo>
                    <a:lnTo>
                      <a:pt x="5792477" y="857866"/>
                    </a:lnTo>
                    <a:lnTo>
                      <a:pt x="5798967" y="863740"/>
                    </a:lnTo>
                    <a:cubicBezTo>
                      <a:pt x="6309941" y="1324442"/>
                      <a:pt x="6669155" y="1921461"/>
                      <a:pt x="6837795" y="2590192"/>
                    </a:cubicBezTo>
                    <a:cubicBezTo>
                      <a:pt x="7088950" y="3586101"/>
                      <a:pt x="6887040" y="4637251"/>
                      <a:pt x="6283860" y="5474130"/>
                    </a:cubicBezTo>
                    <a:lnTo>
                      <a:pt x="6282546" y="5475239"/>
                    </a:lnTo>
                    <a:lnTo>
                      <a:pt x="6053283" y="5589459"/>
                    </a:lnTo>
                    <a:lnTo>
                      <a:pt x="6017920" y="5800075"/>
                    </a:lnTo>
                    <a:lnTo>
                      <a:pt x="6017181" y="5800856"/>
                    </a:lnTo>
                    <a:cubicBezTo>
                      <a:pt x="5686060" y="6160152"/>
                      <a:pt x="5291278" y="6441370"/>
                      <a:pt x="4843760" y="6636626"/>
                    </a:cubicBezTo>
                    <a:cubicBezTo>
                      <a:pt x="4666576" y="6713923"/>
                      <a:pt x="4481014" y="6777256"/>
                      <a:pt x="4292125" y="6824899"/>
                    </a:cubicBezTo>
                    <a:close/>
                    <a:moveTo>
                      <a:pt x="6588942" y="4382195"/>
                    </a:moveTo>
                    <a:lnTo>
                      <a:pt x="6572882" y="4931284"/>
                    </a:lnTo>
                    <a:lnTo>
                      <a:pt x="6866012" y="4100443"/>
                    </a:lnTo>
                    <a:lnTo>
                      <a:pt x="6588942" y="4382154"/>
                    </a:lnTo>
                    <a:close/>
                    <a:moveTo>
                      <a:pt x="6656792" y="3614523"/>
                    </a:moveTo>
                    <a:lnTo>
                      <a:pt x="6589886" y="4370942"/>
                    </a:lnTo>
                    <a:lnTo>
                      <a:pt x="6870530" y="4085575"/>
                    </a:lnTo>
                    <a:lnTo>
                      <a:pt x="6656792" y="3614564"/>
                    </a:lnTo>
                    <a:close/>
                    <a:moveTo>
                      <a:pt x="6769699" y="2378508"/>
                    </a:moveTo>
                    <a:lnTo>
                      <a:pt x="6877553" y="4071939"/>
                    </a:lnTo>
                    <a:cubicBezTo>
                      <a:pt x="6968034" y="3586717"/>
                      <a:pt x="6954522" y="3082602"/>
                      <a:pt x="6830772" y="2591876"/>
                    </a:cubicBezTo>
                    <a:cubicBezTo>
                      <a:pt x="6812618" y="2519918"/>
                      <a:pt x="6792247" y="2448700"/>
                      <a:pt x="6769699" y="2378467"/>
                    </a:cubicBezTo>
                    <a:close/>
                    <a:moveTo>
                      <a:pt x="6658106" y="3599860"/>
                    </a:moveTo>
                    <a:lnTo>
                      <a:pt x="6869996" y="4066805"/>
                    </a:lnTo>
                    <a:lnTo>
                      <a:pt x="6763990" y="2402823"/>
                    </a:lnTo>
                    <a:lnTo>
                      <a:pt x="6658106" y="3599819"/>
                    </a:lnTo>
                    <a:close/>
                    <a:moveTo>
                      <a:pt x="6408308" y="3049334"/>
                    </a:moveTo>
                    <a:lnTo>
                      <a:pt x="6652028" y="3586471"/>
                    </a:lnTo>
                    <a:lnTo>
                      <a:pt x="6759390" y="2373046"/>
                    </a:lnTo>
                    <a:lnTo>
                      <a:pt x="6408308" y="3049334"/>
                    </a:lnTo>
                    <a:close/>
                    <a:moveTo>
                      <a:pt x="6293307" y="1925856"/>
                    </a:moveTo>
                    <a:lnTo>
                      <a:pt x="6758773" y="2344994"/>
                    </a:lnTo>
                    <a:cubicBezTo>
                      <a:pt x="6652356" y="2024387"/>
                      <a:pt x="6500637" y="1723290"/>
                      <a:pt x="6308257" y="1449423"/>
                    </a:cubicBezTo>
                    <a:lnTo>
                      <a:pt x="6293307" y="1925856"/>
                    </a:lnTo>
                    <a:close/>
                    <a:moveTo>
                      <a:pt x="5817983" y="1213548"/>
                    </a:moveTo>
                    <a:lnTo>
                      <a:pt x="6297989" y="1434843"/>
                    </a:lnTo>
                    <a:cubicBezTo>
                      <a:pt x="6153950" y="1232030"/>
                      <a:pt x="5987486" y="1044291"/>
                      <a:pt x="5800610" y="874911"/>
                    </a:cubicBezTo>
                    <a:lnTo>
                      <a:pt x="5817983" y="1213507"/>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grpSp>
            <p:nvGrpSpPr>
              <p:cNvPr id="2298" name="Group 2297">
                <a:extLst>
                  <a:ext uri="{FF2B5EF4-FFF2-40B4-BE49-F238E27FC236}">
                    <a16:creationId xmlns:a16="http://schemas.microsoft.com/office/drawing/2014/main" id="{771857F7-6504-BBA3-D199-84F18E3340AC}"/>
                  </a:ext>
                </a:extLst>
              </p:cNvPr>
              <p:cNvGrpSpPr/>
              <p:nvPr/>
            </p:nvGrpSpPr>
            <p:grpSpPr>
              <a:xfrm>
                <a:off x="3809683" y="1640027"/>
                <a:ext cx="4630037" cy="4054004"/>
                <a:chOff x="3809683" y="1640027"/>
                <a:chExt cx="4630037" cy="4054004"/>
              </a:xfrm>
              <a:grpFill/>
            </p:grpSpPr>
            <p:sp>
              <p:nvSpPr>
                <p:cNvPr id="2333" name="Freeform: Shape 2332">
                  <a:extLst>
                    <a:ext uri="{FF2B5EF4-FFF2-40B4-BE49-F238E27FC236}">
                      <a16:creationId xmlns:a16="http://schemas.microsoft.com/office/drawing/2014/main" id="{55ABEEA0-BD45-E44A-14DD-777FB093E94B}"/>
                    </a:ext>
                  </a:extLst>
                </p:cNvPr>
                <p:cNvSpPr/>
                <p:nvPr/>
              </p:nvSpPr>
              <p:spPr>
                <a:xfrm>
                  <a:off x="8107718" y="4959502"/>
                  <a:ext cx="332002" cy="431262"/>
                </a:xfrm>
                <a:custGeom>
                  <a:avLst/>
                  <a:gdLst>
                    <a:gd name="connsiteX0" fmla="*/ 154512 w 425175"/>
                    <a:gd name="connsiteY0" fmla="*/ 552251 h 552292"/>
                    <a:gd name="connsiteX1" fmla="*/ 0 w 425175"/>
                    <a:gd name="connsiteY1" fmla="*/ 161166 h 552292"/>
                    <a:gd name="connsiteX2" fmla="*/ 6038 w 425175"/>
                    <a:gd name="connsiteY2" fmla="*/ 161905 h 552292"/>
                    <a:gd name="connsiteX3" fmla="*/ 313624 w 425175"/>
                    <a:gd name="connsiteY3" fmla="*/ 199855 h 552292"/>
                    <a:gd name="connsiteX4" fmla="*/ 408418 w 425175"/>
                    <a:gd name="connsiteY4" fmla="*/ 0 h 552292"/>
                    <a:gd name="connsiteX5" fmla="*/ 425175 w 425175"/>
                    <a:gd name="connsiteY5" fmla="*/ 220925 h 552292"/>
                    <a:gd name="connsiteX6" fmla="*/ 317937 w 425175"/>
                    <a:gd name="connsiteY6" fmla="*/ 207700 h 552292"/>
                    <a:gd name="connsiteX7" fmla="*/ 154512 w 425175"/>
                    <a:gd name="connsiteY7" fmla="*/ 552292 h 552292"/>
                    <a:gd name="connsiteX8" fmla="*/ 11213 w 425175"/>
                    <a:gd name="connsiteY8" fmla="*/ 169832 h 552292"/>
                    <a:gd name="connsiteX9" fmla="*/ 155128 w 425175"/>
                    <a:gd name="connsiteY9" fmla="*/ 534097 h 552292"/>
                    <a:gd name="connsiteX10" fmla="*/ 310380 w 425175"/>
                    <a:gd name="connsiteY10" fmla="*/ 206755 h 552292"/>
                    <a:gd name="connsiteX11" fmla="*/ 11213 w 425175"/>
                    <a:gd name="connsiteY11" fmla="*/ 169832 h 552292"/>
                    <a:gd name="connsiteX12" fmla="*/ 321223 w 425175"/>
                    <a:gd name="connsiteY12" fmla="*/ 200800 h 552292"/>
                    <a:gd name="connsiteX13" fmla="*/ 417289 w 425175"/>
                    <a:gd name="connsiteY13" fmla="*/ 212628 h 552292"/>
                    <a:gd name="connsiteX14" fmla="*/ 403284 w 425175"/>
                    <a:gd name="connsiteY14" fmla="*/ 27764 h 552292"/>
                    <a:gd name="connsiteX15" fmla="*/ 321223 w 425175"/>
                    <a:gd name="connsiteY15" fmla="*/ 200800 h 55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25175" h="552292">
                      <a:moveTo>
                        <a:pt x="154512" y="552251"/>
                      </a:moveTo>
                      <a:lnTo>
                        <a:pt x="0" y="161166"/>
                      </a:lnTo>
                      <a:lnTo>
                        <a:pt x="6038" y="161905"/>
                      </a:lnTo>
                      <a:lnTo>
                        <a:pt x="313624" y="199855"/>
                      </a:lnTo>
                      <a:lnTo>
                        <a:pt x="408418" y="0"/>
                      </a:lnTo>
                      <a:lnTo>
                        <a:pt x="425175" y="220925"/>
                      </a:lnTo>
                      <a:lnTo>
                        <a:pt x="317937" y="207700"/>
                      </a:lnTo>
                      <a:lnTo>
                        <a:pt x="154512" y="552292"/>
                      </a:lnTo>
                      <a:close/>
                      <a:moveTo>
                        <a:pt x="11213" y="169832"/>
                      </a:moveTo>
                      <a:lnTo>
                        <a:pt x="155128" y="534097"/>
                      </a:lnTo>
                      <a:lnTo>
                        <a:pt x="310380" y="206755"/>
                      </a:lnTo>
                      <a:lnTo>
                        <a:pt x="11213" y="169832"/>
                      </a:lnTo>
                      <a:close/>
                      <a:moveTo>
                        <a:pt x="321223" y="200800"/>
                      </a:moveTo>
                      <a:lnTo>
                        <a:pt x="417289" y="212628"/>
                      </a:lnTo>
                      <a:lnTo>
                        <a:pt x="403284" y="27764"/>
                      </a:lnTo>
                      <a:lnTo>
                        <a:pt x="321223" y="200800"/>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34" name="Freeform: Shape 2333">
                  <a:extLst>
                    <a:ext uri="{FF2B5EF4-FFF2-40B4-BE49-F238E27FC236}">
                      <a16:creationId xmlns:a16="http://schemas.microsoft.com/office/drawing/2014/main" id="{697FD7A0-484A-124E-4CC2-7A3B30251F67}"/>
                    </a:ext>
                  </a:extLst>
                </p:cNvPr>
                <p:cNvSpPr/>
                <p:nvPr/>
              </p:nvSpPr>
              <p:spPr>
                <a:xfrm>
                  <a:off x="3949482" y="3676266"/>
                  <a:ext cx="430557" cy="913037"/>
                </a:xfrm>
                <a:custGeom>
                  <a:avLst/>
                  <a:gdLst>
                    <a:gd name="connsiteX0" fmla="*/ 551389 w 551388"/>
                    <a:gd name="connsiteY0" fmla="*/ 1169273 h 1169272"/>
                    <a:gd name="connsiteX1" fmla="*/ 133689 w 551388"/>
                    <a:gd name="connsiteY1" fmla="*/ 1120644 h 1169272"/>
                    <a:gd name="connsiteX2" fmla="*/ 134551 w 551388"/>
                    <a:gd name="connsiteY2" fmla="*/ 1113456 h 1169272"/>
                    <a:gd name="connsiteX3" fmla="*/ 532824 w 551388"/>
                    <a:gd name="connsiteY3" fmla="*/ 1159826 h 1169272"/>
                    <a:gd name="connsiteX4" fmla="*/ 0 w 551388"/>
                    <a:gd name="connsiteY4" fmla="*/ 582726 h 1169272"/>
                    <a:gd name="connsiteX5" fmla="*/ 272717 w 551388"/>
                    <a:gd name="connsiteY5" fmla="*/ 0 h 1169272"/>
                    <a:gd name="connsiteX6" fmla="*/ 279288 w 551388"/>
                    <a:gd name="connsiteY6" fmla="*/ 3080 h 1169272"/>
                    <a:gd name="connsiteX7" fmla="*/ 8625 w 551388"/>
                    <a:gd name="connsiteY7" fmla="*/ 581371 h 1169272"/>
                    <a:gd name="connsiteX8" fmla="*/ 551389 w 551388"/>
                    <a:gd name="connsiteY8" fmla="*/ 1169273 h 1169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1388" h="1169272">
                      <a:moveTo>
                        <a:pt x="551389" y="1169273"/>
                      </a:moveTo>
                      <a:lnTo>
                        <a:pt x="133689" y="1120644"/>
                      </a:lnTo>
                      <a:lnTo>
                        <a:pt x="134551" y="1113456"/>
                      </a:lnTo>
                      <a:lnTo>
                        <a:pt x="532824" y="1159826"/>
                      </a:lnTo>
                      <a:lnTo>
                        <a:pt x="0" y="582726"/>
                      </a:lnTo>
                      <a:lnTo>
                        <a:pt x="272717" y="0"/>
                      </a:lnTo>
                      <a:lnTo>
                        <a:pt x="279288" y="3080"/>
                      </a:lnTo>
                      <a:lnTo>
                        <a:pt x="8625" y="581371"/>
                      </a:lnTo>
                      <a:lnTo>
                        <a:pt x="551389" y="1169273"/>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35" name="Freeform: Shape 2334">
                  <a:extLst>
                    <a:ext uri="{FF2B5EF4-FFF2-40B4-BE49-F238E27FC236}">
                      <a16:creationId xmlns:a16="http://schemas.microsoft.com/office/drawing/2014/main" id="{ACEC0D8B-D93B-3379-B926-E96E20CB318A}"/>
                    </a:ext>
                  </a:extLst>
                </p:cNvPr>
                <p:cNvSpPr/>
                <p:nvPr/>
              </p:nvSpPr>
              <p:spPr>
                <a:xfrm>
                  <a:off x="3936686" y="2140019"/>
                  <a:ext cx="754958" cy="386747"/>
                </a:xfrm>
                <a:custGeom>
                  <a:avLst/>
                  <a:gdLst>
                    <a:gd name="connsiteX0" fmla="*/ 727258 w 966829"/>
                    <a:gd name="connsiteY0" fmla="*/ 495285 h 495284"/>
                    <a:gd name="connsiteX1" fmla="*/ 724424 w 966829"/>
                    <a:gd name="connsiteY1" fmla="*/ 494586 h 495284"/>
                    <a:gd name="connsiteX2" fmla="*/ 0 w 966829"/>
                    <a:gd name="connsiteY2" fmla="*/ 316294 h 495284"/>
                    <a:gd name="connsiteX3" fmla="*/ 12034 w 966829"/>
                    <a:gd name="connsiteY3" fmla="*/ 312351 h 495284"/>
                    <a:gd name="connsiteX4" fmla="*/ 966830 w 966829"/>
                    <a:gd name="connsiteY4" fmla="*/ 0 h 495284"/>
                    <a:gd name="connsiteX5" fmla="*/ 727258 w 966829"/>
                    <a:gd name="connsiteY5" fmla="*/ 495285 h 495284"/>
                    <a:gd name="connsiteX6" fmla="*/ 26286 w 966829"/>
                    <a:gd name="connsiteY6" fmla="*/ 315308 h 495284"/>
                    <a:gd name="connsiteX7" fmla="*/ 723274 w 966829"/>
                    <a:gd name="connsiteY7" fmla="*/ 486865 h 495284"/>
                    <a:gd name="connsiteX8" fmla="*/ 952907 w 966829"/>
                    <a:gd name="connsiteY8" fmla="*/ 12198 h 495284"/>
                    <a:gd name="connsiteX9" fmla="*/ 26286 w 966829"/>
                    <a:gd name="connsiteY9" fmla="*/ 315349 h 495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66829" h="495284">
                      <a:moveTo>
                        <a:pt x="727258" y="495285"/>
                      </a:moveTo>
                      <a:lnTo>
                        <a:pt x="724424" y="494586"/>
                      </a:lnTo>
                      <a:lnTo>
                        <a:pt x="0" y="316294"/>
                      </a:lnTo>
                      <a:lnTo>
                        <a:pt x="12034" y="312351"/>
                      </a:lnTo>
                      <a:lnTo>
                        <a:pt x="966830" y="0"/>
                      </a:lnTo>
                      <a:lnTo>
                        <a:pt x="727258" y="495285"/>
                      </a:lnTo>
                      <a:close/>
                      <a:moveTo>
                        <a:pt x="26286" y="315308"/>
                      </a:moveTo>
                      <a:lnTo>
                        <a:pt x="723274" y="486865"/>
                      </a:lnTo>
                      <a:lnTo>
                        <a:pt x="952907" y="12198"/>
                      </a:lnTo>
                      <a:lnTo>
                        <a:pt x="26286" y="315349"/>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36" name="Freeform: Shape 2335">
                  <a:extLst>
                    <a:ext uri="{FF2B5EF4-FFF2-40B4-BE49-F238E27FC236}">
                      <a16:creationId xmlns:a16="http://schemas.microsoft.com/office/drawing/2014/main" id="{142F84F6-A0A1-B8E1-8C7E-DE5D6DC92604}"/>
                    </a:ext>
                  </a:extLst>
                </p:cNvPr>
                <p:cNvSpPr/>
                <p:nvPr/>
              </p:nvSpPr>
              <p:spPr>
                <a:xfrm>
                  <a:off x="7726454" y="1794932"/>
                  <a:ext cx="348936" cy="826797"/>
                </a:xfrm>
                <a:custGeom>
                  <a:avLst/>
                  <a:gdLst>
                    <a:gd name="connsiteX0" fmla="*/ 429652 w 446861"/>
                    <a:gd name="connsiteY0" fmla="*/ 1058831 h 1058830"/>
                    <a:gd name="connsiteX1" fmla="*/ 0 w 446861"/>
                    <a:gd name="connsiteY1" fmla="*/ 743317 h 1058830"/>
                    <a:gd name="connsiteX2" fmla="*/ 446861 w 446861"/>
                    <a:gd name="connsiteY2" fmla="*/ 0 h 1058830"/>
                    <a:gd name="connsiteX3" fmla="*/ 429652 w 446861"/>
                    <a:gd name="connsiteY3" fmla="*/ 1058831 h 1058830"/>
                    <a:gd name="connsiteX4" fmla="*/ 9611 w 446861"/>
                    <a:gd name="connsiteY4" fmla="*/ 741387 h 1058830"/>
                    <a:gd name="connsiteX5" fmla="*/ 422670 w 446861"/>
                    <a:gd name="connsiteY5" fmla="*/ 1044702 h 1058830"/>
                    <a:gd name="connsiteX6" fmla="*/ 439181 w 446861"/>
                    <a:gd name="connsiteY6" fmla="*/ 26820 h 1058830"/>
                    <a:gd name="connsiteX7" fmla="*/ 9611 w 446861"/>
                    <a:gd name="connsiteY7" fmla="*/ 741387 h 105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861" h="1058830">
                      <a:moveTo>
                        <a:pt x="429652" y="1058831"/>
                      </a:moveTo>
                      <a:lnTo>
                        <a:pt x="0" y="743317"/>
                      </a:lnTo>
                      <a:lnTo>
                        <a:pt x="446861" y="0"/>
                      </a:lnTo>
                      <a:lnTo>
                        <a:pt x="429652" y="1058831"/>
                      </a:lnTo>
                      <a:close/>
                      <a:moveTo>
                        <a:pt x="9611" y="741387"/>
                      </a:moveTo>
                      <a:lnTo>
                        <a:pt x="422670" y="1044702"/>
                      </a:lnTo>
                      <a:lnTo>
                        <a:pt x="439181" y="26820"/>
                      </a:lnTo>
                      <a:lnTo>
                        <a:pt x="9611" y="741387"/>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37" name="Freeform: Shape 2336">
                  <a:extLst>
                    <a:ext uri="{FF2B5EF4-FFF2-40B4-BE49-F238E27FC236}">
                      <a16:creationId xmlns:a16="http://schemas.microsoft.com/office/drawing/2014/main" id="{23555B77-E78A-4EC3-7F44-3411EB6D2B32}"/>
                    </a:ext>
                  </a:extLst>
                </p:cNvPr>
                <p:cNvSpPr/>
                <p:nvPr/>
              </p:nvSpPr>
              <p:spPr>
                <a:xfrm>
                  <a:off x="7617828" y="1802565"/>
                  <a:ext cx="454610" cy="572600"/>
                </a:xfrm>
                <a:custGeom>
                  <a:avLst/>
                  <a:gdLst>
                    <a:gd name="connsiteX0" fmla="*/ 147448 w 582192"/>
                    <a:gd name="connsiteY0" fmla="*/ 731899 h 733295"/>
                    <a:gd name="connsiteX1" fmla="*/ 140342 w 582192"/>
                    <a:gd name="connsiteY1" fmla="*/ 733296 h 733295"/>
                    <a:gd name="connsiteX2" fmla="*/ 0 w 582192"/>
                    <a:gd name="connsiteY2" fmla="*/ 14005 h 733295"/>
                    <a:gd name="connsiteX3" fmla="*/ 582029 w 582192"/>
                    <a:gd name="connsiteY3" fmla="*/ 0 h 733295"/>
                    <a:gd name="connsiteX4" fmla="*/ 582193 w 582192"/>
                    <a:gd name="connsiteY4" fmla="*/ 7270 h 733295"/>
                    <a:gd name="connsiteX5" fmla="*/ 8748 w 582192"/>
                    <a:gd name="connsiteY5" fmla="*/ 21070 h 733295"/>
                    <a:gd name="connsiteX6" fmla="*/ 147448 w 582192"/>
                    <a:gd name="connsiteY6" fmla="*/ 731899 h 73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2192" h="733295">
                      <a:moveTo>
                        <a:pt x="147448" y="731899"/>
                      </a:moveTo>
                      <a:lnTo>
                        <a:pt x="140342" y="733296"/>
                      </a:lnTo>
                      <a:lnTo>
                        <a:pt x="0" y="14005"/>
                      </a:lnTo>
                      <a:lnTo>
                        <a:pt x="582029" y="0"/>
                      </a:lnTo>
                      <a:lnTo>
                        <a:pt x="582193" y="7270"/>
                      </a:lnTo>
                      <a:lnTo>
                        <a:pt x="8748" y="21070"/>
                      </a:lnTo>
                      <a:lnTo>
                        <a:pt x="147448" y="731899"/>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38" name="Freeform: Shape 2337">
                  <a:extLst>
                    <a:ext uri="{FF2B5EF4-FFF2-40B4-BE49-F238E27FC236}">
                      <a16:creationId xmlns:a16="http://schemas.microsoft.com/office/drawing/2014/main" id="{E695779D-AA6B-CB1A-BEBA-A59B6434ECEB}"/>
                    </a:ext>
                  </a:extLst>
                </p:cNvPr>
                <p:cNvSpPr/>
                <p:nvPr/>
              </p:nvSpPr>
              <p:spPr>
                <a:xfrm>
                  <a:off x="7043784" y="1831364"/>
                  <a:ext cx="221805" cy="218790"/>
                </a:xfrm>
                <a:custGeom>
                  <a:avLst/>
                  <a:gdLst>
                    <a:gd name="connsiteX0" fmla="*/ 284053 w 284052"/>
                    <a:gd name="connsiteY0" fmla="*/ 279206 h 280191"/>
                    <a:gd name="connsiteX1" fmla="*/ 0 w 284052"/>
                    <a:gd name="connsiteY1" fmla="*/ 280192 h 280191"/>
                    <a:gd name="connsiteX2" fmla="*/ 5956 w 284052"/>
                    <a:gd name="connsiteY2" fmla="*/ 274031 h 280191"/>
                    <a:gd name="connsiteX3" fmla="*/ 270499 w 284052"/>
                    <a:gd name="connsiteY3" fmla="*/ 0 h 280191"/>
                    <a:gd name="connsiteX4" fmla="*/ 284053 w 284052"/>
                    <a:gd name="connsiteY4" fmla="*/ 279247 h 280191"/>
                    <a:gd name="connsiteX5" fmla="*/ 17127 w 284052"/>
                    <a:gd name="connsiteY5" fmla="*/ 272881 h 280191"/>
                    <a:gd name="connsiteX6" fmla="*/ 276454 w 284052"/>
                    <a:gd name="connsiteY6" fmla="*/ 271977 h 280191"/>
                    <a:gd name="connsiteX7" fmla="*/ 264051 w 284052"/>
                    <a:gd name="connsiteY7" fmla="*/ 17045 h 280191"/>
                    <a:gd name="connsiteX8" fmla="*/ 17127 w 284052"/>
                    <a:gd name="connsiteY8" fmla="*/ 272881 h 280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4052" h="280191">
                      <a:moveTo>
                        <a:pt x="284053" y="279206"/>
                      </a:moveTo>
                      <a:lnTo>
                        <a:pt x="0" y="280192"/>
                      </a:lnTo>
                      <a:lnTo>
                        <a:pt x="5956" y="274031"/>
                      </a:lnTo>
                      <a:lnTo>
                        <a:pt x="270499" y="0"/>
                      </a:lnTo>
                      <a:lnTo>
                        <a:pt x="284053" y="279247"/>
                      </a:lnTo>
                      <a:close/>
                      <a:moveTo>
                        <a:pt x="17127" y="272881"/>
                      </a:moveTo>
                      <a:lnTo>
                        <a:pt x="276454" y="271977"/>
                      </a:lnTo>
                      <a:lnTo>
                        <a:pt x="264051" y="17045"/>
                      </a:lnTo>
                      <a:lnTo>
                        <a:pt x="17127" y="272881"/>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39" name="Freeform: Shape 2338">
                  <a:extLst>
                    <a:ext uri="{FF2B5EF4-FFF2-40B4-BE49-F238E27FC236}">
                      <a16:creationId xmlns:a16="http://schemas.microsoft.com/office/drawing/2014/main" id="{1F8FB718-79F8-15B7-3D6E-C932700510A5}"/>
                    </a:ext>
                  </a:extLst>
                </p:cNvPr>
                <p:cNvSpPr/>
                <p:nvPr/>
              </p:nvSpPr>
              <p:spPr>
                <a:xfrm>
                  <a:off x="6551683" y="1680694"/>
                  <a:ext cx="298519" cy="187360"/>
                </a:xfrm>
                <a:custGeom>
                  <a:avLst/>
                  <a:gdLst>
                    <a:gd name="connsiteX0" fmla="*/ 382255 w 382296"/>
                    <a:gd name="connsiteY0" fmla="*/ 215504 h 239941"/>
                    <a:gd name="connsiteX1" fmla="*/ 60499 w 382296"/>
                    <a:gd name="connsiteY1" fmla="*/ 239941 h 239941"/>
                    <a:gd name="connsiteX2" fmla="*/ 0 w 382296"/>
                    <a:gd name="connsiteY2" fmla="*/ 0 h 239941"/>
                    <a:gd name="connsiteX3" fmla="*/ 382296 w 382296"/>
                    <a:gd name="connsiteY3" fmla="*/ 215463 h 239941"/>
                    <a:gd name="connsiteX4" fmla="*/ 66002 w 382296"/>
                    <a:gd name="connsiteY4" fmla="*/ 232261 h 239941"/>
                    <a:gd name="connsiteX5" fmla="*/ 357900 w 382296"/>
                    <a:gd name="connsiteY5" fmla="*/ 210082 h 239941"/>
                    <a:gd name="connsiteX6" fmla="*/ 11130 w 382296"/>
                    <a:gd name="connsiteY6" fmla="*/ 14622 h 239941"/>
                    <a:gd name="connsiteX7" fmla="*/ 66002 w 382296"/>
                    <a:gd name="connsiteY7" fmla="*/ 232261 h 239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2296" h="239941">
                      <a:moveTo>
                        <a:pt x="382255" y="215504"/>
                      </a:moveTo>
                      <a:lnTo>
                        <a:pt x="60499" y="239941"/>
                      </a:lnTo>
                      <a:lnTo>
                        <a:pt x="0" y="0"/>
                      </a:lnTo>
                      <a:lnTo>
                        <a:pt x="382296" y="215463"/>
                      </a:lnTo>
                      <a:close/>
                      <a:moveTo>
                        <a:pt x="66002" y="232261"/>
                      </a:moveTo>
                      <a:lnTo>
                        <a:pt x="357900" y="210082"/>
                      </a:lnTo>
                      <a:lnTo>
                        <a:pt x="11130" y="14622"/>
                      </a:lnTo>
                      <a:lnTo>
                        <a:pt x="66002" y="232261"/>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40" name="Freeform: Shape 2339">
                  <a:extLst>
                    <a:ext uri="{FF2B5EF4-FFF2-40B4-BE49-F238E27FC236}">
                      <a16:creationId xmlns:a16="http://schemas.microsoft.com/office/drawing/2014/main" id="{191585B4-ED5F-05D0-24BA-9431DA7C9A68}"/>
                    </a:ext>
                  </a:extLst>
                </p:cNvPr>
                <p:cNvSpPr/>
                <p:nvPr/>
              </p:nvSpPr>
              <p:spPr>
                <a:xfrm>
                  <a:off x="5786814" y="5459109"/>
                  <a:ext cx="791295" cy="234922"/>
                </a:xfrm>
                <a:custGeom>
                  <a:avLst/>
                  <a:gdLst>
                    <a:gd name="connsiteX0" fmla="*/ 429282 w 1013364"/>
                    <a:gd name="connsiteY0" fmla="*/ 300851 h 300850"/>
                    <a:gd name="connsiteX1" fmla="*/ 427681 w 1013364"/>
                    <a:gd name="connsiteY1" fmla="*/ 300112 h 300850"/>
                    <a:gd name="connsiteX2" fmla="*/ 0 w 1013364"/>
                    <a:gd name="connsiteY2" fmla="*/ 101982 h 300850"/>
                    <a:gd name="connsiteX3" fmla="*/ 1013364 w 1013364"/>
                    <a:gd name="connsiteY3" fmla="*/ 0 h 300850"/>
                    <a:gd name="connsiteX4" fmla="*/ 429282 w 1013364"/>
                    <a:gd name="connsiteY4" fmla="*/ 300851 h 300850"/>
                    <a:gd name="connsiteX5" fmla="*/ 27066 w 1013364"/>
                    <a:gd name="connsiteY5" fmla="*/ 106540 h 300850"/>
                    <a:gd name="connsiteX6" fmla="*/ 429118 w 1013364"/>
                    <a:gd name="connsiteY6" fmla="*/ 292801 h 300850"/>
                    <a:gd name="connsiteX7" fmla="*/ 976153 w 1013364"/>
                    <a:gd name="connsiteY7" fmla="*/ 11049 h 300850"/>
                    <a:gd name="connsiteX8" fmla="*/ 27066 w 1013364"/>
                    <a:gd name="connsiteY8" fmla="*/ 106582 h 300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3364" h="300850">
                      <a:moveTo>
                        <a:pt x="429282" y="300851"/>
                      </a:moveTo>
                      <a:lnTo>
                        <a:pt x="427681" y="300112"/>
                      </a:lnTo>
                      <a:lnTo>
                        <a:pt x="0" y="101982"/>
                      </a:lnTo>
                      <a:lnTo>
                        <a:pt x="1013364" y="0"/>
                      </a:lnTo>
                      <a:lnTo>
                        <a:pt x="429282" y="300851"/>
                      </a:lnTo>
                      <a:close/>
                      <a:moveTo>
                        <a:pt x="27066" y="106540"/>
                      </a:moveTo>
                      <a:lnTo>
                        <a:pt x="429118" y="292801"/>
                      </a:lnTo>
                      <a:lnTo>
                        <a:pt x="976153" y="11049"/>
                      </a:lnTo>
                      <a:lnTo>
                        <a:pt x="27066" y="106582"/>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41" name="Freeform: Shape 2340">
                  <a:extLst>
                    <a:ext uri="{FF2B5EF4-FFF2-40B4-BE49-F238E27FC236}">
                      <a16:creationId xmlns:a16="http://schemas.microsoft.com/office/drawing/2014/main" id="{D64526AF-A121-88BC-2528-D1E231F30769}"/>
                    </a:ext>
                  </a:extLst>
                </p:cNvPr>
                <p:cNvSpPr/>
                <p:nvPr/>
              </p:nvSpPr>
              <p:spPr>
                <a:xfrm>
                  <a:off x="4235910" y="4004227"/>
                  <a:ext cx="237359" cy="129920"/>
                </a:xfrm>
                <a:custGeom>
                  <a:avLst/>
                  <a:gdLst>
                    <a:gd name="connsiteX0" fmla="*/ 41 w 303972"/>
                    <a:gd name="connsiteY0" fmla="*/ 166382 h 166381"/>
                    <a:gd name="connsiteX1" fmla="*/ 45918 w 303972"/>
                    <a:gd name="connsiteY1" fmla="*/ 50148 h 166381"/>
                    <a:gd name="connsiteX2" fmla="*/ 47849 w 303972"/>
                    <a:gd name="connsiteY2" fmla="*/ 49779 h 166381"/>
                    <a:gd name="connsiteX3" fmla="*/ 303972 w 303972"/>
                    <a:gd name="connsiteY3" fmla="*/ 0 h 166381"/>
                    <a:gd name="connsiteX4" fmla="*/ 0 w 303972"/>
                    <a:gd name="connsiteY4" fmla="*/ 166382 h 166381"/>
                    <a:gd name="connsiteX5" fmla="*/ 51217 w 303972"/>
                    <a:gd name="connsiteY5" fmla="*/ 56474 h 166381"/>
                    <a:gd name="connsiteX6" fmla="*/ 14129 w 303972"/>
                    <a:gd name="connsiteY6" fmla="*/ 150405 h 166381"/>
                    <a:gd name="connsiteX7" fmla="*/ 259738 w 303972"/>
                    <a:gd name="connsiteY7" fmla="*/ 15977 h 166381"/>
                    <a:gd name="connsiteX8" fmla="*/ 51217 w 303972"/>
                    <a:gd name="connsiteY8" fmla="*/ 56474 h 166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972" h="166381">
                      <a:moveTo>
                        <a:pt x="41" y="166382"/>
                      </a:moveTo>
                      <a:lnTo>
                        <a:pt x="45918" y="50148"/>
                      </a:lnTo>
                      <a:lnTo>
                        <a:pt x="47849" y="49779"/>
                      </a:lnTo>
                      <a:lnTo>
                        <a:pt x="303972" y="0"/>
                      </a:lnTo>
                      <a:lnTo>
                        <a:pt x="0" y="166382"/>
                      </a:lnTo>
                      <a:close/>
                      <a:moveTo>
                        <a:pt x="51217" y="56474"/>
                      </a:moveTo>
                      <a:lnTo>
                        <a:pt x="14129" y="150405"/>
                      </a:lnTo>
                      <a:lnTo>
                        <a:pt x="259738" y="15977"/>
                      </a:lnTo>
                      <a:lnTo>
                        <a:pt x="51217" y="56474"/>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42" name="Freeform: Shape 2341">
                  <a:extLst>
                    <a:ext uri="{FF2B5EF4-FFF2-40B4-BE49-F238E27FC236}">
                      <a16:creationId xmlns:a16="http://schemas.microsoft.com/office/drawing/2014/main" id="{9648AD57-C36D-9457-7AF8-208A5D3C3502}"/>
                    </a:ext>
                  </a:extLst>
                </p:cNvPr>
                <p:cNvSpPr/>
                <p:nvPr/>
              </p:nvSpPr>
              <p:spPr>
                <a:xfrm>
                  <a:off x="7563532" y="4532698"/>
                  <a:ext cx="244928" cy="519971"/>
                </a:xfrm>
                <a:custGeom>
                  <a:avLst/>
                  <a:gdLst>
                    <a:gd name="connsiteX0" fmla="*/ 50806 w 313665"/>
                    <a:gd name="connsiteY0" fmla="*/ 665897 h 665896"/>
                    <a:gd name="connsiteX1" fmla="*/ 0 w 313665"/>
                    <a:gd name="connsiteY1" fmla="*/ 407473 h 665896"/>
                    <a:gd name="connsiteX2" fmla="*/ 986 w 313665"/>
                    <a:gd name="connsiteY2" fmla="*/ 406159 h 665896"/>
                    <a:gd name="connsiteX3" fmla="*/ 313665 w 313665"/>
                    <a:gd name="connsiteY3" fmla="*/ 0 h 665896"/>
                    <a:gd name="connsiteX4" fmla="*/ 50806 w 313665"/>
                    <a:gd name="connsiteY4" fmla="*/ 665897 h 665896"/>
                    <a:gd name="connsiteX5" fmla="*/ 7722 w 313665"/>
                    <a:gd name="connsiteY5" fmla="*/ 409280 h 665896"/>
                    <a:gd name="connsiteX6" fmla="*/ 53147 w 313665"/>
                    <a:gd name="connsiteY6" fmla="*/ 640268 h 665896"/>
                    <a:gd name="connsiteX7" fmla="*/ 288078 w 313665"/>
                    <a:gd name="connsiteY7" fmla="*/ 45138 h 665896"/>
                    <a:gd name="connsiteX8" fmla="*/ 7722 w 313665"/>
                    <a:gd name="connsiteY8" fmla="*/ 409280 h 665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665" h="665896">
                      <a:moveTo>
                        <a:pt x="50806" y="665897"/>
                      </a:moveTo>
                      <a:lnTo>
                        <a:pt x="0" y="407473"/>
                      </a:lnTo>
                      <a:lnTo>
                        <a:pt x="986" y="406159"/>
                      </a:lnTo>
                      <a:lnTo>
                        <a:pt x="313665" y="0"/>
                      </a:lnTo>
                      <a:lnTo>
                        <a:pt x="50806" y="665897"/>
                      </a:lnTo>
                      <a:close/>
                      <a:moveTo>
                        <a:pt x="7722" y="409280"/>
                      </a:moveTo>
                      <a:lnTo>
                        <a:pt x="53147" y="640268"/>
                      </a:lnTo>
                      <a:lnTo>
                        <a:pt x="288078" y="45138"/>
                      </a:lnTo>
                      <a:lnTo>
                        <a:pt x="7722" y="409280"/>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43" name="Freeform: Shape 2342">
                  <a:extLst>
                    <a:ext uri="{FF2B5EF4-FFF2-40B4-BE49-F238E27FC236}">
                      <a16:creationId xmlns:a16="http://schemas.microsoft.com/office/drawing/2014/main" id="{10D71B44-14D0-FA09-5F32-72D7E8A7867A}"/>
                    </a:ext>
                  </a:extLst>
                </p:cNvPr>
                <p:cNvSpPr/>
                <p:nvPr/>
              </p:nvSpPr>
              <p:spPr>
                <a:xfrm>
                  <a:off x="4951934" y="1880723"/>
                  <a:ext cx="304709" cy="420294"/>
                </a:xfrm>
                <a:custGeom>
                  <a:avLst/>
                  <a:gdLst>
                    <a:gd name="connsiteX0" fmla="*/ 269390 w 390223"/>
                    <a:gd name="connsiteY0" fmla="*/ 517012 h 538245"/>
                    <a:gd name="connsiteX1" fmla="*/ 69453 w 390223"/>
                    <a:gd name="connsiteY1" fmla="*/ 538246 h 538245"/>
                    <a:gd name="connsiteX2" fmla="*/ 147612 w 390223"/>
                    <a:gd name="connsiteY2" fmla="*/ 403613 h 538245"/>
                    <a:gd name="connsiteX3" fmla="*/ 0 w 390223"/>
                    <a:gd name="connsiteY3" fmla="*/ 253659 h 538245"/>
                    <a:gd name="connsiteX4" fmla="*/ 390223 w 390223"/>
                    <a:gd name="connsiteY4" fmla="*/ 0 h 538245"/>
                    <a:gd name="connsiteX5" fmla="*/ 156648 w 390223"/>
                    <a:gd name="connsiteY5" fmla="*/ 402421 h 538245"/>
                    <a:gd name="connsiteX6" fmla="*/ 269431 w 390223"/>
                    <a:gd name="connsiteY6" fmla="*/ 516971 h 538245"/>
                    <a:gd name="connsiteX7" fmla="*/ 82883 w 390223"/>
                    <a:gd name="connsiteY7" fmla="*/ 529580 h 538245"/>
                    <a:gd name="connsiteX8" fmla="*/ 253701 w 390223"/>
                    <a:gd name="connsiteY8" fmla="*/ 511426 h 538245"/>
                    <a:gd name="connsiteX9" fmla="*/ 152869 w 390223"/>
                    <a:gd name="connsiteY9" fmla="*/ 409034 h 538245"/>
                    <a:gd name="connsiteX10" fmla="*/ 82883 w 390223"/>
                    <a:gd name="connsiteY10" fmla="*/ 529621 h 538245"/>
                    <a:gd name="connsiteX11" fmla="*/ 11336 w 390223"/>
                    <a:gd name="connsiteY11" fmla="*/ 254933 h 538245"/>
                    <a:gd name="connsiteX12" fmla="*/ 151350 w 390223"/>
                    <a:gd name="connsiteY12" fmla="*/ 397123 h 538245"/>
                    <a:gd name="connsiteX13" fmla="*/ 368702 w 390223"/>
                    <a:gd name="connsiteY13" fmla="*/ 22631 h 538245"/>
                    <a:gd name="connsiteX14" fmla="*/ 11336 w 390223"/>
                    <a:gd name="connsiteY14" fmla="*/ 254933 h 538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0223" h="538245">
                      <a:moveTo>
                        <a:pt x="269390" y="517012"/>
                      </a:moveTo>
                      <a:lnTo>
                        <a:pt x="69453" y="538246"/>
                      </a:lnTo>
                      <a:lnTo>
                        <a:pt x="147612" y="403613"/>
                      </a:lnTo>
                      <a:lnTo>
                        <a:pt x="0" y="253659"/>
                      </a:lnTo>
                      <a:lnTo>
                        <a:pt x="390223" y="0"/>
                      </a:lnTo>
                      <a:lnTo>
                        <a:pt x="156648" y="402421"/>
                      </a:lnTo>
                      <a:lnTo>
                        <a:pt x="269431" y="516971"/>
                      </a:lnTo>
                      <a:close/>
                      <a:moveTo>
                        <a:pt x="82883" y="529580"/>
                      </a:moveTo>
                      <a:lnTo>
                        <a:pt x="253701" y="511426"/>
                      </a:lnTo>
                      <a:lnTo>
                        <a:pt x="152869" y="409034"/>
                      </a:lnTo>
                      <a:lnTo>
                        <a:pt x="82883" y="529621"/>
                      </a:lnTo>
                      <a:close/>
                      <a:moveTo>
                        <a:pt x="11336" y="254933"/>
                      </a:moveTo>
                      <a:lnTo>
                        <a:pt x="151350" y="397123"/>
                      </a:lnTo>
                      <a:lnTo>
                        <a:pt x="368702" y="22631"/>
                      </a:lnTo>
                      <a:lnTo>
                        <a:pt x="11336" y="254933"/>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44" name="Freeform: Shape 2343">
                  <a:extLst>
                    <a:ext uri="{FF2B5EF4-FFF2-40B4-BE49-F238E27FC236}">
                      <a16:creationId xmlns:a16="http://schemas.microsoft.com/office/drawing/2014/main" id="{9B7C0931-CF5C-3AEF-DFDE-502FC38A241F}"/>
                    </a:ext>
                  </a:extLst>
                </p:cNvPr>
                <p:cNvSpPr/>
                <p:nvPr/>
              </p:nvSpPr>
              <p:spPr>
                <a:xfrm>
                  <a:off x="8019169" y="3623765"/>
                  <a:ext cx="162922" cy="287166"/>
                </a:xfrm>
                <a:custGeom>
                  <a:avLst/>
                  <a:gdLst>
                    <a:gd name="connsiteX0" fmla="*/ 208604 w 208644"/>
                    <a:gd name="connsiteY0" fmla="*/ 367757 h 367756"/>
                    <a:gd name="connsiteX1" fmla="*/ 0 w 208644"/>
                    <a:gd name="connsiteY1" fmla="*/ 278097 h 367756"/>
                    <a:gd name="connsiteX2" fmla="*/ 87278 w 208644"/>
                    <a:gd name="connsiteY2" fmla="*/ 0 h 367756"/>
                    <a:gd name="connsiteX3" fmla="*/ 208645 w 208644"/>
                    <a:gd name="connsiteY3" fmla="*/ 367757 h 367756"/>
                    <a:gd name="connsiteX4" fmla="*/ 8831 w 208644"/>
                    <a:gd name="connsiteY4" fmla="*/ 274031 h 367756"/>
                    <a:gd name="connsiteX5" fmla="*/ 196693 w 208644"/>
                    <a:gd name="connsiteY5" fmla="*/ 354737 h 367756"/>
                    <a:gd name="connsiteX6" fmla="*/ 87442 w 208644"/>
                    <a:gd name="connsiteY6" fmla="*/ 23657 h 367756"/>
                    <a:gd name="connsiteX7" fmla="*/ 8872 w 208644"/>
                    <a:gd name="connsiteY7" fmla="*/ 274031 h 367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644" h="367756">
                      <a:moveTo>
                        <a:pt x="208604" y="367757"/>
                      </a:moveTo>
                      <a:lnTo>
                        <a:pt x="0" y="278097"/>
                      </a:lnTo>
                      <a:lnTo>
                        <a:pt x="87278" y="0"/>
                      </a:lnTo>
                      <a:lnTo>
                        <a:pt x="208645" y="367757"/>
                      </a:lnTo>
                      <a:close/>
                      <a:moveTo>
                        <a:pt x="8831" y="274031"/>
                      </a:moveTo>
                      <a:lnTo>
                        <a:pt x="196693" y="354737"/>
                      </a:lnTo>
                      <a:lnTo>
                        <a:pt x="87442" y="23657"/>
                      </a:lnTo>
                      <a:lnTo>
                        <a:pt x="8872" y="274031"/>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45" name="Freeform: Shape 2344">
                  <a:extLst>
                    <a:ext uri="{FF2B5EF4-FFF2-40B4-BE49-F238E27FC236}">
                      <a16:creationId xmlns:a16="http://schemas.microsoft.com/office/drawing/2014/main" id="{926D3ED7-B77D-790E-282A-03FFF1CAD949}"/>
                    </a:ext>
                  </a:extLst>
                </p:cNvPr>
                <p:cNvSpPr/>
                <p:nvPr/>
              </p:nvSpPr>
              <p:spPr>
                <a:xfrm>
                  <a:off x="4032001" y="2845138"/>
                  <a:ext cx="374143" cy="232869"/>
                </a:xfrm>
                <a:custGeom>
                  <a:avLst/>
                  <a:gdLst>
                    <a:gd name="connsiteX0" fmla="*/ 306683 w 479143"/>
                    <a:gd name="connsiteY0" fmla="*/ 286845 h 298222"/>
                    <a:gd name="connsiteX1" fmla="*/ 177471 w 479143"/>
                    <a:gd name="connsiteY1" fmla="*/ 190902 h 298222"/>
                    <a:gd name="connsiteX2" fmla="*/ 0 w 479143"/>
                    <a:gd name="connsiteY2" fmla="*/ 298222 h 298222"/>
                    <a:gd name="connsiteX3" fmla="*/ 86826 w 479143"/>
                    <a:gd name="connsiteY3" fmla="*/ 114549 h 298222"/>
                    <a:gd name="connsiteX4" fmla="*/ 177923 w 479143"/>
                    <a:gd name="connsiteY4" fmla="*/ 182195 h 298222"/>
                    <a:gd name="connsiteX5" fmla="*/ 479143 w 479143"/>
                    <a:gd name="connsiteY5" fmla="*/ 0 h 298222"/>
                    <a:gd name="connsiteX6" fmla="*/ 306724 w 479143"/>
                    <a:gd name="connsiteY6" fmla="*/ 286845 h 298222"/>
                    <a:gd name="connsiteX7" fmla="*/ 184166 w 479143"/>
                    <a:gd name="connsiteY7" fmla="*/ 186836 h 298222"/>
                    <a:gd name="connsiteX8" fmla="*/ 304588 w 479143"/>
                    <a:gd name="connsiteY8" fmla="*/ 276249 h 298222"/>
                    <a:gd name="connsiteX9" fmla="*/ 457827 w 479143"/>
                    <a:gd name="connsiteY9" fmla="*/ 21316 h 298222"/>
                    <a:gd name="connsiteX10" fmla="*/ 184166 w 479143"/>
                    <a:gd name="connsiteY10" fmla="*/ 186836 h 298222"/>
                    <a:gd name="connsiteX11" fmla="*/ 89578 w 479143"/>
                    <a:gd name="connsiteY11" fmla="*/ 125639 h 298222"/>
                    <a:gd name="connsiteX12" fmla="*/ 16798 w 479143"/>
                    <a:gd name="connsiteY12" fmla="*/ 279617 h 298222"/>
                    <a:gd name="connsiteX13" fmla="*/ 171187 w 479143"/>
                    <a:gd name="connsiteY13" fmla="*/ 186220 h 298222"/>
                    <a:gd name="connsiteX14" fmla="*/ 89578 w 479143"/>
                    <a:gd name="connsiteY14" fmla="*/ 125639 h 298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9143" h="298222">
                      <a:moveTo>
                        <a:pt x="306683" y="286845"/>
                      </a:moveTo>
                      <a:lnTo>
                        <a:pt x="177471" y="190902"/>
                      </a:lnTo>
                      <a:lnTo>
                        <a:pt x="0" y="298222"/>
                      </a:lnTo>
                      <a:lnTo>
                        <a:pt x="86826" y="114549"/>
                      </a:lnTo>
                      <a:lnTo>
                        <a:pt x="177923" y="182195"/>
                      </a:lnTo>
                      <a:lnTo>
                        <a:pt x="479143" y="0"/>
                      </a:lnTo>
                      <a:lnTo>
                        <a:pt x="306724" y="286845"/>
                      </a:lnTo>
                      <a:close/>
                      <a:moveTo>
                        <a:pt x="184166" y="186836"/>
                      </a:moveTo>
                      <a:lnTo>
                        <a:pt x="304588" y="276249"/>
                      </a:lnTo>
                      <a:lnTo>
                        <a:pt x="457827" y="21316"/>
                      </a:lnTo>
                      <a:lnTo>
                        <a:pt x="184166" y="186836"/>
                      </a:lnTo>
                      <a:close/>
                      <a:moveTo>
                        <a:pt x="89578" y="125639"/>
                      </a:moveTo>
                      <a:lnTo>
                        <a:pt x="16798" y="279617"/>
                      </a:lnTo>
                      <a:lnTo>
                        <a:pt x="171187" y="186220"/>
                      </a:lnTo>
                      <a:lnTo>
                        <a:pt x="89578" y="125639"/>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46" name="Freeform: Shape 2345">
                  <a:extLst>
                    <a:ext uri="{FF2B5EF4-FFF2-40B4-BE49-F238E27FC236}">
                      <a16:creationId xmlns:a16="http://schemas.microsoft.com/office/drawing/2014/main" id="{11AE4971-2023-FEDE-8397-72ABAFB3BCC4}"/>
                    </a:ext>
                  </a:extLst>
                </p:cNvPr>
                <p:cNvSpPr/>
                <p:nvPr/>
              </p:nvSpPr>
              <p:spPr>
                <a:xfrm>
                  <a:off x="4882532" y="4136264"/>
                  <a:ext cx="69594" cy="840171"/>
                </a:xfrm>
                <a:custGeom>
                  <a:avLst/>
                  <a:gdLst>
                    <a:gd name="connsiteX0" fmla="*/ 7228 w 89125"/>
                    <a:gd name="connsiteY0" fmla="*/ 1075957 h 1075957"/>
                    <a:gd name="connsiteX1" fmla="*/ 0 w 89125"/>
                    <a:gd name="connsiteY1" fmla="*/ 1075424 h 1075957"/>
                    <a:gd name="connsiteX2" fmla="*/ 81897 w 89125"/>
                    <a:gd name="connsiteY2" fmla="*/ 0 h 1075957"/>
                    <a:gd name="connsiteX3" fmla="*/ 89126 w 89125"/>
                    <a:gd name="connsiteY3" fmla="*/ 534 h 1075957"/>
                    <a:gd name="connsiteX4" fmla="*/ 7228 w 89125"/>
                    <a:gd name="connsiteY4" fmla="*/ 1075957 h 1075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125" h="1075957">
                      <a:moveTo>
                        <a:pt x="7228" y="1075957"/>
                      </a:moveTo>
                      <a:lnTo>
                        <a:pt x="0" y="1075424"/>
                      </a:lnTo>
                      <a:lnTo>
                        <a:pt x="81897" y="0"/>
                      </a:lnTo>
                      <a:lnTo>
                        <a:pt x="89126" y="534"/>
                      </a:lnTo>
                      <a:lnTo>
                        <a:pt x="7228" y="1075957"/>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47" name="Freeform: Shape 2346">
                  <a:extLst>
                    <a:ext uri="{FF2B5EF4-FFF2-40B4-BE49-F238E27FC236}">
                      <a16:creationId xmlns:a16="http://schemas.microsoft.com/office/drawing/2014/main" id="{138A2D75-94A7-92C2-49F9-6611FAAEE606}"/>
                    </a:ext>
                  </a:extLst>
                </p:cNvPr>
                <p:cNvSpPr/>
                <p:nvPr/>
              </p:nvSpPr>
              <p:spPr>
                <a:xfrm>
                  <a:off x="7603845" y="4542929"/>
                  <a:ext cx="364169" cy="511184"/>
                </a:xfrm>
                <a:custGeom>
                  <a:avLst/>
                  <a:gdLst>
                    <a:gd name="connsiteX0" fmla="*/ 5134 w 466370"/>
                    <a:gd name="connsiteY0" fmla="*/ 654643 h 654643"/>
                    <a:gd name="connsiteX1" fmla="*/ 0 w 466370"/>
                    <a:gd name="connsiteY1" fmla="*/ 649550 h 654643"/>
                    <a:gd name="connsiteX2" fmla="*/ 455897 w 466370"/>
                    <a:gd name="connsiteY2" fmla="*/ 189341 h 654643"/>
                    <a:gd name="connsiteX3" fmla="*/ 253577 w 466370"/>
                    <a:gd name="connsiteY3" fmla="*/ 5339 h 654643"/>
                    <a:gd name="connsiteX4" fmla="*/ 258465 w 466370"/>
                    <a:gd name="connsiteY4" fmla="*/ 0 h 654643"/>
                    <a:gd name="connsiteX5" fmla="*/ 466370 w 466370"/>
                    <a:gd name="connsiteY5" fmla="*/ 189053 h 654643"/>
                    <a:gd name="connsiteX6" fmla="*/ 463701 w 466370"/>
                    <a:gd name="connsiteY6" fmla="*/ 191764 h 654643"/>
                    <a:gd name="connsiteX7" fmla="*/ 5134 w 466370"/>
                    <a:gd name="connsiteY7" fmla="*/ 654643 h 654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6370" h="654643">
                      <a:moveTo>
                        <a:pt x="5134" y="654643"/>
                      </a:moveTo>
                      <a:lnTo>
                        <a:pt x="0" y="649550"/>
                      </a:lnTo>
                      <a:lnTo>
                        <a:pt x="455897" y="189341"/>
                      </a:lnTo>
                      <a:lnTo>
                        <a:pt x="253577" y="5339"/>
                      </a:lnTo>
                      <a:lnTo>
                        <a:pt x="258465" y="0"/>
                      </a:lnTo>
                      <a:lnTo>
                        <a:pt x="466370" y="189053"/>
                      </a:lnTo>
                      <a:lnTo>
                        <a:pt x="463701" y="191764"/>
                      </a:lnTo>
                      <a:lnTo>
                        <a:pt x="5134" y="654643"/>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48" name="Freeform: Shape 2347">
                  <a:extLst>
                    <a:ext uri="{FF2B5EF4-FFF2-40B4-BE49-F238E27FC236}">
                      <a16:creationId xmlns:a16="http://schemas.microsoft.com/office/drawing/2014/main" id="{16479C0D-5BD4-33F0-5C86-EBF2FE391C9A}"/>
                    </a:ext>
                  </a:extLst>
                </p:cNvPr>
                <p:cNvSpPr/>
                <p:nvPr/>
              </p:nvSpPr>
              <p:spPr>
                <a:xfrm>
                  <a:off x="7257540" y="1810775"/>
                  <a:ext cx="474270" cy="566154"/>
                </a:xfrm>
                <a:custGeom>
                  <a:avLst/>
                  <a:gdLst>
                    <a:gd name="connsiteX0" fmla="*/ 603221 w 607369"/>
                    <a:gd name="connsiteY0" fmla="*/ 725040 h 725040"/>
                    <a:gd name="connsiteX1" fmla="*/ 0 w 607369"/>
                    <a:gd name="connsiteY1" fmla="*/ 301837 h 725040"/>
                    <a:gd name="connsiteX2" fmla="*/ 466206 w 607369"/>
                    <a:gd name="connsiteY2" fmla="*/ 0 h 725040"/>
                    <a:gd name="connsiteX3" fmla="*/ 470108 w 607369"/>
                    <a:gd name="connsiteY3" fmla="*/ 6079 h 725040"/>
                    <a:gd name="connsiteX4" fmla="*/ 12938 w 607369"/>
                    <a:gd name="connsiteY4" fmla="*/ 302083 h 725040"/>
                    <a:gd name="connsiteX5" fmla="*/ 607370 w 607369"/>
                    <a:gd name="connsiteY5" fmla="*/ 719126 h 725040"/>
                    <a:gd name="connsiteX6" fmla="*/ 603221 w 607369"/>
                    <a:gd name="connsiteY6" fmla="*/ 725040 h 725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7369" h="725040">
                      <a:moveTo>
                        <a:pt x="603221" y="725040"/>
                      </a:moveTo>
                      <a:lnTo>
                        <a:pt x="0" y="301837"/>
                      </a:lnTo>
                      <a:lnTo>
                        <a:pt x="466206" y="0"/>
                      </a:lnTo>
                      <a:lnTo>
                        <a:pt x="470108" y="6079"/>
                      </a:lnTo>
                      <a:lnTo>
                        <a:pt x="12938" y="302083"/>
                      </a:lnTo>
                      <a:lnTo>
                        <a:pt x="607370" y="719126"/>
                      </a:lnTo>
                      <a:lnTo>
                        <a:pt x="603221" y="725040"/>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49" name="Freeform: Shape 2348">
                  <a:extLst>
                    <a:ext uri="{FF2B5EF4-FFF2-40B4-BE49-F238E27FC236}">
                      <a16:creationId xmlns:a16="http://schemas.microsoft.com/office/drawing/2014/main" id="{81523040-6D61-1C36-9CC7-10C491A7791C}"/>
                    </a:ext>
                  </a:extLst>
                </p:cNvPr>
                <p:cNvSpPr/>
                <p:nvPr/>
              </p:nvSpPr>
              <p:spPr>
                <a:xfrm>
                  <a:off x="6837887" y="1640027"/>
                  <a:ext cx="49068" cy="207437"/>
                </a:xfrm>
                <a:custGeom>
                  <a:avLst/>
                  <a:gdLst>
                    <a:gd name="connsiteX0" fmla="*/ 7064 w 62839"/>
                    <a:gd name="connsiteY0" fmla="*/ 265652 h 265652"/>
                    <a:gd name="connsiteX1" fmla="*/ 0 w 62839"/>
                    <a:gd name="connsiteY1" fmla="*/ 264133 h 265652"/>
                    <a:gd name="connsiteX2" fmla="*/ 55734 w 62839"/>
                    <a:gd name="connsiteY2" fmla="*/ 0 h 265652"/>
                    <a:gd name="connsiteX3" fmla="*/ 62840 w 62839"/>
                    <a:gd name="connsiteY3" fmla="*/ 1520 h 265652"/>
                    <a:gd name="connsiteX4" fmla="*/ 7064 w 62839"/>
                    <a:gd name="connsiteY4" fmla="*/ 265652 h 265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839" h="265652">
                      <a:moveTo>
                        <a:pt x="7064" y="265652"/>
                      </a:moveTo>
                      <a:lnTo>
                        <a:pt x="0" y="264133"/>
                      </a:lnTo>
                      <a:lnTo>
                        <a:pt x="55734" y="0"/>
                      </a:lnTo>
                      <a:lnTo>
                        <a:pt x="62840" y="1520"/>
                      </a:lnTo>
                      <a:lnTo>
                        <a:pt x="7064" y="265652"/>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50" name="Freeform: Shape 2349">
                  <a:extLst>
                    <a:ext uri="{FF2B5EF4-FFF2-40B4-BE49-F238E27FC236}">
                      <a16:creationId xmlns:a16="http://schemas.microsoft.com/office/drawing/2014/main" id="{46AC47CB-B454-70EB-564C-CD580259CA3F}"/>
                    </a:ext>
                  </a:extLst>
                </p:cNvPr>
                <p:cNvSpPr/>
                <p:nvPr/>
              </p:nvSpPr>
              <p:spPr>
                <a:xfrm>
                  <a:off x="4401335" y="2518941"/>
                  <a:ext cx="103462" cy="328506"/>
                </a:xfrm>
                <a:custGeom>
                  <a:avLst/>
                  <a:gdLst>
                    <a:gd name="connsiteX0" fmla="*/ 6941 w 132497"/>
                    <a:gd name="connsiteY0" fmla="*/ 420698 h 420698"/>
                    <a:gd name="connsiteX1" fmla="*/ 0 w 132497"/>
                    <a:gd name="connsiteY1" fmla="*/ 418645 h 420698"/>
                    <a:gd name="connsiteX2" fmla="*/ 125556 w 132497"/>
                    <a:gd name="connsiteY2" fmla="*/ 0 h 420698"/>
                    <a:gd name="connsiteX3" fmla="*/ 132498 w 132497"/>
                    <a:gd name="connsiteY3" fmla="*/ 2095 h 420698"/>
                    <a:gd name="connsiteX4" fmla="*/ 6941 w 132497"/>
                    <a:gd name="connsiteY4" fmla="*/ 420698 h 420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97" h="420698">
                      <a:moveTo>
                        <a:pt x="6941" y="420698"/>
                      </a:moveTo>
                      <a:lnTo>
                        <a:pt x="0" y="418645"/>
                      </a:lnTo>
                      <a:lnTo>
                        <a:pt x="125556" y="0"/>
                      </a:lnTo>
                      <a:lnTo>
                        <a:pt x="132498" y="2095"/>
                      </a:lnTo>
                      <a:lnTo>
                        <a:pt x="6941" y="420698"/>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51" name="Freeform: Shape 2350">
                  <a:extLst>
                    <a:ext uri="{FF2B5EF4-FFF2-40B4-BE49-F238E27FC236}">
                      <a16:creationId xmlns:a16="http://schemas.microsoft.com/office/drawing/2014/main" id="{6D8CE29A-A8BF-F974-0ABD-34BD377AAB9C}"/>
                    </a:ext>
                  </a:extLst>
                </p:cNvPr>
                <p:cNvSpPr/>
                <p:nvPr/>
              </p:nvSpPr>
              <p:spPr>
                <a:xfrm rot="16787998">
                  <a:off x="3907008" y="3368222"/>
                  <a:ext cx="621509" cy="5644"/>
                </a:xfrm>
                <a:custGeom>
                  <a:avLst/>
                  <a:gdLst>
                    <a:gd name="connsiteX0" fmla="*/ 0 w 795930"/>
                    <a:gd name="connsiteY0" fmla="*/ 0 h 7228"/>
                    <a:gd name="connsiteX1" fmla="*/ 795930 w 795930"/>
                    <a:gd name="connsiteY1" fmla="*/ 0 h 7228"/>
                    <a:gd name="connsiteX2" fmla="*/ 795930 w 795930"/>
                    <a:gd name="connsiteY2" fmla="*/ 7229 h 7228"/>
                    <a:gd name="connsiteX3" fmla="*/ 0 w 795930"/>
                    <a:gd name="connsiteY3" fmla="*/ 7229 h 7228"/>
                  </a:gdLst>
                  <a:ahLst/>
                  <a:cxnLst>
                    <a:cxn ang="0">
                      <a:pos x="connsiteX0" y="connsiteY0"/>
                    </a:cxn>
                    <a:cxn ang="0">
                      <a:pos x="connsiteX1" y="connsiteY1"/>
                    </a:cxn>
                    <a:cxn ang="0">
                      <a:pos x="connsiteX2" y="connsiteY2"/>
                    </a:cxn>
                    <a:cxn ang="0">
                      <a:pos x="connsiteX3" y="connsiteY3"/>
                    </a:cxn>
                  </a:cxnLst>
                  <a:rect l="l" t="t" r="r" b="b"/>
                  <a:pathLst>
                    <a:path w="795930" h="7228">
                      <a:moveTo>
                        <a:pt x="0" y="0"/>
                      </a:moveTo>
                      <a:lnTo>
                        <a:pt x="795930" y="0"/>
                      </a:lnTo>
                      <a:lnTo>
                        <a:pt x="795930" y="7229"/>
                      </a:lnTo>
                      <a:lnTo>
                        <a:pt x="0" y="7229"/>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52" name="Freeform: Shape 2351">
                  <a:extLst>
                    <a:ext uri="{FF2B5EF4-FFF2-40B4-BE49-F238E27FC236}">
                      <a16:creationId xmlns:a16="http://schemas.microsoft.com/office/drawing/2014/main" id="{36EFC29C-F737-D8CA-1403-02C887081D0E}"/>
                    </a:ext>
                  </a:extLst>
                </p:cNvPr>
                <p:cNvSpPr/>
                <p:nvPr/>
              </p:nvSpPr>
              <p:spPr>
                <a:xfrm>
                  <a:off x="3809683" y="2941320"/>
                  <a:ext cx="293548" cy="132262"/>
                </a:xfrm>
                <a:custGeom>
                  <a:avLst/>
                  <a:gdLst>
                    <a:gd name="connsiteX0" fmla="*/ 293006 w 375930"/>
                    <a:gd name="connsiteY0" fmla="*/ 169380 h 169380"/>
                    <a:gd name="connsiteX1" fmla="*/ 0 w 375930"/>
                    <a:gd name="connsiteY1" fmla="*/ 164492 h 169380"/>
                    <a:gd name="connsiteX2" fmla="*/ 373014 w 375930"/>
                    <a:gd name="connsiteY2" fmla="*/ 0 h 169380"/>
                    <a:gd name="connsiteX3" fmla="*/ 375930 w 375930"/>
                    <a:gd name="connsiteY3" fmla="*/ 6612 h 169380"/>
                    <a:gd name="connsiteX4" fmla="*/ 33145 w 375930"/>
                    <a:gd name="connsiteY4" fmla="*/ 157798 h 169380"/>
                    <a:gd name="connsiteX5" fmla="*/ 293129 w 375930"/>
                    <a:gd name="connsiteY5" fmla="*/ 162151 h 169380"/>
                    <a:gd name="connsiteX6" fmla="*/ 293006 w 375930"/>
                    <a:gd name="connsiteY6" fmla="*/ 169380 h 169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5930" h="169380">
                      <a:moveTo>
                        <a:pt x="293006" y="169380"/>
                      </a:moveTo>
                      <a:lnTo>
                        <a:pt x="0" y="164492"/>
                      </a:lnTo>
                      <a:lnTo>
                        <a:pt x="373014" y="0"/>
                      </a:lnTo>
                      <a:lnTo>
                        <a:pt x="375930" y="6612"/>
                      </a:lnTo>
                      <a:lnTo>
                        <a:pt x="33145" y="157798"/>
                      </a:lnTo>
                      <a:lnTo>
                        <a:pt x="293129" y="162151"/>
                      </a:lnTo>
                      <a:lnTo>
                        <a:pt x="293006" y="169380"/>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grpSp>
          <p:sp>
            <p:nvSpPr>
              <p:cNvPr id="2299" name="Freeform: Shape 2298">
                <a:extLst>
                  <a:ext uri="{FF2B5EF4-FFF2-40B4-BE49-F238E27FC236}">
                    <a16:creationId xmlns:a16="http://schemas.microsoft.com/office/drawing/2014/main" id="{2961E0AA-C7CF-8D27-B2FD-D71AC15DB8CB}"/>
                  </a:ext>
                </a:extLst>
              </p:cNvPr>
              <p:cNvSpPr/>
              <p:nvPr/>
            </p:nvSpPr>
            <p:spPr>
              <a:xfrm>
                <a:off x="3482559" y="826090"/>
                <a:ext cx="4592413" cy="5440188"/>
              </a:xfrm>
              <a:custGeom>
                <a:avLst/>
                <a:gdLst>
                  <a:gd name="connsiteX0" fmla="*/ 3413102 w 5881229"/>
                  <a:gd name="connsiteY0" fmla="*/ 6966925 h 6966924"/>
                  <a:gd name="connsiteX1" fmla="*/ 3260274 w 5881229"/>
                  <a:gd name="connsiteY1" fmla="*/ 6794670 h 6966924"/>
                  <a:gd name="connsiteX2" fmla="*/ 2853294 w 5881229"/>
                  <a:gd name="connsiteY2" fmla="*/ 6917557 h 6966924"/>
                  <a:gd name="connsiteX3" fmla="*/ 2851856 w 5881229"/>
                  <a:gd name="connsiteY3" fmla="*/ 6916489 h 6966924"/>
                  <a:gd name="connsiteX4" fmla="*/ 2446067 w 5881229"/>
                  <a:gd name="connsiteY4" fmla="*/ 6619129 h 6966924"/>
                  <a:gd name="connsiteX5" fmla="*/ 1796804 w 5881229"/>
                  <a:gd name="connsiteY5" fmla="*/ 6534193 h 6966924"/>
                  <a:gd name="connsiteX6" fmla="*/ 1795901 w 5881229"/>
                  <a:gd name="connsiteY6" fmla="*/ 6532796 h 6966924"/>
                  <a:gd name="connsiteX7" fmla="*/ 1513245 w 5881229"/>
                  <a:gd name="connsiteY7" fmla="*/ 6098092 h 6966924"/>
                  <a:gd name="connsiteX8" fmla="*/ 842378 w 5881229"/>
                  <a:gd name="connsiteY8" fmla="*/ 5759374 h 6966924"/>
                  <a:gd name="connsiteX9" fmla="*/ 106207 w 5881229"/>
                  <a:gd name="connsiteY9" fmla="*/ 4342027 h 6966924"/>
                  <a:gd name="connsiteX10" fmla="*/ 41601 w 5881229"/>
                  <a:gd name="connsiteY10" fmla="*/ 2959838 h 6966924"/>
                  <a:gd name="connsiteX11" fmla="*/ 498936 w 5881229"/>
                  <a:gd name="connsiteY11" fmla="*/ 1702508 h 6966924"/>
                  <a:gd name="connsiteX12" fmla="*/ 1396313 w 5881229"/>
                  <a:gd name="connsiteY12" fmla="*/ 706270 h 6966924"/>
                  <a:gd name="connsiteX13" fmla="*/ 2651837 w 5881229"/>
                  <a:gd name="connsiteY13" fmla="*/ 107321 h 6966924"/>
                  <a:gd name="connsiteX14" fmla="*/ 5136187 w 5881229"/>
                  <a:gd name="connsiteY14" fmla="*/ 397493 h 6966924"/>
                  <a:gd name="connsiteX15" fmla="*/ 5689137 w 5881229"/>
                  <a:gd name="connsiteY15" fmla="*/ 755680 h 6966924"/>
                  <a:gd name="connsiteX16" fmla="*/ 5689917 w 5881229"/>
                  <a:gd name="connsiteY16" fmla="*/ 756296 h 6966924"/>
                  <a:gd name="connsiteX17" fmla="*/ 5690246 w 5881229"/>
                  <a:gd name="connsiteY17" fmla="*/ 757200 h 6966924"/>
                  <a:gd name="connsiteX18" fmla="*/ 5881229 w 5881229"/>
                  <a:gd name="connsiteY18" fmla="*/ 1252854 h 6966924"/>
                  <a:gd name="connsiteX19" fmla="*/ 5874494 w 5881229"/>
                  <a:gd name="connsiteY19" fmla="*/ 1255441 h 6966924"/>
                  <a:gd name="connsiteX20" fmla="*/ 5683838 w 5881229"/>
                  <a:gd name="connsiteY20" fmla="*/ 760691 h 6966924"/>
                  <a:gd name="connsiteX21" fmla="*/ 5132819 w 5881229"/>
                  <a:gd name="connsiteY21" fmla="*/ 403859 h 6966924"/>
                  <a:gd name="connsiteX22" fmla="*/ 2653603 w 5881229"/>
                  <a:gd name="connsiteY22" fmla="*/ 114303 h 6966924"/>
                  <a:gd name="connsiteX23" fmla="*/ 113190 w 5881229"/>
                  <a:gd name="connsiteY23" fmla="*/ 4340220 h 6966924"/>
                  <a:gd name="connsiteX24" fmla="*/ 847348 w 5881229"/>
                  <a:gd name="connsiteY24" fmla="*/ 5754075 h 6966924"/>
                  <a:gd name="connsiteX25" fmla="*/ 1518214 w 5881229"/>
                  <a:gd name="connsiteY25" fmla="*/ 6092507 h 6966924"/>
                  <a:gd name="connsiteX26" fmla="*/ 1518748 w 5881229"/>
                  <a:gd name="connsiteY26" fmla="*/ 6093328 h 6966924"/>
                  <a:gd name="connsiteX27" fmla="*/ 1801035 w 5881229"/>
                  <a:gd name="connsiteY27" fmla="*/ 6527416 h 6966924"/>
                  <a:gd name="connsiteX28" fmla="*/ 2448860 w 5881229"/>
                  <a:gd name="connsiteY28" fmla="*/ 6612147 h 6966924"/>
                  <a:gd name="connsiteX29" fmla="*/ 2449599 w 5881229"/>
                  <a:gd name="connsiteY29" fmla="*/ 6612722 h 6966924"/>
                  <a:gd name="connsiteX30" fmla="*/ 2854690 w 5881229"/>
                  <a:gd name="connsiteY30" fmla="*/ 6909589 h 6966924"/>
                  <a:gd name="connsiteX31" fmla="*/ 3262656 w 5881229"/>
                  <a:gd name="connsiteY31" fmla="*/ 6786414 h 6966924"/>
                  <a:gd name="connsiteX32" fmla="*/ 3418524 w 5881229"/>
                  <a:gd name="connsiteY32" fmla="*/ 6962120 h 6966924"/>
                  <a:gd name="connsiteX33" fmla="*/ 3413102 w 5881229"/>
                  <a:gd name="connsiteY33" fmla="*/ 6966925 h 696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881229" h="6966924">
                    <a:moveTo>
                      <a:pt x="3413102" y="6966925"/>
                    </a:moveTo>
                    <a:lnTo>
                      <a:pt x="3260274" y="6794670"/>
                    </a:lnTo>
                    <a:lnTo>
                      <a:pt x="2853294" y="6917557"/>
                    </a:lnTo>
                    <a:lnTo>
                      <a:pt x="2851856" y="6916489"/>
                    </a:lnTo>
                    <a:lnTo>
                      <a:pt x="2446067" y="6619129"/>
                    </a:lnTo>
                    <a:lnTo>
                      <a:pt x="1796804" y="6534193"/>
                    </a:lnTo>
                    <a:lnTo>
                      <a:pt x="1795901" y="6532796"/>
                    </a:lnTo>
                    <a:lnTo>
                      <a:pt x="1513245" y="6098092"/>
                    </a:lnTo>
                    <a:lnTo>
                      <a:pt x="842378" y="5759374"/>
                    </a:lnTo>
                    <a:cubicBezTo>
                      <a:pt x="487436" y="5348491"/>
                      <a:pt x="239773" y="4871648"/>
                      <a:pt x="106207" y="4342027"/>
                    </a:cubicBezTo>
                    <a:cubicBezTo>
                      <a:pt x="-8794" y="3886007"/>
                      <a:pt x="-30521" y="3420992"/>
                      <a:pt x="41601" y="2959838"/>
                    </a:cubicBezTo>
                    <a:cubicBezTo>
                      <a:pt x="111300" y="2514456"/>
                      <a:pt x="265155" y="2091417"/>
                      <a:pt x="498936" y="1702508"/>
                    </a:cubicBezTo>
                    <a:cubicBezTo>
                      <a:pt x="732716" y="1313599"/>
                      <a:pt x="1034635" y="978412"/>
                      <a:pt x="1396313" y="706270"/>
                    </a:cubicBezTo>
                    <a:cubicBezTo>
                      <a:pt x="1770765" y="424518"/>
                      <a:pt x="2193188" y="222979"/>
                      <a:pt x="2651837" y="107321"/>
                    </a:cubicBezTo>
                    <a:cubicBezTo>
                      <a:pt x="3490153" y="-104076"/>
                      <a:pt x="4372416" y="-1027"/>
                      <a:pt x="5136187" y="397493"/>
                    </a:cubicBezTo>
                    <a:cubicBezTo>
                      <a:pt x="5331032" y="499145"/>
                      <a:pt x="5517087" y="619650"/>
                      <a:pt x="5689137" y="755680"/>
                    </a:cubicBezTo>
                    <a:lnTo>
                      <a:pt x="5689917" y="756296"/>
                    </a:lnTo>
                    <a:lnTo>
                      <a:pt x="5690246" y="757200"/>
                    </a:lnTo>
                    <a:lnTo>
                      <a:pt x="5881229" y="1252854"/>
                    </a:lnTo>
                    <a:lnTo>
                      <a:pt x="5874494" y="1255441"/>
                    </a:lnTo>
                    <a:lnTo>
                      <a:pt x="5683838" y="760691"/>
                    </a:lnTo>
                    <a:cubicBezTo>
                      <a:pt x="5512323" y="625236"/>
                      <a:pt x="5326925" y="505183"/>
                      <a:pt x="5132819" y="403859"/>
                    </a:cubicBezTo>
                    <a:cubicBezTo>
                      <a:pt x="4370650" y="6202"/>
                      <a:pt x="3490194" y="-96642"/>
                      <a:pt x="2653603" y="114303"/>
                    </a:cubicBezTo>
                    <a:cubicBezTo>
                      <a:pt x="784097" y="585807"/>
                      <a:pt x="-355563" y="2481516"/>
                      <a:pt x="113190" y="4340220"/>
                    </a:cubicBezTo>
                    <a:cubicBezTo>
                      <a:pt x="246427" y="4868526"/>
                      <a:pt x="493432" y="5344179"/>
                      <a:pt x="847348" y="5754075"/>
                    </a:cubicBezTo>
                    <a:lnTo>
                      <a:pt x="1518214" y="6092507"/>
                    </a:lnTo>
                    <a:lnTo>
                      <a:pt x="1518748" y="6093328"/>
                    </a:lnTo>
                    <a:lnTo>
                      <a:pt x="1801035" y="6527416"/>
                    </a:lnTo>
                    <a:lnTo>
                      <a:pt x="2448860" y="6612147"/>
                    </a:lnTo>
                    <a:lnTo>
                      <a:pt x="2449599" y="6612722"/>
                    </a:lnTo>
                    <a:lnTo>
                      <a:pt x="2854690" y="6909589"/>
                    </a:lnTo>
                    <a:lnTo>
                      <a:pt x="3262656" y="6786414"/>
                    </a:lnTo>
                    <a:lnTo>
                      <a:pt x="3418524" y="6962120"/>
                    </a:lnTo>
                    <a:lnTo>
                      <a:pt x="3413102" y="6966925"/>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00" name="Freeform: Shape 2299">
                <a:extLst>
                  <a:ext uri="{FF2B5EF4-FFF2-40B4-BE49-F238E27FC236}">
                    <a16:creationId xmlns:a16="http://schemas.microsoft.com/office/drawing/2014/main" id="{71532DF9-B16D-3036-47DA-1516138DC562}"/>
                  </a:ext>
                </a:extLst>
              </p:cNvPr>
              <p:cNvSpPr/>
              <p:nvPr/>
            </p:nvSpPr>
            <p:spPr>
              <a:xfrm>
                <a:off x="6148771" y="4708031"/>
                <a:ext cx="2532381" cy="1558985"/>
              </a:xfrm>
              <a:custGeom>
                <a:avLst/>
                <a:gdLst>
                  <a:gd name="connsiteX0" fmla="*/ 1492672 w 3243069"/>
                  <a:gd name="connsiteY0" fmla="*/ 1702097 h 1996499"/>
                  <a:gd name="connsiteX1" fmla="*/ 1491070 w 3243069"/>
                  <a:gd name="connsiteY1" fmla="*/ 1702261 h 1996499"/>
                  <a:gd name="connsiteX2" fmla="*/ 459182 w 3243069"/>
                  <a:gd name="connsiteY2" fmla="*/ 1813853 h 1996499"/>
                  <a:gd name="connsiteX3" fmla="*/ 2711 w 3243069"/>
                  <a:gd name="connsiteY3" fmla="*/ 1996499 h 1996499"/>
                  <a:gd name="connsiteX4" fmla="*/ 0 w 3243069"/>
                  <a:gd name="connsiteY4" fmla="*/ 1989805 h 1996499"/>
                  <a:gd name="connsiteX5" fmla="*/ 457416 w 3243069"/>
                  <a:gd name="connsiteY5" fmla="*/ 1806789 h 1996499"/>
                  <a:gd name="connsiteX6" fmla="*/ 457909 w 3243069"/>
                  <a:gd name="connsiteY6" fmla="*/ 1806707 h 1996499"/>
                  <a:gd name="connsiteX7" fmla="*/ 1488688 w 3243069"/>
                  <a:gd name="connsiteY7" fmla="*/ 1695238 h 1996499"/>
                  <a:gd name="connsiteX8" fmla="*/ 1679918 w 3243069"/>
                  <a:gd name="connsiteY8" fmla="*/ 1431146 h 1996499"/>
                  <a:gd name="connsiteX9" fmla="*/ 1680822 w 3243069"/>
                  <a:gd name="connsiteY9" fmla="*/ 1430736 h 1996499"/>
                  <a:gd name="connsiteX10" fmla="*/ 2395265 w 3243069"/>
                  <a:gd name="connsiteY10" fmla="*/ 1117399 h 1996499"/>
                  <a:gd name="connsiteX11" fmla="*/ 2511006 w 3243069"/>
                  <a:gd name="connsiteY11" fmla="*/ 485345 h 1996499"/>
                  <a:gd name="connsiteX12" fmla="*/ 2512279 w 3243069"/>
                  <a:gd name="connsiteY12" fmla="*/ 484524 h 1996499"/>
                  <a:gd name="connsiteX13" fmla="*/ 3243069 w 3243069"/>
                  <a:gd name="connsiteY13" fmla="*/ 0 h 1996499"/>
                  <a:gd name="connsiteX14" fmla="*/ 2917165 w 3243069"/>
                  <a:gd name="connsiteY14" fmla="*/ 338391 h 1996499"/>
                  <a:gd name="connsiteX15" fmla="*/ 2911949 w 3243069"/>
                  <a:gd name="connsiteY15" fmla="*/ 333379 h 1996499"/>
                  <a:gd name="connsiteX16" fmla="*/ 3192099 w 3243069"/>
                  <a:gd name="connsiteY16" fmla="*/ 42427 h 1996499"/>
                  <a:gd name="connsiteX17" fmla="*/ 2517577 w 3243069"/>
                  <a:gd name="connsiteY17" fmla="*/ 489658 h 1996499"/>
                  <a:gd name="connsiteX18" fmla="*/ 2401673 w 3243069"/>
                  <a:gd name="connsiteY18" fmla="*/ 1122492 h 1996499"/>
                  <a:gd name="connsiteX19" fmla="*/ 2399907 w 3243069"/>
                  <a:gd name="connsiteY19" fmla="*/ 1123272 h 1996499"/>
                  <a:gd name="connsiteX20" fmla="*/ 1684641 w 3243069"/>
                  <a:gd name="connsiteY20" fmla="*/ 1436979 h 1996499"/>
                  <a:gd name="connsiteX21" fmla="*/ 1492672 w 3243069"/>
                  <a:gd name="connsiteY21" fmla="*/ 1702097 h 199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243069" h="1996499">
                    <a:moveTo>
                      <a:pt x="1492672" y="1702097"/>
                    </a:moveTo>
                    <a:lnTo>
                      <a:pt x="1491070" y="1702261"/>
                    </a:lnTo>
                    <a:lnTo>
                      <a:pt x="459182" y="1813853"/>
                    </a:lnTo>
                    <a:lnTo>
                      <a:pt x="2711" y="1996499"/>
                    </a:lnTo>
                    <a:lnTo>
                      <a:pt x="0" y="1989805"/>
                    </a:lnTo>
                    <a:lnTo>
                      <a:pt x="457416" y="1806789"/>
                    </a:lnTo>
                    <a:lnTo>
                      <a:pt x="457909" y="1806707"/>
                    </a:lnTo>
                    <a:lnTo>
                      <a:pt x="1488688" y="1695238"/>
                    </a:lnTo>
                    <a:lnTo>
                      <a:pt x="1679918" y="1431146"/>
                    </a:lnTo>
                    <a:lnTo>
                      <a:pt x="1680822" y="1430736"/>
                    </a:lnTo>
                    <a:lnTo>
                      <a:pt x="2395265" y="1117399"/>
                    </a:lnTo>
                    <a:lnTo>
                      <a:pt x="2511006" y="485345"/>
                    </a:lnTo>
                    <a:lnTo>
                      <a:pt x="2512279" y="484524"/>
                    </a:lnTo>
                    <a:lnTo>
                      <a:pt x="3243069" y="0"/>
                    </a:lnTo>
                    <a:lnTo>
                      <a:pt x="2917165" y="338391"/>
                    </a:lnTo>
                    <a:lnTo>
                      <a:pt x="2911949" y="333379"/>
                    </a:lnTo>
                    <a:lnTo>
                      <a:pt x="3192099" y="42427"/>
                    </a:lnTo>
                    <a:lnTo>
                      <a:pt x="2517577" y="489658"/>
                    </a:lnTo>
                    <a:lnTo>
                      <a:pt x="2401673" y="1122492"/>
                    </a:lnTo>
                    <a:lnTo>
                      <a:pt x="2399907" y="1123272"/>
                    </a:lnTo>
                    <a:lnTo>
                      <a:pt x="1684641" y="1436979"/>
                    </a:lnTo>
                    <a:lnTo>
                      <a:pt x="1492672" y="1702097"/>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01" name="Freeform: Shape 2300">
                <a:extLst>
                  <a:ext uri="{FF2B5EF4-FFF2-40B4-BE49-F238E27FC236}">
                    <a16:creationId xmlns:a16="http://schemas.microsoft.com/office/drawing/2014/main" id="{60A2A9CE-3049-54D6-A106-0D22BC04FE2F}"/>
                  </a:ext>
                </a:extLst>
              </p:cNvPr>
              <p:cNvSpPr/>
              <p:nvPr/>
            </p:nvSpPr>
            <p:spPr>
              <a:xfrm>
                <a:off x="4796068" y="840394"/>
                <a:ext cx="1191160" cy="395054"/>
              </a:xfrm>
              <a:custGeom>
                <a:avLst/>
                <a:gdLst>
                  <a:gd name="connsiteX0" fmla="*/ 2670 w 1525447"/>
                  <a:gd name="connsiteY0" fmla="*/ 505922 h 505922"/>
                  <a:gd name="connsiteX1" fmla="*/ 0 w 1525447"/>
                  <a:gd name="connsiteY1" fmla="*/ 499186 h 505922"/>
                  <a:gd name="connsiteX2" fmla="*/ 671811 w 1525447"/>
                  <a:gd name="connsiteY2" fmla="*/ 184453 h 505922"/>
                  <a:gd name="connsiteX3" fmla="*/ 1523558 w 1525447"/>
                  <a:gd name="connsiteY3" fmla="*/ 0 h 505922"/>
                  <a:gd name="connsiteX4" fmla="*/ 1525447 w 1525447"/>
                  <a:gd name="connsiteY4" fmla="*/ 6982 h 505922"/>
                  <a:gd name="connsiteX5" fmla="*/ 2711 w 1525447"/>
                  <a:gd name="connsiteY5" fmla="*/ 505922 h 505922"/>
                  <a:gd name="connsiteX6" fmla="*/ 674111 w 1525447"/>
                  <a:gd name="connsiteY6" fmla="*/ 191271 h 505922"/>
                  <a:gd name="connsiteX7" fmla="*/ 56925 w 1525447"/>
                  <a:gd name="connsiteY7" fmla="*/ 480499 h 505922"/>
                  <a:gd name="connsiteX8" fmla="*/ 1456734 w 1525447"/>
                  <a:gd name="connsiteY8" fmla="*/ 21850 h 505922"/>
                  <a:gd name="connsiteX9" fmla="*/ 674152 w 1525447"/>
                  <a:gd name="connsiteY9" fmla="*/ 191230 h 505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5447" h="505922">
                    <a:moveTo>
                      <a:pt x="2670" y="505922"/>
                    </a:moveTo>
                    <a:lnTo>
                      <a:pt x="0" y="499186"/>
                    </a:lnTo>
                    <a:lnTo>
                      <a:pt x="671811" y="184453"/>
                    </a:lnTo>
                    <a:lnTo>
                      <a:pt x="1523558" y="0"/>
                    </a:lnTo>
                    <a:lnTo>
                      <a:pt x="1525447" y="6982"/>
                    </a:lnTo>
                    <a:lnTo>
                      <a:pt x="2711" y="505922"/>
                    </a:lnTo>
                    <a:close/>
                    <a:moveTo>
                      <a:pt x="674111" y="191271"/>
                    </a:moveTo>
                    <a:lnTo>
                      <a:pt x="56925" y="480499"/>
                    </a:lnTo>
                    <a:lnTo>
                      <a:pt x="1456734" y="21850"/>
                    </a:lnTo>
                    <a:lnTo>
                      <a:pt x="674152" y="191230"/>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02" name="Freeform: Shape 2301">
                <a:extLst>
                  <a:ext uri="{FF2B5EF4-FFF2-40B4-BE49-F238E27FC236}">
                    <a16:creationId xmlns:a16="http://schemas.microsoft.com/office/drawing/2014/main" id="{4BAA5288-4A4B-628B-B39E-A0F7684CA7FC}"/>
                  </a:ext>
                </a:extLst>
              </p:cNvPr>
              <p:cNvSpPr/>
              <p:nvPr/>
            </p:nvSpPr>
            <p:spPr>
              <a:xfrm>
                <a:off x="4054195" y="838694"/>
                <a:ext cx="4020360" cy="1310625"/>
              </a:xfrm>
              <a:custGeom>
                <a:avLst/>
                <a:gdLst>
                  <a:gd name="connsiteX0" fmla="*/ 5143092 w 5148635"/>
                  <a:gd name="connsiteY0" fmla="*/ 1240368 h 1678439"/>
                  <a:gd name="connsiteX1" fmla="*/ 4432632 w 5148635"/>
                  <a:gd name="connsiteY1" fmla="*/ 401970 h 1678439"/>
                  <a:gd name="connsiteX2" fmla="*/ 3738519 w 5148635"/>
                  <a:gd name="connsiteY2" fmla="*/ 318471 h 1678439"/>
                  <a:gd name="connsiteX3" fmla="*/ 3547083 w 5148635"/>
                  <a:gd name="connsiteY3" fmla="*/ 83663 h 1678439"/>
                  <a:gd name="connsiteX4" fmla="*/ 2567480 w 5148635"/>
                  <a:gd name="connsiteY4" fmla="*/ 335926 h 1678439"/>
                  <a:gd name="connsiteX5" fmla="*/ 2567110 w 5148635"/>
                  <a:gd name="connsiteY5" fmla="*/ 335844 h 1678439"/>
                  <a:gd name="connsiteX6" fmla="*/ 2564399 w 5148635"/>
                  <a:gd name="connsiteY6" fmla="*/ 336542 h 1678439"/>
                  <a:gd name="connsiteX7" fmla="*/ 2564071 w 5148635"/>
                  <a:gd name="connsiteY7" fmla="*/ 335392 h 1678439"/>
                  <a:gd name="connsiteX8" fmla="*/ 2100534 w 5148635"/>
                  <a:gd name="connsiteY8" fmla="*/ 265488 h 1678439"/>
                  <a:gd name="connsiteX9" fmla="*/ 2068540 w 5148635"/>
                  <a:gd name="connsiteY9" fmla="*/ 272388 h 1678439"/>
                  <a:gd name="connsiteX10" fmla="*/ 1703863 w 5148635"/>
                  <a:gd name="connsiteY10" fmla="*/ 508099 h 1678439"/>
                  <a:gd name="connsiteX11" fmla="*/ 1702795 w 5148635"/>
                  <a:gd name="connsiteY11" fmla="*/ 508099 h 1678439"/>
                  <a:gd name="connsiteX12" fmla="*/ 1185989 w 5148635"/>
                  <a:gd name="connsiteY12" fmla="*/ 507031 h 1678439"/>
                  <a:gd name="connsiteX13" fmla="*/ 1032668 w 5148635"/>
                  <a:gd name="connsiteY13" fmla="*/ 616364 h 1678439"/>
                  <a:gd name="connsiteX14" fmla="*/ 609259 w 5148635"/>
                  <a:gd name="connsiteY14" fmla="*/ 743276 h 1678439"/>
                  <a:gd name="connsiteX15" fmla="*/ 814413 w 5148635"/>
                  <a:gd name="connsiteY15" fmla="*/ 1678440 h 1678439"/>
                  <a:gd name="connsiteX16" fmla="*/ 0 w 5148635"/>
                  <a:gd name="connsiteY16" fmla="*/ 1362721 h 1678439"/>
                  <a:gd name="connsiteX17" fmla="*/ 2629 w 5148635"/>
                  <a:gd name="connsiteY17" fmla="*/ 1355985 h 1678439"/>
                  <a:gd name="connsiteX18" fmla="*/ 804432 w 5148635"/>
                  <a:gd name="connsiteY18" fmla="*/ 1666816 h 1678439"/>
                  <a:gd name="connsiteX19" fmla="*/ 600757 w 5148635"/>
                  <a:gd name="connsiteY19" fmla="*/ 738265 h 1678439"/>
                  <a:gd name="connsiteX20" fmla="*/ 603961 w 5148635"/>
                  <a:gd name="connsiteY20" fmla="*/ 737280 h 1678439"/>
                  <a:gd name="connsiteX21" fmla="*/ 1029998 w 5148635"/>
                  <a:gd name="connsiteY21" fmla="*/ 609587 h 1678439"/>
                  <a:gd name="connsiteX22" fmla="*/ 1173544 w 5148635"/>
                  <a:gd name="connsiteY22" fmla="*/ 506990 h 1678439"/>
                  <a:gd name="connsiteX23" fmla="*/ 944651 w 5148635"/>
                  <a:gd name="connsiteY23" fmla="*/ 506497 h 1678439"/>
                  <a:gd name="connsiteX24" fmla="*/ 1272938 w 5148635"/>
                  <a:gd name="connsiteY24" fmla="*/ 435936 h 1678439"/>
                  <a:gd name="connsiteX25" fmla="*/ 1622541 w 5148635"/>
                  <a:gd name="connsiteY25" fmla="*/ 186096 h 1678439"/>
                  <a:gd name="connsiteX26" fmla="*/ 1623979 w 5148635"/>
                  <a:gd name="connsiteY26" fmla="*/ 186302 h 1678439"/>
                  <a:gd name="connsiteX27" fmla="*/ 2081559 w 5148635"/>
                  <a:gd name="connsiteY27" fmla="*/ 255302 h 1678439"/>
                  <a:gd name="connsiteX28" fmla="*/ 2476547 w 5148635"/>
                  <a:gd name="connsiteY28" fmla="*/ 0 h 1678439"/>
                  <a:gd name="connsiteX29" fmla="*/ 2523903 w 5148635"/>
                  <a:gd name="connsiteY29" fmla="*/ 167080 h 1678439"/>
                  <a:gd name="connsiteX30" fmla="*/ 3228653 w 5148635"/>
                  <a:gd name="connsiteY30" fmla="*/ 15607 h 1678439"/>
                  <a:gd name="connsiteX31" fmla="*/ 2601117 w 5148635"/>
                  <a:gd name="connsiteY31" fmla="*/ 319621 h 1678439"/>
                  <a:gd name="connsiteX32" fmla="*/ 3549793 w 5148635"/>
                  <a:gd name="connsiteY32" fmla="*/ 75449 h 1678439"/>
                  <a:gd name="connsiteX33" fmla="*/ 3551272 w 5148635"/>
                  <a:gd name="connsiteY33" fmla="*/ 77256 h 1678439"/>
                  <a:gd name="connsiteX34" fmla="*/ 3742297 w 5148635"/>
                  <a:gd name="connsiteY34" fmla="*/ 311571 h 1678439"/>
                  <a:gd name="connsiteX35" fmla="*/ 4436328 w 5148635"/>
                  <a:gd name="connsiteY35" fmla="*/ 395070 h 1678439"/>
                  <a:gd name="connsiteX36" fmla="*/ 4437232 w 5148635"/>
                  <a:gd name="connsiteY36" fmla="*/ 396137 h 1678439"/>
                  <a:gd name="connsiteX37" fmla="*/ 5148636 w 5148635"/>
                  <a:gd name="connsiteY37" fmla="*/ 1235645 h 1678439"/>
                  <a:gd name="connsiteX38" fmla="*/ 5143092 w 5148635"/>
                  <a:gd name="connsiteY38" fmla="*/ 1240327 h 1678439"/>
                  <a:gd name="connsiteX39" fmla="*/ 2525874 w 5148635"/>
                  <a:gd name="connsiteY39" fmla="*/ 174062 h 1678439"/>
                  <a:gd name="connsiteX40" fmla="*/ 2569205 w 5148635"/>
                  <a:gd name="connsiteY40" fmla="*/ 327014 h 1678439"/>
                  <a:gd name="connsiteX41" fmla="*/ 3171317 w 5148635"/>
                  <a:gd name="connsiteY41" fmla="*/ 35363 h 1678439"/>
                  <a:gd name="connsiteX42" fmla="*/ 2525874 w 5148635"/>
                  <a:gd name="connsiteY42" fmla="*/ 174062 h 1678439"/>
                  <a:gd name="connsiteX43" fmla="*/ 2120536 w 5148635"/>
                  <a:gd name="connsiteY43" fmla="*/ 261175 h 1678439"/>
                  <a:gd name="connsiteX44" fmla="*/ 2561894 w 5148635"/>
                  <a:gd name="connsiteY44" fmla="*/ 327712 h 1678439"/>
                  <a:gd name="connsiteX45" fmla="*/ 2518769 w 5148635"/>
                  <a:gd name="connsiteY45" fmla="*/ 175582 h 1678439"/>
                  <a:gd name="connsiteX46" fmla="*/ 2120536 w 5148635"/>
                  <a:gd name="connsiteY46" fmla="*/ 261175 h 1678439"/>
                  <a:gd name="connsiteX47" fmla="*/ 1196093 w 5148635"/>
                  <a:gd name="connsiteY47" fmla="*/ 499761 h 1678439"/>
                  <a:gd name="connsiteX48" fmla="*/ 1701727 w 5148635"/>
                  <a:gd name="connsiteY48" fmla="*/ 500788 h 1678439"/>
                  <a:gd name="connsiteX49" fmla="*/ 2048497 w 5148635"/>
                  <a:gd name="connsiteY49" fmla="*/ 276618 h 1678439"/>
                  <a:gd name="connsiteX50" fmla="*/ 1275936 w 5148635"/>
                  <a:gd name="connsiteY50" fmla="*/ 442672 h 1678439"/>
                  <a:gd name="connsiteX51" fmla="*/ 1196093 w 5148635"/>
                  <a:gd name="connsiteY51" fmla="*/ 499761 h 1678439"/>
                  <a:gd name="connsiteX52" fmla="*/ 2100288 w 5148635"/>
                  <a:gd name="connsiteY52" fmla="*/ 258095 h 1678439"/>
                  <a:gd name="connsiteX53" fmla="*/ 2516797 w 5148635"/>
                  <a:gd name="connsiteY53" fmla="*/ 168600 h 1678439"/>
                  <a:gd name="connsiteX54" fmla="*/ 2472234 w 5148635"/>
                  <a:gd name="connsiteY54" fmla="*/ 11377 h 1678439"/>
                  <a:gd name="connsiteX55" fmla="*/ 2092361 w 5148635"/>
                  <a:gd name="connsiteY55" fmla="*/ 256904 h 1678439"/>
                  <a:gd name="connsiteX56" fmla="*/ 2100288 w 5148635"/>
                  <a:gd name="connsiteY56" fmla="*/ 258095 h 1678439"/>
                  <a:gd name="connsiteX57" fmla="*/ 1012132 w 5148635"/>
                  <a:gd name="connsiteY57" fmla="*/ 499351 h 1678439"/>
                  <a:gd name="connsiteX58" fmla="*/ 1183648 w 5148635"/>
                  <a:gd name="connsiteY58" fmla="*/ 499720 h 1678439"/>
                  <a:gd name="connsiteX59" fmla="*/ 1258111 w 5148635"/>
                  <a:gd name="connsiteY59" fmla="*/ 446491 h 1678439"/>
                  <a:gd name="connsiteX60" fmla="*/ 1012132 w 5148635"/>
                  <a:gd name="connsiteY60" fmla="*/ 499351 h 1678439"/>
                  <a:gd name="connsiteX61" fmla="*/ 1290722 w 5148635"/>
                  <a:gd name="connsiteY61" fmla="*/ 432075 h 1678439"/>
                  <a:gd name="connsiteX62" fmla="*/ 2065664 w 5148635"/>
                  <a:gd name="connsiteY62" fmla="*/ 265529 h 1678439"/>
                  <a:gd name="connsiteX63" fmla="*/ 2072359 w 5148635"/>
                  <a:gd name="connsiteY63" fmla="*/ 261217 h 1678439"/>
                  <a:gd name="connsiteX64" fmla="*/ 1624348 w 5148635"/>
                  <a:gd name="connsiteY64" fmla="*/ 193653 h 1678439"/>
                  <a:gd name="connsiteX65" fmla="*/ 1290722 w 5148635"/>
                  <a:gd name="connsiteY65" fmla="*/ 432075 h 1678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148635" h="1678439">
                    <a:moveTo>
                      <a:pt x="5143092" y="1240368"/>
                    </a:moveTo>
                    <a:lnTo>
                      <a:pt x="4432632" y="401970"/>
                    </a:lnTo>
                    <a:lnTo>
                      <a:pt x="3738519" y="318471"/>
                    </a:lnTo>
                    <a:lnTo>
                      <a:pt x="3547083" y="83663"/>
                    </a:lnTo>
                    <a:lnTo>
                      <a:pt x="2567480" y="335926"/>
                    </a:lnTo>
                    <a:lnTo>
                      <a:pt x="2567110" y="335844"/>
                    </a:lnTo>
                    <a:lnTo>
                      <a:pt x="2564399" y="336542"/>
                    </a:lnTo>
                    <a:lnTo>
                      <a:pt x="2564071" y="335392"/>
                    </a:lnTo>
                    <a:lnTo>
                      <a:pt x="2100534" y="265488"/>
                    </a:lnTo>
                    <a:lnTo>
                      <a:pt x="2068540" y="272388"/>
                    </a:lnTo>
                    <a:lnTo>
                      <a:pt x="1703863" y="508099"/>
                    </a:lnTo>
                    <a:lnTo>
                      <a:pt x="1702795" y="508099"/>
                    </a:lnTo>
                    <a:cubicBezTo>
                      <a:pt x="1702795" y="508099"/>
                      <a:pt x="1185989" y="507031"/>
                      <a:pt x="1185989" y="507031"/>
                    </a:cubicBezTo>
                    <a:lnTo>
                      <a:pt x="1032668" y="616364"/>
                    </a:lnTo>
                    <a:lnTo>
                      <a:pt x="609259" y="743276"/>
                    </a:lnTo>
                    <a:lnTo>
                      <a:pt x="814413" y="1678440"/>
                    </a:lnTo>
                    <a:lnTo>
                      <a:pt x="0" y="1362721"/>
                    </a:lnTo>
                    <a:lnTo>
                      <a:pt x="2629" y="1355985"/>
                    </a:lnTo>
                    <a:lnTo>
                      <a:pt x="804432" y="1666816"/>
                    </a:lnTo>
                    <a:lnTo>
                      <a:pt x="600757" y="738265"/>
                    </a:lnTo>
                    <a:lnTo>
                      <a:pt x="603961" y="737280"/>
                    </a:lnTo>
                    <a:lnTo>
                      <a:pt x="1029998" y="609587"/>
                    </a:lnTo>
                    <a:lnTo>
                      <a:pt x="1173544" y="506990"/>
                    </a:lnTo>
                    <a:lnTo>
                      <a:pt x="944651" y="506497"/>
                    </a:lnTo>
                    <a:lnTo>
                      <a:pt x="1272938" y="435936"/>
                    </a:lnTo>
                    <a:lnTo>
                      <a:pt x="1622541" y="186096"/>
                    </a:lnTo>
                    <a:lnTo>
                      <a:pt x="1623979" y="186302"/>
                    </a:lnTo>
                    <a:lnTo>
                      <a:pt x="2081559" y="255302"/>
                    </a:lnTo>
                    <a:lnTo>
                      <a:pt x="2476547" y="0"/>
                    </a:lnTo>
                    <a:lnTo>
                      <a:pt x="2523903" y="167080"/>
                    </a:lnTo>
                    <a:lnTo>
                      <a:pt x="3228653" y="15607"/>
                    </a:lnTo>
                    <a:lnTo>
                      <a:pt x="2601117" y="319621"/>
                    </a:lnTo>
                    <a:lnTo>
                      <a:pt x="3549793" y="75449"/>
                    </a:lnTo>
                    <a:lnTo>
                      <a:pt x="3551272" y="77256"/>
                    </a:lnTo>
                    <a:lnTo>
                      <a:pt x="3742297" y="311571"/>
                    </a:lnTo>
                    <a:lnTo>
                      <a:pt x="4436328" y="395070"/>
                    </a:lnTo>
                    <a:lnTo>
                      <a:pt x="4437232" y="396137"/>
                    </a:lnTo>
                    <a:lnTo>
                      <a:pt x="5148636" y="1235645"/>
                    </a:lnTo>
                    <a:lnTo>
                      <a:pt x="5143092" y="1240327"/>
                    </a:lnTo>
                    <a:close/>
                    <a:moveTo>
                      <a:pt x="2525874" y="174062"/>
                    </a:moveTo>
                    <a:lnTo>
                      <a:pt x="2569205" y="327014"/>
                    </a:lnTo>
                    <a:lnTo>
                      <a:pt x="3171317" y="35363"/>
                    </a:lnTo>
                    <a:lnTo>
                      <a:pt x="2525874" y="174062"/>
                    </a:lnTo>
                    <a:close/>
                    <a:moveTo>
                      <a:pt x="2120536" y="261175"/>
                    </a:moveTo>
                    <a:lnTo>
                      <a:pt x="2561894" y="327712"/>
                    </a:lnTo>
                    <a:lnTo>
                      <a:pt x="2518769" y="175582"/>
                    </a:lnTo>
                    <a:lnTo>
                      <a:pt x="2120536" y="261175"/>
                    </a:lnTo>
                    <a:close/>
                    <a:moveTo>
                      <a:pt x="1196093" y="499761"/>
                    </a:moveTo>
                    <a:lnTo>
                      <a:pt x="1701727" y="500788"/>
                    </a:lnTo>
                    <a:lnTo>
                      <a:pt x="2048497" y="276618"/>
                    </a:lnTo>
                    <a:lnTo>
                      <a:pt x="1275936" y="442672"/>
                    </a:lnTo>
                    <a:lnTo>
                      <a:pt x="1196093" y="499761"/>
                    </a:lnTo>
                    <a:close/>
                    <a:moveTo>
                      <a:pt x="2100288" y="258095"/>
                    </a:moveTo>
                    <a:lnTo>
                      <a:pt x="2516797" y="168600"/>
                    </a:lnTo>
                    <a:lnTo>
                      <a:pt x="2472234" y="11377"/>
                    </a:lnTo>
                    <a:lnTo>
                      <a:pt x="2092361" y="256904"/>
                    </a:lnTo>
                    <a:lnTo>
                      <a:pt x="2100288" y="258095"/>
                    </a:lnTo>
                    <a:close/>
                    <a:moveTo>
                      <a:pt x="1012132" y="499351"/>
                    </a:moveTo>
                    <a:lnTo>
                      <a:pt x="1183648" y="499720"/>
                    </a:lnTo>
                    <a:lnTo>
                      <a:pt x="1258111" y="446491"/>
                    </a:lnTo>
                    <a:lnTo>
                      <a:pt x="1012132" y="499351"/>
                    </a:lnTo>
                    <a:close/>
                    <a:moveTo>
                      <a:pt x="1290722" y="432075"/>
                    </a:moveTo>
                    <a:lnTo>
                      <a:pt x="2065664" y="265529"/>
                    </a:lnTo>
                    <a:lnTo>
                      <a:pt x="2072359" y="261217"/>
                    </a:lnTo>
                    <a:lnTo>
                      <a:pt x="1624348" y="193653"/>
                    </a:lnTo>
                    <a:lnTo>
                      <a:pt x="1290722" y="432075"/>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03" name="Freeform: Shape 2302">
                <a:extLst>
                  <a:ext uri="{FF2B5EF4-FFF2-40B4-BE49-F238E27FC236}">
                    <a16:creationId xmlns:a16="http://schemas.microsoft.com/office/drawing/2014/main" id="{6D52D5B2-21F0-4B7A-9818-3A76099E49E5}"/>
                  </a:ext>
                </a:extLst>
              </p:cNvPr>
              <p:cNvSpPr/>
              <p:nvPr/>
            </p:nvSpPr>
            <p:spPr>
              <a:xfrm>
                <a:off x="3678063" y="1230638"/>
                <a:ext cx="2362692" cy="4903251"/>
              </a:xfrm>
              <a:custGeom>
                <a:avLst/>
                <a:gdLst>
                  <a:gd name="connsiteX0" fmla="*/ 3025635 w 3025758"/>
                  <a:gd name="connsiteY0" fmla="*/ 6279301 h 6279300"/>
                  <a:gd name="connsiteX1" fmla="*/ 2195328 w 3025758"/>
                  <a:gd name="connsiteY1" fmla="*/ 6100721 h 6279300"/>
                  <a:gd name="connsiteX2" fmla="*/ 1262917 w 3025758"/>
                  <a:gd name="connsiteY2" fmla="*/ 5580013 h 6279300"/>
                  <a:gd name="connsiteX3" fmla="*/ 1262465 w 3025758"/>
                  <a:gd name="connsiteY3" fmla="*/ 5579356 h 6279300"/>
                  <a:gd name="connsiteX4" fmla="*/ 983218 w 3025758"/>
                  <a:gd name="connsiteY4" fmla="*/ 5199154 h 6279300"/>
                  <a:gd name="connsiteX5" fmla="*/ 131430 w 3025758"/>
                  <a:gd name="connsiteY5" fmla="*/ 4555765 h 6279300"/>
                  <a:gd name="connsiteX6" fmla="*/ 132046 w 3025758"/>
                  <a:gd name="connsiteY6" fmla="*/ 4553424 h 6279300"/>
                  <a:gd name="connsiteX7" fmla="*/ 348330 w 3025758"/>
                  <a:gd name="connsiteY7" fmla="*/ 3713752 h 6279300"/>
                  <a:gd name="connsiteX8" fmla="*/ 616 w 3025758"/>
                  <a:gd name="connsiteY8" fmla="*/ 3022842 h 6279300"/>
                  <a:gd name="connsiteX9" fmla="*/ 0 w 3025758"/>
                  <a:gd name="connsiteY9" fmla="*/ 3021610 h 6279300"/>
                  <a:gd name="connsiteX10" fmla="*/ 370 w 3025758"/>
                  <a:gd name="connsiteY10" fmla="*/ 3020255 h 6279300"/>
                  <a:gd name="connsiteX11" fmla="*/ 178252 w 3025758"/>
                  <a:gd name="connsiteY11" fmla="*/ 2352715 h 6279300"/>
                  <a:gd name="connsiteX12" fmla="*/ 6243 w 3025758"/>
                  <a:gd name="connsiteY12" fmla="*/ 1670636 h 6279300"/>
                  <a:gd name="connsiteX13" fmla="*/ 6982 w 3025758"/>
                  <a:gd name="connsiteY13" fmla="*/ 1669363 h 6279300"/>
                  <a:gd name="connsiteX14" fmla="*/ 480622 w 3025758"/>
                  <a:gd name="connsiteY14" fmla="*/ 854745 h 6279300"/>
                  <a:gd name="connsiteX15" fmla="*/ 1430982 w 3025758"/>
                  <a:gd name="connsiteY15" fmla="*/ 0 h 6279300"/>
                  <a:gd name="connsiteX16" fmla="*/ 1435829 w 3025758"/>
                  <a:gd name="connsiteY16" fmla="*/ 5380 h 6279300"/>
                  <a:gd name="connsiteX17" fmla="*/ 485920 w 3025758"/>
                  <a:gd name="connsiteY17" fmla="*/ 859715 h 6279300"/>
                  <a:gd name="connsiteX18" fmla="*/ 14047 w 3025758"/>
                  <a:gd name="connsiteY18" fmla="*/ 1671663 h 6279300"/>
                  <a:gd name="connsiteX19" fmla="*/ 185809 w 3025758"/>
                  <a:gd name="connsiteY19" fmla="*/ 2352674 h 6279300"/>
                  <a:gd name="connsiteX20" fmla="*/ 185562 w 3025758"/>
                  <a:gd name="connsiteY20" fmla="*/ 2353578 h 6279300"/>
                  <a:gd name="connsiteX21" fmla="*/ 7804 w 3025758"/>
                  <a:gd name="connsiteY21" fmla="*/ 3020666 h 6279300"/>
                  <a:gd name="connsiteX22" fmla="*/ 355641 w 3025758"/>
                  <a:gd name="connsiteY22" fmla="*/ 3714204 h 6279300"/>
                  <a:gd name="connsiteX23" fmla="*/ 139767 w 3025758"/>
                  <a:gd name="connsiteY23" fmla="*/ 4552808 h 6279300"/>
                  <a:gd name="connsiteX24" fmla="*/ 988844 w 3025758"/>
                  <a:gd name="connsiteY24" fmla="*/ 5194349 h 6279300"/>
                  <a:gd name="connsiteX25" fmla="*/ 1267927 w 3025758"/>
                  <a:gd name="connsiteY25" fmla="*/ 5574345 h 6279300"/>
                  <a:gd name="connsiteX26" fmla="*/ 2197957 w 3025758"/>
                  <a:gd name="connsiteY26" fmla="*/ 6093739 h 6279300"/>
                  <a:gd name="connsiteX27" fmla="*/ 2739078 w 3025758"/>
                  <a:gd name="connsiteY27" fmla="*/ 6054064 h 6279300"/>
                  <a:gd name="connsiteX28" fmla="*/ 2740022 w 3025758"/>
                  <a:gd name="connsiteY28" fmla="*/ 6054598 h 6279300"/>
                  <a:gd name="connsiteX29" fmla="*/ 3025759 w 3025758"/>
                  <a:gd name="connsiteY29" fmla="*/ 6279178 h 6279300"/>
                  <a:gd name="connsiteX30" fmla="*/ 2219725 w 3025758"/>
                  <a:gd name="connsiteY30" fmla="*/ 6098709 h 6279300"/>
                  <a:gd name="connsiteX31" fmla="*/ 2996557 w 3025758"/>
                  <a:gd name="connsiteY31" fmla="*/ 6265624 h 6279300"/>
                  <a:gd name="connsiteX32" fmla="*/ 2735874 w 3025758"/>
                  <a:gd name="connsiteY32" fmla="*/ 6060758 h 6279300"/>
                  <a:gd name="connsiteX33" fmla="*/ 2219725 w 3025758"/>
                  <a:gd name="connsiteY33" fmla="*/ 6098709 h 627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025758" h="6279300">
                    <a:moveTo>
                      <a:pt x="3025635" y="6279301"/>
                    </a:moveTo>
                    <a:lnTo>
                      <a:pt x="2195328" y="6100721"/>
                    </a:lnTo>
                    <a:lnTo>
                      <a:pt x="1262917" y="5580013"/>
                    </a:lnTo>
                    <a:lnTo>
                      <a:pt x="1262465" y="5579356"/>
                    </a:lnTo>
                    <a:lnTo>
                      <a:pt x="983218" y="5199154"/>
                    </a:lnTo>
                    <a:lnTo>
                      <a:pt x="131430" y="4555765"/>
                    </a:lnTo>
                    <a:lnTo>
                      <a:pt x="132046" y="4553424"/>
                    </a:lnTo>
                    <a:cubicBezTo>
                      <a:pt x="206263" y="4269002"/>
                      <a:pt x="346933" y="3727552"/>
                      <a:pt x="348330" y="3713752"/>
                    </a:cubicBezTo>
                    <a:cubicBezTo>
                      <a:pt x="345578" y="3694818"/>
                      <a:pt x="96395" y="3208569"/>
                      <a:pt x="616" y="3022842"/>
                    </a:cubicBezTo>
                    <a:lnTo>
                      <a:pt x="0" y="3021610"/>
                    </a:lnTo>
                    <a:lnTo>
                      <a:pt x="370" y="3020255"/>
                    </a:lnTo>
                    <a:lnTo>
                      <a:pt x="178252" y="2352715"/>
                    </a:lnTo>
                    <a:lnTo>
                      <a:pt x="6243" y="1670636"/>
                    </a:lnTo>
                    <a:lnTo>
                      <a:pt x="6982" y="1669363"/>
                    </a:lnTo>
                    <a:lnTo>
                      <a:pt x="480622" y="854745"/>
                    </a:lnTo>
                    <a:lnTo>
                      <a:pt x="1430982" y="0"/>
                    </a:lnTo>
                    <a:lnTo>
                      <a:pt x="1435829" y="5380"/>
                    </a:lnTo>
                    <a:lnTo>
                      <a:pt x="485920" y="859715"/>
                    </a:lnTo>
                    <a:lnTo>
                      <a:pt x="14047" y="1671663"/>
                    </a:lnTo>
                    <a:lnTo>
                      <a:pt x="185809" y="2352674"/>
                    </a:lnTo>
                    <a:lnTo>
                      <a:pt x="185562" y="2353578"/>
                    </a:lnTo>
                    <a:lnTo>
                      <a:pt x="7804" y="3020666"/>
                    </a:lnTo>
                    <a:cubicBezTo>
                      <a:pt x="67645" y="3136734"/>
                      <a:pt x="356832" y="3698556"/>
                      <a:pt x="355641" y="3714204"/>
                    </a:cubicBezTo>
                    <a:cubicBezTo>
                      <a:pt x="354450" y="3729606"/>
                      <a:pt x="154841" y="4494979"/>
                      <a:pt x="139767" y="4552808"/>
                    </a:cubicBezTo>
                    <a:lnTo>
                      <a:pt x="988844" y="5194349"/>
                    </a:lnTo>
                    <a:lnTo>
                      <a:pt x="1267927" y="5574345"/>
                    </a:lnTo>
                    <a:lnTo>
                      <a:pt x="2197957" y="6093739"/>
                    </a:lnTo>
                    <a:cubicBezTo>
                      <a:pt x="2230896" y="6090084"/>
                      <a:pt x="2699731" y="6038785"/>
                      <a:pt x="2739078" y="6054064"/>
                    </a:cubicBezTo>
                    <a:lnTo>
                      <a:pt x="2740022" y="6054598"/>
                    </a:lnTo>
                    <a:lnTo>
                      <a:pt x="3025759" y="6279178"/>
                    </a:lnTo>
                    <a:close/>
                    <a:moveTo>
                      <a:pt x="2219725" y="6098709"/>
                    </a:moveTo>
                    <a:lnTo>
                      <a:pt x="2996557" y="6265624"/>
                    </a:lnTo>
                    <a:lnTo>
                      <a:pt x="2735874" y="6060758"/>
                    </a:lnTo>
                    <a:cubicBezTo>
                      <a:pt x="2703838" y="6049833"/>
                      <a:pt x="2396744" y="6079487"/>
                      <a:pt x="2219725" y="6098709"/>
                    </a:cubicBez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04" name="Freeform: Shape 2303">
                <a:extLst>
                  <a:ext uri="{FF2B5EF4-FFF2-40B4-BE49-F238E27FC236}">
                    <a16:creationId xmlns:a16="http://schemas.microsoft.com/office/drawing/2014/main" id="{CF4E7003-0166-7089-D2A1-F3A2C5FC12C1}"/>
                  </a:ext>
                </a:extLst>
              </p:cNvPr>
              <p:cNvSpPr/>
              <p:nvPr/>
            </p:nvSpPr>
            <p:spPr>
              <a:xfrm>
                <a:off x="6505820" y="4045053"/>
                <a:ext cx="2397104" cy="2079278"/>
              </a:xfrm>
              <a:custGeom>
                <a:avLst/>
                <a:gdLst>
                  <a:gd name="connsiteX0" fmla="*/ 2136 w 3069828"/>
                  <a:gd name="connsiteY0" fmla="*/ 2662807 h 2662807"/>
                  <a:gd name="connsiteX1" fmla="*/ 0 w 3069828"/>
                  <a:gd name="connsiteY1" fmla="*/ 2655866 h 2662807"/>
                  <a:gd name="connsiteX2" fmla="*/ 1222995 w 3069828"/>
                  <a:gd name="connsiteY2" fmla="*/ 2279895 h 2662807"/>
                  <a:gd name="connsiteX3" fmla="*/ 2051988 w 3069828"/>
                  <a:gd name="connsiteY3" fmla="*/ 1336805 h 2662807"/>
                  <a:gd name="connsiteX4" fmla="*/ 2050222 w 3069828"/>
                  <a:gd name="connsiteY4" fmla="*/ 1335244 h 2662807"/>
                  <a:gd name="connsiteX5" fmla="*/ 2054822 w 3069828"/>
                  <a:gd name="connsiteY5" fmla="*/ 1333519 h 2662807"/>
                  <a:gd name="connsiteX6" fmla="*/ 3063709 w 3069828"/>
                  <a:gd name="connsiteY6" fmla="*/ 0 h 2662807"/>
                  <a:gd name="connsiteX7" fmla="*/ 3069829 w 3069828"/>
                  <a:gd name="connsiteY7" fmla="*/ 3861 h 2662807"/>
                  <a:gd name="connsiteX8" fmla="*/ 2459872 w 3069828"/>
                  <a:gd name="connsiteY8" fmla="*/ 1187796 h 2662807"/>
                  <a:gd name="connsiteX9" fmla="*/ 2458557 w 3069828"/>
                  <a:gd name="connsiteY9" fmla="*/ 1188289 h 2662807"/>
                  <a:gd name="connsiteX10" fmla="*/ 2063857 w 3069828"/>
                  <a:gd name="connsiteY10" fmla="*/ 1337831 h 2662807"/>
                  <a:gd name="connsiteX11" fmla="*/ 2244163 w 3069828"/>
                  <a:gd name="connsiteY11" fmla="*/ 1500188 h 2662807"/>
                  <a:gd name="connsiteX12" fmla="*/ 2239316 w 3069828"/>
                  <a:gd name="connsiteY12" fmla="*/ 1505569 h 2662807"/>
                  <a:gd name="connsiteX13" fmla="*/ 2057327 w 3069828"/>
                  <a:gd name="connsiteY13" fmla="*/ 1341692 h 2662807"/>
                  <a:gd name="connsiteX14" fmla="*/ 1227061 w 3069828"/>
                  <a:gd name="connsiteY14" fmla="*/ 2286261 h 2662807"/>
                  <a:gd name="connsiteX15" fmla="*/ 1226075 w 3069828"/>
                  <a:gd name="connsiteY15" fmla="*/ 2286549 h 2662807"/>
                  <a:gd name="connsiteX16" fmla="*/ 2095 w 3069828"/>
                  <a:gd name="connsiteY16" fmla="*/ 2662807 h 2662807"/>
                  <a:gd name="connsiteX17" fmla="*/ 3044159 w 3069828"/>
                  <a:gd name="connsiteY17" fmla="*/ 37868 h 2662807"/>
                  <a:gd name="connsiteX18" fmla="*/ 2067513 w 3069828"/>
                  <a:gd name="connsiteY18" fmla="*/ 1328713 h 2662807"/>
                  <a:gd name="connsiteX19" fmla="*/ 2454697 w 3069828"/>
                  <a:gd name="connsiteY19" fmla="*/ 1182046 h 2662807"/>
                  <a:gd name="connsiteX20" fmla="*/ 3044118 w 3069828"/>
                  <a:gd name="connsiteY20" fmla="*/ 37909 h 266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069828" h="2662807">
                    <a:moveTo>
                      <a:pt x="2136" y="2662807"/>
                    </a:moveTo>
                    <a:lnTo>
                      <a:pt x="0" y="2655866"/>
                    </a:lnTo>
                    <a:lnTo>
                      <a:pt x="1222995" y="2279895"/>
                    </a:lnTo>
                    <a:lnTo>
                      <a:pt x="2051988" y="1336805"/>
                    </a:lnTo>
                    <a:lnTo>
                      <a:pt x="2050222" y="1335244"/>
                    </a:lnTo>
                    <a:lnTo>
                      <a:pt x="2054822" y="1333519"/>
                    </a:lnTo>
                    <a:lnTo>
                      <a:pt x="3063709" y="0"/>
                    </a:lnTo>
                    <a:lnTo>
                      <a:pt x="3069829" y="3861"/>
                    </a:lnTo>
                    <a:lnTo>
                      <a:pt x="2459872" y="1187796"/>
                    </a:lnTo>
                    <a:lnTo>
                      <a:pt x="2458557" y="1188289"/>
                    </a:lnTo>
                    <a:lnTo>
                      <a:pt x="2063857" y="1337831"/>
                    </a:lnTo>
                    <a:lnTo>
                      <a:pt x="2244163" y="1500188"/>
                    </a:lnTo>
                    <a:lnTo>
                      <a:pt x="2239316" y="1505569"/>
                    </a:lnTo>
                    <a:lnTo>
                      <a:pt x="2057327" y="1341692"/>
                    </a:lnTo>
                    <a:lnTo>
                      <a:pt x="1227061" y="2286261"/>
                    </a:lnTo>
                    <a:lnTo>
                      <a:pt x="1226075" y="2286549"/>
                    </a:lnTo>
                    <a:lnTo>
                      <a:pt x="2095" y="2662807"/>
                    </a:lnTo>
                    <a:close/>
                    <a:moveTo>
                      <a:pt x="3044159" y="37868"/>
                    </a:moveTo>
                    <a:lnTo>
                      <a:pt x="2067513" y="1328713"/>
                    </a:lnTo>
                    <a:lnTo>
                      <a:pt x="2454697" y="1182046"/>
                    </a:lnTo>
                    <a:lnTo>
                      <a:pt x="3044118" y="37909"/>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05" name="Freeform: Shape 2304">
                <a:extLst>
                  <a:ext uri="{FF2B5EF4-FFF2-40B4-BE49-F238E27FC236}">
                    <a16:creationId xmlns:a16="http://schemas.microsoft.com/office/drawing/2014/main" id="{34D08292-A8B7-A164-6B86-E9D099AB3585}"/>
                  </a:ext>
                </a:extLst>
              </p:cNvPr>
              <p:cNvSpPr/>
              <p:nvPr/>
            </p:nvSpPr>
            <p:spPr>
              <a:xfrm>
                <a:off x="6018497" y="4968258"/>
                <a:ext cx="2408008" cy="1298470"/>
              </a:xfrm>
              <a:custGeom>
                <a:avLst/>
                <a:gdLst>
                  <a:gd name="connsiteX0" fmla="*/ 895981 w 3083792"/>
                  <a:gd name="connsiteY0" fmla="*/ 1608699 h 1662873"/>
                  <a:gd name="connsiteX1" fmla="*/ 350958 w 3083792"/>
                  <a:gd name="connsiteY1" fmla="*/ 1534072 h 1662873"/>
                  <a:gd name="connsiteX2" fmla="*/ 170284 w 3083792"/>
                  <a:gd name="connsiteY2" fmla="*/ 1662873 h 1662873"/>
                  <a:gd name="connsiteX3" fmla="*/ 166094 w 3083792"/>
                  <a:gd name="connsiteY3" fmla="*/ 1657000 h 1662873"/>
                  <a:gd name="connsiteX4" fmla="*/ 340526 w 3083792"/>
                  <a:gd name="connsiteY4" fmla="*/ 1532676 h 1662873"/>
                  <a:gd name="connsiteX5" fmla="*/ 0 w 3083792"/>
                  <a:gd name="connsiteY5" fmla="*/ 1486018 h 1662873"/>
                  <a:gd name="connsiteX6" fmla="*/ 452981 w 3083792"/>
                  <a:gd name="connsiteY6" fmla="*/ 1452463 h 1662873"/>
                  <a:gd name="connsiteX7" fmla="*/ 1201843 w 3083792"/>
                  <a:gd name="connsiteY7" fmla="*/ 918652 h 1662873"/>
                  <a:gd name="connsiteX8" fmla="*/ 1203486 w 3083792"/>
                  <a:gd name="connsiteY8" fmla="*/ 919104 h 1662873"/>
                  <a:gd name="connsiteX9" fmla="*/ 1848190 w 3083792"/>
                  <a:gd name="connsiteY9" fmla="*/ 1096863 h 1662873"/>
                  <a:gd name="connsiteX10" fmla="*/ 3078988 w 3083792"/>
                  <a:gd name="connsiteY10" fmla="*/ 0 h 1662873"/>
                  <a:gd name="connsiteX11" fmla="*/ 3083793 w 3083792"/>
                  <a:gd name="connsiteY11" fmla="*/ 5421 h 1662873"/>
                  <a:gd name="connsiteX12" fmla="*/ 1925158 w 3083792"/>
                  <a:gd name="connsiteY12" fmla="*/ 1037966 h 1662873"/>
                  <a:gd name="connsiteX13" fmla="*/ 2863648 w 3083792"/>
                  <a:gd name="connsiteY13" fmla="*/ 317772 h 1662873"/>
                  <a:gd name="connsiteX14" fmla="*/ 2868207 w 3083792"/>
                  <a:gd name="connsiteY14" fmla="*/ 323399 h 1662873"/>
                  <a:gd name="connsiteX15" fmla="*/ 1659588 w 3083792"/>
                  <a:gd name="connsiteY15" fmla="*/ 1370442 h 1662873"/>
                  <a:gd name="connsiteX16" fmla="*/ 1658397 w 3083792"/>
                  <a:gd name="connsiteY16" fmla="*/ 1370524 h 1662873"/>
                  <a:gd name="connsiteX17" fmla="*/ 1295938 w 3083792"/>
                  <a:gd name="connsiteY17" fmla="*/ 1397385 h 1662873"/>
                  <a:gd name="connsiteX18" fmla="*/ 896022 w 3083792"/>
                  <a:gd name="connsiteY18" fmla="*/ 1608782 h 1662873"/>
                  <a:gd name="connsiteX19" fmla="*/ 359543 w 3083792"/>
                  <a:gd name="connsiteY19" fmla="*/ 1527912 h 1662873"/>
                  <a:gd name="connsiteX20" fmla="*/ 894626 w 3083792"/>
                  <a:gd name="connsiteY20" fmla="*/ 1601225 h 1662873"/>
                  <a:gd name="connsiteX21" fmla="*/ 1277867 w 3083792"/>
                  <a:gd name="connsiteY21" fmla="*/ 1398658 h 1662873"/>
                  <a:gd name="connsiteX22" fmla="*/ 455486 w 3083792"/>
                  <a:gd name="connsiteY22" fmla="*/ 1459527 h 1662873"/>
                  <a:gd name="connsiteX23" fmla="*/ 359543 w 3083792"/>
                  <a:gd name="connsiteY23" fmla="*/ 1527953 h 1662873"/>
                  <a:gd name="connsiteX24" fmla="*/ 1311874 w 3083792"/>
                  <a:gd name="connsiteY24" fmla="*/ 1388842 h 1662873"/>
                  <a:gd name="connsiteX25" fmla="*/ 1656631 w 3083792"/>
                  <a:gd name="connsiteY25" fmla="*/ 1363296 h 1662873"/>
                  <a:gd name="connsiteX26" fmla="*/ 2771237 w 3083792"/>
                  <a:gd name="connsiteY26" fmla="*/ 397657 h 1662873"/>
                  <a:gd name="connsiteX27" fmla="*/ 1857020 w 3083792"/>
                  <a:gd name="connsiteY27" fmla="*/ 1099204 h 1662873"/>
                  <a:gd name="connsiteX28" fmla="*/ 1858827 w 3083792"/>
                  <a:gd name="connsiteY28" fmla="*/ 1099697 h 1662873"/>
                  <a:gd name="connsiteX29" fmla="*/ 1311874 w 3083792"/>
                  <a:gd name="connsiteY29" fmla="*/ 1388801 h 1662873"/>
                  <a:gd name="connsiteX30" fmla="*/ 466822 w 3083792"/>
                  <a:gd name="connsiteY30" fmla="*/ 1451395 h 1662873"/>
                  <a:gd name="connsiteX31" fmla="*/ 1293844 w 3083792"/>
                  <a:gd name="connsiteY31" fmla="*/ 1390157 h 1662873"/>
                  <a:gd name="connsiteX32" fmla="*/ 1839318 w 3083792"/>
                  <a:gd name="connsiteY32" fmla="*/ 1101833 h 1662873"/>
                  <a:gd name="connsiteX33" fmla="*/ 1203198 w 3083792"/>
                  <a:gd name="connsiteY33" fmla="*/ 926456 h 1662873"/>
                  <a:gd name="connsiteX34" fmla="*/ 466863 w 3083792"/>
                  <a:gd name="connsiteY34" fmla="*/ 1451354 h 1662873"/>
                  <a:gd name="connsiteX35" fmla="*/ 69001 w 3083792"/>
                  <a:gd name="connsiteY35" fmla="*/ 1488113 h 1662873"/>
                  <a:gd name="connsiteX36" fmla="*/ 349069 w 3083792"/>
                  <a:gd name="connsiteY36" fmla="*/ 1526474 h 1662873"/>
                  <a:gd name="connsiteX37" fmla="*/ 441563 w 3083792"/>
                  <a:gd name="connsiteY37" fmla="*/ 1460513 h 1662873"/>
                  <a:gd name="connsiteX38" fmla="*/ 69001 w 3083792"/>
                  <a:gd name="connsiteY38" fmla="*/ 1488113 h 166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083792" h="1662873">
                    <a:moveTo>
                      <a:pt x="895981" y="1608699"/>
                    </a:moveTo>
                    <a:lnTo>
                      <a:pt x="350958" y="1534072"/>
                    </a:lnTo>
                    <a:lnTo>
                      <a:pt x="170284" y="1662873"/>
                    </a:lnTo>
                    <a:lnTo>
                      <a:pt x="166094" y="1657000"/>
                    </a:lnTo>
                    <a:lnTo>
                      <a:pt x="340526" y="1532676"/>
                    </a:lnTo>
                    <a:lnTo>
                      <a:pt x="0" y="1486018"/>
                    </a:lnTo>
                    <a:lnTo>
                      <a:pt x="452981" y="1452463"/>
                    </a:lnTo>
                    <a:lnTo>
                      <a:pt x="1201843" y="918652"/>
                    </a:lnTo>
                    <a:lnTo>
                      <a:pt x="1203486" y="919104"/>
                    </a:lnTo>
                    <a:lnTo>
                      <a:pt x="1848190" y="1096863"/>
                    </a:lnTo>
                    <a:lnTo>
                      <a:pt x="3078988" y="0"/>
                    </a:lnTo>
                    <a:lnTo>
                      <a:pt x="3083793" y="5421"/>
                    </a:lnTo>
                    <a:lnTo>
                      <a:pt x="1925158" y="1037966"/>
                    </a:lnTo>
                    <a:lnTo>
                      <a:pt x="2863648" y="317772"/>
                    </a:lnTo>
                    <a:lnTo>
                      <a:pt x="2868207" y="323399"/>
                    </a:lnTo>
                    <a:lnTo>
                      <a:pt x="1659588" y="1370442"/>
                    </a:lnTo>
                    <a:lnTo>
                      <a:pt x="1658397" y="1370524"/>
                    </a:lnTo>
                    <a:lnTo>
                      <a:pt x="1295938" y="1397385"/>
                    </a:lnTo>
                    <a:lnTo>
                      <a:pt x="896022" y="1608782"/>
                    </a:lnTo>
                    <a:close/>
                    <a:moveTo>
                      <a:pt x="359543" y="1527912"/>
                    </a:moveTo>
                    <a:lnTo>
                      <a:pt x="894626" y="1601225"/>
                    </a:lnTo>
                    <a:lnTo>
                      <a:pt x="1277867" y="1398658"/>
                    </a:lnTo>
                    <a:lnTo>
                      <a:pt x="455486" y="1459527"/>
                    </a:lnTo>
                    <a:lnTo>
                      <a:pt x="359543" y="1527953"/>
                    </a:lnTo>
                    <a:close/>
                    <a:moveTo>
                      <a:pt x="1311874" y="1388842"/>
                    </a:moveTo>
                    <a:lnTo>
                      <a:pt x="1656631" y="1363296"/>
                    </a:lnTo>
                    <a:lnTo>
                      <a:pt x="2771237" y="397657"/>
                    </a:lnTo>
                    <a:lnTo>
                      <a:pt x="1857020" y="1099204"/>
                    </a:lnTo>
                    <a:lnTo>
                      <a:pt x="1858827" y="1099697"/>
                    </a:lnTo>
                    <a:lnTo>
                      <a:pt x="1311874" y="1388801"/>
                    </a:lnTo>
                    <a:close/>
                    <a:moveTo>
                      <a:pt x="466822" y="1451395"/>
                    </a:moveTo>
                    <a:lnTo>
                      <a:pt x="1293844" y="1390157"/>
                    </a:lnTo>
                    <a:lnTo>
                      <a:pt x="1839318" y="1101833"/>
                    </a:lnTo>
                    <a:lnTo>
                      <a:pt x="1203198" y="926456"/>
                    </a:lnTo>
                    <a:lnTo>
                      <a:pt x="466863" y="1451354"/>
                    </a:lnTo>
                    <a:close/>
                    <a:moveTo>
                      <a:pt x="69001" y="1488113"/>
                    </a:moveTo>
                    <a:lnTo>
                      <a:pt x="349069" y="1526474"/>
                    </a:lnTo>
                    <a:lnTo>
                      <a:pt x="441563" y="1460513"/>
                    </a:lnTo>
                    <a:lnTo>
                      <a:pt x="69001" y="1488113"/>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06" name="Freeform: Shape 2305">
                <a:extLst>
                  <a:ext uri="{FF2B5EF4-FFF2-40B4-BE49-F238E27FC236}">
                    <a16:creationId xmlns:a16="http://schemas.microsoft.com/office/drawing/2014/main" id="{4B2D8A4C-7D31-4F71-1519-9C388B57B83D}"/>
                  </a:ext>
                </a:extLst>
              </p:cNvPr>
              <p:cNvSpPr/>
              <p:nvPr/>
            </p:nvSpPr>
            <p:spPr>
              <a:xfrm>
                <a:off x="4017281" y="4580323"/>
                <a:ext cx="876188" cy="1360752"/>
              </a:xfrm>
              <a:custGeom>
                <a:avLst/>
                <a:gdLst>
                  <a:gd name="connsiteX0" fmla="*/ 1117810 w 1122081"/>
                  <a:gd name="connsiteY0" fmla="*/ 1742635 h 1742634"/>
                  <a:gd name="connsiteX1" fmla="*/ 745083 w 1122081"/>
                  <a:gd name="connsiteY1" fmla="*/ 771739 h 1742634"/>
                  <a:gd name="connsiteX2" fmla="*/ 553524 w 1122081"/>
                  <a:gd name="connsiteY2" fmla="*/ 909740 h 1742634"/>
                  <a:gd name="connsiteX3" fmla="*/ 549294 w 1122081"/>
                  <a:gd name="connsiteY3" fmla="*/ 903867 h 1742634"/>
                  <a:gd name="connsiteX4" fmla="*/ 742414 w 1122081"/>
                  <a:gd name="connsiteY4" fmla="*/ 764757 h 1742634"/>
                  <a:gd name="connsiteX5" fmla="*/ 642691 w 1122081"/>
                  <a:gd name="connsiteY5" fmla="*/ 504978 h 1742634"/>
                  <a:gd name="connsiteX6" fmla="*/ 0 w 1122081"/>
                  <a:gd name="connsiteY6" fmla="*/ 501610 h 1742634"/>
                  <a:gd name="connsiteX7" fmla="*/ 5462 w 1122081"/>
                  <a:gd name="connsiteY7" fmla="*/ 495613 h 1742634"/>
                  <a:gd name="connsiteX8" fmla="*/ 456595 w 1122081"/>
                  <a:gd name="connsiteY8" fmla="*/ 0 h 1742634"/>
                  <a:gd name="connsiteX9" fmla="*/ 647702 w 1122081"/>
                  <a:gd name="connsiteY9" fmla="*/ 497790 h 1742634"/>
                  <a:gd name="connsiteX10" fmla="*/ 1122081 w 1122081"/>
                  <a:gd name="connsiteY10" fmla="*/ 500255 h 1742634"/>
                  <a:gd name="connsiteX11" fmla="*/ 1114565 w 1122081"/>
                  <a:gd name="connsiteY11" fmla="*/ 505676 h 1742634"/>
                  <a:gd name="connsiteX12" fmla="*/ 1117851 w 1122081"/>
                  <a:gd name="connsiteY12" fmla="*/ 1742635 h 1742634"/>
                  <a:gd name="connsiteX13" fmla="*/ 751162 w 1122081"/>
                  <a:gd name="connsiteY13" fmla="*/ 767386 h 1742634"/>
                  <a:gd name="connsiteX14" fmla="*/ 1110458 w 1122081"/>
                  <a:gd name="connsiteY14" fmla="*/ 1703288 h 1742634"/>
                  <a:gd name="connsiteX15" fmla="*/ 1107295 w 1122081"/>
                  <a:gd name="connsiteY15" fmla="*/ 510851 h 1742634"/>
                  <a:gd name="connsiteX16" fmla="*/ 751162 w 1122081"/>
                  <a:gd name="connsiteY16" fmla="*/ 767345 h 1742634"/>
                  <a:gd name="connsiteX17" fmla="*/ 650454 w 1122081"/>
                  <a:gd name="connsiteY17" fmla="*/ 505019 h 1742634"/>
                  <a:gd name="connsiteX18" fmla="*/ 748492 w 1122081"/>
                  <a:gd name="connsiteY18" fmla="*/ 760403 h 1742634"/>
                  <a:gd name="connsiteX19" fmla="*/ 1099779 w 1122081"/>
                  <a:gd name="connsiteY19" fmla="*/ 507360 h 1742634"/>
                  <a:gd name="connsiteX20" fmla="*/ 650454 w 1122081"/>
                  <a:gd name="connsiteY20" fmla="*/ 505019 h 1742634"/>
                  <a:gd name="connsiteX21" fmla="*/ 16306 w 1122081"/>
                  <a:gd name="connsiteY21" fmla="*/ 494463 h 1742634"/>
                  <a:gd name="connsiteX22" fmla="*/ 639898 w 1122081"/>
                  <a:gd name="connsiteY22" fmla="*/ 497708 h 1742634"/>
                  <a:gd name="connsiteX23" fmla="*/ 454007 w 1122081"/>
                  <a:gd name="connsiteY23" fmla="*/ 13554 h 1742634"/>
                  <a:gd name="connsiteX24" fmla="*/ 16264 w 1122081"/>
                  <a:gd name="connsiteY24" fmla="*/ 494463 h 1742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22081" h="1742634">
                    <a:moveTo>
                      <a:pt x="1117810" y="1742635"/>
                    </a:moveTo>
                    <a:lnTo>
                      <a:pt x="745083" y="771739"/>
                    </a:lnTo>
                    <a:lnTo>
                      <a:pt x="553524" y="909740"/>
                    </a:lnTo>
                    <a:lnTo>
                      <a:pt x="549294" y="903867"/>
                    </a:lnTo>
                    <a:lnTo>
                      <a:pt x="742414" y="764757"/>
                    </a:lnTo>
                    <a:lnTo>
                      <a:pt x="642691" y="504978"/>
                    </a:lnTo>
                    <a:lnTo>
                      <a:pt x="0" y="501610"/>
                    </a:lnTo>
                    <a:lnTo>
                      <a:pt x="5462" y="495613"/>
                    </a:lnTo>
                    <a:lnTo>
                      <a:pt x="456595" y="0"/>
                    </a:lnTo>
                    <a:lnTo>
                      <a:pt x="647702" y="497790"/>
                    </a:lnTo>
                    <a:lnTo>
                      <a:pt x="1122081" y="500255"/>
                    </a:lnTo>
                    <a:lnTo>
                      <a:pt x="1114565" y="505676"/>
                    </a:lnTo>
                    <a:lnTo>
                      <a:pt x="1117851" y="1742635"/>
                    </a:lnTo>
                    <a:close/>
                    <a:moveTo>
                      <a:pt x="751162" y="767386"/>
                    </a:moveTo>
                    <a:lnTo>
                      <a:pt x="1110458" y="1703288"/>
                    </a:lnTo>
                    <a:lnTo>
                      <a:pt x="1107295" y="510851"/>
                    </a:lnTo>
                    <a:lnTo>
                      <a:pt x="751162" y="767345"/>
                    </a:lnTo>
                    <a:close/>
                    <a:moveTo>
                      <a:pt x="650454" y="505019"/>
                    </a:moveTo>
                    <a:lnTo>
                      <a:pt x="748492" y="760403"/>
                    </a:lnTo>
                    <a:lnTo>
                      <a:pt x="1099779" y="507360"/>
                    </a:lnTo>
                    <a:lnTo>
                      <a:pt x="650454" y="505019"/>
                    </a:lnTo>
                    <a:close/>
                    <a:moveTo>
                      <a:pt x="16306" y="494463"/>
                    </a:moveTo>
                    <a:lnTo>
                      <a:pt x="639898" y="497708"/>
                    </a:lnTo>
                    <a:lnTo>
                      <a:pt x="454007" y="13554"/>
                    </a:lnTo>
                    <a:lnTo>
                      <a:pt x="16264" y="494463"/>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07" name="Freeform: Shape 2306">
                <a:extLst>
                  <a:ext uri="{FF2B5EF4-FFF2-40B4-BE49-F238E27FC236}">
                    <a16:creationId xmlns:a16="http://schemas.microsoft.com/office/drawing/2014/main" id="{4EBA117F-83D3-2A78-4B3E-9D1DBE105117}"/>
                  </a:ext>
                </a:extLst>
              </p:cNvPr>
              <p:cNvSpPr/>
              <p:nvPr/>
            </p:nvSpPr>
            <p:spPr>
              <a:xfrm>
                <a:off x="3680532" y="2520513"/>
                <a:ext cx="830742" cy="1160820"/>
              </a:xfrm>
              <a:custGeom>
                <a:avLst/>
                <a:gdLst>
                  <a:gd name="connsiteX0" fmla="*/ 627372 w 1063882"/>
                  <a:gd name="connsiteY0" fmla="*/ 1486593 h 1486593"/>
                  <a:gd name="connsiteX1" fmla="*/ 0 w 1063882"/>
                  <a:gd name="connsiteY1" fmla="*/ 1372866 h 1486593"/>
                  <a:gd name="connsiteX2" fmla="*/ 1273 w 1063882"/>
                  <a:gd name="connsiteY2" fmla="*/ 1365719 h 1486593"/>
                  <a:gd name="connsiteX3" fmla="*/ 613489 w 1063882"/>
                  <a:gd name="connsiteY3" fmla="*/ 1476695 h 1486593"/>
                  <a:gd name="connsiteX4" fmla="*/ 174103 w 1063882"/>
                  <a:gd name="connsiteY4" fmla="*/ 699945 h 1486593"/>
                  <a:gd name="connsiteX5" fmla="*/ 1042772 w 1063882"/>
                  <a:gd name="connsiteY5" fmla="*/ 7598 h 1486593"/>
                  <a:gd name="connsiteX6" fmla="*/ 6941 w 1063882"/>
                  <a:gd name="connsiteY6" fmla="*/ 22918 h 1486593"/>
                  <a:gd name="connsiteX7" fmla="*/ 6859 w 1063882"/>
                  <a:gd name="connsiteY7" fmla="*/ 15689 h 1486593"/>
                  <a:gd name="connsiteX8" fmla="*/ 1063883 w 1063882"/>
                  <a:gd name="connsiteY8" fmla="*/ 0 h 1486593"/>
                  <a:gd name="connsiteX9" fmla="*/ 1055586 w 1063882"/>
                  <a:gd name="connsiteY9" fmla="*/ 6612 h 1486593"/>
                  <a:gd name="connsiteX10" fmla="*/ 183427 w 1063882"/>
                  <a:gd name="connsiteY10" fmla="*/ 701752 h 1486593"/>
                  <a:gd name="connsiteX11" fmla="*/ 627372 w 1063882"/>
                  <a:gd name="connsiteY11" fmla="*/ 1486593 h 1486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63882" h="1486593">
                    <a:moveTo>
                      <a:pt x="627372" y="1486593"/>
                    </a:moveTo>
                    <a:lnTo>
                      <a:pt x="0" y="1372866"/>
                    </a:lnTo>
                    <a:lnTo>
                      <a:pt x="1273" y="1365719"/>
                    </a:lnTo>
                    <a:lnTo>
                      <a:pt x="613489" y="1476695"/>
                    </a:lnTo>
                    <a:lnTo>
                      <a:pt x="174103" y="699945"/>
                    </a:lnTo>
                    <a:lnTo>
                      <a:pt x="1042772" y="7598"/>
                    </a:lnTo>
                    <a:lnTo>
                      <a:pt x="6941" y="22918"/>
                    </a:lnTo>
                    <a:lnTo>
                      <a:pt x="6859" y="15689"/>
                    </a:lnTo>
                    <a:lnTo>
                      <a:pt x="1063883" y="0"/>
                    </a:lnTo>
                    <a:lnTo>
                      <a:pt x="1055586" y="6612"/>
                    </a:lnTo>
                    <a:lnTo>
                      <a:pt x="183427" y="701752"/>
                    </a:lnTo>
                    <a:lnTo>
                      <a:pt x="627372" y="1486593"/>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08" name="Freeform: Shape 2307">
                <a:extLst>
                  <a:ext uri="{FF2B5EF4-FFF2-40B4-BE49-F238E27FC236}">
                    <a16:creationId xmlns:a16="http://schemas.microsoft.com/office/drawing/2014/main" id="{24E96727-0680-B0BD-6941-3A7DAD8D98C5}"/>
                  </a:ext>
                </a:extLst>
              </p:cNvPr>
              <p:cNvSpPr/>
              <p:nvPr/>
            </p:nvSpPr>
            <p:spPr>
              <a:xfrm>
                <a:off x="8276509" y="1981362"/>
                <a:ext cx="628180" cy="2071933"/>
              </a:xfrm>
              <a:custGeom>
                <a:avLst/>
                <a:gdLst>
                  <a:gd name="connsiteX0" fmla="*/ 804473 w 804473"/>
                  <a:gd name="connsiteY0" fmla="*/ 2653402 h 2653401"/>
                  <a:gd name="connsiteX1" fmla="*/ 0 w 804473"/>
                  <a:gd name="connsiteY1" fmla="*/ 2081806 h 2653401"/>
                  <a:gd name="connsiteX2" fmla="*/ 288 w 804473"/>
                  <a:gd name="connsiteY2" fmla="*/ 2079670 h 2653401"/>
                  <a:gd name="connsiteX3" fmla="*/ 108389 w 804473"/>
                  <a:gd name="connsiteY3" fmla="*/ 1227841 h 2653401"/>
                  <a:gd name="connsiteX4" fmla="*/ 115535 w 804473"/>
                  <a:gd name="connsiteY4" fmla="*/ 1228745 h 2653401"/>
                  <a:gd name="connsiteX5" fmla="*/ 7722 w 804473"/>
                  <a:gd name="connsiteY5" fmla="*/ 2078438 h 2653401"/>
                  <a:gd name="connsiteX6" fmla="*/ 793466 w 804473"/>
                  <a:gd name="connsiteY6" fmla="*/ 2636686 h 2653401"/>
                  <a:gd name="connsiteX7" fmla="*/ 225443 w 804473"/>
                  <a:gd name="connsiteY7" fmla="*/ 1520 h 2653401"/>
                  <a:gd name="connsiteX8" fmla="*/ 232548 w 804473"/>
                  <a:gd name="connsiteY8" fmla="*/ 0 h 2653401"/>
                  <a:gd name="connsiteX9" fmla="*/ 804473 w 804473"/>
                  <a:gd name="connsiteY9" fmla="*/ 2653402 h 2653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4473" h="2653401">
                    <a:moveTo>
                      <a:pt x="804473" y="2653402"/>
                    </a:moveTo>
                    <a:lnTo>
                      <a:pt x="0" y="2081806"/>
                    </a:lnTo>
                    <a:lnTo>
                      <a:pt x="288" y="2079670"/>
                    </a:lnTo>
                    <a:lnTo>
                      <a:pt x="108389" y="1227841"/>
                    </a:lnTo>
                    <a:lnTo>
                      <a:pt x="115535" y="1228745"/>
                    </a:lnTo>
                    <a:lnTo>
                      <a:pt x="7722" y="2078438"/>
                    </a:lnTo>
                    <a:lnTo>
                      <a:pt x="793466" y="2636686"/>
                    </a:lnTo>
                    <a:lnTo>
                      <a:pt x="225443" y="1520"/>
                    </a:lnTo>
                    <a:lnTo>
                      <a:pt x="232548" y="0"/>
                    </a:lnTo>
                    <a:lnTo>
                      <a:pt x="804473" y="2653402"/>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09" name="Freeform: Shape 2308">
                <a:extLst>
                  <a:ext uri="{FF2B5EF4-FFF2-40B4-BE49-F238E27FC236}">
                    <a16:creationId xmlns:a16="http://schemas.microsoft.com/office/drawing/2014/main" id="{8D16050D-6331-1F14-F355-54540B41B5BA}"/>
                  </a:ext>
                </a:extLst>
              </p:cNvPr>
              <p:cNvSpPr/>
              <p:nvPr/>
            </p:nvSpPr>
            <p:spPr>
              <a:xfrm>
                <a:off x="3945185" y="1081827"/>
                <a:ext cx="3680341" cy="1307001"/>
              </a:xfrm>
              <a:custGeom>
                <a:avLst/>
                <a:gdLst>
                  <a:gd name="connsiteX0" fmla="*/ 4713193 w 4713192"/>
                  <a:gd name="connsiteY0" fmla="*/ 952249 h 1673798"/>
                  <a:gd name="connsiteX1" fmla="*/ 3878368 w 4713192"/>
                  <a:gd name="connsiteY1" fmla="*/ 7311 h 1673798"/>
                  <a:gd name="connsiteX2" fmla="*/ 2708233 w 4713192"/>
                  <a:gd name="connsiteY2" fmla="*/ 24397 h 1673798"/>
                  <a:gd name="connsiteX3" fmla="*/ 2289136 w 4713192"/>
                  <a:gd name="connsiteY3" fmla="*/ 531633 h 1673798"/>
                  <a:gd name="connsiteX4" fmla="*/ 1842480 w 4713192"/>
                  <a:gd name="connsiteY4" fmla="*/ 197678 h 1673798"/>
                  <a:gd name="connsiteX5" fmla="*/ 4518 w 4713192"/>
                  <a:gd name="connsiteY5" fmla="*/ 1673799 h 1673798"/>
                  <a:gd name="connsiteX6" fmla="*/ 0 w 4713192"/>
                  <a:gd name="connsiteY6" fmla="*/ 1668131 h 1673798"/>
                  <a:gd name="connsiteX7" fmla="*/ 1842316 w 4713192"/>
                  <a:gd name="connsiteY7" fmla="*/ 188519 h 1673798"/>
                  <a:gd name="connsiteX8" fmla="*/ 2287945 w 4713192"/>
                  <a:gd name="connsiteY8" fmla="*/ 521694 h 1673798"/>
                  <a:gd name="connsiteX9" fmla="*/ 2704783 w 4713192"/>
                  <a:gd name="connsiteY9" fmla="*/ 17209 h 1673798"/>
                  <a:gd name="connsiteX10" fmla="*/ 2706467 w 4713192"/>
                  <a:gd name="connsiteY10" fmla="*/ 17168 h 1673798"/>
                  <a:gd name="connsiteX11" fmla="*/ 3881613 w 4713192"/>
                  <a:gd name="connsiteY11" fmla="*/ 0 h 1673798"/>
                  <a:gd name="connsiteX12" fmla="*/ 3882680 w 4713192"/>
                  <a:gd name="connsiteY12" fmla="*/ 1273 h 1673798"/>
                  <a:gd name="connsiteX13" fmla="*/ 4702186 w 4713192"/>
                  <a:gd name="connsiteY13" fmla="*/ 928880 h 1673798"/>
                  <a:gd name="connsiteX14" fmla="*/ 4570469 w 4713192"/>
                  <a:gd name="connsiteY14" fmla="*/ 87729 h 1673798"/>
                  <a:gd name="connsiteX15" fmla="*/ 4577656 w 4713192"/>
                  <a:gd name="connsiteY15" fmla="*/ 86579 h 1673798"/>
                  <a:gd name="connsiteX16" fmla="*/ 4713193 w 4713192"/>
                  <a:gd name="connsiteY16" fmla="*/ 952249 h 1673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13192" h="1673798">
                    <a:moveTo>
                      <a:pt x="4713193" y="952249"/>
                    </a:moveTo>
                    <a:lnTo>
                      <a:pt x="3878368" y="7311"/>
                    </a:lnTo>
                    <a:lnTo>
                      <a:pt x="2708233" y="24397"/>
                    </a:lnTo>
                    <a:lnTo>
                      <a:pt x="2289136" y="531633"/>
                    </a:lnTo>
                    <a:lnTo>
                      <a:pt x="1842480" y="197678"/>
                    </a:lnTo>
                    <a:lnTo>
                      <a:pt x="4518" y="1673799"/>
                    </a:lnTo>
                    <a:lnTo>
                      <a:pt x="0" y="1668131"/>
                    </a:lnTo>
                    <a:lnTo>
                      <a:pt x="1842316" y="188519"/>
                    </a:lnTo>
                    <a:lnTo>
                      <a:pt x="2287945" y="521694"/>
                    </a:lnTo>
                    <a:lnTo>
                      <a:pt x="2704783" y="17209"/>
                    </a:lnTo>
                    <a:lnTo>
                      <a:pt x="2706467" y="17168"/>
                    </a:lnTo>
                    <a:lnTo>
                      <a:pt x="3881613" y="0"/>
                    </a:lnTo>
                    <a:lnTo>
                      <a:pt x="3882680" y="1273"/>
                    </a:lnTo>
                    <a:lnTo>
                      <a:pt x="4702186" y="928880"/>
                    </a:lnTo>
                    <a:lnTo>
                      <a:pt x="4570469" y="87729"/>
                    </a:lnTo>
                    <a:lnTo>
                      <a:pt x="4577656" y="86579"/>
                    </a:lnTo>
                    <a:lnTo>
                      <a:pt x="4713193" y="952249"/>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10" name="Freeform: Shape 2309">
                <a:extLst>
                  <a:ext uri="{FF2B5EF4-FFF2-40B4-BE49-F238E27FC236}">
                    <a16:creationId xmlns:a16="http://schemas.microsoft.com/office/drawing/2014/main" id="{C501BDAB-E51D-B4EF-4B41-54D3A6BFC7C8}"/>
                  </a:ext>
                </a:extLst>
              </p:cNvPr>
              <p:cNvSpPr/>
              <p:nvPr/>
            </p:nvSpPr>
            <p:spPr>
              <a:xfrm>
                <a:off x="5731331" y="1080544"/>
                <a:ext cx="2327285" cy="560734"/>
              </a:xfrm>
              <a:custGeom>
                <a:avLst/>
                <a:gdLst>
                  <a:gd name="connsiteX0" fmla="*/ 2980416 w 2980415"/>
                  <a:gd name="connsiteY0" fmla="*/ 582357 h 718099"/>
                  <a:gd name="connsiteX1" fmla="*/ 1471273 w 2980415"/>
                  <a:gd name="connsiteY1" fmla="*/ 718099 h 718099"/>
                  <a:gd name="connsiteX2" fmla="*/ 1588041 w 2980415"/>
                  <a:gd name="connsiteY2" fmla="*/ 10597 h 718099"/>
                  <a:gd name="connsiteX3" fmla="*/ 2259 w 2980415"/>
                  <a:gd name="connsiteY3" fmla="*/ 531756 h 718099"/>
                  <a:gd name="connsiteX4" fmla="*/ 0 w 2980415"/>
                  <a:gd name="connsiteY4" fmla="*/ 524856 h 718099"/>
                  <a:gd name="connsiteX5" fmla="*/ 1597117 w 2980415"/>
                  <a:gd name="connsiteY5" fmla="*/ 0 h 718099"/>
                  <a:gd name="connsiteX6" fmla="*/ 1596132 w 2980415"/>
                  <a:gd name="connsiteY6" fmla="*/ 5873 h 718099"/>
                  <a:gd name="connsiteX7" fmla="*/ 1479940 w 2980415"/>
                  <a:gd name="connsiteY7" fmla="*/ 710049 h 718099"/>
                  <a:gd name="connsiteX8" fmla="*/ 2979758 w 2980415"/>
                  <a:gd name="connsiteY8" fmla="*/ 575128 h 718099"/>
                  <a:gd name="connsiteX9" fmla="*/ 2980416 w 2980415"/>
                  <a:gd name="connsiteY9" fmla="*/ 582357 h 718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80415" h="718099">
                    <a:moveTo>
                      <a:pt x="2980416" y="582357"/>
                    </a:moveTo>
                    <a:lnTo>
                      <a:pt x="1471273" y="718099"/>
                    </a:lnTo>
                    <a:lnTo>
                      <a:pt x="1588041" y="10597"/>
                    </a:lnTo>
                    <a:lnTo>
                      <a:pt x="2259" y="531756"/>
                    </a:lnTo>
                    <a:lnTo>
                      <a:pt x="0" y="524856"/>
                    </a:lnTo>
                    <a:lnTo>
                      <a:pt x="1597117" y="0"/>
                    </a:lnTo>
                    <a:lnTo>
                      <a:pt x="1596132" y="5873"/>
                    </a:lnTo>
                    <a:lnTo>
                      <a:pt x="1479940" y="710049"/>
                    </a:lnTo>
                    <a:lnTo>
                      <a:pt x="2979758" y="575128"/>
                    </a:lnTo>
                    <a:lnTo>
                      <a:pt x="2980416" y="582357"/>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11" name="Freeform: Shape 2310">
                <a:extLst>
                  <a:ext uri="{FF2B5EF4-FFF2-40B4-BE49-F238E27FC236}">
                    <a16:creationId xmlns:a16="http://schemas.microsoft.com/office/drawing/2014/main" id="{6426F561-2665-C258-415B-21547F20AFC5}"/>
                  </a:ext>
                </a:extLst>
              </p:cNvPr>
              <p:cNvSpPr/>
              <p:nvPr/>
            </p:nvSpPr>
            <p:spPr>
              <a:xfrm>
                <a:off x="7960895" y="1803591"/>
                <a:ext cx="858097" cy="3286120"/>
              </a:xfrm>
              <a:custGeom>
                <a:avLst/>
                <a:gdLst>
                  <a:gd name="connsiteX0" fmla="*/ 190244 w 1098913"/>
                  <a:gd name="connsiteY0" fmla="*/ 4208339 h 4208338"/>
                  <a:gd name="connsiteX1" fmla="*/ 0 w 1098913"/>
                  <a:gd name="connsiteY1" fmla="*/ 3697282 h 4208338"/>
                  <a:gd name="connsiteX2" fmla="*/ 493 w 1098913"/>
                  <a:gd name="connsiteY2" fmla="*/ 3695968 h 4208338"/>
                  <a:gd name="connsiteX3" fmla="*/ 728572 w 1098913"/>
                  <a:gd name="connsiteY3" fmla="*/ 1835909 h 4208338"/>
                  <a:gd name="connsiteX4" fmla="*/ 511138 w 1098913"/>
                  <a:gd name="connsiteY4" fmla="*/ 1454516 h 4208338"/>
                  <a:gd name="connsiteX5" fmla="*/ 514424 w 1098913"/>
                  <a:gd name="connsiteY5" fmla="*/ 1452791 h 4208338"/>
                  <a:gd name="connsiteX6" fmla="*/ 1079366 w 1098913"/>
                  <a:gd name="connsiteY6" fmla="*/ 1146806 h 4208338"/>
                  <a:gd name="connsiteX7" fmla="*/ 125433 w 1098913"/>
                  <a:gd name="connsiteY7" fmla="*/ 1044291 h 4208338"/>
                  <a:gd name="connsiteX8" fmla="*/ 115822 w 1098913"/>
                  <a:gd name="connsiteY8" fmla="*/ 1043059 h 4208338"/>
                  <a:gd name="connsiteX9" fmla="*/ 612873 w 1098913"/>
                  <a:gd name="connsiteY9" fmla="*/ 712842 h 4208338"/>
                  <a:gd name="connsiteX10" fmla="*/ 139726 w 1098913"/>
                  <a:gd name="connsiteY10" fmla="*/ 4354 h 4208338"/>
                  <a:gd name="connsiteX11" fmla="*/ 145517 w 1098913"/>
                  <a:gd name="connsiteY11" fmla="*/ 0 h 4208338"/>
                  <a:gd name="connsiteX12" fmla="*/ 1094070 w 1098913"/>
                  <a:gd name="connsiteY12" fmla="*/ 1137319 h 4208338"/>
                  <a:gd name="connsiteX13" fmla="*/ 1098588 w 1098913"/>
                  <a:gd name="connsiteY13" fmla="*/ 1139331 h 4208338"/>
                  <a:gd name="connsiteX14" fmla="*/ 808210 w 1098913"/>
                  <a:gd name="connsiteY14" fmla="*/ 1303290 h 4208338"/>
                  <a:gd name="connsiteX15" fmla="*/ 521078 w 1098913"/>
                  <a:gd name="connsiteY15" fmla="*/ 1457391 h 4208338"/>
                  <a:gd name="connsiteX16" fmla="*/ 736499 w 1098913"/>
                  <a:gd name="connsiteY16" fmla="*/ 1835334 h 4208338"/>
                  <a:gd name="connsiteX17" fmla="*/ 735883 w 1098913"/>
                  <a:gd name="connsiteY17" fmla="*/ 1836936 h 4208338"/>
                  <a:gd name="connsiteX18" fmla="*/ 7680 w 1098913"/>
                  <a:gd name="connsiteY18" fmla="*/ 3697323 h 4208338"/>
                  <a:gd name="connsiteX19" fmla="*/ 196939 w 1098913"/>
                  <a:gd name="connsiteY19" fmla="*/ 4205792 h 4208338"/>
                  <a:gd name="connsiteX20" fmla="*/ 190162 w 1098913"/>
                  <a:gd name="connsiteY20" fmla="*/ 4208298 h 4208338"/>
                  <a:gd name="connsiteX21" fmla="*/ 135989 w 1098913"/>
                  <a:gd name="connsiteY21" fmla="*/ 1038377 h 4208338"/>
                  <a:gd name="connsiteX22" fmla="*/ 1086308 w 1098913"/>
                  <a:gd name="connsiteY22" fmla="*/ 1139331 h 4208338"/>
                  <a:gd name="connsiteX23" fmla="*/ 183550 w 1098913"/>
                  <a:gd name="connsiteY23" fmla="*/ 56926 h 4208338"/>
                  <a:gd name="connsiteX24" fmla="*/ 622935 w 1098913"/>
                  <a:gd name="connsiteY24" fmla="*/ 714896 h 4208338"/>
                  <a:gd name="connsiteX25" fmla="*/ 619896 w 1098913"/>
                  <a:gd name="connsiteY25" fmla="*/ 716908 h 4208338"/>
                  <a:gd name="connsiteX26" fmla="*/ 135948 w 1098913"/>
                  <a:gd name="connsiteY26" fmla="*/ 1038418 h 4208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98913" h="4208338">
                    <a:moveTo>
                      <a:pt x="190244" y="4208339"/>
                    </a:moveTo>
                    <a:lnTo>
                      <a:pt x="0" y="3697282"/>
                    </a:lnTo>
                    <a:lnTo>
                      <a:pt x="493" y="3695968"/>
                    </a:lnTo>
                    <a:lnTo>
                      <a:pt x="728572" y="1835909"/>
                    </a:lnTo>
                    <a:lnTo>
                      <a:pt x="511138" y="1454516"/>
                    </a:lnTo>
                    <a:lnTo>
                      <a:pt x="514424" y="1452791"/>
                    </a:lnTo>
                    <a:cubicBezTo>
                      <a:pt x="656574" y="1376850"/>
                      <a:pt x="1006259" y="1189234"/>
                      <a:pt x="1079366" y="1146806"/>
                    </a:cubicBezTo>
                    <a:cubicBezTo>
                      <a:pt x="953522" y="1151324"/>
                      <a:pt x="161001" y="1048891"/>
                      <a:pt x="125433" y="1044291"/>
                    </a:cubicBezTo>
                    <a:lnTo>
                      <a:pt x="115822" y="1043059"/>
                    </a:lnTo>
                    <a:lnTo>
                      <a:pt x="612873" y="712842"/>
                    </a:lnTo>
                    <a:lnTo>
                      <a:pt x="139726" y="4354"/>
                    </a:lnTo>
                    <a:lnTo>
                      <a:pt x="145517" y="0"/>
                    </a:lnTo>
                    <a:lnTo>
                      <a:pt x="1094070" y="1137319"/>
                    </a:lnTo>
                    <a:cubicBezTo>
                      <a:pt x="1095754" y="1136990"/>
                      <a:pt x="1097602" y="1137155"/>
                      <a:pt x="1098588" y="1139331"/>
                    </a:cubicBezTo>
                    <a:cubicBezTo>
                      <a:pt x="1100683" y="1143890"/>
                      <a:pt x="1101340" y="1145287"/>
                      <a:pt x="808210" y="1303290"/>
                    </a:cubicBezTo>
                    <a:cubicBezTo>
                      <a:pt x="676739" y="1374180"/>
                      <a:pt x="543503" y="1445398"/>
                      <a:pt x="521078" y="1457391"/>
                    </a:cubicBezTo>
                    <a:lnTo>
                      <a:pt x="736499" y="1835334"/>
                    </a:lnTo>
                    <a:lnTo>
                      <a:pt x="735883" y="1836936"/>
                    </a:lnTo>
                    <a:lnTo>
                      <a:pt x="7680" y="3697323"/>
                    </a:lnTo>
                    <a:lnTo>
                      <a:pt x="196939" y="4205792"/>
                    </a:lnTo>
                    <a:lnTo>
                      <a:pt x="190162" y="4208298"/>
                    </a:lnTo>
                    <a:close/>
                    <a:moveTo>
                      <a:pt x="135989" y="1038377"/>
                    </a:moveTo>
                    <a:cubicBezTo>
                      <a:pt x="446203" y="1078463"/>
                      <a:pt x="1017184" y="1147669"/>
                      <a:pt x="1086308" y="1139331"/>
                    </a:cubicBezTo>
                    <a:lnTo>
                      <a:pt x="183550" y="56926"/>
                    </a:lnTo>
                    <a:lnTo>
                      <a:pt x="622935" y="714896"/>
                    </a:lnTo>
                    <a:lnTo>
                      <a:pt x="619896" y="716908"/>
                    </a:lnTo>
                    <a:lnTo>
                      <a:pt x="135948" y="1038418"/>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12" name="Freeform: Shape 2311">
                <a:extLst>
                  <a:ext uri="{FF2B5EF4-FFF2-40B4-BE49-F238E27FC236}">
                    <a16:creationId xmlns:a16="http://schemas.microsoft.com/office/drawing/2014/main" id="{243AF3EA-85F3-FFFB-EA31-EB9FF12536D8}"/>
                  </a:ext>
                </a:extLst>
              </p:cNvPr>
              <p:cNvSpPr/>
              <p:nvPr/>
            </p:nvSpPr>
            <p:spPr>
              <a:xfrm rot="17043600">
                <a:off x="4952812" y="4891717"/>
                <a:ext cx="5676" cy="1047095"/>
              </a:xfrm>
              <a:custGeom>
                <a:avLst/>
                <a:gdLst>
                  <a:gd name="connsiteX0" fmla="*/ 0 w 7269"/>
                  <a:gd name="connsiteY0" fmla="*/ 0 h 1340952"/>
                  <a:gd name="connsiteX1" fmla="*/ 7270 w 7269"/>
                  <a:gd name="connsiteY1" fmla="*/ 0 h 1340952"/>
                  <a:gd name="connsiteX2" fmla="*/ 7270 w 7269"/>
                  <a:gd name="connsiteY2" fmla="*/ 1340953 h 1340952"/>
                  <a:gd name="connsiteX3" fmla="*/ 0 w 7269"/>
                  <a:gd name="connsiteY3" fmla="*/ 1340953 h 1340952"/>
                </a:gdLst>
                <a:ahLst/>
                <a:cxnLst>
                  <a:cxn ang="0">
                    <a:pos x="connsiteX0" y="connsiteY0"/>
                  </a:cxn>
                  <a:cxn ang="0">
                    <a:pos x="connsiteX1" y="connsiteY1"/>
                  </a:cxn>
                  <a:cxn ang="0">
                    <a:pos x="connsiteX2" y="connsiteY2"/>
                  </a:cxn>
                  <a:cxn ang="0">
                    <a:pos x="connsiteX3" y="connsiteY3"/>
                  </a:cxn>
                </a:cxnLst>
                <a:rect l="l" t="t" r="r" b="b"/>
                <a:pathLst>
                  <a:path w="7269" h="1340952">
                    <a:moveTo>
                      <a:pt x="0" y="0"/>
                    </a:moveTo>
                    <a:lnTo>
                      <a:pt x="7270" y="0"/>
                    </a:lnTo>
                    <a:lnTo>
                      <a:pt x="7270" y="1340953"/>
                    </a:lnTo>
                    <a:lnTo>
                      <a:pt x="0" y="1340953"/>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13" name="Freeform: Shape 2312">
                <a:extLst>
                  <a:ext uri="{FF2B5EF4-FFF2-40B4-BE49-F238E27FC236}">
                    <a16:creationId xmlns:a16="http://schemas.microsoft.com/office/drawing/2014/main" id="{76159385-1E5A-2120-C9DE-DDBE5F2803AD}"/>
                  </a:ext>
                </a:extLst>
              </p:cNvPr>
              <p:cNvSpPr/>
              <p:nvPr/>
            </p:nvSpPr>
            <p:spPr>
              <a:xfrm>
                <a:off x="5815005" y="5579761"/>
                <a:ext cx="2206889" cy="645114"/>
              </a:xfrm>
              <a:custGeom>
                <a:avLst/>
                <a:gdLst>
                  <a:gd name="connsiteX0" fmla="*/ 1157937 w 2826231"/>
                  <a:gd name="connsiteY0" fmla="*/ 826159 h 826159"/>
                  <a:gd name="connsiteX1" fmla="*/ 1154939 w 2826231"/>
                  <a:gd name="connsiteY1" fmla="*/ 825297 h 826159"/>
                  <a:gd name="connsiteX2" fmla="*/ 0 w 2826231"/>
                  <a:gd name="connsiteY2" fmla="*/ 491383 h 826159"/>
                  <a:gd name="connsiteX3" fmla="*/ 2012 w 2826231"/>
                  <a:gd name="connsiteY3" fmla="*/ 484401 h 826159"/>
                  <a:gd name="connsiteX4" fmla="*/ 1153912 w 2826231"/>
                  <a:gd name="connsiteY4" fmla="*/ 817493 h 826159"/>
                  <a:gd name="connsiteX5" fmla="*/ 1460677 w 2826231"/>
                  <a:gd name="connsiteY5" fmla="*/ 136030 h 826159"/>
                  <a:gd name="connsiteX6" fmla="*/ 1462772 w 2826231"/>
                  <a:gd name="connsiteY6" fmla="*/ 135825 h 826159"/>
                  <a:gd name="connsiteX7" fmla="*/ 2825534 w 2826231"/>
                  <a:gd name="connsiteY7" fmla="*/ 0 h 826159"/>
                  <a:gd name="connsiteX8" fmla="*/ 2826232 w 2826231"/>
                  <a:gd name="connsiteY8" fmla="*/ 7188 h 826159"/>
                  <a:gd name="connsiteX9" fmla="*/ 1465565 w 2826231"/>
                  <a:gd name="connsiteY9" fmla="*/ 142848 h 826159"/>
                  <a:gd name="connsiteX10" fmla="*/ 1157937 w 2826231"/>
                  <a:gd name="connsiteY10" fmla="*/ 826159 h 826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26231" h="826159">
                    <a:moveTo>
                      <a:pt x="1157937" y="826159"/>
                    </a:moveTo>
                    <a:lnTo>
                      <a:pt x="1154939" y="825297"/>
                    </a:lnTo>
                    <a:lnTo>
                      <a:pt x="0" y="491383"/>
                    </a:lnTo>
                    <a:lnTo>
                      <a:pt x="2012" y="484401"/>
                    </a:lnTo>
                    <a:lnTo>
                      <a:pt x="1153912" y="817493"/>
                    </a:lnTo>
                    <a:lnTo>
                      <a:pt x="1460677" y="136030"/>
                    </a:lnTo>
                    <a:lnTo>
                      <a:pt x="1462772" y="135825"/>
                    </a:lnTo>
                    <a:lnTo>
                      <a:pt x="2825534" y="0"/>
                    </a:lnTo>
                    <a:lnTo>
                      <a:pt x="2826232" y="7188"/>
                    </a:lnTo>
                    <a:lnTo>
                      <a:pt x="1465565" y="142848"/>
                    </a:lnTo>
                    <a:lnTo>
                      <a:pt x="1157937" y="826159"/>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14" name="Freeform: Shape 2313">
                <a:extLst>
                  <a:ext uri="{FF2B5EF4-FFF2-40B4-BE49-F238E27FC236}">
                    <a16:creationId xmlns:a16="http://schemas.microsoft.com/office/drawing/2014/main" id="{3EB85B18-082B-E559-6E8B-B04E4D2CF1C8}"/>
                  </a:ext>
                </a:extLst>
              </p:cNvPr>
              <p:cNvSpPr/>
              <p:nvPr/>
            </p:nvSpPr>
            <p:spPr>
              <a:xfrm>
                <a:off x="3678223" y="3589160"/>
                <a:ext cx="4998439" cy="2374719"/>
              </a:xfrm>
              <a:custGeom>
                <a:avLst/>
                <a:gdLst>
                  <a:gd name="connsiteX0" fmla="*/ 4200864 w 6401202"/>
                  <a:gd name="connsiteY0" fmla="*/ 2692091 h 3041160"/>
                  <a:gd name="connsiteX1" fmla="*/ 4200412 w 6401202"/>
                  <a:gd name="connsiteY1" fmla="*/ 2692215 h 3041160"/>
                  <a:gd name="connsiteX2" fmla="*/ 2736120 w 6401202"/>
                  <a:gd name="connsiteY2" fmla="*/ 3041160 h 3041160"/>
                  <a:gd name="connsiteX3" fmla="*/ 2734683 w 6401202"/>
                  <a:gd name="connsiteY3" fmla="*/ 3039476 h 3041160"/>
                  <a:gd name="connsiteX4" fmla="*/ 2285686 w 6401202"/>
                  <a:gd name="connsiteY4" fmla="*/ 2506816 h 3041160"/>
                  <a:gd name="connsiteX5" fmla="*/ 1548037 w 6401202"/>
                  <a:gd name="connsiteY5" fmla="*/ 2996844 h 3041160"/>
                  <a:gd name="connsiteX6" fmla="*/ 1545942 w 6401202"/>
                  <a:gd name="connsiteY6" fmla="*/ 2995037 h 3041160"/>
                  <a:gd name="connsiteX7" fmla="*/ 418809 w 6401202"/>
                  <a:gd name="connsiteY7" fmla="*/ 2005905 h 3041160"/>
                  <a:gd name="connsiteX8" fmla="*/ 418563 w 6401202"/>
                  <a:gd name="connsiteY8" fmla="*/ 2004714 h 3041160"/>
                  <a:gd name="connsiteX9" fmla="*/ 12363 w 6401202"/>
                  <a:gd name="connsiteY9" fmla="*/ 60334 h 3041160"/>
                  <a:gd name="connsiteX10" fmla="*/ 138905 w 6401202"/>
                  <a:gd name="connsiteY10" fmla="*/ 1533580 h 3041160"/>
                  <a:gd name="connsiteX11" fmla="*/ 131717 w 6401202"/>
                  <a:gd name="connsiteY11" fmla="*/ 1534195 h 3041160"/>
                  <a:gd name="connsiteX12" fmla="*/ 0 w 6401202"/>
                  <a:gd name="connsiteY12" fmla="*/ 1027 h 3041160"/>
                  <a:gd name="connsiteX13" fmla="*/ 7147 w 6401202"/>
                  <a:gd name="connsiteY13" fmla="*/ 0 h 3041160"/>
                  <a:gd name="connsiteX14" fmla="*/ 425422 w 6401202"/>
                  <a:gd name="connsiteY14" fmla="*/ 2002044 h 3041160"/>
                  <a:gd name="connsiteX15" fmla="*/ 1548653 w 6401202"/>
                  <a:gd name="connsiteY15" fmla="*/ 2987767 h 3041160"/>
                  <a:gd name="connsiteX16" fmla="*/ 2287041 w 6401202"/>
                  <a:gd name="connsiteY16" fmla="*/ 2497247 h 3041160"/>
                  <a:gd name="connsiteX17" fmla="*/ 2738749 w 6401202"/>
                  <a:gd name="connsiteY17" fmla="*/ 3033110 h 3041160"/>
                  <a:gd name="connsiteX18" fmla="*/ 4198276 w 6401202"/>
                  <a:gd name="connsiteY18" fmla="*/ 2685273 h 3041160"/>
                  <a:gd name="connsiteX19" fmla="*/ 5666100 w 6401202"/>
                  <a:gd name="connsiteY19" fmla="*/ 1879486 h 3041160"/>
                  <a:gd name="connsiteX20" fmla="*/ 6395329 w 6401202"/>
                  <a:gd name="connsiteY20" fmla="*/ 878279 h 3041160"/>
                  <a:gd name="connsiteX21" fmla="*/ 6401202 w 6401202"/>
                  <a:gd name="connsiteY21" fmla="*/ 882551 h 3041160"/>
                  <a:gd name="connsiteX22" fmla="*/ 5671028 w 6401202"/>
                  <a:gd name="connsiteY22" fmla="*/ 1885031 h 3041160"/>
                  <a:gd name="connsiteX23" fmla="*/ 5670330 w 6401202"/>
                  <a:gd name="connsiteY23" fmla="*/ 1885441 h 3041160"/>
                  <a:gd name="connsiteX24" fmla="*/ 4200864 w 6401202"/>
                  <a:gd name="connsiteY24" fmla="*/ 2692091 h 3041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401202" h="3041160">
                    <a:moveTo>
                      <a:pt x="4200864" y="2692091"/>
                    </a:moveTo>
                    <a:lnTo>
                      <a:pt x="4200412" y="2692215"/>
                    </a:lnTo>
                    <a:lnTo>
                      <a:pt x="2736120" y="3041160"/>
                    </a:lnTo>
                    <a:lnTo>
                      <a:pt x="2734683" y="3039476"/>
                    </a:lnTo>
                    <a:lnTo>
                      <a:pt x="2285686" y="2506816"/>
                    </a:lnTo>
                    <a:lnTo>
                      <a:pt x="1548037" y="2996844"/>
                    </a:lnTo>
                    <a:lnTo>
                      <a:pt x="1545942" y="2995037"/>
                    </a:lnTo>
                    <a:lnTo>
                      <a:pt x="418809" y="2005905"/>
                    </a:lnTo>
                    <a:lnTo>
                      <a:pt x="418563" y="2004714"/>
                    </a:lnTo>
                    <a:lnTo>
                      <a:pt x="12363" y="60334"/>
                    </a:lnTo>
                    <a:lnTo>
                      <a:pt x="138905" y="1533580"/>
                    </a:lnTo>
                    <a:lnTo>
                      <a:pt x="131717" y="1534195"/>
                    </a:lnTo>
                    <a:lnTo>
                      <a:pt x="0" y="1027"/>
                    </a:lnTo>
                    <a:lnTo>
                      <a:pt x="7147" y="0"/>
                    </a:lnTo>
                    <a:lnTo>
                      <a:pt x="425422" y="2002044"/>
                    </a:lnTo>
                    <a:lnTo>
                      <a:pt x="1548653" y="2987767"/>
                    </a:lnTo>
                    <a:lnTo>
                      <a:pt x="2287041" y="2497247"/>
                    </a:lnTo>
                    <a:lnTo>
                      <a:pt x="2738749" y="3033110"/>
                    </a:lnTo>
                    <a:lnTo>
                      <a:pt x="4198276" y="2685273"/>
                    </a:lnTo>
                    <a:lnTo>
                      <a:pt x="5666100" y="1879486"/>
                    </a:lnTo>
                    <a:lnTo>
                      <a:pt x="6395329" y="878279"/>
                    </a:lnTo>
                    <a:lnTo>
                      <a:pt x="6401202" y="882551"/>
                    </a:lnTo>
                    <a:lnTo>
                      <a:pt x="5671028" y="1885031"/>
                    </a:lnTo>
                    <a:lnTo>
                      <a:pt x="5670330" y="1885441"/>
                    </a:lnTo>
                    <a:lnTo>
                      <a:pt x="4200864" y="2692091"/>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15" name="Freeform: Shape 2314">
                <a:extLst>
                  <a:ext uri="{FF2B5EF4-FFF2-40B4-BE49-F238E27FC236}">
                    <a16:creationId xmlns:a16="http://schemas.microsoft.com/office/drawing/2014/main" id="{BC999697-6B79-2D78-9FF8-22096A43CAC7}"/>
                  </a:ext>
                </a:extLst>
              </p:cNvPr>
              <p:cNvSpPr/>
              <p:nvPr/>
            </p:nvSpPr>
            <p:spPr>
              <a:xfrm>
                <a:off x="8277086" y="2939844"/>
                <a:ext cx="404226" cy="1354146"/>
              </a:xfrm>
              <a:custGeom>
                <a:avLst/>
                <a:gdLst>
                  <a:gd name="connsiteX0" fmla="*/ 517668 w 517668"/>
                  <a:gd name="connsiteY0" fmla="*/ 1734174 h 1734174"/>
                  <a:gd name="connsiteX1" fmla="*/ 0 w 517668"/>
                  <a:gd name="connsiteY1" fmla="*/ 854498 h 1734174"/>
                  <a:gd name="connsiteX2" fmla="*/ 6284 w 517668"/>
                  <a:gd name="connsiteY2" fmla="*/ 850802 h 1734174"/>
                  <a:gd name="connsiteX3" fmla="*/ 499885 w 517668"/>
                  <a:gd name="connsiteY3" fmla="*/ 1689693 h 1734174"/>
                  <a:gd name="connsiteX4" fmla="*/ 107690 w 517668"/>
                  <a:gd name="connsiteY4" fmla="*/ 1643 h 1734174"/>
                  <a:gd name="connsiteX5" fmla="*/ 114754 w 517668"/>
                  <a:gd name="connsiteY5" fmla="*/ 0 h 1734174"/>
                  <a:gd name="connsiteX6" fmla="*/ 517668 w 517668"/>
                  <a:gd name="connsiteY6" fmla="*/ 1734174 h 1734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7668" h="1734174">
                    <a:moveTo>
                      <a:pt x="517668" y="1734174"/>
                    </a:moveTo>
                    <a:lnTo>
                      <a:pt x="0" y="854498"/>
                    </a:lnTo>
                    <a:lnTo>
                      <a:pt x="6284" y="850802"/>
                    </a:lnTo>
                    <a:lnTo>
                      <a:pt x="499885" y="1689693"/>
                    </a:lnTo>
                    <a:lnTo>
                      <a:pt x="107690" y="1643"/>
                    </a:lnTo>
                    <a:lnTo>
                      <a:pt x="114754" y="0"/>
                    </a:lnTo>
                    <a:lnTo>
                      <a:pt x="517668" y="1734174"/>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16" name="Freeform: Shape 2315">
                <a:extLst>
                  <a:ext uri="{FF2B5EF4-FFF2-40B4-BE49-F238E27FC236}">
                    <a16:creationId xmlns:a16="http://schemas.microsoft.com/office/drawing/2014/main" id="{A952C632-B726-CA9C-09E9-3F9C533E4AAA}"/>
                  </a:ext>
                </a:extLst>
              </p:cNvPr>
              <p:cNvSpPr/>
              <p:nvPr/>
            </p:nvSpPr>
            <p:spPr>
              <a:xfrm>
                <a:off x="6113845" y="5329509"/>
                <a:ext cx="450537" cy="361411"/>
              </a:xfrm>
              <a:custGeom>
                <a:avLst/>
                <a:gdLst>
                  <a:gd name="connsiteX0" fmla="*/ 14005 w 576976"/>
                  <a:gd name="connsiteY0" fmla="*/ 462714 h 462837"/>
                  <a:gd name="connsiteX1" fmla="*/ 6777 w 576976"/>
                  <a:gd name="connsiteY1" fmla="*/ 462838 h 462837"/>
                  <a:gd name="connsiteX2" fmla="*/ 0 w 576976"/>
                  <a:gd name="connsiteY2" fmla="*/ 0 h 462837"/>
                  <a:gd name="connsiteX3" fmla="*/ 576976 w 576976"/>
                  <a:gd name="connsiteY3" fmla="*/ 167983 h 462837"/>
                  <a:gd name="connsiteX4" fmla="*/ 574964 w 576976"/>
                  <a:gd name="connsiteY4" fmla="*/ 174925 h 462837"/>
                  <a:gd name="connsiteX5" fmla="*/ 7393 w 576976"/>
                  <a:gd name="connsiteY5" fmla="*/ 9693 h 462837"/>
                  <a:gd name="connsiteX6" fmla="*/ 14005 w 576976"/>
                  <a:gd name="connsiteY6" fmla="*/ 462714 h 462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6976" h="462837">
                    <a:moveTo>
                      <a:pt x="14005" y="462714"/>
                    </a:moveTo>
                    <a:lnTo>
                      <a:pt x="6777" y="462838"/>
                    </a:lnTo>
                    <a:lnTo>
                      <a:pt x="0" y="0"/>
                    </a:lnTo>
                    <a:lnTo>
                      <a:pt x="576976" y="167983"/>
                    </a:lnTo>
                    <a:lnTo>
                      <a:pt x="574964" y="174925"/>
                    </a:lnTo>
                    <a:lnTo>
                      <a:pt x="7393" y="9693"/>
                    </a:lnTo>
                    <a:lnTo>
                      <a:pt x="14005" y="462714"/>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17" name="Freeform: Shape 2316">
                <a:extLst>
                  <a:ext uri="{FF2B5EF4-FFF2-40B4-BE49-F238E27FC236}">
                    <a16:creationId xmlns:a16="http://schemas.microsoft.com/office/drawing/2014/main" id="{7CDB5983-5FFB-EA94-1E18-86B77CC9B6AD}"/>
                  </a:ext>
                </a:extLst>
              </p:cNvPr>
              <p:cNvSpPr/>
              <p:nvPr/>
            </p:nvSpPr>
            <p:spPr>
              <a:xfrm>
                <a:off x="4369487" y="2350053"/>
                <a:ext cx="2282001" cy="2236876"/>
              </a:xfrm>
              <a:custGeom>
                <a:avLst/>
                <a:gdLst>
                  <a:gd name="connsiteX0" fmla="*/ 4436 w 2922422"/>
                  <a:gd name="connsiteY0" fmla="*/ 2864634 h 2864633"/>
                  <a:gd name="connsiteX1" fmla="*/ 0 w 2922422"/>
                  <a:gd name="connsiteY1" fmla="*/ 2858884 h 2864633"/>
                  <a:gd name="connsiteX2" fmla="*/ 734692 w 2922422"/>
                  <a:gd name="connsiteY2" fmla="*/ 2289259 h 2864633"/>
                  <a:gd name="connsiteX3" fmla="*/ 146791 w 2922422"/>
                  <a:gd name="connsiteY3" fmla="*/ 2118072 h 2864633"/>
                  <a:gd name="connsiteX4" fmla="*/ 498529 w 2922422"/>
                  <a:gd name="connsiteY4" fmla="*/ 1536824 h 2864633"/>
                  <a:gd name="connsiteX5" fmla="*/ 1056818 w 2922422"/>
                  <a:gd name="connsiteY5" fmla="*/ 964776 h 2864633"/>
                  <a:gd name="connsiteX6" fmla="*/ 2188757 w 2922422"/>
                  <a:gd name="connsiteY6" fmla="*/ 0 h 2864633"/>
                  <a:gd name="connsiteX7" fmla="*/ 1642584 w 2922422"/>
                  <a:gd name="connsiteY7" fmla="*/ 1244557 h 2864633"/>
                  <a:gd name="connsiteX8" fmla="*/ 2308727 w 2922422"/>
                  <a:gd name="connsiteY8" fmla="*/ 1257454 h 2864633"/>
                  <a:gd name="connsiteX9" fmla="*/ 1923351 w 2922422"/>
                  <a:gd name="connsiteY9" fmla="*/ 2138649 h 2864633"/>
                  <a:gd name="connsiteX10" fmla="*/ 2918931 w 2922422"/>
                  <a:gd name="connsiteY10" fmla="*/ 1593133 h 2864633"/>
                  <a:gd name="connsiteX11" fmla="*/ 2922422 w 2922422"/>
                  <a:gd name="connsiteY11" fmla="*/ 1599500 h 2864633"/>
                  <a:gd name="connsiteX12" fmla="*/ 1908195 w 2922422"/>
                  <a:gd name="connsiteY12" fmla="*/ 2155242 h 2864633"/>
                  <a:gd name="connsiteX13" fmla="*/ 2297720 w 2922422"/>
                  <a:gd name="connsiteY13" fmla="*/ 1264477 h 2864633"/>
                  <a:gd name="connsiteX14" fmla="*/ 1631577 w 2922422"/>
                  <a:gd name="connsiteY14" fmla="*/ 1251581 h 2864633"/>
                  <a:gd name="connsiteX15" fmla="*/ 1633754 w 2922422"/>
                  <a:gd name="connsiteY15" fmla="*/ 1246611 h 2864633"/>
                  <a:gd name="connsiteX16" fmla="*/ 2169453 w 2922422"/>
                  <a:gd name="connsiteY16" fmla="*/ 25957 h 2864633"/>
                  <a:gd name="connsiteX17" fmla="*/ 1061747 w 2922422"/>
                  <a:gd name="connsiteY17" fmla="*/ 970074 h 2864633"/>
                  <a:gd name="connsiteX18" fmla="*/ 504238 w 2922422"/>
                  <a:gd name="connsiteY18" fmla="*/ 1541219 h 2864633"/>
                  <a:gd name="connsiteX19" fmla="*/ 157880 w 2922422"/>
                  <a:gd name="connsiteY19" fmla="*/ 2113760 h 2864633"/>
                  <a:gd name="connsiteX20" fmla="*/ 750341 w 2922422"/>
                  <a:gd name="connsiteY20" fmla="*/ 2286261 h 2864633"/>
                  <a:gd name="connsiteX21" fmla="*/ 744755 w 2922422"/>
                  <a:gd name="connsiteY21" fmla="*/ 2290615 h 2864633"/>
                  <a:gd name="connsiteX22" fmla="*/ 4436 w 2922422"/>
                  <a:gd name="connsiteY22" fmla="*/ 2864634 h 2864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922422" h="2864633">
                    <a:moveTo>
                      <a:pt x="4436" y="2864634"/>
                    </a:moveTo>
                    <a:lnTo>
                      <a:pt x="0" y="2858884"/>
                    </a:lnTo>
                    <a:lnTo>
                      <a:pt x="734692" y="2289259"/>
                    </a:lnTo>
                    <a:lnTo>
                      <a:pt x="146791" y="2118072"/>
                    </a:lnTo>
                    <a:lnTo>
                      <a:pt x="498529" y="1536824"/>
                    </a:lnTo>
                    <a:lnTo>
                      <a:pt x="1056818" y="964776"/>
                    </a:lnTo>
                    <a:lnTo>
                      <a:pt x="2188757" y="0"/>
                    </a:lnTo>
                    <a:lnTo>
                      <a:pt x="1642584" y="1244557"/>
                    </a:lnTo>
                    <a:lnTo>
                      <a:pt x="2308727" y="1257454"/>
                    </a:lnTo>
                    <a:lnTo>
                      <a:pt x="1923351" y="2138649"/>
                    </a:lnTo>
                    <a:lnTo>
                      <a:pt x="2918931" y="1593133"/>
                    </a:lnTo>
                    <a:lnTo>
                      <a:pt x="2922422" y="1599500"/>
                    </a:lnTo>
                    <a:lnTo>
                      <a:pt x="1908195" y="2155242"/>
                    </a:lnTo>
                    <a:lnTo>
                      <a:pt x="2297720" y="1264477"/>
                    </a:lnTo>
                    <a:lnTo>
                      <a:pt x="1631577" y="1251581"/>
                    </a:lnTo>
                    <a:lnTo>
                      <a:pt x="1633754" y="1246611"/>
                    </a:lnTo>
                    <a:lnTo>
                      <a:pt x="2169453" y="25957"/>
                    </a:lnTo>
                    <a:lnTo>
                      <a:pt x="1061747" y="970074"/>
                    </a:lnTo>
                    <a:lnTo>
                      <a:pt x="504238" y="1541219"/>
                    </a:lnTo>
                    <a:lnTo>
                      <a:pt x="157880" y="2113760"/>
                    </a:lnTo>
                    <a:lnTo>
                      <a:pt x="750341" y="2286261"/>
                    </a:lnTo>
                    <a:lnTo>
                      <a:pt x="744755" y="2290615"/>
                    </a:lnTo>
                    <a:lnTo>
                      <a:pt x="4436" y="2864634"/>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18" name="Freeform: Shape 2317">
                <a:extLst>
                  <a:ext uri="{FF2B5EF4-FFF2-40B4-BE49-F238E27FC236}">
                    <a16:creationId xmlns:a16="http://schemas.microsoft.com/office/drawing/2014/main" id="{27C71690-E9A3-0CD7-1D7E-F5425CCE3561}"/>
                  </a:ext>
                </a:extLst>
              </p:cNvPr>
              <p:cNvSpPr/>
              <p:nvPr/>
            </p:nvSpPr>
            <p:spPr>
              <a:xfrm>
                <a:off x="4943531" y="2611659"/>
                <a:ext cx="3426432" cy="2728240"/>
              </a:xfrm>
              <a:custGeom>
                <a:avLst/>
                <a:gdLst>
                  <a:gd name="connsiteX0" fmla="*/ 1508238 w 4388027"/>
                  <a:gd name="connsiteY0" fmla="*/ 3493854 h 3493894"/>
                  <a:gd name="connsiteX1" fmla="*/ 1505938 w 4388027"/>
                  <a:gd name="connsiteY1" fmla="*/ 3491636 h 3493894"/>
                  <a:gd name="connsiteX2" fmla="*/ 638790 w 4388027"/>
                  <a:gd name="connsiteY2" fmla="*/ 2654388 h 3493894"/>
                  <a:gd name="connsiteX3" fmla="*/ 638913 w 4388027"/>
                  <a:gd name="connsiteY3" fmla="*/ 2654223 h 3493894"/>
                  <a:gd name="connsiteX4" fmla="*/ 0 w 4388027"/>
                  <a:gd name="connsiteY4" fmla="*/ 1950006 h 3493894"/>
                  <a:gd name="connsiteX5" fmla="*/ 1187837 w 4388027"/>
                  <a:gd name="connsiteY5" fmla="*/ 1807446 h 3493894"/>
                  <a:gd name="connsiteX6" fmla="*/ 1183730 w 4388027"/>
                  <a:gd name="connsiteY6" fmla="*/ 1813894 h 3493894"/>
                  <a:gd name="connsiteX7" fmla="*/ 649756 w 4388027"/>
                  <a:gd name="connsiteY7" fmla="*/ 2650732 h 3493894"/>
                  <a:gd name="connsiteX8" fmla="*/ 1554362 w 4388027"/>
                  <a:gd name="connsiteY8" fmla="*/ 2722115 h 3493894"/>
                  <a:gd name="connsiteX9" fmla="*/ 1553787 w 4388027"/>
                  <a:gd name="connsiteY9" fmla="*/ 2729344 h 3493894"/>
                  <a:gd name="connsiteX10" fmla="*/ 653247 w 4388027"/>
                  <a:gd name="connsiteY10" fmla="*/ 2658248 h 3493894"/>
                  <a:gd name="connsiteX11" fmla="*/ 1508690 w 4388027"/>
                  <a:gd name="connsiteY11" fmla="*/ 3484202 h 3493894"/>
                  <a:gd name="connsiteX12" fmla="*/ 2707329 w 4388027"/>
                  <a:gd name="connsiteY12" fmla="*/ 2510924 h 3493894"/>
                  <a:gd name="connsiteX13" fmla="*/ 2167893 w 4388027"/>
                  <a:gd name="connsiteY13" fmla="*/ 2059709 h 3493894"/>
                  <a:gd name="connsiteX14" fmla="*/ 2938358 w 4388027"/>
                  <a:gd name="connsiteY14" fmla="*/ 1761364 h 3493894"/>
                  <a:gd name="connsiteX15" fmla="*/ 3431425 w 4388027"/>
                  <a:gd name="connsiteY15" fmla="*/ 1089552 h 3493894"/>
                  <a:gd name="connsiteX16" fmla="*/ 3429412 w 4388027"/>
                  <a:gd name="connsiteY16" fmla="*/ 1088813 h 3493894"/>
                  <a:gd name="connsiteX17" fmla="*/ 3434464 w 4388027"/>
                  <a:gd name="connsiteY17" fmla="*/ 1085281 h 3493894"/>
                  <a:gd name="connsiteX18" fmla="*/ 3987578 w 4388027"/>
                  <a:gd name="connsiteY18" fmla="*/ 0 h 3493894"/>
                  <a:gd name="connsiteX19" fmla="*/ 4388028 w 4388027"/>
                  <a:gd name="connsiteY19" fmla="*/ 427023 h 3493894"/>
                  <a:gd name="connsiteX20" fmla="*/ 3444978 w 4388027"/>
                  <a:gd name="connsiteY20" fmla="*/ 1086760 h 3493894"/>
                  <a:gd name="connsiteX21" fmla="*/ 4024583 w 4388027"/>
                  <a:gd name="connsiteY21" fmla="*/ 1296349 h 3493894"/>
                  <a:gd name="connsiteX22" fmla="*/ 4280543 w 4388027"/>
                  <a:gd name="connsiteY22" fmla="*/ 1270556 h 3493894"/>
                  <a:gd name="connsiteX23" fmla="*/ 4278654 w 4388027"/>
                  <a:gd name="connsiteY23" fmla="*/ 1275936 h 3493894"/>
                  <a:gd name="connsiteX24" fmla="*/ 4144883 w 4388027"/>
                  <a:gd name="connsiteY24" fmla="*/ 1658602 h 3493894"/>
                  <a:gd name="connsiteX25" fmla="*/ 3665082 w 4388027"/>
                  <a:gd name="connsiteY25" fmla="*/ 2479504 h 3493894"/>
                  <a:gd name="connsiteX26" fmla="*/ 3663111 w 4388027"/>
                  <a:gd name="connsiteY26" fmla="*/ 2479586 h 3493894"/>
                  <a:gd name="connsiteX27" fmla="*/ 2714352 w 4388027"/>
                  <a:gd name="connsiteY27" fmla="*/ 2514579 h 3493894"/>
                  <a:gd name="connsiteX28" fmla="*/ 1508279 w 4388027"/>
                  <a:gd name="connsiteY28" fmla="*/ 3493895 h 3493894"/>
                  <a:gd name="connsiteX29" fmla="*/ 2717926 w 4388027"/>
                  <a:gd name="connsiteY29" fmla="*/ 2507145 h 3493894"/>
                  <a:gd name="connsiteX30" fmla="*/ 3660811 w 4388027"/>
                  <a:gd name="connsiteY30" fmla="*/ 2472357 h 3493894"/>
                  <a:gd name="connsiteX31" fmla="*/ 4138311 w 4388027"/>
                  <a:gd name="connsiteY31" fmla="*/ 1655563 h 3493894"/>
                  <a:gd name="connsiteX32" fmla="*/ 4269946 w 4388027"/>
                  <a:gd name="connsiteY32" fmla="*/ 1278893 h 3493894"/>
                  <a:gd name="connsiteX33" fmla="*/ 4022899 w 4388027"/>
                  <a:gd name="connsiteY33" fmla="*/ 1303413 h 3493894"/>
                  <a:gd name="connsiteX34" fmla="*/ 3438489 w 4388027"/>
                  <a:gd name="connsiteY34" fmla="*/ 1092058 h 3493894"/>
                  <a:gd name="connsiteX35" fmla="*/ 2943944 w 4388027"/>
                  <a:gd name="connsiteY35" fmla="*/ 1765964 h 3493894"/>
                  <a:gd name="connsiteX36" fmla="*/ 2717967 w 4388027"/>
                  <a:gd name="connsiteY36" fmla="*/ 2507104 h 3493894"/>
                  <a:gd name="connsiteX37" fmla="*/ 2181898 w 4388027"/>
                  <a:gd name="connsiteY37" fmla="*/ 2062009 h 3493894"/>
                  <a:gd name="connsiteX38" fmla="*/ 2711108 w 4388027"/>
                  <a:gd name="connsiteY38" fmla="*/ 2504681 h 3493894"/>
                  <a:gd name="connsiteX39" fmla="*/ 2934990 w 4388027"/>
                  <a:gd name="connsiteY39" fmla="*/ 1770399 h 3493894"/>
                  <a:gd name="connsiteX40" fmla="*/ 2181939 w 4388027"/>
                  <a:gd name="connsiteY40" fmla="*/ 2062009 h 3493894"/>
                  <a:gd name="connsiteX41" fmla="*/ 14745 w 4388027"/>
                  <a:gd name="connsiteY41" fmla="*/ 1955510 h 3493894"/>
                  <a:gd name="connsiteX42" fmla="*/ 642897 w 4388027"/>
                  <a:gd name="connsiteY42" fmla="*/ 2647898 h 3493894"/>
                  <a:gd name="connsiteX43" fmla="*/ 1173421 w 4388027"/>
                  <a:gd name="connsiteY43" fmla="*/ 1816441 h 3493894"/>
                  <a:gd name="connsiteX44" fmla="*/ 14745 w 4388027"/>
                  <a:gd name="connsiteY44" fmla="*/ 1955510 h 3493894"/>
                  <a:gd name="connsiteX45" fmla="*/ 3989344 w 4388027"/>
                  <a:gd name="connsiteY45" fmla="*/ 12486 h 3493894"/>
                  <a:gd name="connsiteX46" fmla="*/ 3446991 w 4388027"/>
                  <a:gd name="connsiteY46" fmla="*/ 1076492 h 3493894"/>
                  <a:gd name="connsiteX47" fmla="*/ 4377021 w 4388027"/>
                  <a:gd name="connsiteY47" fmla="*/ 425873 h 3493894"/>
                  <a:gd name="connsiteX48" fmla="*/ 3989344 w 4388027"/>
                  <a:gd name="connsiteY48" fmla="*/ 12486 h 3493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388027" h="3493894">
                    <a:moveTo>
                      <a:pt x="1508238" y="3493854"/>
                    </a:moveTo>
                    <a:lnTo>
                      <a:pt x="1505938" y="3491636"/>
                    </a:lnTo>
                    <a:lnTo>
                      <a:pt x="638790" y="2654388"/>
                    </a:lnTo>
                    <a:lnTo>
                      <a:pt x="638913" y="2654223"/>
                    </a:lnTo>
                    <a:lnTo>
                      <a:pt x="0" y="1950006"/>
                    </a:lnTo>
                    <a:lnTo>
                      <a:pt x="1187837" y="1807446"/>
                    </a:lnTo>
                    <a:lnTo>
                      <a:pt x="1183730" y="1813894"/>
                    </a:lnTo>
                    <a:lnTo>
                      <a:pt x="649756" y="2650732"/>
                    </a:lnTo>
                    <a:lnTo>
                      <a:pt x="1554362" y="2722115"/>
                    </a:lnTo>
                    <a:lnTo>
                      <a:pt x="1553787" y="2729344"/>
                    </a:lnTo>
                    <a:lnTo>
                      <a:pt x="653247" y="2658248"/>
                    </a:lnTo>
                    <a:lnTo>
                      <a:pt x="1508690" y="3484202"/>
                    </a:lnTo>
                    <a:lnTo>
                      <a:pt x="2707329" y="2510924"/>
                    </a:lnTo>
                    <a:lnTo>
                      <a:pt x="2167893" y="2059709"/>
                    </a:lnTo>
                    <a:lnTo>
                      <a:pt x="2938358" y="1761364"/>
                    </a:lnTo>
                    <a:lnTo>
                      <a:pt x="3431425" y="1089552"/>
                    </a:lnTo>
                    <a:lnTo>
                      <a:pt x="3429412" y="1088813"/>
                    </a:lnTo>
                    <a:lnTo>
                      <a:pt x="3434464" y="1085281"/>
                    </a:lnTo>
                    <a:lnTo>
                      <a:pt x="3987578" y="0"/>
                    </a:lnTo>
                    <a:lnTo>
                      <a:pt x="4388028" y="427023"/>
                    </a:lnTo>
                    <a:lnTo>
                      <a:pt x="3444978" y="1086760"/>
                    </a:lnTo>
                    <a:lnTo>
                      <a:pt x="4024583" y="1296349"/>
                    </a:lnTo>
                    <a:lnTo>
                      <a:pt x="4280543" y="1270556"/>
                    </a:lnTo>
                    <a:lnTo>
                      <a:pt x="4278654" y="1275936"/>
                    </a:lnTo>
                    <a:lnTo>
                      <a:pt x="4144883" y="1658602"/>
                    </a:lnTo>
                    <a:lnTo>
                      <a:pt x="3665082" y="2479504"/>
                    </a:lnTo>
                    <a:lnTo>
                      <a:pt x="3663111" y="2479586"/>
                    </a:lnTo>
                    <a:lnTo>
                      <a:pt x="2714352" y="2514579"/>
                    </a:lnTo>
                    <a:lnTo>
                      <a:pt x="1508279" y="3493895"/>
                    </a:lnTo>
                    <a:close/>
                    <a:moveTo>
                      <a:pt x="2717926" y="2507145"/>
                    </a:moveTo>
                    <a:lnTo>
                      <a:pt x="3660811" y="2472357"/>
                    </a:lnTo>
                    <a:lnTo>
                      <a:pt x="4138311" y="1655563"/>
                    </a:lnTo>
                    <a:lnTo>
                      <a:pt x="4269946" y="1278893"/>
                    </a:lnTo>
                    <a:lnTo>
                      <a:pt x="4022899" y="1303413"/>
                    </a:lnTo>
                    <a:lnTo>
                      <a:pt x="3438489" y="1092058"/>
                    </a:lnTo>
                    <a:lnTo>
                      <a:pt x="2943944" y="1765964"/>
                    </a:lnTo>
                    <a:lnTo>
                      <a:pt x="2717967" y="2507104"/>
                    </a:lnTo>
                    <a:close/>
                    <a:moveTo>
                      <a:pt x="2181898" y="2062009"/>
                    </a:moveTo>
                    <a:lnTo>
                      <a:pt x="2711108" y="2504681"/>
                    </a:lnTo>
                    <a:lnTo>
                      <a:pt x="2934990" y="1770399"/>
                    </a:lnTo>
                    <a:lnTo>
                      <a:pt x="2181939" y="2062009"/>
                    </a:lnTo>
                    <a:close/>
                    <a:moveTo>
                      <a:pt x="14745" y="1955510"/>
                    </a:moveTo>
                    <a:lnTo>
                      <a:pt x="642897" y="2647898"/>
                    </a:lnTo>
                    <a:lnTo>
                      <a:pt x="1173421" y="1816441"/>
                    </a:lnTo>
                    <a:lnTo>
                      <a:pt x="14745" y="1955510"/>
                    </a:lnTo>
                    <a:close/>
                    <a:moveTo>
                      <a:pt x="3989344" y="12486"/>
                    </a:moveTo>
                    <a:lnTo>
                      <a:pt x="3446991" y="1076492"/>
                    </a:lnTo>
                    <a:lnTo>
                      <a:pt x="4377021" y="425873"/>
                    </a:lnTo>
                    <a:lnTo>
                      <a:pt x="3989344" y="12486"/>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19" name="Freeform: Shape 2318">
                <a:extLst>
                  <a:ext uri="{FF2B5EF4-FFF2-40B4-BE49-F238E27FC236}">
                    <a16:creationId xmlns:a16="http://schemas.microsoft.com/office/drawing/2014/main" id="{B1D856EF-4836-923B-3742-E2848CFD9F6A}"/>
                  </a:ext>
                </a:extLst>
              </p:cNvPr>
              <p:cNvSpPr/>
              <p:nvPr/>
            </p:nvSpPr>
            <p:spPr>
              <a:xfrm>
                <a:off x="6641642" y="3011043"/>
                <a:ext cx="991131" cy="589534"/>
              </a:xfrm>
              <a:custGeom>
                <a:avLst/>
                <a:gdLst>
                  <a:gd name="connsiteX0" fmla="*/ 1269283 w 1269282"/>
                  <a:gd name="connsiteY0" fmla="*/ 579030 h 754981"/>
                  <a:gd name="connsiteX1" fmla="*/ 1262999 w 1269282"/>
                  <a:gd name="connsiteY1" fmla="*/ 579893 h 754981"/>
                  <a:gd name="connsiteX2" fmla="*/ 0 w 1269282"/>
                  <a:gd name="connsiteY2" fmla="*/ 754982 h 754981"/>
                  <a:gd name="connsiteX3" fmla="*/ 8420 w 1269282"/>
                  <a:gd name="connsiteY3" fmla="*/ 747178 h 754981"/>
                  <a:gd name="connsiteX4" fmla="*/ 811332 w 1269282"/>
                  <a:gd name="connsiteY4" fmla="*/ 0 h 754981"/>
                  <a:gd name="connsiteX5" fmla="*/ 813755 w 1269282"/>
                  <a:gd name="connsiteY5" fmla="*/ 3080 h 754981"/>
                  <a:gd name="connsiteX6" fmla="*/ 1269283 w 1269282"/>
                  <a:gd name="connsiteY6" fmla="*/ 579030 h 754981"/>
                  <a:gd name="connsiteX7" fmla="*/ 21727 w 1269282"/>
                  <a:gd name="connsiteY7" fmla="*/ 744673 h 754981"/>
                  <a:gd name="connsiteX8" fmla="*/ 1255770 w 1269282"/>
                  <a:gd name="connsiteY8" fmla="*/ 573608 h 754981"/>
                  <a:gd name="connsiteX9" fmla="*/ 810511 w 1269282"/>
                  <a:gd name="connsiteY9" fmla="*/ 10637 h 754981"/>
                  <a:gd name="connsiteX10" fmla="*/ 21727 w 1269282"/>
                  <a:gd name="connsiteY10" fmla="*/ 744631 h 754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69282" h="754981">
                    <a:moveTo>
                      <a:pt x="1269283" y="579030"/>
                    </a:moveTo>
                    <a:lnTo>
                      <a:pt x="1262999" y="579893"/>
                    </a:lnTo>
                    <a:lnTo>
                      <a:pt x="0" y="754982"/>
                    </a:lnTo>
                    <a:lnTo>
                      <a:pt x="8420" y="747178"/>
                    </a:lnTo>
                    <a:lnTo>
                      <a:pt x="811332" y="0"/>
                    </a:lnTo>
                    <a:lnTo>
                      <a:pt x="813755" y="3080"/>
                    </a:lnTo>
                    <a:lnTo>
                      <a:pt x="1269283" y="579030"/>
                    </a:lnTo>
                    <a:close/>
                    <a:moveTo>
                      <a:pt x="21727" y="744673"/>
                    </a:moveTo>
                    <a:lnTo>
                      <a:pt x="1255770" y="573608"/>
                    </a:lnTo>
                    <a:lnTo>
                      <a:pt x="810511" y="10637"/>
                    </a:lnTo>
                    <a:lnTo>
                      <a:pt x="21727" y="744631"/>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20" name="Freeform: Shape 2319">
                <a:extLst>
                  <a:ext uri="{FF2B5EF4-FFF2-40B4-BE49-F238E27FC236}">
                    <a16:creationId xmlns:a16="http://schemas.microsoft.com/office/drawing/2014/main" id="{6DBE16AB-4689-8C6B-1EA7-E7EAF641F555}"/>
                  </a:ext>
                </a:extLst>
              </p:cNvPr>
              <p:cNvSpPr/>
              <p:nvPr/>
            </p:nvSpPr>
            <p:spPr>
              <a:xfrm>
                <a:off x="5153374" y="2282094"/>
                <a:ext cx="2584112" cy="1942397"/>
              </a:xfrm>
              <a:custGeom>
                <a:avLst/>
                <a:gdLst>
                  <a:gd name="connsiteX0" fmla="*/ 1909715 w 3309318"/>
                  <a:gd name="connsiteY0" fmla="*/ 2487513 h 2487512"/>
                  <a:gd name="connsiteX1" fmla="*/ 909042 w 3309318"/>
                  <a:gd name="connsiteY1" fmla="*/ 2236975 h 2487512"/>
                  <a:gd name="connsiteX2" fmla="*/ 908426 w 3309318"/>
                  <a:gd name="connsiteY2" fmla="*/ 2235044 h 2487512"/>
                  <a:gd name="connsiteX3" fmla="*/ 630206 w 3309318"/>
                  <a:gd name="connsiteY3" fmla="*/ 1337667 h 2487512"/>
                  <a:gd name="connsiteX4" fmla="*/ 51997 w 3309318"/>
                  <a:gd name="connsiteY4" fmla="*/ 1056654 h 2487512"/>
                  <a:gd name="connsiteX5" fmla="*/ 51915 w 3309318"/>
                  <a:gd name="connsiteY5" fmla="*/ 1054518 h 2487512"/>
                  <a:gd name="connsiteX6" fmla="*/ 0 w 3309318"/>
                  <a:gd name="connsiteY6" fmla="*/ 370 h 2487512"/>
                  <a:gd name="connsiteX7" fmla="*/ 7229 w 3309318"/>
                  <a:gd name="connsiteY7" fmla="*/ 0 h 2487512"/>
                  <a:gd name="connsiteX8" fmla="*/ 59061 w 3309318"/>
                  <a:gd name="connsiteY8" fmla="*/ 1052013 h 2487512"/>
                  <a:gd name="connsiteX9" fmla="*/ 636243 w 3309318"/>
                  <a:gd name="connsiteY9" fmla="*/ 1332492 h 2487512"/>
                  <a:gd name="connsiteX10" fmla="*/ 636695 w 3309318"/>
                  <a:gd name="connsiteY10" fmla="*/ 1333971 h 2487512"/>
                  <a:gd name="connsiteX11" fmla="*/ 914792 w 3309318"/>
                  <a:gd name="connsiteY11" fmla="*/ 2230896 h 2487512"/>
                  <a:gd name="connsiteX12" fmla="*/ 1902610 w 3309318"/>
                  <a:gd name="connsiteY12" fmla="*/ 2478189 h 2487512"/>
                  <a:gd name="connsiteX13" fmla="*/ 1913165 w 3309318"/>
                  <a:gd name="connsiteY13" fmla="*/ 1685422 h 2487512"/>
                  <a:gd name="connsiteX14" fmla="*/ 1294131 w 3309318"/>
                  <a:gd name="connsiteY14" fmla="*/ 1349208 h 2487512"/>
                  <a:gd name="connsiteX15" fmla="*/ 1789333 w 3309318"/>
                  <a:gd name="connsiteY15" fmla="*/ 612298 h 2487512"/>
                  <a:gd name="connsiteX16" fmla="*/ 1790812 w 3309318"/>
                  <a:gd name="connsiteY16" fmla="*/ 612791 h 2487512"/>
                  <a:gd name="connsiteX17" fmla="*/ 3309318 w 3309318"/>
                  <a:gd name="connsiteY17" fmla="*/ 111510 h 2487512"/>
                  <a:gd name="connsiteX18" fmla="*/ 2718213 w 3309318"/>
                  <a:gd name="connsiteY18" fmla="*/ 943049 h 2487512"/>
                  <a:gd name="connsiteX19" fmla="*/ 2715626 w 3309318"/>
                  <a:gd name="connsiteY19" fmla="*/ 942187 h 2487512"/>
                  <a:gd name="connsiteX20" fmla="*/ 1792209 w 3309318"/>
                  <a:gd name="connsiteY20" fmla="*/ 620964 h 2487512"/>
                  <a:gd name="connsiteX21" fmla="*/ 1304522 w 3309318"/>
                  <a:gd name="connsiteY21" fmla="*/ 1346621 h 2487512"/>
                  <a:gd name="connsiteX22" fmla="*/ 1920394 w 3309318"/>
                  <a:gd name="connsiteY22" fmla="*/ 1681109 h 2487512"/>
                  <a:gd name="connsiteX23" fmla="*/ 1920394 w 3309318"/>
                  <a:gd name="connsiteY23" fmla="*/ 1683286 h 2487512"/>
                  <a:gd name="connsiteX24" fmla="*/ 1909633 w 3309318"/>
                  <a:gd name="connsiteY24" fmla="*/ 2487431 h 2487512"/>
                  <a:gd name="connsiteX25" fmla="*/ 1802066 w 3309318"/>
                  <a:gd name="connsiteY25" fmla="*/ 616816 h 2487512"/>
                  <a:gd name="connsiteX26" fmla="*/ 2715462 w 3309318"/>
                  <a:gd name="connsiteY26" fmla="*/ 934547 h 2487512"/>
                  <a:gd name="connsiteX27" fmla="*/ 3290631 w 3309318"/>
                  <a:gd name="connsiteY27" fmla="*/ 125392 h 2487512"/>
                  <a:gd name="connsiteX28" fmla="*/ 1802066 w 3309318"/>
                  <a:gd name="connsiteY28" fmla="*/ 616816 h 2487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309318" h="2487512">
                    <a:moveTo>
                      <a:pt x="1909715" y="2487513"/>
                    </a:moveTo>
                    <a:lnTo>
                      <a:pt x="909042" y="2236975"/>
                    </a:lnTo>
                    <a:lnTo>
                      <a:pt x="908426" y="2235044"/>
                    </a:lnTo>
                    <a:lnTo>
                      <a:pt x="630206" y="1337667"/>
                    </a:lnTo>
                    <a:lnTo>
                      <a:pt x="51997" y="1056654"/>
                    </a:lnTo>
                    <a:lnTo>
                      <a:pt x="51915" y="1054518"/>
                    </a:lnTo>
                    <a:lnTo>
                      <a:pt x="0" y="370"/>
                    </a:lnTo>
                    <a:lnTo>
                      <a:pt x="7229" y="0"/>
                    </a:lnTo>
                    <a:lnTo>
                      <a:pt x="59061" y="1052013"/>
                    </a:lnTo>
                    <a:lnTo>
                      <a:pt x="636243" y="1332492"/>
                    </a:lnTo>
                    <a:lnTo>
                      <a:pt x="636695" y="1333971"/>
                    </a:lnTo>
                    <a:lnTo>
                      <a:pt x="914792" y="2230896"/>
                    </a:lnTo>
                    <a:lnTo>
                      <a:pt x="1902610" y="2478189"/>
                    </a:lnTo>
                    <a:lnTo>
                      <a:pt x="1913165" y="1685422"/>
                    </a:lnTo>
                    <a:lnTo>
                      <a:pt x="1294131" y="1349208"/>
                    </a:lnTo>
                    <a:lnTo>
                      <a:pt x="1789333" y="612298"/>
                    </a:lnTo>
                    <a:lnTo>
                      <a:pt x="1790812" y="612791"/>
                    </a:lnTo>
                    <a:lnTo>
                      <a:pt x="3309318" y="111510"/>
                    </a:lnTo>
                    <a:lnTo>
                      <a:pt x="2718213" y="943049"/>
                    </a:lnTo>
                    <a:lnTo>
                      <a:pt x="2715626" y="942187"/>
                    </a:lnTo>
                    <a:lnTo>
                      <a:pt x="1792209" y="620964"/>
                    </a:lnTo>
                    <a:lnTo>
                      <a:pt x="1304522" y="1346621"/>
                    </a:lnTo>
                    <a:lnTo>
                      <a:pt x="1920394" y="1681109"/>
                    </a:lnTo>
                    <a:lnTo>
                      <a:pt x="1920394" y="1683286"/>
                    </a:lnTo>
                    <a:cubicBezTo>
                      <a:pt x="1920394" y="1683286"/>
                      <a:pt x="1909633" y="2487431"/>
                      <a:pt x="1909633" y="2487431"/>
                    </a:cubicBezTo>
                    <a:close/>
                    <a:moveTo>
                      <a:pt x="1802066" y="616816"/>
                    </a:moveTo>
                    <a:lnTo>
                      <a:pt x="2715462" y="934547"/>
                    </a:lnTo>
                    <a:lnTo>
                      <a:pt x="3290631" y="125392"/>
                    </a:lnTo>
                    <a:lnTo>
                      <a:pt x="1802066" y="616816"/>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21" name="Freeform: Shape 2320">
                <a:extLst>
                  <a:ext uri="{FF2B5EF4-FFF2-40B4-BE49-F238E27FC236}">
                    <a16:creationId xmlns:a16="http://schemas.microsoft.com/office/drawing/2014/main" id="{D8670C99-03A2-6CEE-5176-11C67FF2082F}"/>
                  </a:ext>
                </a:extLst>
              </p:cNvPr>
              <p:cNvSpPr/>
              <p:nvPr/>
            </p:nvSpPr>
            <p:spPr>
              <a:xfrm>
                <a:off x="4757582" y="3319665"/>
                <a:ext cx="898252" cy="822500"/>
              </a:xfrm>
              <a:custGeom>
                <a:avLst/>
                <a:gdLst>
                  <a:gd name="connsiteX0" fmla="*/ 244048 w 1150338"/>
                  <a:gd name="connsiteY0" fmla="*/ 1053286 h 1053326"/>
                  <a:gd name="connsiteX1" fmla="*/ 0 w 1150338"/>
                  <a:gd name="connsiteY1" fmla="*/ 294444 h 1053326"/>
                  <a:gd name="connsiteX2" fmla="*/ 1150339 w 1150338"/>
                  <a:gd name="connsiteY2" fmla="*/ 0 h 1053326"/>
                  <a:gd name="connsiteX3" fmla="*/ 1142823 w 1150338"/>
                  <a:gd name="connsiteY3" fmla="*/ 8707 h 1053326"/>
                  <a:gd name="connsiteX4" fmla="*/ 244048 w 1150338"/>
                  <a:gd name="connsiteY4" fmla="*/ 1053327 h 1053326"/>
                  <a:gd name="connsiteX5" fmla="*/ 9241 w 1150338"/>
                  <a:gd name="connsiteY5" fmla="*/ 299537 h 1053326"/>
                  <a:gd name="connsiteX6" fmla="*/ 246965 w 1150338"/>
                  <a:gd name="connsiteY6" fmla="*/ 1038788 h 1053326"/>
                  <a:gd name="connsiteX7" fmla="*/ 1129803 w 1150338"/>
                  <a:gd name="connsiteY7" fmla="*/ 12691 h 1053326"/>
                  <a:gd name="connsiteX8" fmla="*/ 9241 w 1150338"/>
                  <a:gd name="connsiteY8" fmla="*/ 299537 h 105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0338" h="1053326">
                    <a:moveTo>
                      <a:pt x="244048" y="1053286"/>
                    </a:moveTo>
                    <a:lnTo>
                      <a:pt x="0" y="294444"/>
                    </a:lnTo>
                    <a:lnTo>
                      <a:pt x="1150339" y="0"/>
                    </a:lnTo>
                    <a:lnTo>
                      <a:pt x="1142823" y="8707"/>
                    </a:lnTo>
                    <a:lnTo>
                      <a:pt x="244048" y="1053327"/>
                    </a:lnTo>
                    <a:close/>
                    <a:moveTo>
                      <a:pt x="9241" y="299537"/>
                    </a:moveTo>
                    <a:lnTo>
                      <a:pt x="246965" y="1038788"/>
                    </a:lnTo>
                    <a:lnTo>
                      <a:pt x="1129803" y="12691"/>
                    </a:lnTo>
                    <a:lnTo>
                      <a:pt x="9241" y="299537"/>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22" name="Freeform: Shape 2321">
                <a:extLst>
                  <a:ext uri="{FF2B5EF4-FFF2-40B4-BE49-F238E27FC236}">
                    <a16:creationId xmlns:a16="http://schemas.microsoft.com/office/drawing/2014/main" id="{2FD3F4F9-185F-B081-38F1-3C60BB29355B}"/>
                  </a:ext>
                </a:extLst>
              </p:cNvPr>
              <p:cNvSpPr/>
              <p:nvPr/>
            </p:nvSpPr>
            <p:spPr>
              <a:xfrm rot="17284801">
                <a:off x="4797583" y="2559189"/>
                <a:ext cx="5676" cy="833853"/>
              </a:xfrm>
              <a:custGeom>
                <a:avLst/>
                <a:gdLst>
                  <a:gd name="connsiteX0" fmla="*/ 0 w 7269"/>
                  <a:gd name="connsiteY0" fmla="*/ 0 h 1067866"/>
                  <a:gd name="connsiteX1" fmla="*/ 7270 w 7269"/>
                  <a:gd name="connsiteY1" fmla="*/ 0 h 1067866"/>
                  <a:gd name="connsiteX2" fmla="*/ 7270 w 7269"/>
                  <a:gd name="connsiteY2" fmla="*/ 1067866 h 1067866"/>
                  <a:gd name="connsiteX3" fmla="*/ 0 w 7269"/>
                  <a:gd name="connsiteY3" fmla="*/ 1067866 h 1067866"/>
                </a:gdLst>
                <a:ahLst/>
                <a:cxnLst>
                  <a:cxn ang="0">
                    <a:pos x="connsiteX0" y="connsiteY0"/>
                  </a:cxn>
                  <a:cxn ang="0">
                    <a:pos x="connsiteX1" y="connsiteY1"/>
                  </a:cxn>
                  <a:cxn ang="0">
                    <a:pos x="connsiteX2" y="connsiteY2"/>
                  </a:cxn>
                  <a:cxn ang="0">
                    <a:pos x="connsiteX3" y="connsiteY3"/>
                  </a:cxn>
                </a:cxnLst>
                <a:rect l="l" t="t" r="r" b="b"/>
                <a:pathLst>
                  <a:path w="7269" h="1067866">
                    <a:moveTo>
                      <a:pt x="0" y="0"/>
                    </a:moveTo>
                    <a:lnTo>
                      <a:pt x="7270" y="0"/>
                    </a:lnTo>
                    <a:lnTo>
                      <a:pt x="7270" y="1067866"/>
                    </a:lnTo>
                    <a:lnTo>
                      <a:pt x="0" y="1067866"/>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23" name="Freeform: Shape 2322">
                <a:extLst>
                  <a:ext uri="{FF2B5EF4-FFF2-40B4-BE49-F238E27FC236}">
                    <a16:creationId xmlns:a16="http://schemas.microsoft.com/office/drawing/2014/main" id="{AD2FDEFB-CED8-F4E2-3932-1EC4D189334E}"/>
                  </a:ext>
                </a:extLst>
              </p:cNvPr>
              <p:cNvSpPr/>
              <p:nvPr/>
            </p:nvSpPr>
            <p:spPr>
              <a:xfrm>
                <a:off x="5862823" y="4025458"/>
                <a:ext cx="781064" cy="719743"/>
              </a:xfrm>
              <a:custGeom>
                <a:avLst/>
                <a:gdLst>
                  <a:gd name="connsiteX0" fmla="*/ 375560 w 1000262"/>
                  <a:gd name="connsiteY0" fmla="*/ 921733 h 921732"/>
                  <a:gd name="connsiteX1" fmla="*/ 0 w 1000262"/>
                  <a:gd name="connsiteY1" fmla="*/ 2711 h 921732"/>
                  <a:gd name="connsiteX2" fmla="*/ 6695 w 1000262"/>
                  <a:gd name="connsiteY2" fmla="*/ 0 h 921732"/>
                  <a:gd name="connsiteX3" fmla="*/ 377943 w 1000262"/>
                  <a:gd name="connsiteY3" fmla="*/ 908508 h 921732"/>
                  <a:gd name="connsiteX4" fmla="*/ 994964 w 1000262"/>
                  <a:gd name="connsiteY4" fmla="*/ 247786 h 921732"/>
                  <a:gd name="connsiteX5" fmla="*/ 1000262 w 1000262"/>
                  <a:gd name="connsiteY5" fmla="*/ 252756 h 921732"/>
                  <a:gd name="connsiteX6" fmla="*/ 375560 w 1000262"/>
                  <a:gd name="connsiteY6" fmla="*/ 921733 h 921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262" h="921732">
                    <a:moveTo>
                      <a:pt x="375560" y="921733"/>
                    </a:moveTo>
                    <a:lnTo>
                      <a:pt x="0" y="2711"/>
                    </a:lnTo>
                    <a:lnTo>
                      <a:pt x="6695" y="0"/>
                    </a:lnTo>
                    <a:lnTo>
                      <a:pt x="377943" y="908508"/>
                    </a:lnTo>
                    <a:lnTo>
                      <a:pt x="994964" y="247786"/>
                    </a:lnTo>
                    <a:lnTo>
                      <a:pt x="1000262" y="252756"/>
                    </a:lnTo>
                    <a:lnTo>
                      <a:pt x="375560" y="921733"/>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24" name="Freeform: Shape 2323">
                <a:extLst>
                  <a:ext uri="{FF2B5EF4-FFF2-40B4-BE49-F238E27FC236}">
                    <a16:creationId xmlns:a16="http://schemas.microsoft.com/office/drawing/2014/main" id="{4E0EF929-CE53-1DA5-4284-9014F3A5504B}"/>
                  </a:ext>
                </a:extLst>
              </p:cNvPr>
              <p:cNvSpPr/>
              <p:nvPr/>
            </p:nvSpPr>
            <p:spPr>
              <a:xfrm>
                <a:off x="4159324" y="1634351"/>
                <a:ext cx="3094495" cy="3911382"/>
              </a:xfrm>
              <a:custGeom>
                <a:avLst/>
                <a:gdLst>
                  <a:gd name="connsiteX0" fmla="*/ 2095236 w 3962934"/>
                  <a:gd name="connsiteY0" fmla="*/ 5005214 h 5009073"/>
                  <a:gd name="connsiteX1" fmla="*/ 1666693 w 3962934"/>
                  <a:gd name="connsiteY1" fmla="*/ 5009074 h 5009073"/>
                  <a:gd name="connsiteX2" fmla="*/ 1644227 w 3962934"/>
                  <a:gd name="connsiteY2" fmla="*/ 3911307 h 5009073"/>
                  <a:gd name="connsiteX3" fmla="*/ 929414 w 3962934"/>
                  <a:gd name="connsiteY3" fmla="*/ 4283993 h 5009073"/>
                  <a:gd name="connsiteX4" fmla="*/ 927606 w 3962934"/>
                  <a:gd name="connsiteY4" fmla="*/ 4282596 h 5009073"/>
                  <a:gd name="connsiteX5" fmla="*/ 267377 w 3962934"/>
                  <a:gd name="connsiteY5" fmla="*/ 3779837 h 5009073"/>
                  <a:gd name="connsiteX6" fmla="*/ 267829 w 3962934"/>
                  <a:gd name="connsiteY6" fmla="*/ 3777619 h 5009073"/>
                  <a:gd name="connsiteX7" fmla="*/ 417536 w 3962934"/>
                  <a:gd name="connsiteY7" fmla="*/ 3033644 h 5009073"/>
                  <a:gd name="connsiteX8" fmla="*/ 0 w 3962934"/>
                  <a:gd name="connsiteY8" fmla="*/ 2614342 h 5009073"/>
                  <a:gd name="connsiteX9" fmla="*/ 6530 w 3962934"/>
                  <a:gd name="connsiteY9" fmla="*/ 2612946 h 5009073"/>
                  <a:gd name="connsiteX10" fmla="*/ 765414 w 3962934"/>
                  <a:gd name="connsiteY10" fmla="*/ 2452684 h 5009073"/>
                  <a:gd name="connsiteX11" fmla="*/ 308778 w 3962934"/>
                  <a:gd name="connsiteY11" fmla="*/ 1551446 h 5009073"/>
                  <a:gd name="connsiteX12" fmla="*/ 1275526 w 3962934"/>
                  <a:gd name="connsiteY12" fmla="*/ 825995 h 5009073"/>
                  <a:gd name="connsiteX13" fmla="*/ 1276922 w 3962934"/>
                  <a:gd name="connsiteY13" fmla="*/ 826118 h 5009073"/>
                  <a:gd name="connsiteX14" fmla="*/ 2449686 w 3962934"/>
                  <a:gd name="connsiteY14" fmla="*/ 926005 h 5009073"/>
                  <a:gd name="connsiteX15" fmla="*/ 2450589 w 3962934"/>
                  <a:gd name="connsiteY15" fmla="*/ 926744 h 5009073"/>
                  <a:gd name="connsiteX16" fmla="*/ 3063093 w 3962934"/>
                  <a:gd name="connsiteY16" fmla="*/ 1440922 h 5009073"/>
                  <a:gd name="connsiteX17" fmla="*/ 3700774 w 3962934"/>
                  <a:gd name="connsiteY17" fmla="*/ 524405 h 5009073"/>
                  <a:gd name="connsiteX18" fmla="*/ 3482312 w 3962934"/>
                  <a:gd name="connsiteY18" fmla="*/ 0 h 5009073"/>
                  <a:gd name="connsiteX19" fmla="*/ 3491266 w 3962934"/>
                  <a:gd name="connsiteY19" fmla="*/ 4847 h 5009073"/>
                  <a:gd name="connsiteX20" fmla="*/ 3962935 w 3962934"/>
                  <a:gd name="connsiteY20" fmla="*/ 257643 h 5009073"/>
                  <a:gd name="connsiteX21" fmla="*/ 3959485 w 3962934"/>
                  <a:gd name="connsiteY21" fmla="*/ 264010 h 5009073"/>
                  <a:gd name="connsiteX22" fmla="*/ 3496811 w 3962934"/>
                  <a:gd name="connsiteY22" fmla="*/ 16018 h 5009073"/>
                  <a:gd name="connsiteX23" fmla="*/ 3708988 w 3962934"/>
                  <a:gd name="connsiteY23" fmla="*/ 525267 h 5009073"/>
                  <a:gd name="connsiteX24" fmla="*/ 3707838 w 3962934"/>
                  <a:gd name="connsiteY24" fmla="*/ 526910 h 5009073"/>
                  <a:gd name="connsiteX25" fmla="*/ 3064530 w 3962934"/>
                  <a:gd name="connsiteY25" fmla="*/ 1451559 h 5009073"/>
                  <a:gd name="connsiteX26" fmla="*/ 3061491 w 3962934"/>
                  <a:gd name="connsiteY26" fmla="*/ 1449013 h 5009073"/>
                  <a:gd name="connsiteX27" fmla="*/ 2446811 w 3962934"/>
                  <a:gd name="connsiteY27" fmla="*/ 933028 h 5009073"/>
                  <a:gd name="connsiteX28" fmla="*/ 1277702 w 3962934"/>
                  <a:gd name="connsiteY28" fmla="*/ 833429 h 5009073"/>
                  <a:gd name="connsiteX29" fmla="*/ 317978 w 3962934"/>
                  <a:gd name="connsiteY29" fmla="*/ 1553582 h 5009073"/>
                  <a:gd name="connsiteX30" fmla="*/ 776134 w 3962934"/>
                  <a:gd name="connsiteY30" fmla="*/ 2457859 h 5009073"/>
                  <a:gd name="connsiteX31" fmla="*/ 14539 w 3962934"/>
                  <a:gd name="connsiteY31" fmla="*/ 2618655 h 5009073"/>
                  <a:gd name="connsiteX32" fmla="*/ 425422 w 3962934"/>
                  <a:gd name="connsiteY32" fmla="*/ 3031303 h 5009073"/>
                  <a:gd name="connsiteX33" fmla="*/ 425052 w 3962934"/>
                  <a:gd name="connsiteY33" fmla="*/ 3033193 h 5009073"/>
                  <a:gd name="connsiteX34" fmla="*/ 275345 w 3962934"/>
                  <a:gd name="connsiteY34" fmla="*/ 3776838 h 5009073"/>
                  <a:gd name="connsiteX35" fmla="*/ 930153 w 3962934"/>
                  <a:gd name="connsiteY35" fmla="*/ 4275450 h 5009073"/>
                  <a:gd name="connsiteX36" fmla="*/ 1651209 w 3962934"/>
                  <a:gd name="connsiteY36" fmla="*/ 3899478 h 5009073"/>
                  <a:gd name="connsiteX37" fmla="*/ 1651332 w 3962934"/>
                  <a:gd name="connsiteY37" fmla="*/ 3905311 h 5009073"/>
                  <a:gd name="connsiteX38" fmla="*/ 1673799 w 3962934"/>
                  <a:gd name="connsiteY38" fmla="*/ 5001763 h 5009073"/>
                  <a:gd name="connsiteX39" fmla="*/ 2093142 w 3962934"/>
                  <a:gd name="connsiteY39" fmla="*/ 4997985 h 5009073"/>
                  <a:gd name="connsiteX40" fmla="*/ 2509240 w 3962934"/>
                  <a:gd name="connsiteY40" fmla="*/ 4738493 h 5009073"/>
                  <a:gd name="connsiteX41" fmla="*/ 2554871 w 3962934"/>
                  <a:gd name="connsiteY41" fmla="*/ 3974229 h 5009073"/>
                  <a:gd name="connsiteX42" fmla="*/ 2557664 w 3962934"/>
                  <a:gd name="connsiteY42" fmla="*/ 3973695 h 5009073"/>
                  <a:gd name="connsiteX43" fmla="*/ 3716586 w 3962934"/>
                  <a:gd name="connsiteY43" fmla="*/ 3758972 h 5009073"/>
                  <a:gd name="connsiteX44" fmla="*/ 3717941 w 3962934"/>
                  <a:gd name="connsiteY44" fmla="*/ 3766077 h 5009073"/>
                  <a:gd name="connsiteX45" fmla="*/ 2561771 w 3962934"/>
                  <a:gd name="connsiteY45" fmla="*/ 3980308 h 5009073"/>
                  <a:gd name="connsiteX46" fmla="*/ 2516222 w 3962934"/>
                  <a:gd name="connsiteY46" fmla="*/ 4742682 h 5009073"/>
                  <a:gd name="connsiteX47" fmla="*/ 2514661 w 3962934"/>
                  <a:gd name="connsiteY47" fmla="*/ 4743668 h 5009073"/>
                  <a:gd name="connsiteX48" fmla="*/ 2095236 w 3962934"/>
                  <a:gd name="connsiteY48" fmla="*/ 5005214 h 5009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62934" h="5009073">
                    <a:moveTo>
                      <a:pt x="2095236" y="5005214"/>
                    </a:moveTo>
                    <a:lnTo>
                      <a:pt x="1666693" y="5009074"/>
                    </a:lnTo>
                    <a:lnTo>
                      <a:pt x="1644227" y="3911307"/>
                    </a:lnTo>
                    <a:lnTo>
                      <a:pt x="929414" y="4283993"/>
                    </a:lnTo>
                    <a:lnTo>
                      <a:pt x="927606" y="4282596"/>
                    </a:lnTo>
                    <a:lnTo>
                      <a:pt x="267377" y="3779837"/>
                    </a:lnTo>
                    <a:lnTo>
                      <a:pt x="267829" y="3777619"/>
                    </a:lnTo>
                    <a:lnTo>
                      <a:pt x="417536" y="3033644"/>
                    </a:lnTo>
                    <a:lnTo>
                      <a:pt x="0" y="2614342"/>
                    </a:lnTo>
                    <a:lnTo>
                      <a:pt x="6530" y="2612946"/>
                    </a:lnTo>
                    <a:lnTo>
                      <a:pt x="765414" y="2452684"/>
                    </a:lnTo>
                    <a:lnTo>
                      <a:pt x="308778" y="1551446"/>
                    </a:lnTo>
                    <a:lnTo>
                      <a:pt x="1275526" y="825995"/>
                    </a:lnTo>
                    <a:lnTo>
                      <a:pt x="1276922" y="826118"/>
                    </a:lnTo>
                    <a:lnTo>
                      <a:pt x="2449686" y="926005"/>
                    </a:lnTo>
                    <a:lnTo>
                      <a:pt x="2450589" y="926744"/>
                    </a:lnTo>
                    <a:lnTo>
                      <a:pt x="3063093" y="1440922"/>
                    </a:lnTo>
                    <a:lnTo>
                      <a:pt x="3700774" y="524405"/>
                    </a:lnTo>
                    <a:lnTo>
                      <a:pt x="3482312" y="0"/>
                    </a:lnTo>
                    <a:lnTo>
                      <a:pt x="3491266" y="4847"/>
                    </a:lnTo>
                    <a:lnTo>
                      <a:pt x="3962935" y="257643"/>
                    </a:lnTo>
                    <a:lnTo>
                      <a:pt x="3959485" y="264010"/>
                    </a:lnTo>
                    <a:lnTo>
                      <a:pt x="3496811" y="16018"/>
                    </a:lnTo>
                    <a:lnTo>
                      <a:pt x="3708988" y="525267"/>
                    </a:lnTo>
                    <a:lnTo>
                      <a:pt x="3707838" y="526910"/>
                    </a:lnTo>
                    <a:lnTo>
                      <a:pt x="3064530" y="1451559"/>
                    </a:lnTo>
                    <a:lnTo>
                      <a:pt x="3061491" y="1449013"/>
                    </a:lnTo>
                    <a:lnTo>
                      <a:pt x="2446811" y="933028"/>
                    </a:lnTo>
                    <a:lnTo>
                      <a:pt x="1277702" y="833429"/>
                    </a:lnTo>
                    <a:lnTo>
                      <a:pt x="317978" y="1553582"/>
                    </a:lnTo>
                    <a:lnTo>
                      <a:pt x="776134" y="2457859"/>
                    </a:lnTo>
                    <a:lnTo>
                      <a:pt x="14539" y="2618655"/>
                    </a:lnTo>
                    <a:lnTo>
                      <a:pt x="425422" y="3031303"/>
                    </a:lnTo>
                    <a:lnTo>
                      <a:pt x="425052" y="3033193"/>
                    </a:lnTo>
                    <a:lnTo>
                      <a:pt x="275345" y="3776838"/>
                    </a:lnTo>
                    <a:lnTo>
                      <a:pt x="930153" y="4275450"/>
                    </a:lnTo>
                    <a:lnTo>
                      <a:pt x="1651209" y="3899478"/>
                    </a:lnTo>
                    <a:lnTo>
                      <a:pt x="1651332" y="3905311"/>
                    </a:lnTo>
                    <a:lnTo>
                      <a:pt x="1673799" y="5001763"/>
                    </a:lnTo>
                    <a:lnTo>
                      <a:pt x="2093142" y="4997985"/>
                    </a:lnTo>
                    <a:lnTo>
                      <a:pt x="2509240" y="4738493"/>
                    </a:lnTo>
                    <a:lnTo>
                      <a:pt x="2554871" y="3974229"/>
                    </a:lnTo>
                    <a:lnTo>
                      <a:pt x="2557664" y="3973695"/>
                    </a:lnTo>
                    <a:lnTo>
                      <a:pt x="3716586" y="3758972"/>
                    </a:lnTo>
                    <a:lnTo>
                      <a:pt x="3717941" y="3766077"/>
                    </a:lnTo>
                    <a:lnTo>
                      <a:pt x="2561771" y="3980308"/>
                    </a:lnTo>
                    <a:lnTo>
                      <a:pt x="2516222" y="4742682"/>
                    </a:lnTo>
                    <a:lnTo>
                      <a:pt x="2514661" y="4743668"/>
                    </a:lnTo>
                    <a:lnTo>
                      <a:pt x="2095236" y="5005214"/>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25" name="Freeform: Shape 2324">
                <a:extLst>
                  <a:ext uri="{FF2B5EF4-FFF2-40B4-BE49-F238E27FC236}">
                    <a16:creationId xmlns:a16="http://schemas.microsoft.com/office/drawing/2014/main" id="{1F5885B9-6E9C-CDDE-3C4D-765A217E4D0A}"/>
                  </a:ext>
                </a:extLst>
              </p:cNvPr>
              <p:cNvSpPr/>
              <p:nvPr/>
            </p:nvSpPr>
            <p:spPr>
              <a:xfrm rot="18541201">
                <a:off x="4715002" y="5029679"/>
                <a:ext cx="897290" cy="5644"/>
              </a:xfrm>
              <a:custGeom>
                <a:avLst/>
                <a:gdLst>
                  <a:gd name="connsiteX0" fmla="*/ 0 w 1149106"/>
                  <a:gd name="connsiteY0" fmla="*/ 0 h 7228"/>
                  <a:gd name="connsiteX1" fmla="*/ 1149107 w 1149106"/>
                  <a:gd name="connsiteY1" fmla="*/ 0 h 7228"/>
                  <a:gd name="connsiteX2" fmla="*/ 1149107 w 1149106"/>
                  <a:gd name="connsiteY2" fmla="*/ 7229 h 7228"/>
                  <a:gd name="connsiteX3" fmla="*/ 0 w 1149106"/>
                  <a:gd name="connsiteY3" fmla="*/ 7229 h 7228"/>
                </a:gdLst>
                <a:ahLst/>
                <a:cxnLst>
                  <a:cxn ang="0">
                    <a:pos x="connsiteX0" y="connsiteY0"/>
                  </a:cxn>
                  <a:cxn ang="0">
                    <a:pos x="connsiteX1" y="connsiteY1"/>
                  </a:cxn>
                  <a:cxn ang="0">
                    <a:pos x="connsiteX2" y="connsiteY2"/>
                  </a:cxn>
                  <a:cxn ang="0">
                    <a:pos x="connsiteX3" y="connsiteY3"/>
                  </a:cxn>
                </a:cxnLst>
                <a:rect l="l" t="t" r="r" b="b"/>
                <a:pathLst>
                  <a:path w="1149106" h="7228">
                    <a:moveTo>
                      <a:pt x="0" y="0"/>
                    </a:moveTo>
                    <a:lnTo>
                      <a:pt x="1149107" y="0"/>
                    </a:lnTo>
                    <a:lnTo>
                      <a:pt x="1149107" y="7229"/>
                    </a:lnTo>
                    <a:lnTo>
                      <a:pt x="0" y="7229"/>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26" name="Freeform: Shape 2325">
                <a:extLst>
                  <a:ext uri="{FF2B5EF4-FFF2-40B4-BE49-F238E27FC236}">
                    <a16:creationId xmlns:a16="http://schemas.microsoft.com/office/drawing/2014/main" id="{03C14D85-3DC2-AE5A-5B8E-042F1186A88D}"/>
                  </a:ext>
                </a:extLst>
              </p:cNvPr>
              <p:cNvSpPr/>
              <p:nvPr/>
            </p:nvSpPr>
            <p:spPr>
              <a:xfrm>
                <a:off x="7237751" y="3453242"/>
                <a:ext cx="788504" cy="1099852"/>
              </a:xfrm>
              <a:custGeom>
                <a:avLst/>
                <a:gdLst>
                  <a:gd name="connsiteX0" fmla="*/ 730215 w 1009790"/>
                  <a:gd name="connsiteY0" fmla="*/ 1408516 h 1408515"/>
                  <a:gd name="connsiteX1" fmla="*/ 722330 w 1009790"/>
                  <a:gd name="connsiteY1" fmla="*/ 1400753 h 1408515"/>
                  <a:gd name="connsiteX2" fmla="*/ 0 w 1009790"/>
                  <a:gd name="connsiteY2" fmla="*/ 689143 h 1408515"/>
                  <a:gd name="connsiteX3" fmla="*/ 5093 w 1009790"/>
                  <a:gd name="connsiteY3" fmla="*/ 684009 h 1408515"/>
                  <a:gd name="connsiteX4" fmla="*/ 719496 w 1009790"/>
                  <a:gd name="connsiteY4" fmla="*/ 1387816 h 1408515"/>
                  <a:gd name="connsiteX5" fmla="*/ 493807 w 1009790"/>
                  <a:gd name="connsiteY5" fmla="*/ 0 h 1408515"/>
                  <a:gd name="connsiteX6" fmla="*/ 1009791 w 1009790"/>
                  <a:gd name="connsiteY6" fmla="*/ 490438 h 1408515"/>
                  <a:gd name="connsiteX7" fmla="*/ 1004821 w 1009790"/>
                  <a:gd name="connsiteY7" fmla="*/ 495654 h 1408515"/>
                  <a:gd name="connsiteX8" fmla="*/ 504403 w 1009790"/>
                  <a:gd name="connsiteY8" fmla="*/ 20043 h 1408515"/>
                  <a:gd name="connsiteX9" fmla="*/ 730215 w 1009790"/>
                  <a:gd name="connsiteY9" fmla="*/ 1408516 h 1408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9790" h="1408515">
                    <a:moveTo>
                      <a:pt x="730215" y="1408516"/>
                    </a:moveTo>
                    <a:lnTo>
                      <a:pt x="722330" y="1400753"/>
                    </a:lnTo>
                    <a:lnTo>
                      <a:pt x="0" y="689143"/>
                    </a:lnTo>
                    <a:lnTo>
                      <a:pt x="5093" y="684009"/>
                    </a:lnTo>
                    <a:lnTo>
                      <a:pt x="719496" y="1387816"/>
                    </a:lnTo>
                    <a:lnTo>
                      <a:pt x="493807" y="0"/>
                    </a:lnTo>
                    <a:lnTo>
                      <a:pt x="1009791" y="490438"/>
                    </a:lnTo>
                    <a:lnTo>
                      <a:pt x="1004821" y="495654"/>
                    </a:lnTo>
                    <a:lnTo>
                      <a:pt x="504403" y="20043"/>
                    </a:lnTo>
                    <a:lnTo>
                      <a:pt x="730215" y="1408516"/>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27" name="Freeform: Shape 2326">
                <a:extLst>
                  <a:ext uri="{FF2B5EF4-FFF2-40B4-BE49-F238E27FC236}">
                    <a16:creationId xmlns:a16="http://schemas.microsoft.com/office/drawing/2014/main" id="{7F09CCA1-B922-44FD-29B0-3240952B39CB}"/>
                  </a:ext>
                </a:extLst>
              </p:cNvPr>
              <p:cNvSpPr/>
              <p:nvPr/>
            </p:nvSpPr>
            <p:spPr>
              <a:xfrm rot="19716599">
                <a:off x="6479178" y="5154218"/>
                <a:ext cx="1175862" cy="5676"/>
              </a:xfrm>
              <a:custGeom>
                <a:avLst/>
                <a:gdLst>
                  <a:gd name="connsiteX0" fmla="*/ 0 w 1505856"/>
                  <a:gd name="connsiteY0" fmla="*/ 0 h 7269"/>
                  <a:gd name="connsiteX1" fmla="*/ 1505857 w 1505856"/>
                  <a:gd name="connsiteY1" fmla="*/ 0 h 7269"/>
                  <a:gd name="connsiteX2" fmla="*/ 1505857 w 1505856"/>
                  <a:gd name="connsiteY2" fmla="*/ 7270 h 7269"/>
                  <a:gd name="connsiteX3" fmla="*/ 0 w 1505856"/>
                  <a:gd name="connsiteY3" fmla="*/ 7270 h 7269"/>
                </a:gdLst>
                <a:ahLst/>
                <a:cxnLst>
                  <a:cxn ang="0">
                    <a:pos x="connsiteX0" y="connsiteY0"/>
                  </a:cxn>
                  <a:cxn ang="0">
                    <a:pos x="connsiteX1" y="connsiteY1"/>
                  </a:cxn>
                  <a:cxn ang="0">
                    <a:pos x="connsiteX2" y="connsiteY2"/>
                  </a:cxn>
                  <a:cxn ang="0">
                    <a:pos x="connsiteX3" y="connsiteY3"/>
                  </a:cxn>
                </a:cxnLst>
                <a:rect l="l" t="t" r="r" b="b"/>
                <a:pathLst>
                  <a:path w="1505856" h="7269">
                    <a:moveTo>
                      <a:pt x="0" y="0"/>
                    </a:moveTo>
                    <a:lnTo>
                      <a:pt x="1505857" y="0"/>
                    </a:lnTo>
                    <a:lnTo>
                      <a:pt x="1505857" y="7270"/>
                    </a:lnTo>
                    <a:lnTo>
                      <a:pt x="0" y="7270"/>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28" name="Freeform: Shape 2327">
                <a:extLst>
                  <a:ext uri="{FF2B5EF4-FFF2-40B4-BE49-F238E27FC236}">
                    <a16:creationId xmlns:a16="http://schemas.microsoft.com/office/drawing/2014/main" id="{1C61D1C1-C520-AC27-4DEE-C90B06DA66C2}"/>
                  </a:ext>
                </a:extLst>
              </p:cNvPr>
              <p:cNvSpPr/>
              <p:nvPr/>
            </p:nvSpPr>
            <p:spPr>
              <a:xfrm>
                <a:off x="5817346" y="4568521"/>
                <a:ext cx="2298549" cy="1392150"/>
              </a:xfrm>
              <a:custGeom>
                <a:avLst/>
                <a:gdLst>
                  <a:gd name="connsiteX0" fmla="*/ 1478051 w 2943614"/>
                  <a:gd name="connsiteY0" fmla="*/ 1426834 h 1782843"/>
                  <a:gd name="connsiteX1" fmla="*/ 390346 w 2943614"/>
                  <a:gd name="connsiteY1" fmla="*/ 1436198 h 1782843"/>
                  <a:gd name="connsiteX2" fmla="*/ 4846 w 2943614"/>
                  <a:gd name="connsiteY2" fmla="*/ 1782844 h 1782843"/>
                  <a:gd name="connsiteX3" fmla="*/ 0 w 2943614"/>
                  <a:gd name="connsiteY3" fmla="*/ 1777464 h 1782843"/>
                  <a:gd name="connsiteX4" fmla="*/ 387512 w 2943614"/>
                  <a:gd name="connsiteY4" fmla="*/ 1428969 h 1782843"/>
                  <a:gd name="connsiteX5" fmla="*/ 388868 w 2943614"/>
                  <a:gd name="connsiteY5" fmla="*/ 1428969 h 1782843"/>
                  <a:gd name="connsiteX6" fmla="*/ 1450163 w 2943614"/>
                  <a:gd name="connsiteY6" fmla="*/ 1419851 h 1782843"/>
                  <a:gd name="connsiteX7" fmla="*/ 952332 w 2943614"/>
                  <a:gd name="connsiteY7" fmla="*/ 1147053 h 1782843"/>
                  <a:gd name="connsiteX8" fmla="*/ 954098 w 2943614"/>
                  <a:gd name="connsiteY8" fmla="*/ 1143849 h 1782843"/>
                  <a:gd name="connsiteX9" fmla="*/ 1592518 w 2943614"/>
                  <a:gd name="connsiteY9" fmla="*/ 0 h 1782843"/>
                  <a:gd name="connsiteX10" fmla="*/ 1595680 w 2943614"/>
                  <a:gd name="connsiteY10" fmla="*/ 1725 h 1782843"/>
                  <a:gd name="connsiteX11" fmla="*/ 2248845 w 2943614"/>
                  <a:gd name="connsiteY11" fmla="*/ 361267 h 1782843"/>
                  <a:gd name="connsiteX12" fmla="*/ 2246380 w 2943614"/>
                  <a:gd name="connsiteY12" fmla="*/ 364594 h 1782843"/>
                  <a:gd name="connsiteX13" fmla="*/ 1492836 w 2943614"/>
                  <a:gd name="connsiteY13" fmla="*/ 1390280 h 1782843"/>
                  <a:gd name="connsiteX14" fmla="*/ 2288972 w 2943614"/>
                  <a:gd name="connsiteY14" fmla="*/ 615625 h 1782843"/>
                  <a:gd name="connsiteX15" fmla="*/ 2290533 w 2943614"/>
                  <a:gd name="connsiteY15" fmla="*/ 615707 h 1782843"/>
                  <a:gd name="connsiteX16" fmla="*/ 2943615 w 2943614"/>
                  <a:gd name="connsiteY16" fmla="*/ 641089 h 1782843"/>
                  <a:gd name="connsiteX17" fmla="*/ 2943327 w 2943614"/>
                  <a:gd name="connsiteY17" fmla="*/ 648318 h 1782843"/>
                  <a:gd name="connsiteX18" fmla="*/ 2291806 w 2943614"/>
                  <a:gd name="connsiteY18" fmla="*/ 622977 h 1782843"/>
                  <a:gd name="connsiteX19" fmla="*/ 1470124 w 2943614"/>
                  <a:gd name="connsiteY19" fmla="*/ 1422480 h 1782843"/>
                  <a:gd name="connsiteX20" fmla="*/ 1478010 w 2943614"/>
                  <a:gd name="connsiteY20" fmla="*/ 1426793 h 1782843"/>
                  <a:gd name="connsiteX21" fmla="*/ 962230 w 2943614"/>
                  <a:gd name="connsiteY21" fmla="*/ 1144178 h 1782843"/>
                  <a:gd name="connsiteX22" fmla="*/ 1463100 w 2943614"/>
                  <a:gd name="connsiteY22" fmla="*/ 1418620 h 1782843"/>
                  <a:gd name="connsiteX23" fmla="*/ 2238166 w 2943614"/>
                  <a:gd name="connsiteY23" fmla="*/ 363649 h 1782843"/>
                  <a:gd name="connsiteX24" fmla="*/ 1595393 w 2943614"/>
                  <a:gd name="connsiteY24" fmla="*/ 9816 h 1782843"/>
                  <a:gd name="connsiteX25" fmla="*/ 962271 w 2943614"/>
                  <a:gd name="connsiteY25" fmla="*/ 1144178 h 1782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943614" h="1782843">
                    <a:moveTo>
                      <a:pt x="1478051" y="1426834"/>
                    </a:moveTo>
                    <a:lnTo>
                      <a:pt x="390346" y="1436198"/>
                    </a:lnTo>
                    <a:lnTo>
                      <a:pt x="4846" y="1782844"/>
                    </a:lnTo>
                    <a:lnTo>
                      <a:pt x="0" y="1777464"/>
                    </a:lnTo>
                    <a:lnTo>
                      <a:pt x="387512" y="1428969"/>
                    </a:lnTo>
                    <a:lnTo>
                      <a:pt x="388868" y="1428969"/>
                    </a:lnTo>
                    <a:cubicBezTo>
                      <a:pt x="388868" y="1428969"/>
                      <a:pt x="1450163" y="1419851"/>
                      <a:pt x="1450163" y="1419851"/>
                    </a:cubicBezTo>
                    <a:lnTo>
                      <a:pt x="952332" y="1147053"/>
                    </a:lnTo>
                    <a:lnTo>
                      <a:pt x="954098" y="1143849"/>
                    </a:lnTo>
                    <a:lnTo>
                      <a:pt x="1592518" y="0"/>
                    </a:lnTo>
                    <a:lnTo>
                      <a:pt x="1595680" y="1725"/>
                    </a:lnTo>
                    <a:lnTo>
                      <a:pt x="2248845" y="361267"/>
                    </a:lnTo>
                    <a:lnTo>
                      <a:pt x="2246380" y="364594"/>
                    </a:lnTo>
                    <a:lnTo>
                      <a:pt x="1492836" y="1390280"/>
                    </a:lnTo>
                    <a:lnTo>
                      <a:pt x="2288972" y="615625"/>
                    </a:lnTo>
                    <a:lnTo>
                      <a:pt x="2290533" y="615707"/>
                    </a:lnTo>
                    <a:lnTo>
                      <a:pt x="2943615" y="641089"/>
                    </a:lnTo>
                    <a:lnTo>
                      <a:pt x="2943327" y="648318"/>
                    </a:lnTo>
                    <a:lnTo>
                      <a:pt x="2291806" y="622977"/>
                    </a:lnTo>
                    <a:lnTo>
                      <a:pt x="1470124" y="1422480"/>
                    </a:lnTo>
                    <a:lnTo>
                      <a:pt x="1478010" y="1426793"/>
                    </a:lnTo>
                    <a:close/>
                    <a:moveTo>
                      <a:pt x="962230" y="1144178"/>
                    </a:moveTo>
                    <a:lnTo>
                      <a:pt x="1463100" y="1418620"/>
                    </a:lnTo>
                    <a:lnTo>
                      <a:pt x="2238166" y="363649"/>
                    </a:lnTo>
                    <a:lnTo>
                      <a:pt x="1595393" y="9816"/>
                    </a:lnTo>
                    <a:lnTo>
                      <a:pt x="962271" y="1144178"/>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29" name="Freeform: Shape 2328">
                <a:extLst>
                  <a:ext uri="{FF2B5EF4-FFF2-40B4-BE49-F238E27FC236}">
                    <a16:creationId xmlns:a16="http://schemas.microsoft.com/office/drawing/2014/main" id="{EBD7CB96-EAE1-79D4-1CC1-E93246EE9E53}"/>
                  </a:ext>
                </a:extLst>
              </p:cNvPr>
              <p:cNvSpPr/>
              <p:nvPr/>
            </p:nvSpPr>
            <p:spPr>
              <a:xfrm rot="19980002">
                <a:off x="7227042" y="2813141"/>
                <a:ext cx="878753" cy="5676"/>
              </a:xfrm>
              <a:custGeom>
                <a:avLst/>
                <a:gdLst>
                  <a:gd name="connsiteX0" fmla="*/ 0 w 1125367"/>
                  <a:gd name="connsiteY0" fmla="*/ 0 h 7269"/>
                  <a:gd name="connsiteX1" fmla="*/ 1125367 w 1125367"/>
                  <a:gd name="connsiteY1" fmla="*/ 0 h 7269"/>
                  <a:gd name="connsiteX2" fmla="*/ 1125367 w 1125367"/>
                  <a:gd name="connsiteY2" fmla="*/ 7270 h 7269"/>
                  <a:gd name="connsiteX3" fmla="*/ 0 w 1125367"/>
                  <a:gd name="connsiteY3" fmla="*/ 7270 h 7269"/>
                </a:gdLst>
                <a:ahLst/>
                <a:cxnLst>
                  <a:cxn ang="0">
                    <a:pos x="connsiteX0" y="connsiteY0"/>
                  </a:cxn>
                  <a:cxn ang="0">
                    <a:pos x="connsiteX1" y="connsiteY1"/>
                  </a:cxn>
                  <a:cxn ang="0">
                    <a:pos x="connsiteX2" y="connsiteY2"/>
                  </a:cxn>
                  <a:cxn ang="0">
                    <a:pos x="connsiteX3" y="connsiteY3"/>
                  </a:cxn>
                </a:cxnLst>
                <a:rect l="l" t="t" r="r" b="b"/>
                <a:pathLst>
                  <a:path w="1125367" h="7269">
                    <a:moveTo>
                      <a:pt x="0" y="0"/>
                    </a:moveTo>
                    <a:lnTo>
                      <a:pt x="1125367" y="0"/>
                    </a:lnTo>
                    <a:lnTo>
                      <a:pt x="1125367" y="7270"/>
                    </a:lnTo>
                    <a:lnTo>
                      <a:pt x="0" y="7270"/>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30" name="Freeform: Shape 2329">
                <a:extLst>
                  <a:ext uri="{FF2B5EF4-FFF2-40B4-BE49-F238E27FC236}">
                    <a16:creationId xmlns:a16="http://schemas.microsoft.com/office/drawing/2014/main" id="{8818460B-2059-AAE5-0D75-B4512A515FC5}"/>
                  </a:ext>
                </a:extLst>
              </p:cNvPr>
              <p:cNvSpPr/>
              <p:nvPr/>
            </p:nvSpPr>
            <p:spPr>
              <a:xfrm>
                <a:off x="5732004" y="1083077"/>
                <a:ext cx="1245232" cy="1282017"/>
              </a:xfrm>
              <a:custGeom>
                <a:avLst/>
                <a:gdLst>
                  <a:gd name="connsiteX0" fmla="*/ 432773 w 1594694"/>
                  <a:gd name="connsiteY0" fmla="*/ 1641804 h 1641803"/>
                  <a:gd name="connsiteX1" fmla="*/ 0 w 1594694"/>
                  <a:gd name="connsiteY1" fmla="*/ 521940 h 1641803"/>
                  <a:gd name="connsiteX2" fmla="*/ 6654 w 1594694"/>
                  <a:gd name="connsiteY2" fmla="*/ 523501 h 1641803"/>
                  <a:gd name="connsiteX3" fmla="*/ 1053656 w 1594694"/>
                  <a:gd name="connsiteY3" fmla="*/ 768576 h 1641803"/>
                  <a:gd name="connsiteX4" fmla="*/ 1588739 w 1594694"/>
                  <a:gd name="connsiteY4" fmla="*/ 0 h 1641803"/>
                  <a:gd name="connsiteX5" fmla="*/ 1594694 w 1594694"/>
                  <a:gd name="connsiteY5" fmla="*/ 4107 h 1641803"/>
                  <a:gd name="connsiteX6" fmla="*/ 1056818 w 1594694"/>
                  <a:gd name="connsiteY6" fmla="*/ 776750 h 1641803"/>
                  <a:gd name="connsiteX7" fmla="*/ 1054395 w 1594694"/>
                  <a:gd name="connsiteY7" fmla="*/ 776216 h 1641803"/>
                  <a:gd name="connsiteX8" fmla="*/ 11705 w 1594694"/>
                  <a:gd name="connsiteY8" fmla="*/ 532126 h 1641803"/>
                  <a:gd name="connsiteX9" fmla="*/ 435648 w 1594694"/>
                  <a:gd name="connsiteY9" fmla="*/ 1629195 h 1641803"/>
                  <a:gd name="connsiteX10" fmla="*/ 1110458 w 1594694"/>
                  <a:gd name="connsiteY10" fmla="*/ 998784 h 1641803"/>
                  <a:gd name="connsiteX11" fmla="*/ 1115428 w 1594694"/>
                  <a:gd name="connsiteY11" fmla="*/ 1004082 h 1641803"/>
                  <a:gd name="connsiteX12" fmla="*/ 432773 w 1594694"/>
                  <a:gd name="connsiteY12" fmla="*/ 1641804 h 1641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94694" h="1641803">
                    <a:moveTo>
                      <a:pt x="432773" y="1641804"/>
                    </a:moveTo>
                    <a:lnTo>
                      <a:pt x="0" y="521940"/>
                    </a:lnTo>
                    <a:lnTo>
                      <a:pt x="6654" y="523501"/>
                    </a:lnTo>
                    <a:lnTo>
                      <a:pt x="1053656" y="768576"/>
                    </a:lnTo>
                    <a:lnTo>
                      <a:pt x="1588739" y="0"/>
                    </a:lnTo>
                    <a:lnTo>
                      <a:pt x="1594694" y="4107"/>
                    </a:lnTo>
                    <a:lnTo>
                      <a:pt x="1056818" y="776750"/>
                    </a:lnTo>
                    <a:lnTo>
                      <a:pt x="1054395" y="776216"/>
                    </a:lnTo>
                    <a:lnTo>
                      <a:pt x="11705" y="532126"/>
                    </a:lnTo>
                    <a:lnTo>
                      <a:pt x="435648" y="1629195"/>
                    </a:lnTo>
                    <a:lnTo>
                      <a:pt x="1110458" y="998784"/>
                    </a:lnTo>
                    <a:lnTo>
                      <a:pt x="1115428" y="1004082"/>
                    </a:lnTo>
                    <a:lnTo>
                      <a:pt x="432773" y="1641804"/>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31" name="Freeform: Shape 2330">
                <a:extLst>
                  <a:ext uri="{FF2B5EF4-FFF2-40B4-BE49-F238E27FC236}">
                    <a16:creationId xmlns:a16="http://schemas.microsoft.com/office/drawing/2014/main" id="{959BDC4F-3BBF-D3EF-A636-FF2B6DFD66BB}"/>
                  </a:ext>
                </a:extLst>
              </p:cNvPr>
              <p:cNvSpPr/>
              <p:nvPr/>
            </p:nvSpPr>
            <p:spPr>
              <a:xfrm>
                <a:off x="4512077" y="1221818"/>
                <a:ext cx="1239812" cy="1300907"/>
              </a:xfrm>
              <a:custGeom>
                <a:avLst/>
                <a:gdLst>
                  <a:gd name="connsiteX0" fmla="*/ 0 w 1587753"/>
                  <a:gd name="connsiteY0" fmla="*/ 1665995 h 1665994"/>
                  <a:gd name="connsiteX1" fmla="*/ 555003 w 1587753"/>
                  <a:gd name="connsiteY1" fmla="*/ 1101915 h 1665994"/>
                  <a:gd name="connsiteX2" fmla="*/ 208645 w 1587753"/>
                  <a:gd name="connsiteY2" fmla="*/ 1187591 h 1665994"/>
                  <a:gd name="connsiteX3" fmla="*/ 214929 w 1587753"/>
                  <a:gd name="connsiteY3" fmla="*/ 1179376 h 1665994"/>
                  <a:gd name="connsiteX4" fmla="*/ 1119863 w 1587753"/>
                  <a:gd name="connsiteY4" fmla="*/ 0 h 1665994"/>
                  <a:gd name="connsiteX5" fmla="*/ 948347 w 1587753"/>
                  <a:gd name="connsiteY5" fmla="*/ 845997 h 1665994"/>
                  <a:gd name="connsiteX6" fmla="*/ 1587753 w 1587753"/>
                  <a:gd name="connsiteY6" fmla="*/ 328821 h 1665994"/>
                  <a:gd name="connsiteX7" fmla="*/ 827802 w 1587753"/>
                  <a:gd name="connsiteY7" fmla="*/ 1360174 h 1665994"/>
                  <a:gd name="connsiteX8" fmla="*/ 821929 w 1587753"/>
                  <a:gd name="connsiteY8" fmla="*/ 1355862 h 1665994"/>
                  <a:gd name="connsiteX9" fmla="*/ 1548488 w 1587753"/>
                  <a:gd name="connsiteY9" fmla="*/ 369893 h 1665994"/>
                  <a:gd name="connsiteX10" fmla="*/ 937217 w 1587753"/>
                  <a:gd name="connsiteY10" fmla="*/ 864315 h 1665994"/>
                  <a:gd name="connsiteX11" fmla="*/ 1106556 w 1587753"/>
                  <a:gd name="connsiteY11" fmla="*/ 29243 h 1665994"/>
                  <a:gd name="connsiteX12" fmla="*/ 226963 w 1587753"/>
                  <a:gd name="connsiteY12" fmla="*/ 1175598 h 1665994"/>
                  <a:gd name="connsiteX13" fmla="*/ 578127 w 1587753"/>
                  <a:gd name="connsiteY13" fmla="*/ 1088731 h 1665994"/>
                  <a:gd name="connsiteX14" fmla="*/ 31913 w 1587753"/>
                  <a:gd name="connsiteY14" fmla="*/ 1643898 h 1665994"/>
                  <a:gd name="connsiteX15" fmla="*/ 638009 w 1587753"/>
                  <a:gd name="connsiteY15" fmla="*/ 1374426 h 1665994"/>
                  <a:gd name="connsiteX16" fmla="*/ 640966 w 1587753"/>
                  <a:gd name="connsiteY16" fmla="*/ 1381039 h 1665994"/>
                  <a:gd name="connsiteX17" fmla="*/ 0 w 1587753"/>
                  <a:gd name="connsiteY17" fmla="*/ 1665995 h 1665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87753" h="1665994">
                    <a:moveTo>
                      <a:pt x="0" y="1665995"/>
                    </a:moveTo>
                    <a:lnTo>
                      <a:pt x="555003" y="1101915"/>
                    </a:lnTo>
                    <a:lnTo>
                      <a:pt x="208645" y="1187591"/>
                    </a:lnTo>
                    <a:lnTo>
                      <a:pt x="214929" y="1179376"/>
                    </a:lnTo>
                    <a:lnTo>
                      <a:pt x="1119863" y="0"/>
                    </a:lnTo>
                    <a:lnTo>
                      <a:pt x="948347" y="845997"/>
                    </a:lnTo>
                    <a:lnTo>
                      <a:pt x="1587753" y="328821"/>
                    </a:lnTo>
                    <a:lnTo>
                      <a:pt x="827802" y="1360174"/>
                    </a:lnTo>
                    <a:lnTo>
                      <a:pt x="821929" y="1355862"/>
                    </a:lnTo>
                    <a:lnTo>
                      <a:pt x="1548488" y="369893"/>
                    </a:lnTo>
                    <a:lnTo>
                      <a:pt x="937217" y="864315"/>
                    </a:lnTo>
                    <a:lnTo>
                      <a:pt x="1106556" y="29243"/>
                    </a:lnTo>
                    <a:lnTo>
                      <a:pt x="226963" y="1175598"/>
                    </a:lnTo>
                    <a:lnTo>
                      <a:pt x="578127" y="1088731"/>
                    </a:lnTo>
                    <a:lnTo>
                      <a:pt x="31913" y="1643898"/>
                    </a:lnTo>
                    <a:lnTo>
                      <a:pt x="638009" y="1374426"/>
                    </a:lnTo>
                    <a:lnTo>
                      <a:pt x="640966" y="1381039"/>
                    </a:lnTo>
                    <a:lnTo>
                      <a:pt x="0" y="1665995"/>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32" name="Freeform: Shape 2331">
                <a:extLst>
                  <a:ext uri="{FF2B5EF4-FFF2-40B4-BE49-F238E27FC236}">
                    <a16:creationId xmlns:a16="http://schemas.microsoft.com/office/drawing/2014/main" id="{F463CEA4-45BF-40A6-243D-239E6C8EF5EF}"/>
                  </a:ext>
                </a:extLst>
              </p:cNvPr>
              <p:cNvSpPr/>
              <p:nvPr/>
            </p:nvSpPr>
            <p:spPr>
              <a:xfrm rot="18345001">
                <a:off x="5898354" y="2020261"/>
                <a:ext cx="830133" cy="5644"/>
              </a:xfrm>
              <a:custGeom>
                <a:avLst/>
                <a:gdLst>
                  <a:gd name="connsiteX0" fmla="*/ 0 w 1063102"/>
                  <a:gd name="connsiteY0" fmla="*/ 0 h 7228"/>
                  <a:gd name="connsiteX1" fmla="*/ 1063102 w 1063102"/>
                  <a:gd name="connsiteY1" fmla="*/ 0 h 7228"/>
                  <a:gd name="connsiteX2" fmla="*/ 1063102 w 1063102"/>
                  <a:gd name="connsiteY2" fmla="*/ 7229 h 7228"/>
                  <a:gd name="connsiteX3" fmla="*/ 0 w 1063102"/>
                  <a:gd name="connsiteY3" fmla="*/ 7229 h 7228"/>
                </a:gdLst>
                <a:ahLst/>
                <a:cxnLst>
                  <a:cxn ang="0">
                    <a:pos x="connsiteX0" y="connsiteY0"/>
                  </a:cxn>
                  <a:cxn ang="0">
                    <a:pos x="connsiteX1" y="connsiteY1"/>
                  </a:cxn>
                  <a:cxn ang="0">
                    <a:pos x="connsiteX2" y="connsiteY2"/>
                  </a:cxn>
                  <a:cxn ang="0">
                    <a:pos x="connsiteX3" y="connsiteY3"/>
                  </a:cxn>
                </a:cxnLst>
                <a:rect l="l" t="t" r="r" b="b"/>
                <a:pathLst>
                  <a:path w="1063102" h="7228">
                    <a:moveTo>
                      <a:pt x="0" y="0"/>
                    </a:moveTo>
                    <a:lnTo>
                      <a:pt x="1063102" y="0"/>
                    </a:lnTo>
                    <a:lnTo>
                      <a:pt x="1063102" y="7229"/>
                    </a:lnTo>
                    <a:lnTo>
                      <a:pt x="0" y="7229"/>
                    </a:lnTo>
                    <a:close/>
                  </a:path>
                </a:pathLst>
              </a:custGeom>
              <a:grpFill/>
              <a:ln w="3470"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2184" name="Group 2183">
              <a:extLst>
                <a:ext uri="{FF2B5EF4-FFF2-40B4-BE49-F238E27FC236}">
                  <a16:creationId xmlns:a16="http://schemas.microsoft.com/office/drawing/2014/main" id="{85CBB98B-B666-03AF-D286-6853AAF9C7A3}"/>
                </a:ext>
              </a:extLst>
            </p:cNvPr>
            <p:cNvGrpSpPr/>
            <p:nvPr/>
          </p:nvGrpSpPr>
          <p:grpSpPr>
            <a:xfrm rot="18900000">
              <a:off x="-362276" y="-300783"/>
              <a:ext cx="7643974" cy="7665651"/>
              <a:chOff x="-1274302" y="-2516145"/>
              <a:chExt cx="4879538" cy="4893375"/>
            </a:xfrm>
            <a:grpFill/>
          </p:grpSpPr>
          <p:sp>
            <p:nvSpPr>
              <p:cNvPr id="2185" name="Oval 2184">
                <a:extLst>
                  <a:ext uri="{FF2B5EF4-FFF2-40B4-BE49-F238E27FC236}">
                    <a16:creationId xmlns:a16="http://schemas.microsoft.com/office/drawing/2014/main" id="{B9EB36EF-C167-A18C-236D-F919B2E56FAA}"/>
                  </a:ext>
                </a:extLst>
              </p:cNvPr>
              <p:cNvSpPr/>
              <p:nvPr/>
            </p:nvSpPr>
            <p:spPr>
              <a:xfrm rot="6666908">
                <a:off x="1632084" y="1538881"/>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186" name="Oval 2185">
                <a:extLst>
                  <a:ext uri="{FF2B5EF4-FFF2-40B4-BE49-F238E27FC236}">
                    <a16:creationId xmlns:a16="http://schemas.microsoft.com/office/drawing/2014/main" id="{03909014-C0C3-9BFA-5D62-76FB4FF91258}"/>
                  </a:ext>
                </a:extLst>
              </p:cNvPr>
              <p:cNvSpPr/>
              <p:nvPr/>
            </p:nvSpPr>
            <p:spPr>
              <a:xfrm rot="6666908">
                <a:off x="2342317" y="1674089"/>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187" name="Oval 2186">
                <a:extLst>
                  <a:ext uri="{FF2B5EF4-FFF2-40B4-BE49-F238E27FC236}">
                    <a16:creationId xmlns:a16="http://schemas.microsoft.com/office/drawing/2014/main" id="{EAFA0527-4BE1-C5CB-9C0F-9A081E032638}"/>
                  </a:ext>
                </a:extLst>
              </p:cNvPr>
              <p:cNvSpPr/>
              <p:nvPr/>
            </p:nvSpPr>
            <p:spPr>
              <a:xfrm rot="6666908">
                <a:off x="3235148" y="556850"/>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188" name="Oval 2187">
                <a:extLst>
                  <a:ext uri="{FF2B5EF4-FFF2-40B4-BE49-F238E27FC236}">
                    <a16:creationId xmlns:a16="http://schemas.microsoft.com/office/drawing/2014/main" id="{85DE71A1-D79B-172A-F3B2-143B1D75CF23}"/>
                  </a:ext>
                </a:extLst>
              </p:cNvPr>
              <p:cNvSpPr/>
              <p:nvPr/>
            </p:nvSpPr>
            <p:spPr>
              <a:xfrm rot="6666908">
                <a:off x="3527986" y="-534449"/>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189" name="Oval 2188">
                <a:extLst>
                  <a:ext uri="{FF2B5EF4-FFF2-40B4-BE49-F238E27FC236}">
                    <a16:creationId xmlns:a16="http://schemas.microsoft.com/office/drawing/2014/main" id="{AB53CFC9-B0C8-53DC-B930-41FDA79A8066}"/>
                  </a:ext>
                </a:extLst>
              </p:cNvPr>
              <p:cNvSpPr/>
              <p:nvPr/>
            </p:nvSpPr>
            <p:spPr>
              <a:xfrm rot="6666908">
                <a:off x="2553259" y="-1192755"/>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190" name="Oval 2189">
                <a:extLst>
                  <a:ext uri="{FF2B5EF4-FFF2-40B4-BE49-F238E27FC236}">
                    <a16:creationId xmlns:a16="http://schemas.microsoft.com/office/drawing/2014/main" id="{BD151508-46FD-E6B8-1426-2F281C22AAB1}"/>
                  </a:ext>
                </a:extLst>
              </p:cNvPr>
              <p:cNvSpPr/>
              <p:nvPr/>
            </p:nvSpPr>
            <p:spPr>
              <a:xfrm rot="6666908">
                <a:off x="1699417" y="-1844344"/>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191" name="Oval 2190">
                <a:extLst>
                  <a:ext uri="{FF2B5EF4-FFF2-40B4-BE49-F238E27FC236}">
                    <a16:creationId xmlns:a16="http://schemas.microsoft.com/office/drawing/2014/main" id="{0B24100A-492F-3F23-00ED-B2302F072060}"/>
                  </a:ext>
                </a:extLst>
              </p:cNvPr>
              <p:cNvSpPr/>
              <p:nvPr/>
            </p:nvSpPr>
            <p:spPr>
              <a:xfrm rot="6666908">
                <a:off x="1516274" y="-494601"/>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192" name="Oval 2191">
                <a:extLst>
                  <a:ext uri="{FF2B5EF4-FFF2-40B4-BE49-F238E27FC236}">
                    <a16:creationId xmlns:a16="http://schemas.microsoft.com/office/drawing/2014/main" id="{DEF34341-C87B-F21D-324C-97327F22BA9C}"/>
                  </a:ext>
                </a:extLst>
              </p:cNvPr>
              <p:cNvSpPr/>
              <p:nvPr/>
            </p:nvSpPr>
            <p:spPr>
              <a:xfrm rot="6666908">
                <a:off x="970464" y="246787"/>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193" name="Oval 2192">
                <a:extLst>
                  <a:ext uri="{FF2B5EF4-FFF2-40B4-BE49-F238E27FC236}">
                    <a16:creationId xmlns:a16="http://schemas.microsoft.com/office/drawing/2014/main" id="{72D639F3-BA0B-0F57-CE92-D493CA1554E1}"/>
                  </a:ext>
                </a:extLst>
              </p:cNvPr>
              <p:cNvSpPr/>
              <p:nvPr/>
            </p:nvSpPr>
            <p:spPr>
              <a:xfrm rot="6666908">
                <a:off x="671388" y="-2376360"/>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194" name="Oval 2193">
                <a:extLst>
                  <a:ext uri="{FF2B5EF4-FFF2-40B4-BE49-F238E27FC236}">
                    <a16:creationId xmlns:a16="http://schemas.microsoft.com/office/drawing/2014/main" id="{1391D71B-968A-E4E8-5064-077F8E40DDCC}"/>
                  </a:ext>
                </a:extLst>
              </p:cNvPr>
              <p:cNvSpPr/>
              <p:nvPr/>
            </p:nvSpPr>
            <p:spPr>
              <a:xfrm rot="6666908">
                <a:off x="-398295" y="-1965379"/>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195" name="Oval 2194">
                <a:extLst>
                  <a:ext uri="{FF2B5EF4-FFF2-40B4-BE49-F238E27FC236}">
                    <a16:creationId xmlns:a16="http://schemas.microsoft.com/office/drawing/2014/main" id="{7F0AB946-BB59-BB81-9D22-E7E55C5A7532}"/>
                  </a:ext>
                </a:extLst>
              </p:cNvPr>
              <p:cNvSpPr/>
              <p:nvPr/>
            </p:nvSpPr>
            <p:spPr>
              <a:xfrm rot="6666908">
                <a:off x="-726876" y="-1201748"/>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196" name="Oval 2195">
                <a:extLst>
                  <a:ext uri="{FF2B5EF4-FFF2-40B4-BE49-F238E27FC236}">
                    <a16:creationId xmlns:a16="http://schemas.microsoft.com/office/drawing/2014/main" id="{B778D292-29DC-42EE-8F5B-44546A5D1E79}"/>
                  </a:ext>
                </a:extLst>
              </p:cNvPr>
              <p:cNvSpPr/>
              <p:nvPr/>
            </p:nvSpPr>
            <p:spPr>
              <a:xfrm rot="6666908">
                <a:off x="-598216" y="-863861"/>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197" name="Oval 2196">
                <a:extLst>
                  <a:ext uri="{FF2B5EF4-FFF2-40B4-BE49-F238E27FC236}">
                    <a16:creationId xmlns:a16="http://schemas.microsoft.com/office/drawing/2014/main" id="{40735A10-1FF1-D727-AD7D-D8ADE182ADB1}"/>
                  </a:ext>
                </a:extLst>
              </p:cNvPr>
              <p:cNvSpPr/>
              <p:nvPr/>
            </p:nvSpPr>
            <p:spPr>
              <a:xfrm rot="6666908">
                <a:off x="-554425" y="-423173"/>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198" name="Oval 2197">
                <a:extLst>
                  <a:ext uri="{FF2B5EF4-FFF2-40B4-BE49-F238E27FC236}">
                    <a16:creationId xmlns:a16="http://schemas.microsoft.com/office/drawing/2014/main" id="{CAB9AC98-D34F-5B00-3504-B4F2EA8D34C4}"/>
                  </a:ext>
                </a:extLst>
              </p:cNvPr>
              <p:cNvSpPr/>
              <p:nvPr/>
            </p:nvSpPr>
            <p:spPr>
              <a:xfrm rot="6666908">
                <a:off x="-306630" y="-750892"/>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199" name="Oval 2198">
                <a:extLst>
                  <a:ext uri="{FF2B5EF4-FFF2-40B4-BE49-F238E27FC236}">
                    <a16:creationId xmlns:a16="http://schemas.microsoft.com/office/drawing/2014/main" id="{34ED15C7-6728-0811-779F-3F6F4F3C64EC}"/>
                  </a:ext>
                </a:extLst>
              </p:cNvPr>
              <p:cNvSpPr/>
              <p:nvPr/>
            </p:nvSpPr>
            <p:spPr>
              <a:xfrm rot="6666908">
                <a:off x="-371111" y="-1087880"/>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00" name="Oval 2199">
                <a:extLst>
                  <a:ext uri="{FF2B5EF4-FFF2-40B4-BE49-F238E27FC236}">
                    <a16:creationId xmlns:a16="http://schemas.microsoft.com/office/drawing/2014/main" id="{E07B5F8A-3996-908A-0D5F-1D0A4D8A71E9}"/>
                  </a:ext>
                </a:extLst>
              </p:cNvPr>
              <p:cNvSpPr/>
              <p:nvPr/>
            </p:nvSpPr>
            <p:spPr>
              <a:xfrm rot="6666908">
                <a:off x="-861629" y="-163906"/>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01" name="Oval 2200">
                <a:extLst>
                  <a:ext uri="{FF2B5EF4-FFF2-40B4-BE49-F238E27FC236}">
                    <a16:creationId xmlns:a16="http://schemas.microsoft.com/office/drawing/2014/main" id="{5E8F5843-7858-0EB1-A0D0-F1996C61B21C}"/>
                  </a:ext>
                </a:extLst>
              </p:cNvPr>
              <p:cNvSpPr/>
              <p:nvPr/>
            </p:nvSpPr>
            <p:spPr>
              <a:xfrm rot="6666908">
                <a:off x="3207688" y="-1362280"/>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02" name="Oval 2201">
                <a:extLst>
                  <a:ext uri="{FF2B5EF4-FFF2-40B4-BE49-F238E27FC236}">
                    <a16:creationId xmlns:a16="http://schemas.microsoft.com/office/drawing/2014/main" id="{47C927A0-B2CC-A097-E982-18D09C816C0C}"/>
                  </a:ext>
                </a:extLst>
              </p:cNvPr>
              <p:cNvSpPr/>
              <p:nvPr/>
            </p:nvSpPr>
            <p:spPr>
              <a:xfrm rot="6666908">
                <a:off x="1022427" y="2332357"/>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03" name="Oval 2202">
                <a:extLst>
                  <a:ext uri="{FF2B5EF4-FFF2-40B4-BE49-F238E27FC236}">
                    <a16:creationId xmlns:a16="http://schemas.microsoft.com/office/drawing/2014/main" id="{6C3AC4A7-DE7D-908C-242D-827AD4B45C3F}"/>
                  </a:ext>
                </a:extLst>
              </p:cNvPr>
              <p:cNvSpPr/>
              <p:nvPr/>
            </p:nvSpPr>
            <p:spPr>
              <a:xfrm rot="6666908">
                <a:off x="436871" y="1599191"/>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04" name="Oval 2203">
                <a:extLst>
                  <a:ext uri="{FF2B5EF4-FFF2-40B4-BE49-F238E27FC236}">
                    <a16:creationId xmlns:a16="http://schemas.microsoft.com/office/drawing/2014/main" id="{A4C14E3C-266E-7D94-CAD0-B568EC8CDC23}"/>
                  </a:ext>
                </a:extLst>
              </p:cNvPr>
              <p:cNvSpPr/>
              <p:nvPr/>
            </p:nvSpPr>
            <p:spPr>
              <a:xfrm rot="6666908">
                <a:off x="768072" y="1103002"/>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05" name="Oval 2204">
                <a:extLst>
                  <a:ext uri="{FF2B5EF4-FFF2-40B4-BE49-F238E27FC236}">
                    <a16:creationId xmlns:a16="http://schemas.microsoft.com/office/drawing/2014/main" id="{3B8E50CD-0E1D-7A65-94D4-BA1A8E901417}"/>
                  </a:ext>
                </a:extLst>
              </p:cNvPr>
              <p:cNvSpPr/>
              <p:nvPr/>
            </p:nvSpPr>
            <p:spPr>
              <a:xfrm rot="6666908">
                <a:off x="25848" y="278465"/>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06" name="Oval 2205">
                <a:extLst>
                  <a:ext uri="{FF2B5EF4-FFF2-40B4-BE49-F238E27FC236}">
                    <a16:creationId xmlns:a16="http://schemas.microsoft.com/office/drawing/2014/main" id="{D45A289A-5B66-728A-4B66-0A60849EB16A}"/>
                  </a:ext>
                </a:extLst>
              </p:cNvPr>
              <p:cNvSpPr/>
              <p:nvPr/>
            </p:nvSpPr>
            <p:spPr>
              <a:xfrm rot="6666908">
                <a:off x="491097" y="2071775"/>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07" name="Oval 2206">
                <a:extLst>
                  <a:ext uri="{FF2B5EF4-FFF2-40B4-BE49-F238E27FC236}">
                    <a16:creationId xmlns:a16="http://schemas.microsoft.com/office/drawing/2014/main" id="{1E7E3155-441C-F74D-8A20-1E4DB7777B73}"/>
                  </a:ext>
                </a:extLst>
              </p:cNvPr>
              <p:cNvSpPr/>
              <p:nvPr/>
            </p:nvSpPr>
            <p:spPr>
              <a:xfrm rot="6666908">
                <a:off x="-189130" y="900900"/>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08" name="Oval 2207">
                <a:extLst>
                  <a:ext uri="{FF2B5EF4-FFF2-40B4-BE49-F238E27FC236}">
                    <a16:creationId xmlns:a16="http://schemas.microsoft.com/office/drawing/2014/main" id="{574C0DB1-E0D7-CD0D-8294-9914BD306C62}"/>
                  </a:ext>
                </a:extLst>
              </p:cNvPr>
              <p:cNvSpPr/>
              <p:nvPr/>
            </p:nvSpPr>
            <p:spPr>
              <a:xfrm rot="6666908">
                <a:off x="449536" y="-1106152"/>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09" name="Oval 2208">
                <a:extLst>
                  <a:ext uri="{FF2B5EF4-FFF2-40B4-BE49-F238E27FC236}">
                    <a16:creationId xmlns:a16="http://schemas.microsoft.com/office/drawing/2014/main" id="{E2A07C51-1F49-C497-9174-165EEBA8D733}"/>
                  </a:ext>
                </a:extLst>
              </p:cNvPr>
              <p:cNvSpPr/>
              <p:nvPr/>
            </p:nvSpPr>
            <p:spPr>
              <a:xfrm rot="6666908">
                <a:off x="-248239" y="1709551"/>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10" name="Oval 2209">
                <a:extLst>
                  <a:ext uri="{FF2B5EF4-FFF2-40B4-BE49-F238E27FC236}">
                    <a16:creationId xmlns:a16="http://schemas.microsoft.com/office/drawing/2014/main" id="{30037DAC-E20D-74F6-4002-10F73215F04F}"/>
                  </a:ext>
                </a:extLst>
              </p:cNvPr>
              <p:cNvSpPr/>
              <p:nvPr/>
            </p:nvSpPr>
            <p:spPr>
              <a:xfrm rot="6666908">
                <a:off x="-747483" y="988645"/>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11" name="Oval 2210">
                <a:extLst>
                  <a:ext uri="{FF2B5EF4-FFF2-40B4-BE49-F238E27FC236}">
                    <a16:creationId xmlns:a16="http://schemas.microsoft.com/office/drawing/2014/main" id="{444841FE-4CA4-C3F1-D35D-55B0509656A0}"/>
                  </a:ext>
                </a:extLst>
              </p:cNvPr>
              <p:cNvSpPr/>
              <p:nvPr/>
            </p:nvSpPr>
            <p:spPr>
              <a:xfrm rot="6666908">
                <a:off x="1725669" y="2267431"/>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12" name="Oval 2211">
                <a:extLst>
                  <a:ext uri="{FF2B5EF4-FFF2-40B4-BE49-F238E27FC236}">
                    <a16:creationId xmlns:a16="http://schemas.microsoft.com/office/drawing/2014/main" id="{E8B5DDC0-91A5-F866-CCF0-C5387830FEA2}"/>
                  </a:ext>
                </a:extLst>
              </p:cNvPr>
              <p:cNvSpPr/>
              <p:nvPr/>
            </p:nvSpPr>
            <p:spPr>
              <a:xfrm rot="6666908">
                <a:off x="1414522" y="2135883"/>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13" name="Oval 2212">
                <a:extLst>
                  <a:ext uri="{FF2B5EF4-FFF2-40B4-BE49-F238E27FC236}">
                    <a16:creationId xmlns:a16="http://schemas.microsoft.com/office/drawing/2014/main" id="{BAB19CC7-CED2-88C2-F718-AFF4A9224D4C}"/>
                  </a:ext>
                </a:extLst>
              </p:cNvPr>
              <p:cNvSpPr/>
              <p:nvPr/>
            </p:nvSpPr>
            <p:spPr>
              <a:xfrm rot="6666908">
                <a:off x="954469" y="1883994"/>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14" name="Oval 2213">
                <a:extLst>
                  <a:ext uri="{FF2B5EF4-FFF2-40B4-BE49-F238E27FC236}">
                    <a16:creationId xmlns:a16="http://schemas.microsoft.com/office/drawing/2014/main" id="{4C8F0CF5-C71A-D66F-FC8C-111346E38403}"/>
                  </a:ext>
                </a:extLst>
              </p:cNvPr>
              <p:cNvSpPr/>
              <p:nvPr/>
            </p:nvSpPr>
            <p:spPr>
              <a:xfrm rot="6666908">
                <a:off x="477456" y="1432557"/>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15" name="Oval 2214">
                <a:extLst>
                  <a:ext uri="{FF2B5EF4-FFF2-40B4-BE49-F238E27FC236}">
                    <a16:creationId xmlns:a16="http://schemas.microsoft.com/office/drawing/2014/main" id="{CC894C47-A0F3-4F64-0030-0C45FA44A6A9}"/>
                  </a:ext>
                </a:extLst>
              </p:cNvPr>
              <p:cNvSpPr/>
              <p:nvPr/>
            </p:nvSpPr>
            <p:spPr>
              <a:xfrm rot="6666908">
                <a:off x="1243473" y="956859"/>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16" name="Oval 2215">
                <a:extLst>
                  <a:ext uri="{FF2B5EF4-FFF2-40B4-BE49-F238E27FC236}">
                    <a16:creationId xmlns:a16="http://schemas.microsoft.com/office/drawing/2014/main" id="{D8F38582-109A-4A2D-C5D9-68459EF32D9E}"/>
                  </a:ext>
                </a:extLst>
              </p:cNvPr>
              <p:cNvSpPr/>
              <p:nvPr/>
            </p:nvSpPr>
            <p:spPr>
              <a:xfrm rot="6666908">
                <a:off x="1335049" y="-62990"/>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17" name="Oval 2216">
                <a:extLst>
                  <a:ext uri="{FF2B5EF4-FFF2-40B4-BE49-F238E27FC236}">
                    <a16:creationId xmlns:a16="http://schemas.microsoft.com/office/drawing/2014/main" id="{CB11C4C6-2EEC-E923-4725-C4368A2814CA}"/>
                  </a:ext>
                </a:extLst>
              </p:cNvPr>
              <p:cNvSpPr/>
              <p:nvPr/>
            </p:nvSpPr>
            <p:spPr>
              <a:xfrm rot="6666908">
                <a:off x="855656" y="-541009"/>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18" name="Oval 2217">
                <a:extLst>
                  <a:ext uri="{FF2B5EF4-FFF2-40B4-BE49-F238E27FC236}">
                    <a16:creationId xmlns:a16="http://schemas.microsoft.com/office/drawing/2014/main" id="{6CF63509-0A19-FC29-DA5C-63DEF9AD83B8}"/>
                  </a:ext>
                </a:extLst>
              </p:cNvPr>
              <p:cNvSpPr/>
              <p:nvPr/>
            </p:nvSpPr>
            <p:spPr>
              <a:xfrm rot="6666908">
                <a:off x="444198" y="42393"/>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19" name="Oval 2218">
                <a:extLst>
                  <a:ext uri="{FF2B5EF4-FFF2-40B4-BE49-F238E27FC236}">
                    <a16:creationId xmlns:a16="http://schemas.microsoft.com/office/drawing/2014/main" id="{26F7AE71-A390-CF34-6B47-E5D9C98C8917}"/>
                  </a:ext>
                </a:extLst>
              </p:cNvPr>
              <p:cNvSpPr/>
              <p:nvPr/>
            </p:nvSpPr>
            <p:spPr>
              <a:xfrm rot="6666908">
                <a:off x="169434" y="-529839"/>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20" name="Oval 2219">
                <a:extLst>
                  <a:ext uri="{FF2B5EF4-FFF2-40B4-BE49-F238E27FC236}">
                    <a16:creationId xmlns:a16="http://schemas.microsoft.com/office/drawing/2014/main" id="{29B1E0BC-0CB4-6296-7ED3-352893236BE1}"/>
                  </a:ext>
                </a:extLst>
              </p:cNvPr>
              <p:cNvSpPr/>
              <p:nvPr/>
            </p:nvSpPr>
            <p:spPr>
              <a:xfrm rot="6666908">
                <a:off x="1684528" y="436702"/>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21" name="Oval 2220">
                <a:extLst>
                  <a:ext uri="{FF2B5EF4-FFF2-40B4-BE49-F238E27FC236}">
                    <a16:creationId xmlns:a16="http://schemas.microsoft.com/office/drawing/2014/main" id="{B3CAF31D-FD0D-FAE6-4480-B6DC1A8C6577}"/>
                  </a:ext>
                </a:extLst>
              </p:cNvPr>
              <p:cNvSpPr/>
              <p:nvPr/>
            </p:nvSpPr>
            <p:spPr>
              <a:xfrm rot="6666908">
                <a:off x="2178806" y="163650"/>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22" name="Oval 2221">
                <a:extLst>
                  <a:ext uri="{FF2B5EF4-FFF2-40B4-BE49-F238E27FC236}">
                    <a16:creationId xmlns:a16="http://schemas.microsoft.com/office/drawing/2014/main" id="{6F25C2A9-0066-B20A-7B19-DA76089AA621}"/>
                  </a:ext>
                </a:extLst>
              </p:cNvPr>
              <p:cNvSpPr/>
              <p:nvPr/>
            </p:nvSpPr>
            <p:spPr>
              <a:xfrm rot="6666908">
                <a:off x="549984" y="1825942"/>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23" name="Oval 2222">
                <a:extLst>
                  <a:ext uri="{FF2B5EF4-FFF2-40B4-BE49-F238E27FC236}">
                    <a16:creationId xmlns:a16="http://schemas.microsoft.com/office/drawing/2014/main" id="{A6761F86-6BE1-10C0-1AED-10C375416DEF}"/>
                  </a:ext>
                </a:extLst>
              </p:cNvPr>
              <p:cNvSpPr/>
              <p:nvPr/>
            </p:nvSpPr>
            <p:spPr>
              <a:xfrm rot="6666908">
                <a:off x="216182" y="1419124"/>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24" name="Oval 2223">
                <a:extLst>
                  <a:ext uri="{FF2B5EF4-FFF2-40B4-BE49-F238E27FC236}">
                    <a16:creationId xmlns:a16="http://schemas.microsoft.com/office/drawing/2014/main" id="{B1CFE0C0-0AA7-9597-DF07-A5E3FC640C08}"/>
                  </a:ext>
                </a:extLst>
              </p:cNvPr>
              <p:cNvSpPr/>
              <p:nvPr/>
            </p:nvSpPr>
            <p:spPr>
              <a:xfrm rot="6666908">
                <a:off x="321481" y="1313618"/>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25" name="Oval 2224">
                <a:extLst>
                  <a:ext uri="{FF2B5EF4-FFF2-40B4-BE49-F238E27FC236}">
                    <a16:creationId xmlns:a16="http://schemas.microsoft.com/office/drawing/2014/main" id="{F60CF6AE-8A74-669D-DA3E-E1CB103B86C8}"/>
                  </a:ext>
                </a:extLst>
              </p:cNvPr>
              <p:cNvSpPr/>
              <p:nvPr/>
            </p:nvSpPr>
            <p:spPr>
              <a:xfrm rot="6666908">
                <a:off x="-374502" y="610263"/>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26" name="Oval 2225">
                <a:extLst>
                  <a:ext uri="{FF2B5EF4-FFF2-40B4-BE49-F238E27FC236}">
                    <a16:creationId xmlns:a16="http://schemas.microsoft.com/office/drawing/2014/main" id="{63779EB3-492C-5664-B69E-EDD2B1842FE7}"/>
                  </a:ext>
                </a:extLst>
              </p:cNvPr>
              <p:cNvSpPr/>
              <p:nvPr/>
            </p:nvSpPr>
            <p:spPr>
              <a:xfrm rot="6666908">
                <a:off x="447035" y="612365"/>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27" name="Oval 2226">
                <a:extLst>
                  <a:ext uri="{FF2B5EF4-FFF2-40B4-BE49-F238E27FC236}">
                    <a16:creationId xmlns:a16="http://schemas.microsoft.com/office/drawing/2014/main" id="{0EAB9653-1CC8-C778-9049-23510DA16D37}"/>
                  </a:ext>
                </a:extLst>
              </p:cNvPr>
              <p:cNvSpPr/>
              <p:nvPr/>
            </p:nvSpPr>
            <p:spPr>
              <a:xfrm rot="6666908">
                <a:off x="-628637" y="1549238"/>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28" name="Oval 2227">
                <a:extLst>
                  <a:ext uri="{FF2B5EF4-FFF2-40B4-BE49-F238E27FC236}">
                    <a16:creationId xmlns:a16="http://schemas.microsoft.com/office/drawing/2014/main" id="{10861E56-68EA-D4D3-060E-D54DFF67FCF5}"/>
                  </a:ext>
                </a:extLst>
              </p:cNvPr>
              <p:cNvSpPr/>
              <p:nvPr/>
            </p:nvSpPr>
            <p:spPr>
              <a:xfrm rot="6666908">
                <a:off x="-745827" y="1282051"/>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29" name="Oval 2228">
                <a:extLst>
                  <a:ext uri="{FF2B5EF4-FFF2-40B4-BE49-F238E27FC236}">
                    <a16:creationId xmlns:a16="http://schemas.microsoft.com/office/drawing/2014/main" id="{B70B727A-CD6A-4FB1-40CF-F85AD5454B53}"/>
                  </a:ext>
                </a:extLst>
              </p:cNvPr>
              <p:cNvSpPr/>
              <p:nvPr/>
            </p:nvSpPr>
            <p:spPr>
              <a:xfrm rot="6666908">
                <a:off x="-883188" y="1242114"/>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30" name="Oval 2229">
                <a:extLst>
                  <a:ext uri="{FF2B5EF4-FFF2-40B4-BE49-F238E27FC236}">
                    <a16:creationId xmlns:a16="http://schemas.microsoft.com/office/drawing/2014/main" id="{511A6519-1833-AE18-C893-79F472181B47}"/>
                  </a:ext>
                </a:extLst>
              </p:cNvPr>
              <p:cNvSpPr/>
              <p:nvPr/>
            </p:nvSpPr>
            <p:spPr>
              <a:xfrm rot="6666908">
                <a:off x="-552907" y="576372"/>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31" name="Oval 2230">
                <a:extLst>
                  <a:ext uri="{FF2B5EF4-FFF2-40B4-BE49-F238E27FC236}">
                    <a16:creationId xmlns:a16="http://schemas.microsoft.com/office/drawing/2014/main" id="{327880F9-3E05-0411-FF34-D12535C84225}"/>
                  </a:ext>
                </a:extLst>
              </p:cNvPr>
              <p:cNvSpPr/>
              <p:nvPr/>
            </p:nvSpPr>
            <p:spPr>
              <a:xfrm rot="6666908">
                <a:off x="-367467" y="989899"/>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32" name="Oval 2231">
                <a:extLst>
                  <a:ext uri="{FF2B5EF4-FFF2-40B4-BE49-F238E27FC236}">
                    <a16:creationId xmlns:a16="http://schemas.microsoft.com/office/drawing/2014/main" id="{CF9A219D-0D76-4E7F-2FA6-73FC8FE5A5B7}"/>
                  </a:ext>
                </a:extLst>
              </p:cNvPr>
              <p:cNvSpPr/>
              <p:nvPr/>
            </p:nvSpPr>
            <p:spPr>
              <a:xfrm rot="6666908">
                <a:off x="-129760" y="1976807"/>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33" name="Oval 2232">
                <a:extLst>
                  <a:ext uri="{FF2B5EF4-FFF2-40B4-BE49-F238E27FC236}">
                    <a16:creationId xmlns:a16="http://schemas.microsoft.com/office/drawing/2014/main" id="{9CFF3609-0912-0927-3D25-624F6EDFD0C1}"/>
                  </a:ext>
                </a:extLst>
              </p:cNvPr>
              <p:cNvSpPr/>
              <p:nvPr/>
            </p:nvSpPr>
            <p:spPr>
              <a:xfrm rot="6666908">
                <a:off x="1991019" y="2003057"/>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34" name="Oval 2233">
                <a:extLst>
                  <a:ext uri="{FF2B5EF4-FFF2-40B4-BE49-F238E27FC236}">
                    <a16:creationId xmlns:a16="http://schemas.microsoft.com/office/drawing/2014/main" id="{3C9CD55F-B8D3-D7BC-8903-83D4450B5B27}"/>
                  </a:ext>
                </a:extLst>
              </p:cNvPr>
              <p:cNvSpPr/>
              <p:nvPr/>
            </p:nvSpPr>
            <p:spPr>
              <a:xfrm rot="6666908">
                <a:off x="2229241" y="2082925"/>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35" name="Oval 2234">
                <a:extLst>
                  <a:ext uri="{FF2B5EF4-FFF2-40B4-BE49-F238E27FC236}">
                    <a16:creationId xmlns:a16="http://schemas.microsoft.com/office/drawing/2014/main" id="{E07F3B00-8A42-04B9-502C-2E3FE189D172}"/>
                  </a:ext>
                </a:extLst>
              </p:cNvPr>
              <p:cNvSpPr/>
              <p:nvPr/>
            </p:nvSpPr>
            <p:spPr>
              <a:xfrm rot="6666908">
                <a:off x="2132977" y="1630059"/>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36" name="Oval 2235">
                <a:extLst>
                  <a:ext uri="{FF2B5EF4-FFF2-40B4-BE49-F238E27FC236}">
                    <a16:creationId xmlns:a16="http://schemas.microsoft.com/office/drawing/2014/main" id="{EA3D2942-BAD6-2365-A499-D16629AD76DC}"/>
                  </a:ext>
                </a:extLst>
              </p:cNvPr>
              <p:cNvSpPr/>
              <p:nvPr/>
            </p:nvSpPr>
            <p:spPr>
              <a:xfrm rot="6666908">
                <a:off x="2054732" y="1255597"/>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37" name="Oval 2236">
                <a:extLst>
                  <a:ext uri="{FF2B5EF4-FFF2-40B4-BE49-F238E27FC236}">
                    <a16:creationId xmlns:a16="http://schemas.microsoft.com/office/drawing/2014/main" id="{17F19018-E931-5673-4CC3-6F8284A34F80}"/>
                  </a:ext>
                </a:extLst>
              </p:cNvPr>
              <p:cNvSpPr/>
              <p:nvPr/>
            </p:nvSpPr>
            <p:spPr>
              <a:xfrm rot="6666908">
                <a:off x="2231261" y="1314090"/>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38" name="Oval 2237">
                <a:extLst>
                  <a:ext uri="{FF2B5EF4-FFF2-40B4-BE49-F238E27FC236}">
                    <a16:creationId xmlns:a16="http://schemas.microsoft.com/office/drawing/2014/main" id="{2227A7CF-8FC8-2A1D-2A9D-8F85F7131652}"/>
                  </a:ext>
                </a:extLst>
              </p:cNvPr>
              <p:cNvSpPr/>
              <p:nvPr/>
            </p:nvSpPr>
            <p:spPr>
              <a:xfrm rot="6666908">
                <a:off x="2124185" y="1081615"/>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39" name="Oval 2238">
                <a:extLst>
                  <a:ext uri="{FF2B5EF4-FFF2-40B4-BE49-F238E27FC236}">
                    <a16:creationId xmlns:a16="http://schemas.microsoft.com/office/drawing/2014/main" id="{5B6166D4-1D28-74D2-1C20-F52F185D810C}"/>
                  </a:ext>
                </a:extLst>
              </p:cNvPr>
              <p:cNvSpPr/>
              <p:nvPr/>
            </p:nvSpPr>
            <p:spPr>
              <a:xfrm rot="6666908">
                <a:off x="2513468" y="1071414"/>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40" name="Oval 2239">
                <a:extLst>
                  <a:ext uri="{FF2B5EF4-FFF2-40B4-BE49-F238E27FC236}">
                    <a16:creationId xmlns:a16="http://schemas.microsoft.com/office/drawing/2014/main" id="{3A32D48D-2107-C94A-0466-69CFAEAB54E3}"/>
                  </a:ext>
                </a:extLst>
              </p:cNvPr>
              <p:cNvSpPr/>
              <p:nvPr/>
            </p:nvSpPr>
            <p:spPr>
              <a:xfrm rot="6666908">
                <a:off x="2356059" y="969038"/>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41" name="Oval 2240">
                <a:extLst>
                  <a:ext uri="{FF2B5EF4-FFF2-40B4-BE49-F238E27FC236}">
                    <a16:creationId xmlns:a16="http://schemas.microsoft.com/office/drawing/2014/main" id="{38D17BCE-9DC2-F17C-4098-A38779F86B14}"/>
                  </a:ext>
                </a:extLst>
              </p:cNvPr>
              <p:cNvSpPr/>
              <p:nvPr/>
            </p:nvSpPr>
            <p:spPr>
              <a:xfrm rot="6666908">
                <a:off x="2580725" y="784009"/>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42" name="Oval 2241">
                <a:extLst>
                  <a:ext uri="{FF2B5EF4-FFF2-40B4-BE49-F238E27FC236}">
                    <a16:creationId xmlns:a16="http://schemas.microsoft.com/office/drawing/2014/main" id="{B786EA5A-BBF8-D4D8-85A9-BB974243D624}"/>
                  </a:ext>
                </a:extLst>
              </p:cNvPr>
              <p:cNvSpPr/>
              <p:nvPr/>
            </p:nvSpPr>
            <p:spPr>
              <a:xfrm rot="6666908">
                <a:off x="3003062" y="164659"/>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43" name="Oval 2242">
                <a:extLst>
                  <a:ext uri="{FF2B5EF4-FFF2-40B4-BE49-F238E27FC236}">
                    <a16:creationId xmlns:a16="http://schemas.microsoft.com/office/drawing/2014/main" id="{F8D86B2E-788C-0902-28D4-5AA72E4E7F31}"/>
                  </a:ext>
                </a:extLst>
              </p:cNvPr>
              <p:cNvSpPr/>
              <p:nvPr/>
            </p:nvSpPr>
            <p:spPr>
              <a:xfrm rot="6666908">
                <a:off x="3560363" y="-17903"/>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44" name="Oval 2243">
                <a:extLst>
                  <a:ext uri="{FF2B5EF4-FFF2-40B4-BE49-F238E27FC236}">
                    <a16:creationId xmlns:a16="http://schemas.microsoft.com/office/drawing/2014/main" id="{C8D99BB7-78E6-7BD0-89AE-546799960F7E}"/>
                  </a:ext>
                </a:extLst>
              </p:cNvPr>
              <p:cNvSpPr/>
              <p:nvPr/>
            </p:nvSpPr>
            <p:spPr>
              <a:xfrm rot="6666908">
                <a:off x="3466373" y="582660"/>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45" name="Oval 2244">
                <a:extLst>
                  <a:ext uri="{FF2B5EF4-FFF2-40B4-BE49-F238E27FC236}">
                    <a16:creationId xmlns:a16="http://schemas.microsoft.com/office/drawing/2014/main" id="{157611CC-0A1B-29D2-4F9F-3554D8C14B20}"/>
                  </a:ext>
                </a:extLst>
              </p:cNvPr>
              <p:cNvSpPr/>
              <p:nvPr/>
            </p:nvSpPr>
            <p:spPr>
              <a:xfrm rot="6666908">
                <a:off x="3267801" y="1061895"/>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46" name="Oval 2245">
                <a:extLst>
                  <a:ext uri="{FF2B5EF4-FFF2-40B4-BE49-F238E27FC236}">
                    <a16:creationId xmlns:a16="http://schemas.microsoft.com/office/drawing/2014/main" id="{8D582148-E747-FE43-2BF2-1345CF46179B}"/>
                  </a:ext>
                </a:extLst>
              </p:cNvPr>
              <p:cNvSpPr/>
              <p:nvPr/>
            </p:nvSpPr>
            <p:spPr>
              <a:xfrm rot="6666908">
                <a:off x="3151719" y="1260193"/>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47" name="Oval 2246">
                <a:extLst>
                  <a:ext uri="{FF2B5EF4-FFF2-40B4-BE49-F238E27FC236}">
                    <a16:creationId xmlns:a16="http://schemas.microsoft.com/office/drawing/2014/main" id="{8B4E9B75-D209-F9D8-1EFC-02159A2F957E}"/>
                  </a:ext>
                </a:extLst>
              </p:cNvPr>
              <p:cNvSpPr/>
              <p:nvPr/>
            </p:nvSpPr>
            <p:spPr>
              <a:xfrm rot="6666908">
                <a:off x="2831567" y="-367850"/>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48" name="Oval 2247">
                <a:extLst>
                  <a:ext uri="{FF2B5EF4-FFF2-40B4-BE49-F238E27FC236}">
                    <a16:creationId xmlns:a16="http://schemas.microsoft.com/office/drawing/2014/main" id="{9E6B8626-1201-2029-89EC-0A3CE2735B9E}"/>
                  </a:ext>
                </a:extLst>
              </p:cNvPr>
              <p:cNvSpPr/>
              <p:nvPr/>
            </p:nvSpPr>
            <p:spPr>
              <a:xfrm rot="6666908">
                <a:off x="2769987" y="-672147"/>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49" name="Oval 2248">
                <a:extLst>
                  <a:ext uri="{FF2B5EF4-FFF2-40B4-BE49-F238E27FC236}">
                    <a16:creationId xmlns:a16="http://schemas.microsoft.com/office/drawing/2014/main" id="{E31B50CD-822D-512E-C251-21F397F6DF84}"/>
                  </a:ext>
                </a:extLst>
              </p:cNvPr>
              <p:cNvSpPr/>
              <p:nvPr/>
            </p:nvSpPr>
            <p:spPr>
              <a:xfrm rot="6666908">
                <a:off x="2534813" y="-570371"/>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50" name="Oval 2249">
                <a:extLst>
                  <a:ext uri="{FF2B5EF4-FFF2-40B4-BE49-F238E27FC236}">
                    <a16:creationId xmlns:a16="http://schemas.microsoft.com/office/drawing/2014/main" id="{07124DEB-52C5-46F0-A954-B15322FCDB54}"/>
                  </a:ext>
                </a:extLst>
              </p:cNvPr>
              <p:cNvSpPr/>
              <p:nvPr/>
            </p:nvSpPr>
            <p:spPr>
              <a:xfrm rot="6666908">
                <a:off x="2568475" y="-695604"/>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51" name="Oval 2250">
                <a:extLst>
                  <a:ext uri="{FF2B5EF4-FFF2-40B4-BE49-F238E27FC236}">
                    <a16:creationId xmlns:a16="http://schemas.microsoft.com/office/drawing/2014/main" id="{D55915EC-79D1-0073-19D9-9C58C1BE480E}"/>
                  </a:ext>
                </a:extLst>
              </p:cNvPr>
              <p:cNvSpPr/>
              <p:nvPr/>
            </p:nvSpPr>
            <p:spPr>
              <a:xfrm rot="6666908">
                <a:off x="2307192" y="-1376495"/>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52" name="Oval 2251">
                <a:extLst>
                  <a:ext uri="{FF2B5EF4-FFF2-40B4-BE49-F238E27FC236}">
                    <a16:creationId xmlns:a16="http://schemas.microsoft.com/office/drawing/2014/main" id="{5DD5B6CA-944B-5761-3DE3-851342A841D9}"/>
                  </a:ext>
                </a:extLst>
              </p:cNvPr>
              <p:cNvSpPr/>
              <p:nvPr/>
            </p:nvSpPr>
            <p:spPr>
              <a:xfrm rot="6666908">
                <a:off x="2168535" y="-1557407"/>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53" name="Oval 2252">
                <a:extLst>
                  <a:ext uri="{FF2B5EF4-FFF2-40B4-BE49-F238E27FC236}">
                    <a16:creationId xmlns:a16="http://schemas.microsoft.com/office/drawing/2014/main" id="{D13E7A26-3562-FD20-74EC-2D1CD7DFD324}"/>
                  </a:ext>
                </a:extLst>
              </p:cNvPr>
              <p:cNvSpPr/>
              <p:nvPr/>
            </p:nvSpPr>
            <p:spPr>
              <a:xfrm rot="6666908">
                <a:off x="2323248" y="-1658593"/>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54" name="Oval 2253">
                <a:extLst>
                  <a:ext uri="{FF2B5EF4-FFF2-40B4-BE49-F238E27FC236}">
                    <a16:creationId xmlns:a16="http://schemas.microsoft.com/office/drawing/2014/main" id="{4041A833-9648-6CCD-83FC-8E4BED8A2298}"/>
                  </a:ext>
                </a:extLst>
              </p:cNvPr>
              <p:cNvSpPr/>
              <p:nvPr/>
            </p:nvSpPr>
            <p:spPr>
              <a:xfrm rot="6666908">
                <a:off x="2238244" y="-1752115"/>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55" name="Oval 2254">
                <a:extLst>
                  <a:ext uri="{FF2B5EF4-FFF2-40B4-BE49-F238E27FC236}">
                    <a16:creationId xmlns:a16="http://schemas.microsoft.com/office/drawing/2014/main" id="{BEF8DC71-AB2D-B47E-6719-489EF0B0C544}"/>
                  </a:ext>
                </a:extLst>
              </p:cNvPr>
              <p:cNvSpPr/>
              <p:nvPr/>
            </p:nvSpPr>
            <p:spPr>
              <a:xfrm rot="6666908">
                <a:off x="2310510" y="-1930368"/>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56" name="Oval 2255">
                <a:extLst>
                  <a:ext uri="{FF2B5EF4-FFF2-40B4-BE49-F238E27FC236}">
                    <a16:creationId xmlns:a16="http://schemas.microsoft.com/office/drawing/2014/main" id="{8D6464B4-6C3E-9027-EDA4-6AEBF488344A}"/>
                  </a:ext>
                </a:extLst>
              </p:cNvPr>
              <p:cNvSpPr/>
              <p:nvPr/>
            </p:nvSpPr>
            <p:spPr>
              <a:xfrm rot="6666908">
                <a:off x="1921715" y="-2215716"/>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57" name="Oval 2256">
                <a:extLst>
                  <a:ext uri="{FF2B5EF4-FFF2-40B4-BE49-F238E27FC236}">
                    <a16:creationId xmlns:a16="http://schemas.microsoft.com/office/drawing/2014/main" id="{ABDFFBB6-4C69-A36C-60D9-D2E335B41815}"/>
                  </a:ext>
                </a:extLst>
              </p:cNvPr>
              <p:cNvSpPr/>
              <p:nvPr/>
            </p:nvSpPr>
            <p:spPr>
              <a:xfrm rot="6666908">
                <a:off x="1582712" y="-2485753"/>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58" name="Oval 2257">
                <a:extLst>
                  <a:ext uri="{FF2B5EF4-FFF2-40B4-BE49-F238E27FC236}">
                    <a16:creationId xmlns:a16="http://schemas.microsoft.com/office/drawing/2014/main" id="{16FF6C77-E7F8-106A-3DA5-B981A2DA7F56}"/>
                  </a:ext>
                </a:extLst>
              </p:cNvPr>
              <p:cNvSpPr/>
              <p:nvPr/>
            </p:nvSpPr>
            <p:spPr>
              <a:xfrm rot="6666908">
                <a:off x="898700" y="-2516145"/>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59" name="Oval 2258">
                <a:extLst>
                  <a:ext uri="{FF2B5EF4-FFF2-40B4-BE49-F238E27FC236}">
                    <a16:creationId xmlns:a16="http://schemas.microsoft.com/office/drawing/2014/main" id="{D9B02B2A-ABE0-80EF-E474-D84898C1EA6B}"/>
                  </a:ext>
                </a:extLst>
              </p:cNvPr>
              <p:cNvSpPr/>
              <p:nvPr/>
            </p:nvSpPr>
            <p:spPr>
              <a:xfrm rot="6666908">
                <a:off x="1005241" y="-2213290"/>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60" name="Oval 2259">
                <a:extLst>
                  <a:ext uri="{FF2B5EF4-FFF2-40B4-BE49-F238E27FC236}">
                    <a16:creationId xmlns:a16="http://schemas.microsoft.com/office/drawing/2014/main" id="{C46B9E5E-0207-BFC3-383C-2609A0047157}"/>
                  </a:ext>
                </a:extLst>
              </p:cNvPr>
              <p:cNvSpPr/>
              <p:nvPr/>
            </p:nvSpPr>
            <p:spPr>
              <a:xfrm rot="6666908">
                <a:off x="873461" y="-1961491"/>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61" name="Oval 2260">
                <a:extLst>
                  <a:ext uri="{FF2B5EF4-FFF2-40B4-BE49-F238E27FC236}">
                    <a16:creationId xmlns:a16="http://schemas.microsoft.com/office/drawing/2014/main" id="{DE56F917-ADC0-91B7-6AD4-6342BBB097CD}"/>
                  </a:ext>
                </a:extLst>
              </p:cNvPr>
              <p:cNvSpPr/>
              <p:nvPr/>
            </p:nvSpPr>
            <p:spPr>
              <a:xfrm rot="6666908">
                <a:off x="383163" y="-1659895"/>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62" name="Oval 2261">
                <a:extLst>
                  <a:ext uri="{FF2B5EF4-FFF2-40B4-BE49-F238E27FC236}">
                    <a16:creationId xmlns:a16="http://schemas.microsoft.com/office/drawing/2014/main" id="{17455433-DDF8-5753-E18C-A4CD03922D7E}"/>
                  </a:ext>
                </a:extLst>
              </p:cNvPr>
              <p:cNvSpPr/>
              <p:nvPr/>
            </p:nvSpPr>
            <p:spPr>
              <a:xfrm rot="6666908">
                <a:off x="264834" y="-2120089"/>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63" name="Oval 2262">
                <a:extLst>
                  <a:ext uri="{FF2B5EF4-FFF2-40B4-BE49-F238E27FC236}">
                    <a16:creationId xmlns:a16="http://schemas.microsoft.com/office/drawing/2014/main" id="{334AD90B-AE59-1645-F550-AC447F074DA0}"/>
                  </a:ext>
                </a:extLst>
              </p:cNvPr>
              <p:cNvSpPr/>
              <p:nvPr/>
            </p:nvSpPr>
            <p:spPr>
              <a:xfrm rot="6666908">
                <a:off x="80130" y="-2281205"/>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64" name="Oval 2263">
                <a:extLst>
                  <a:ext uri="{FF2B5EF4-FFF2-40B4-BE49-F238E27FC236}">
                    <a16:creationId xmlns:a16="http://schemas.microsoft.com/office/drawing/2014/main" id="{219EC925-2EB2-F296-0FBF-B1068A8DE927}"/>
                  </a:ext>
                </a:extLst>
              </p:cNvPr>
              <p:cNvSpPr/>
              <p:nvPr/>
            </p:nvSpPr>
            <p:spPr>
              <a:xfrm rot="6666908">
                <a:off x="305390" y="-1960952"/>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65" name="Oval 2264">
                <a:extLst>
                  <a:ext uri="{FF2B5EF4-FFF2-40B4-BE49-F238E27FC236}">
                    <a16:creationId xmlns:a16="http://schemas.microsoft.com/office/drawing/2014/main" id="{22F3F15E-053D-CC7E-5922-85C41DCC04BD}"/>
                  </a:ext>
                </a:extLst>
              </p:cNvPr>
              <p:cNvSpPr/>
              <p:nvPr/>
            </p:nvSpPr>
            <p:spPr>
              <a:xfrm rot="6666908">
                <a:off x="31983" y="-1795144"/>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66" name="Oval 2265">
                <a:extLst>
                  <a:ext uri="{FF2B5EF4-FFF2-40B4-BE49-F238E27FC236}">
                    <a16:creationId xmlns:a16="http://schemas.microsoft.com/office/drawing/2014/main" id="{A88EF660-0A75-853F-89D7-805F2809049E}"/>
                  </a:ext>
                </a:extLst>
              </p:cNvPr>
              <p:cNvSpPr/>
              <p:nvPr/>
            </p:nvSpPr>
            <p:spPr>
              <a:xfrm rot="6666908">
                <a:off x="-366219" y="-1777943"/>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67" name="Oval 2266">
                <a:extLst>
                  <a:ext uri="{FF2B5EF4-FFF2-40B4-BE49-F238E27FC236}">
                    <a16:creationId xmlns:a16="http://schemas.microsoft.com/office/drawing/2014/main" id="{03F7D41A-26F5-446C-7F10-1FCBD0DCF4F2}"/>
                  </a:ext>
                </a:extLst>
              </p:cNvPr>
              <p:cNvSpPr/>
              <p:nvPr/>
            </p:nvSpPr>
            <p:spPr>
              <a:xfrm rot="6666908">
                <a:off x="150390" y="-1960848"/>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68" name="Oval 2267">
                <a:extLst>
                  <a:ext uri="{FF2B5EF4-FFF2-40B4-BE49-F238E27FC236}">
                    <a16:creationId xmlns:a16="http://schemas.microsoft.com/office/drawing/2014/main" id="{BBAFC1DC-7913-450B-C028-8F3CDFF79ABD}"/>
                  </a:ext>
                </a:extLst>
              </p:cNvPr>
              <p:cNvSpPr/>
              <p:nvPr/>
            </p:nvSpPr>
            <p:spPr>
              <a:xfrm rot="6666908">
                <a:off x="-273284" y="-1361274"/>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69" name="Oval 2268">
                <a:extLst>
                  <a:ext uri="{FF2B5EF4-FFF2-40B4-BE49-F238E27FC236}">
                    <a16:creationId xmlns:a16="http://schemas.microsoft.com/office/drawing/2014/main" id="{ED8FDCB9-8923-0817-0751-A4C22B685A66}"/>
                  </a:ext>
                </a:extLst>
              </p:cNvPr>
              <p:cNvSpPr/>
              <p:nvPr/>
            </p:nvSpPr>
            <p:spPr>
              <a:xfrm rot="6666908">
                <a:off x="-624009" y="-1563443"/>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70" name="Oval 2269">
                <a:extLst>
                  <a:ext uri="{FF2B5EF4-FFF2-40B4-BE49-F238E27FC236}">
                    <a16:creationId xmlns:a16="http://schemas.microsoft.com/office/drawing/2014/main" id="{A919D851-34C8-3C1C-807C-DED3A1775E99}"/>
                  </a:ext>
                </a:extLst>
              </p:cNvPr>
              <p:cNvSpPr/>
              <p:nvPr/>
            </p:nvSpPr>
            <p:spPr>
              <a:xfrm rot="6666908">
                <a:off x="-1093040" y="-1022545"/>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71" name="Oval 2270">
                <a:extLst>
                  <a:ext uri="{FF2B5EF4-FFF2-40B4-BE49-F238E27FC236}">
                    <a16:creationId xmlns:a16="http://schemas.microsoft.com/office/drawing/2014/main" id="{298B4860-D8E9-67DE-1CD1-BF353D163E26}"/>
                  </a:ext>
                </a:extLst>
              </p:cNvPr>
              <p:cNvSpPr/>
              <p:nvPr/>
            </p:nvSpPr>
            <p:spPr>
              <a:xfrm rot="6666908">
                <a:off x="-941476" y="-1079103"/>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72" name="Oval 2271">
                <a:extLst>
                  <a:ext uri="{FF2B5EF4-FFF2-40B4-BE49-F238E27FC236}">
                    <a16:creationId xmlns:a16="http://schemas.microsoft.com/office/drawing/2014/main" id="{B25001B9-39C3-FB43-38EB-C1A5A35868A8}"/>
                  </a:ext>
                </a:extLst>
              </p:cNvPr>
              <p:cNvSpPr/>
              <p:nvPr/>
            </p:nvSpPr>
            <p:spPr>
              <a:xfrm rot="6666908">
                <a:off x="-1236461" y="-534263"/>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73" name="Oval 2272">
                <a:extLst>
                  <a:ext uri="{FF2B5EF4-FFF2-40B4-BE49-F238E27FC236}">
                    <a16:creationId xmlns:a16="http://schemas.microsoft.com/office/drawing/2014/main" id="{84B45785-2978-3C66-1FB5-1F56AE7F7057}"/>
                  </a:ext>
                </a:extLst>
              </p:cNvPr>
              <p:cNvSpPr/>
              <p:nvPr/>
            </p:nvSpPr>
            <p:spPr>
              <a:xfrm rot="6666908">
                <a:off x="-1274302" y="20028"/>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74" name="Oval 2273">
                <a:extLst>
                  <a:ext uri="{FF2B5EF4-FFF2-40B4-BE49-F238E27FC236}">
                    <a16:creationId xmlns:a16="http://schemas.microsoft.com/office/drawing/2014/main" id="{00581FAF-A741-45DA-FB7C-48FE90531F08}"/>
                  </a:ext>
                </a:extLst>
              </p:cNvPr>
              <p:cNvSpPr/>
              <p:nvPr/>
            </p:nvSpPr>
            <p:spPr>
              <a:xfrm rot="6666908">
                <a:off x="-1150175" y="207242"/>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75" name="Oval 2274">
                <a:extLst>
                  <a:ext uri="{FF2B5EF4-FFF2-40B4-BE49-F238E27FC236}">
                    <a16:creationId xmlns:a16="http://schemas.microsoft.com/office/drawing/2014/main" id="{67F91A3E-61B3-9DB2-75B8-AD396C9E416E}"/>
                  </a:ext>
                </a:extLst>
              </p:cNvPr>
              <p:cNvSpPr/>
              <p:nvPr/>
            </p:nvSpPr>
            <p:spPr>
              <a:xfrm rot="6666908">
                <a:off x="-1127111" y="751639"/>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76" name="Oval 2275">
                <a:extLst>
                  <a:ext uri="{FF2B5EF4-FFF2-40B4-BE49-F238E27FC236}">
                    <a16:creationId xmlns:a16="http://schemas.microsoft.com/office/drawing/2014/main" id="{F2C30E85-A3A0-ACC5-D632-2F4C6AF46B42}"/>
                  </a:ext>
                </a:extLst>
              </p:cNvPr>
              <p:cNvSpPr/>
              <p:nvPr/>
            </p:nvSpPr>
            <p:spPr>
              <a:xfrm rot="6666908">
                <a:off x="-1028213" y="987450"/>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77" name="Oval 2276">
                <a:extLst>
                  <a:ext uri="{FF2B5EF4-FFF2-40B4-BE49-F238E27FC236}">
                    <a16:creationId xmlns:a16="http://schemas.microsoft.com/office/drawing/2014/main" id="{71FF56C1-A897-4103-E28F-2F5124444C23}"/>
                  </a:ext>
                </a:extLst>
              </p:cNvPr>
              <p:cNvSpPr/>
              <p:nvPr/>
            </p:nvSpPr>
            <p:spPr>
              <a:xfrm rot="6666908">
                <a:off x="-896441" y="1062712"/>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78" name="Oval 2277">
                <a:extLst>
                  <a:ext uri="{FF2B5EF4-FFF2-40B4-BE49-F238E27FC236}">
                    <a16:creationId xmlns:a16="http://schemas.microsoft.com/office/drawing/2014/main" id="{925FB3AD-88F9-D4D2-B13D-4EC119A996BC}"/>
                  </a:ext>
                </a:extLst>
              </p:cNvPr>
              <p:cNvSpPr/>
              <p:nvPr/>
            </p:nvSpPr>
            <p:spPr>
              <a:xfrm rot="6666908">
                <a:off x="-919217" y="-1374329"/>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79" name="Oval 2278">
                <a:extLst>
                  <a:ext uri="{FF2B5EF4-FFF2-40B4-BE49-F238E27FC236}">
                    <a16:creationId xmlns:a16="http://schemas.microsoft.com/office/drawing/2014/main" id="{9B2EA59F-CDE9-0ACA-1BA2-C1D3EFB9D673}"/>
                  </a:ext>
                </a:extLst>
              </p:cNvPr>
              <p:cNvSpPr/>
              <p:nvPr/>
            </p:nvSpPr>
            <p:spPr>
              <a:xfrm rot="6666908">
                <a:off x="334633" y="-2387983"/>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80" name="Oval 2279">
                <a:extLst>
                  <a:ext uri="{FF2B5EF4-FFF2-40B4-BE49-F238E27FC236}">
                    <a16:creationId xmlns:a16="http://schemas.microsoft.com/office/drawing/2014/main" id="{58C6F0FE-CB7A-C012-299E-7299985FAE4F}"/>
                  </a:ext>
                </a:extLst>
              </p:cNvPr>
              <p:cNvSpPr/>
              <p:nvPr/>
            </p:nvSpPr>
            <p:spPr>
              <a:xfrm rot="6666908">
                <a:off x="515490" y="-2442841"/>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81" name="Oval 2280">
                <a:extLst>
                  <a:ext uri="{FF2B5EF4-FFF2-40B4-BE49-F238E27FC236}">
                    <a16:creationId xmlns:a16="http://schemas.microsoft.com/office/drawing/2014/main" id="{AAC17629-A1CD-409D-9A14-AE60FD535B90}"/>
                  </a:ext>
                </a:extLst>
              </p:cNvPr>
              <p:cNvSpPr/>
              <p:nvPr/>
            </p:nvSpPr>
            <p:spPr>
              <a:xfrm rot="6666908">
                <a:off x="1385759" y="-2161063"/>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82" name="Oval 2281">
                <a:extLst>
                  <a:ext uri="{FF2B5EF4-FFF2-40B4-BE49-F238E27FC236}">
                    <a16:creationId xmlns:a16="http://schemas.microsoft.com/office/drawing/2014/main" id="{C3B3573A-0BD1-89CC-CA80-21DCA2548E4B}"/>
                  </a:ext>
                </a:extLst>
              </p:cNvPr>
              <p:cNvSpPr/>
              <p:nvPr/>
            </p:nvSpPr>
            <p:spPr>
              <a:xfrm rot="6666908">
                <a:off x="1321755" y="-1693101"/>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83" name="Oval 2282">
                <a:extLst>
                  <a:ext uri="{FF2B5EF4-FFF2-40B4-BE49-F238E27FC236}">
                    <a16:creationId xmlns:a16="http://schemas.microsoft.com/office/drawing/2014/main" id="{47966C6A-BCF8-9671-17B4-D59A79D4C23B}"/>
                  </a:ext>
                </a:extLst>
              </p:cNvPr>
              <p:cNvSpPr/>
              <p:nvPr/>
            </p:nvSpPr>
            <p:spPr>
              <a:xfrm rot="6666908">
                <a:off x="1357277" y="-1871212"/>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84" name="Oval 2283">
                <a:extLst>
                  <a:ext uri="{FF2B5EF4-FFF2-40B4-BE49-F238E27FC236}">
                    <a16:creationId xmlns:a16="http://schemas.microsoft.com/office/drawing/2014/main" id="{76740D81-A8F1-1EB6-6778-32656B567D8D}"/>
                  </a:ext>
                </a:extLst>
              </p:cNvPr>
              <p:cNvSpPr/>
              <p:nvPr/>
            </p:nvSpPr>
            <p:spPr>
              <a:xfrm rot="6666908">
                <a:off x="1605905" y="-1310448"/>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85" name="Oval 2284">
                <a:extLst>
                  <a:ext uri="{FF2B5EF4-FFF2-40B4-BE49-F238E27FC236}">
                    <a16:creationId xmlns:a16="http://schemas.microsoft.com/office/drawing/2014/main" id="{AC9236CD-5785-7271-3058-3AE0D0C3FE91}"/>
                  </a:ext>
                </a:extLst>
              </p:cNvPr>
              <p:cNvSpPr/>
              <p:nvPr/>
            </p:nvSpPr>
            <p:spPr>
              <a:xfrm rot="6666908">
                <a:off x="1058248" y="-1337550"/>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86" name="Oval 2285">
                <a:extLst>
                  <a:ext uri="{FF2B5EF4-FFF2-40B4-BE49-F238E27FC236}">
                    <a16:creationId xmlns:a16="http://schemas.microsoft.com/office/drawing/2014/main" id="{7D74315B-88E2-BC49-B1F9-0CC51E7BE5F2}"/>
                  </a:ext>
                </a:extLst>
              </p:cNvPr>
              <p:cNvSpPr/>
              <p:nvPr/>
            </p:nvSpPr>
            <p:spPr>
              <a:xfrm rot="6666908">
                <a:off x="1834941" y="-801165"/>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87" name="Oval 2286">
                <a:extLst>
                  <a:ext uri="{FF2B5EF4-FFF2-40B4-BE49-F238E27FC236}">
                    <a16:creationId xmlns:a16="http://schemas.microsoft.com/office/drawing/2014/main" id="{2E241CF9-A13E-981F-3C82-AF260B76BB7C}"/>
                  </a:ext>
                </a:extLst>
              </p:cNvPr>
              <p:cNvSpPr/>
              <p:nvPr/>
            </p:nvSpPr>
            <p:spPr>
              <a:xfrm rot="6666908">
                <a:off x="1295240" y="-1927294"/>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88" name="Oval 2287">
                <a:extLst>
                  <a:ext uri="{FF2B5EF4-FFF2-40B4-BE49-F238E27FC236}">
                    <a16:creationId xmlns:a16="http://schemas.microsoft.com/office/drawing/2014/main" id="{EECB6090-DA1F-261D-9338-6727EC247EAE}"/>
                  </a:ext>
                </a:extLst>
              </p:cNvPr>
              <p:cNvSpPr/>
              <p:nvPr/>
            </p:nvSpPr>
            <p:spPr>
              <a:xfrm rot="6666908">
                <a:off x="2801382" y="-920052"/>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89" name="Oval 2288">
                <a:extLst>
                  <a:ext uri="{FF2B5EF4-FFF2-40B4-BE49-F238E27FC236}">
                    <a16:creationId xmlns:a16="http://schemas.microsoft.com/office/drawing/2014/main" id="{0A7FD8BC-89F7-0625-A02B-51CEBBEA096C}"/>
                  </a:ext>
                </a:extLst>
              </p:cNvPr>
              <p:cNvSpPr/>
              <p:nvPr/>
            </p:nvSpPr>
            <p:spPr>
              <a:xfrm rot="6666908">
                <a:off x="2836106" y="-1608698"/>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90" name="Oval 2289">
                <a:extLst>
                  <a:ext uri="{FF2B5EF4-FFF2-40B4-BE49-F238E27FC236}">
                    <a16:creationId xmlns:a16="http://schemas.microsoft.com/office/drawing/2014/main" id="{C95A3A8A-AAE7-642D-31CA-667CE5666685}"/>
                  </a:ext>
                </a:extLst>
              </p:cNvPr>
              <p:cNvSpPr/>
              <p:nvPr/>
            </p:nvSpPr>
            <p:spPr>
              <a:xfrm rot="6666908">
                <a:off x="3458403" y="-819053"/>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91" name="Oval 2290">
                <a:extLst>
                  <a:ext uri="{FF2B5EF4-FFF2-40B4-BE49-F238E27FC236}">
                    <a16:creationId xmlns:a16="http://schemas.microsoft.com/office/drawing/2014/main" id="{F19E5A9A-A085-4607-76F4-6B0BD740E9DF}"/>
                  </a:ext>
                </a:extLst>
              </p:cNvPr>
              <p:cNvSpPr/>
              <p:nvPr/>
            </p:nvSpPr>
            <p:spPr>
              <a:xfrm rot="6666908">
                <a:off x="2796106" y="-1873396"/>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92" name="Oval 2291">
                <a:extLst>
                  <a:ext uri="{FF2B5EF4-FFF2-40B4-BE49-F238E27FC236}">
                    <a16:creationId xmlns:a16="http://schemas.microsoft.com/office/drawing/2014/main" id="{E81B54A4-E0D0-2CB5-B117-77F68C5388F3}"/>
                  </a:ext>
                </a:extLst>
              </p:cNvPr>
              <p:cNvSpPr/>
              <p:nvPr/>
            </p:nvSpPr>
            <p:spPr>
              <a:xfrm rot="6666908">
                <a:off x="2417826" y="764130"/>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93" name="Oval 2292">
                <a:extLst>
                  <a:ext uri="{FF2B5EF4-FFF2-40B4-BE49-F238E27FC236}">
                    <a16:creationId xmlns:a16="http://schemas.microsoft.com/office/drawing/2014/main" id="{FAA64D83-B580-01C3-83D9-3F8DE8E4C13F}"/>
                  </a:ext>
                </a:extLst>
              </p:cNvPr>
              <p:cNvSpPr/>
              <p:nvPr/>
            </p:nvSpPr>
            <p:spPr>
              <a:xfrm rot="6666908">
                <a:off x="2718236" y="1754642"/>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94" name="Oval 2293">
                <a:extLst>
                  <a:ext uri="{FF2B5EF4-FFF2-40B4-BE49-F238E27FC236}">
                    <a16:creationId xmlns:a16="http://schemas.microsoft.com/office/drawing/2014/main" id="{297A18BB-B4CD-77C7-1099-D18C244F504E}"/>
                  </a:ext>
                </a:extLst>
              </p:cNvPr>
              <p:cNvSpPr/>
              <p:nvPr/>
            </p:nvSpPr>
            <p:spPr>
              <a:xfrm rot="6666908">
                <a:off x="2368740" y="2002969"/>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95" name="Oval 2294">
                <a:extLst>
                  <a:ext uri="{FF2B5EF4-FFF2-40B4-BE49-F238E27FC236}">
                    <a16:creationId xmlns:a16="http://schemas.microsoft.com/office/drawing/2014/main" id="{215AAD05-4371-B4C0-AC94-568D9B64A029}"/>
                  </a:ext>
                </a:extLst>
              </p:cNvPr>
              <p:cNvSpPr/>
              <p:nvPr/>
            </p:nvSpPr>
            <p:spPr>
              <a:xfrm rot="6666908">
                <a:off x="2946331" y="1325206"/>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296" name="Freeform: Shape 3367">
                <a:extLst>
                  <a:ext uri="{FF2B5EF4-FFF2-40B4-BE49-F238E27FC236}">
                    <a16:creationId xmlns:a16="http://schemas.microsoft.com/office/drawing/2014/main" id="{9EE6C878-325C-0CA5-C3F6-B58BBAC88949}"/>
                  </a:ext>
                </a:extLst>
              </p:cNvPr>
              <p:cNvSpPr/>
              <p:nvPr/>
            </p:nvSpPr>
            <p:spPr>
              <a:xfrm rot="6666908">
                <a:off x="1331788" y="1730951"/>
                <a:ext cx="44873" cy="44873"/>
              </a:xfrm>
              <a:prstGeom prst="ellipse">
                <a:avLst/>
              </a:prstGeom>
              <a:grpFill/>
              <a:ln w="19050" cap="rnd">
                <a:noFill/>
                <a:prstDash val="solid"/>
                <a:round/>
              </a:ln>
              <a:effectLst>
                <a:glow rad="127000">
                  <a:srgbClr val="8DC8E8">
                    <a:alpha val="5000"/>
                  </a:srgbClr>
                </a:glow>
              </a:effectLst>
              <a:scene3d>
                <a:camera prst="isometricOffAxis1Right">
                  <a:rot lat="0" lon="0" rev="0"/>
                </a:camera>
                <a:lightRig rig="flood" dir="t"/>
              </a:scene3d>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grpSp>
      </p:grpSp>
      <p:sp>
        <p:nvSpPr>
          <p:cNvPr id="2353" name="Rectangle: Rounded Corners 2352">
            <a:extLst>
              <a:ext uri="{FF2B5EF4-FFF2-40B4-BE49-F238E27FC236}">
                <a16:creationId xmlns:a16="http://schemas.microsoft.com/office/drawing/2014/main" id="{C209ACDA-AF72-0CEF-A48D-4FC13E7C42E5}"/>
              </a:ext>
              <a:ext uri="{C183D7F6-B498-43B3-948B-1728B52AA6E4}">
                <adec:decorative xmlns:adec="http://schemas.microsoft.com/office/drawing/2017/decorative" val="1"/>
              </a:ext>
            </a:extLst>
          </p:cNvPr>
          <p:cNvSpPr/>
          <p:nvPr/>
        </p:nvSpPr>
        <p:spPr bwMode="auto">
          <a:xfrm>
            <a:off x="2535230" y="1810750"/>
            <a:ext cx="7124586" cy="4480559"/>
          </a:xfrm>
          <a:prstGeom prst="roundRect">
            <a:avLst>
              <a:gd name="adj" fmla="val 3062"/>
            </a:avLst>
          </a:prstGeom>
          <a:solidFill>
            <a:srgbClr val="FFFFFF"/>
          </a:solidFill>
          <a:ln w="6350" cap="flat" cmpd="sng" algn="ctr">
            <a:solidFill>
              <a:srgbClr val="599FFD"/>
            </a:solidFill>
            <a:prstDash val="solid"/>
            <a:headEnd type="none" w="med" len="med"/>
            <a:tailEnd type="none" w="med" len="med"/>
          </a:ln>
          <a:effectLst>
            <a:innerShdw blurRad="1016000" dist="508000" dir="18600000">
              <a:srgbClr val="F5F6F2">
                <a:alpha val="60000"/>
              </a:srgbClr>
            </a:innerShdw>
          </a:effectLst>
        </p:spPr>
        <p:txBody>
          <a:bodyPr rot="0" spcFirstLastPara="0" vertOverflow="overflow" horzOverflow="overflow" vert="horz" wrap="square" lIns="0" tIns="13716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FFFFFF">
                    <a:alpha val="0"/>
                  </a:srgbClr>
                </a:solidFill>
                <a:effectLst/>
                <a:uLnTx/>
                <a:uFillTx/>
                <a:latin typeface="Segoe Sans Display"/>
                <a:ea typeface="+mn-ea"/>
                <a:cs typeface="Segoe UI" pitchFamily="34" charset="0"/>
              </a:rPr>
              <a:t>Identity and access management team</a:t>
            </a:r>
          </a:p>
        </p:txBody>
      </p:sp>
      <p:grpSp>
        <p:nvGrpSpPr>
          <p:cNvPr id="2354" name="Group 2353">
            <a:extLst>
              <a:ext uri="{FF2B5EF4-FFF2-40B4-BE49-F238E27FC236}">
                <a16:creationId xmlns:a16="http://schemas.microsoft.com/office/drawing/2014/main" id="{8859221B-F075-38ED-AF39-1E2E602ACFEF}"/>
              </a:ext>
              <a:ext uri="{C183D7F6-B498-43B3-948B-1728B52AA6E4}">
                <adec:decorative xmlns:adec="http://schemas.microsoft.com/office/drawing/2017/decorative" val="1"/>
              </a:ext>
            </a:extLst>
          </p:cNvPr>
          <p:cNvGrpSpPr/>
          <p:nvPr/>
        </p:nvGrpSpPr>
        <p:grpSpPr>
          <a:xfrm>
            <a:off x="5729404" y="4028274"/>
            <a:ext cx="721284" cy="721284"/>
            <a:chOff x="5735358" y="4865906"/>
            <a:chExt cx="721284" cy="721284"/>
          </a:xfrm>
          <a:noFill/>
        </p:grpSpPr>
        <p:grpSp>
          <p:nvGrpSpPr>
            <p:cNvPr id="2355" name="Group 2354">
              <a:extLst>
                <a:ext uri="{FF2B5EF4-FFF2-40B4-BE49-F238E27FC236}">
                  <a16:creationId xmlns:a16="http://schemas.microsoft.com/office/drawing/2014/main" id="{92DA14E9-6ADB-8C45-C0C9-5645BE8A7BB3}"/>
                </a:ext>
              </a:extLst>
            </p:cNvPr>
            <p:cNvGrpSpPr/>
            <p:nvPr/>
          </p:nvGrpSpPr>
          <p:grpSpPr>
            <a:xfrm>
              <a:off x="5735358" y="4865906"/>
              <a:ext cx="721284" cy="721284"/>
              <a:chOff x="6351735" y="3356388"/>
              <a:chExt cx="451805" cy="451805"/>
            </a:xfrm>
            <a:grpFill/>
          </p:grpSpPr>
          <p:sp>
            <p:nvSpPr>
              <p:cNvPr id="2357" name="Oval 2356">
                <a:extLst>
                  <a:ext uri="{FF2B5EF4-FFF2-40B4-BE49-F238E27FC236}">
                    <a16:creationId xmlns:a16="http://schemas.microsoft.com/office/drawing/2014/main" id="{C8F4F4C0-548C-40BC-E3F5-50F7779C88B5}"/>
                  </a:ext>
                </a:extLst>
              </p:cNvPr>
              <p:cNvSpPr/>
              <p:nvPr/>
            </p:nvSpPr>
            <p:spPr bwMode="auto">
              <a:xfrm>
                <a:off x="6351735" y="3356388"/>
                <a:ext cx="451805" cy="451805"/>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358" name="Oval 2357">
                <a:extLst>
                  <a:ext uri="{FF2B5EF4-FFF2-40B4-BE49-F238E27FC236}">
                    <a16:creationId xmlns:a16="http://schemas.microsoft.com/office/drawing/2014/main" id="{01D0041D-0DBF-1400-6883-060784CBF8BB}"/>
                  </a:ext>
                </a:extLst>
              </p:cNvPr>
              <p:cNvSpPr/>
              <p:nvPr/>
            </p:nvSpPr>
            <p:spPr bwMode="auto">
              <a:xfrm>
                <a:off x="6396037" y="3400692"/>
                <a:ext cx="363201" cy="363198"/>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Segoe Sans Display"/>
                  <a:ea typeface="+mn-ea"/>
                  <a:cs typeface="+mn-cs"/>
                </a:endParaRPr>
              </a:p>
            </p:txBody>
          </p:sp>
        </p:grpSp>
        <p:sp>
          <p:nvSpPr>
            <p:cNvPr id="2356" name="Graphic 38">
              <a:extLst>
                <a:ext uri="{FF2B5EF4-FFF2-40B4-BE49-F238E27FC236}">
                  <a16:creationId xmlns:a16="http://schemas.microsoft.com/office/drawing/2014/main" id="{12457538-9B20-9A18-0412-1B8B2017F2AF}"/>
                </a:ext>
              </a:extLst>
            </p:cNvPr>
            <p:cNvSpPr/>
            <p:nvPr/>
          </p:nvSpPr>
          <p:spPr>
            <a:xfrm>
              <a:off x="5943600" y="5089388"/>
              <a:ext cx="304800" cy="289560"/>
            </a:xfrm>
            <a:custGeom>
              <a:avLst/>
              <a:gdLst>
                <a:gd name="connsiteX0" fmla="*/ 194371 w 304800"/>
                <a:gd name="connsiteY0" fmla="*/ 106680 h 289560"/>
                <a:gd name="connsiteX1" fmla="*/ 221041 w 304800"/>
                <a:gd name="connsiteY1" fmla="*/ 133350 h 289560"/>
                <a:gd name="connsiteX2" fmla="*/ 221041 w 304800"/>
                <a:gd name="connsiteY2" fmla="*/ 182880 h 289560"/>
                <a:gd name="connsiteX3" fmla="*/ 220980 w 304800"/>
                <a:gd name="connsiteY3" fmla="*/ 182880 h 289560"/>
                <a:gd name="connsiteX4" fmla="*/ 220980 w 304800"/>
                <a:gd name="connsiteY4" fmla="*/ 186690 h 289560"/>
                <a:gd name="connsiteX5" fmla="*/ 209550 w 304800"/>
                <a:gd name="connsiteY5" fmla="*/ 198120 h 289560"/>
                <a:gd name="connsiteX6" fmla="*/ 198120 w 304800"/>
                <a:gd name="connsiteY6" fmla="*/ 186690 h 289560"/>
                <a:gd name="connsiteX7" fmla="*/ 198120 w 304800"/>
                <a:gd name="connsiteY7" fmla="*/ 152400 h 289560"/>
                <a:gd name="connsiteX8" fmla="*/ 198181 w 304800"/>
                <a:gd name="connsiteY8" fmla="*/ 152400 h 289560"/>
                <a:gd name="connsiteX9" fmla="*/ 198181 w 304800"/>
                <a:gd name="connsiteY9" fmla="*/ 133350 h 289560"/>
                <a:gd name="connsiteX10" fmla="*/ 194371 w 304800"/>
                <a:gd name="connsiteY10" fmla="*/ 129540 h 289560"/>
                <a:gd name="connsiteX11" fmla="*/ 110520 w 304800"/>
                <a:gd name="connsiteY11" fmla="*/ 129540 h 289560"/>
                <a:gd name="connsiteX12" fmla="*/ 106710 w 304800"/>
                <a:gd name="connsiteY12" fmla="*/ 133350 h 289560"/>
                <a:gd name="connsiteX13" fmla="*/ 106710 w 304800"/>
                <a:gd name="connsiteY13" fmla="*/ 182880 h 289560"/>
                <a:gd name="connsiteX14" fmla="*/ 106680 w 304800"/>
                <a:gd name="connsiteY14" fmla="*/ 182880 h 289560"/>
                <a:gd name="connsiteX15" fmla="*/ 106680 w 304800"/>
                <a:gd name="connsiteY15" fmla="*/ 186690 h 289560"/>
                <a:gd name="connsiteX16" fmla="*/ 95250 w 304800"/>
                <a:gd name="connsiteY16" fmla="*/ 198120 h 289560"/>
                <a:gd name="connsiteX17" fmla="*/ 83820 w 304800"/>
                <a:gd name="connsiteY17" fmla="*/ 186690 h 289560"/>
                <a:gd name="connsiteX18" fmla="*/ 83820 w 304800"/>
                <a:gd name="connsiteY18" fmla="*/ 152400 h 289560"/>
                <a:gd name="connsiteX19" fmla="*/ 83850 w 304800"/>
                <a:gd name="connsiteY19" fmla="*/ 152400 h 289560"/>
                <a:gd name="connsiteX20" fmla="*/ 83850 w 304800"/>
                <a:gd name="connsiteY20" fmla="*/ 133350 h 289560"/>
                <a:gd name="connsiteX21" fmla="*/ 110520 w 304800"/>
                <a:gd name="connsiteY21" fmla="*/ 106680 h 289560"/>
                <a:gd name="connsiteX22" fmla="*/ 194371 w 304800"/>
                <a:gd name="connsiteY22" fmla="*/ 106680 h 289560"/>
                <a:gd name="connsiteX23" fmla="*/ 281940 w 304800"/>
                <a:gd name="connsiteY23" fmla="*/ 133350 h 289560"/>
                <a:gd name="connsiteX24" fmla="*/ 281940 w 304800"/>
                <a:gd name="connsiteY24" fmla="*/ 186690 h 289560"/>
                <a:gd name="connsiteX25" fmla="*/ 293370 w 304800"/>
                <a:gd name="connsiteY25" fmla="*/ 198120 h 289560"/>
                <a:gd name="connsiteX26" fmla="*/ 304800 w 304800"/>
                <a:gd name="connsiteY26" fmla="*/ 186690 h 289560"/>
                <a:gd name="connsiteX27" fmla="*/ 304800 w 304800"/>
                <a:gd name="connsiteY27" fmla="*/ 133350 h 289560"/>
                <a:gd name="connsiteX28" fmla="*/ 278130 w 304800"/>
                <a:gd name="connsiteY28" fmla="*/ 106680 h 289560"/>
                <a:gd name="connsiteX29" fmla="*/ 226695 w 304800"/>
                <a:gd name="connsiteY29" fmla="*/ 106680 h 289560"/>
                <a:gd name="connsiteX30" fmla="*/ 236113 w 304800"/>
                <a:gd name="connsiteY30" fmla="*/ 129540 h 289560"/>
                <a:gd name="connsiteX31" fmla="*/ 278130 w 304800"/>
                <a:gd name="connsiteY31" fmla="*/ 129540 h 289560"/>
                <a:gd name="connsiteX32" fmla="*/ 281940 w 304800"/>
                <a:gd name="connsiteY32" fmla="*/ 133350 h 289560"/>
                <a:gd name="connsiteX33" fmla="*/ 0 w 304800"/>
                <a:gd name="connsiteY33" fmla="*/ 186690 h 289560"/>
                <a:gd name="connsiteX34" fmla="*/ 11430 w 304800"/>
                <a:gd name="connsiteY34" fmla="*/ 198120 h 289560"/>
                <a:gd name="connsiteX35" fmla="*/ 22860 w 304800"/>
                <a:gd name="connsiteY35" fmla="*/ 186690 h 289560"/>
                <a:gd name="connsiteX36" fmla="*/ 22860 w 304800"/>
                <a:gd name="connsiteY36" fmla="*/ 133350 h 289560"/>
                <a:gd name="connsiteX37" fmla="*/ 26670 w 304800"/>
                <a:gd name="connsiteY37" fmla="*/ 129540 h 289560"/>
                <a:gd name="connsiteX38" fmla="*/ 68778 w 304800"/>
                <a:gd name="connsiteY38" fmla="*/ 129540 h 289560"/>
                <a:gd name="connsiteX39" fmla="*/ 78196 w 304800"/>
                <a:gd name="connsiteY39" fmla="*/ 106680 h 289560"/>
                <a:gd name="connsiteX40" fmla="*/ 26670 w 304800"/>
                <a:gd name="connsiteY40" fmla="*/ 106680 h 289560"/>
                <a:gd name="connsiteX41" fmla="*/ 0 w 304800"/>
                <a:gd name="connsiteY41" fmla="*/ 133350 h 289560"/>
                <a:gd name="connsiteX42" fmla="*/ 0 w 304800"/>
                <a:gd name="connsiteY42" fmla="*/ 186690 h 289560"/>
                <a:gd name="connsiteX43" fmla="*/ 152400 w 304800"/>
                <a:gd name="connsiteY43" fmla="*/ 0 h 289560"/>
                <a:gd name="connsiteX44" fmla="*/ 198120 w 304800"/>
                <a:gd name="connsiteY44" fmla="*/ 45720 h 289560"/>
                <a:gd name="connsiteX45" fmla="*/ 152400 w 304800"/>
                <a:gd name="connsiteY45" fmla="*/ 91440 h 289560"/>
                <a:gd name="connsiteX46" fmla="*/ 106680 w 304800"/>
                <a:gd name="connsiteY46" fmla="*/ 45720 h 289560"/>
                <a:gd name="connsiteX47" fmla="*/ 152400 w 304800"/>
                <a:gd name="connsiteY47" fmla="*/ 0 h 289560"/>
                <a:gd name="connsiteX48" fmla="*/ 152400 w 304800"/>
                <a:gd name="connsiteY48" fmla="*/ 22860 h 289560"/>
                <a:gd name="connsiteX49" fmla="*/ 129540 w 304800"/>
                <a:gd name="connsiteY49" fmla="*/ 45720 h 289560"/>
                <a:gd name="connsiteX50" fmla="*/ 152400 w 304800"/>
                <a:gd name="connsiteY50" fmla="*/ 68580 h 289560"/>
                <a:gd name="connsiteX51" fmla="*/ 175260 w 304800"/>
                <a:gd name="connsiteY51" fmla="*/ 45720 h 289560"/>
                <a:gd name="connsiteX52" fmla="*/ 152400 w 304800"/>
                <a:gd name="connsiteY52" fmla="*/ 22860 h 289560"/>
                <a:gd name="connsiteX53" fmla="*/ 251460 w 304800"/>
                <a:gd name="connsiteY53" fmla="*/ 15240 h 289560"/>
                <a:gd name="connsiteX54" fmla="*/ 289560 w 304800"/>
                <a:gd name="connsiteY54" fmla="*/ 53340 h 289560"/>
                <a:gd name="connsiteX55" fmla="*/ 251460 w 304800"/>
                <a:gd name="connsiteY55" fmla="*/ 91440 h 289560"/>
                <a:gd name="connsiteX56" fmla="*/ 213360 w 304800"/>
                <a:gd name="connsiteY56" fmla="*/ 53340 h 289560"/>
                <a:gd name="connsiteX57" fmla="*/ 251460 w 304800"/>
                <a:gd name="connsiteY57" fmla="*/ 15240 h 289560"/>
                <a:gd name="connsiteX58" fmla="*/ 251460 w 304800"/>
                <a:gd name="connsiteY58" fmla="*/ 38100 h 289560"/>
                <a:gd name="connsiteX59" fmla="*/ 236220 w 304800"/>
                <a:gd name="connsiteY59" fmla="*/ 53340 h 289560"/>
                <a:gd name="connsiteX60" fmla="*/ 251460 w 304800"/>
                <a:gd name="connsiteY60" fmla="*/ 68580 h 289560"/>
                <a:gd name="connsiteX61" fmla="*/ 266700 w 304800"/>
                <a:gd name="connsiteY61" fmla="*/ 53340 h 289560"/>
                <a:gd name="connsiteX62" fmla="*/ 251460 w 304800"/>
                <a:gd name="connsiteY62" fmla="*/ 38100 h 289560"/>
                <a:gd name="connsiteX63" fmla="*/ 53340 w 304800"/>
                <a:gd name="connsiteY63" fmla="*/ 15240 h 289560"/>
                <a:gd name="connsiteX64" fmla="*/ 91440 w 304800"/>
                <a:gd name="connsiteY64" fmla="*/ 53340 h 289560"/>
                <a:gd name="connsiteX65" fmla="*/ 53340 w 304800"/>
                <a:gd name="connsiteY65" fmla="*/ 91440 h 289560"/>
                <a:gd name="connsiteX66" fmla="*/ 15240 w 304800"/>
                <a:gd name="connsiteY66" fmla="*/ 53340 h 289560"/>
                <a:gd name="connsiteX67" fmla="*/ 53340 w 304800"/>
                <a:gd name="connsiteY67" fmla="*/ 15240 h 289560"/>
                <a:gd name="connsiteX68" fmla="*/ 53340 w 304800"/>
                <a:gd name="connsiteY68" fmla="*/ 38100 h 289560"/>
                <a:gd name="connsiteX69" fmla="*/ 38100 w 304800"/>
                <a:gd name="connsiteY69" fmla="*/ 53340 h 289560"/>
                <a:gd name="connsiteX70" fmla="*/ 53340 w 304800"/>
                <a:gd name="connsiteY70" fmla="*/ 68580 h 289560"/>
                <a:gd name="connsiteX71" fmla="*/ 68580 w 304800"/>
                <a:gd name="connsiteY71" fmla="*/ 53340 h 289560"/>
                <a:gd name="connsiteX72" fmla="*/ 53340 w 304800"/>
                <a:gd name="connsiteY72" fmla="*/ 38100 h 289560"/>
                <a:gd name="connsiteX73" fmla="*/ 11430 w 304800"/>
                <a:gd name="connsiteY73" fmla="*/ 213360 h 289560"/>
                <a:gd name="connsiteX74" fmla="*/ 0 w 304800"/>
                <a:gd name="connsiteY74" fmla="*/ 224790 h 289560"/>
                <a:gd name="connsiteX75" fmla="*/ 0 w 304800"/>
                <a:gd name="connsiteY75" fmla="*/ 232410 h 289560"/>
                <a:gd name="connsiteX76" fmla="*/ 57150 w 304800"/>
                <a:gd name="connsiteY76" fmla="*/ 289560 h 289560"/>
                <a:gd name="connsiteX77" fmla="*/ 247650 w 304800"/>
                <a:gd name="connsiteY77" fmla="*/ 289560 h 289560"/>
                <a:gd name="connsiteX78" fmla="*/ 304800 w 304800"/>
                <a:gd name="connsiteY78" fmla="*/ 232410 h 289560"/>
                <a:gd name="connsiteX79" fmla="*/ 304800 w 304800"/>
                <a:gd name="connsiteY79" fmla="*/ 224790 h 289560"/>
                <a:gd name="connsiteX80" fmla="*/ 293370 w 304800"/>
                <a:gd name="connsiteY80" fmla="*/ 213360 h 289560"/>
                <a:gd name="connsiteX81" fmla="*/ 11430 w 304800"/>
                <a:gd name="connsiteY81" fmla="*/ 213360 h 289560"/>
                <a:gd name="connsiteX82" fmla="*/ 57150 w 304800"/>
                <a:gd name="connsiteY82" fmla="*/ 266700 h 289560"/>
                <a:gd name="connsiteX83" fmla="*/ 23073 w 304800"/>
                <a:gd name="connsiteY83" fmla="*/ 236220 h 289560"/>
                <a:gd name="connsiteX84" fmla="*/ 281727 w 304800"/>
                <a:gd name="connsiteY84" fmla="*/ 236220 h 289560"/>
                <a:gd name="connsiteX85" fmla="*/ 247650 w 304800"/>
                <a:gd name="connsiteY85" fmla="*/ 266700 h 289560"/>
                <a:gd name="connsiteX86" fmla="*/ 57150 w 304800"/>
                <a:gd name="connsiteY86" fmla="*/ 266700 h 289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04800" h="289560">
                  <a:moveTo>
                    <a:pt x="194371" y="106680"/>
                  </a:moveTo>
                  <a:cubicBezTo>
                    <a:pt x="209093" y="106680"/>
                    <a:pt x="221041" y="118628"/>
                    <a:pt x="221041" y="133350"/>
                  </a:cubicBezTo>
                  <a:lnTo>
                    <a:pt x="221041" y="182880"/>
                  </a:lnTo>
                  <a:lnTo>
                    <a:pt x="220980" y="182880"/>
                  </a:lnTo>
                  <a:lnTo>
                    <a:pt x="220980" y="186690"/>
                  </a:lnTo>
                  <a:cubicBezTo>
                    <a:pt x="220980" y="193002"/>
                    <a:pt x="215862" y="198120"/>
                    <a:pt x="209550" y="198120"/>
                  </a:cubicBezTo>
                  <a:cubicBezTo>
                    <a:pt x="203238" y="198120"/>
                    <a:pt x="198120" y="193002"/>
                    <a:pt x="198120" y="186690"/>
                  </a:cubicBezTo>
                  <a:lnTo>
                    <a:pt x="198120" y="152400"/>
                  </a:lnTo>
                  <a:lnTo>
                    <a:pt x="198181" y="152400"/>
                  </a:lnTo>
                  <a:lnTo>
                    <a:pt x="198181" y="133350"/>
                  </a:lnTo>
                  <a:cubicBezTo>
                    <a:pt x="198181" y="131245"/>
                    <a:pt x="196476" y="129540"/>
                    <a:pt x="194371" y="129540"/>
                  </a:cubicBezTo>
                  <a:lnTo>
                    <a:pt x="110520" y="129540"/>
                  </a:lnTo>
                  <a:cubicBezTo>
                    <a:pt x="108416" y="129540"/>
                    <a:pt x="106710" y="131245"/>
                    <a:pt x="106710" y="133350"/>
                  </a:cubicBezTo>
                  <a:lnTo>
                    <a:pt x="106710" y="182880"/>
                  </a:lnTo>
                  <a:lnTo>
                    <a:pt x="106680" y="182880"/>
                  </a:lnTo>
                  <a:lnTo>
                    <a:pt x="106680" y="186690"/>
                  </a:lnTo>
                  <a:cubicBezTo>
                    <a:pt x="106680" y="193002"/>
                    <a:pt x="101563" y="198120"/>
                    <a:pt x="95250" y="198120"/>
                  </a:cubicBezTo>
                  <a:cubicBezTo>
                    <a:pt x="88937" y="198120"/>
                    <a:pt x="83820" y="193002"/>
                    <a:pt x="83820" y="186690"/>
                  </a:cubicBezTo>
                  <a:lnTo>
                    <a:pt x="83820" y="152400"/>
                  </a:lnTo>
                  <a:lnTo>
                    <a:pt x="83850" y="152400"/>
                  </a:lnTo>
                  <a:lnTo>
                    <a:pt x="83850" y="133350"/>
                  </a:lnTo>
                  <a:cubicBezTo>
                    <a:pt x="83850" y="118628"/>
                    <a:pt x="95783" y="106680"/>
                    <a:pt x="110520" y="106680"/>
                  </a:cubicBezTo>
                  <a:lnTo>
                    <a:pt x="194371" y="106680"/>
                  </a:lnTo>
                  <a:close/>
                  <a:moveTo>
                    <a:pt x="281940" y="133350"/>
                  </a:moveTo>
                  <a:lnTo>
                    <a:pt x="281940" y="186690"/>
                  </a:lnTo>
                  <a:cubicBezTo>
                    <a:pt x="281940" y="193002"/>
                    <a:pt x="287058" y="198120"/>
                    <a:pt x="293370" y="198120"/>
                  </a:cubicBezTo>
                  <a:cubicBezTo>
                    <a:pt x="299682" y="198120"/>
                    <a:pt x="304800" y="193002"/>
                    <a:pt x="304800" y="186690"/>
                  </a:cubicBezTo>
                  <a:lnTo>
                    <a:pt x="304800" y="133350"/>
                  </a:lnTo>
                  <a:cubicBezTo>
                    <a:pt x="304800" y="118621"/>
                    <a:pt x="292859" y="106680"/>
                    <a:pt x="278130" y="106680"/>
                  </a:cubicBezTo>
                  <a:lnTo>
                    <a:pt x="226695" y="106680"/>
                  </a:lnTo>
                  <a:cubicBezTo>
                    <a:pt x="231922" y="113005"/>
                    <a:pt x="235336" y="120884"/>
                    <a:pt x="236113" y="129540"/>
                  </a:cubicBezTo>
                  <a:lnTo>
                    <a:pt x="278130" y="129540"/>
                  </a:lnTo>
                  <a:cubicBezTo>
                    <a:pt x="280235" y="129540"/>
                    <a:pt x="281940" y="131245"/>
                    <a:pt x="281940" y="133350"/>
                  </a:cubicBezTo>
                  <a:close/>
                  <a:moveTo>
                    <a:pt x="0" y="186690"/>
                  </a:moveTo>
                  <a:cubicBezTo>
                    <a:pt x="0" y="193002"/>
                    <a:pt x="5117" y="198120"/>
                    <a:pt x="11430" y="198120"/>
                  </a:cubicBezTo>
                  <a:cubicBezTo>
                    <a:pt x="17743" y="198120"/>
                    <a:pt x="22860" y="193002"/>
                    <a:pt x="22860" y="186690"/>
                  </a:cubicBezTo>
                  <a:lnTo>
                    <a:pt x="22860" y="133350"/>
                  </a:lnTo>
                  <a:cubicBezTo>
                    <a:pt x="22860" y="131245"/>
                    <a:pt x="24566" y="129540"/>
                    <a:pt x="26670" y="129540"/>
                  </a:cubicBezTo>
                  <a:lnTo>
                    <a:pt x="68778" y="129540"/>
                  </a:lnTo>
                  <a:cubicBezTo>
                    <a:pt x="69536" y="121143"/>
                    <a:pt x="72820" y="113174"/>
                    <a:pt x="78196" y="106680"/>
                  </a:cubicBezTo>
                  <a:lnTo>
                    <a:pt x="26670" y="106680"/>
                  </a:lnTo>
                  <a:cubicBezTo>
                    <a:pt x="11941" y="106680"/>
                    <a:pt x="0" y="118621"/>
                    <a:pt x="0" y="133350"/>
                  </a:cubicBezTo>
                  <a:lnTo>
                    <a:pt x="0" y="186690"/>
                  </a:lnTo>
                  <a:close/>
                  <a:moveTo>
                    <a:pt x="152400" y="0"/>
                  </a:moveTo>
                  <a:cubicBezTo>
                    <a:pt x="177651" y="0"/>
                    <a:pt x="198120" y="20470"/>
                    <a:pt x="198120" y="45720"/>
                  </a:cubicBezTo>
                  <a:cubicBezTo>
                    <a:pt x="198120" y="70970"/>
                    <a:pt x="177651" y="91440"/>
                    <a:pt x="152400" y="91440"/>
                  </a:cubicBezTo>
                  <a:cubicBezTo>
                    <a:pt x="127149" y="91440"/>
                    <a:pt x="106680" y="70970"/>
                    <a:pt x="106680" y="45720"/>
                  </a:cubicBezTo>
                  <a:cubicBezTo>
                    <a:pt x="106680" y="20470"/>
                    <a:pt x="127149" y="0"/>
                    <a:pt x="152400" y="0"/>
                  </a:cubicBezTo>
                  <a:close/>
                  <a:moveTo>
                    <a:pt x="152400" y="22860"/>
                  </a:moveTo>
                  <a:cubicBezTo>
                    <a:pt x="139775" y="22860"/>
                    <a:pt x="129540" y="33095"/>
                    <a:pt x="129540" y="45720"/>
                  </a:cubicBezTo>
                  <a:cubicBezTo>
                    <a:pt x="129540" y="58345"/>
                    <a:pt x="139775" y="68580"/>
                    <a:pt x="152400" y="68580"/>
                  </a:cubicBezTo>
                  <a:cubicBezTo>
                    <a:pt x="165025" y="68580"/>
                    <a:pt x="175260" y="58345"/>
                    <a:pt x="175260" y="45720"/>
                  </a:cubicBezTo>
                  <a:cubicBezTo>
                    <a:pt x="175260" y="33095"/>
                    <a:pt x="165025" y="22860"/>
                    <a:pt x="152400" y="22860"/>
                  </a:cubicBezTo>
                  <a:close/>
                  <a:moveTo>
                    <a:pt x="251460" y="15240"/>
                  </a:moveTo>
                  <a:cubicBezTo>
                    <a:pt x="272502" y="15240"/>
                    <a:pt x="289560" y="32298"/>
                    <a:pt x="289560" y="53340"/>
                  </a:cubicBezTo>
                  <a:cubicBezTo>
                    <a:pt x="289560" y="74382"/>
                    <a:pt x="272502" y="91440"/>
                    <a:pt x="251460" y="91440"/>
                  </a:cubicBezTo>
                  <a:cubicBezTo>
                    <a:pt x="230418" y="91440"/>
                    <a:pt x="213360" y="74382"/>
                    <a:pt x="213360" y="53340"/>
                  </a:cubicBezTo>
                  <a:cubicBezTo>
                    <a:pt x="213360" y="32298"/>
                    <a:pt x="230418" y="15240"/>
                    <a:pt x="251460" y="15240"/>
                  </a:cubicBezTo>
                  <a:close/>
                  <a:moveTo>
                    <a:pt x="251460" y="38100"/>
                  </a:moveTo>
                  <a:cubicBezTo>
                    <a:pt x="243043" y="38100"/>
                    <a:pt x="236220" y="44923"/>
                    <a:pt x="236220" y="53340"/>
                  </a:cubicBezTo>
                  <a:cubicBezTo>
                    <a:pt x="236220" y="61757"/>
                    <a:pt x="243043" y="68580"/>
                    <a:pt x="251460" y="68580"/>
                  </a:cubicBezTo>
                  <a:cubicBezTo>
                    <a:pt x="259877" y="68580"/>
                    <a:pt x="266700" y="61757"/>
                    <a:pt x="266700" y="53340"/>
                  </a:cubicBezTo>
                  <a:cubicBezTo>
                    <a:pt x="266700" y="44923"/>
                    <a:pt x="259877" y="38100"/>
                    <a:pt x="251460" y="38100"/>
                  </a:cubicBezTo>
                  <a:close/>
                  <a:moveTo>
                    <a:pt x="53340" y="15240"/>
                  </a:moveTo>
                  <a:cubicBezTo>
                    <a:pt x="74382" y="15240"/>
                    <a:pt x="91440" y="32298"/>
                    <a:pt x="91440" y="53340"/>
                  </a:cubicBezTo>
                  <a:cubicBezTo>
                    <a:pt x="91440" y="74382"/>
                    <a:pt x="74382" y="91440"/>
                    <a:pt x="53340" y="91440"/>
                  </a:cubicBezTo>
                  <a:cubicBezTo>
                    <a:pt x="32298" y="91440"/>
                    <a:pt x="15240" y="74382"/>
                    <a:pt x="15240" y="53340"/>
                  </a:cubicBezTo>
                  <a:cubicBezTo>
                    <a:pt x="15240" y="32298"/>
                    <a:pt x="32298" y="15240"/>
                    <a:pt x="53340" y="15240"/>
                  </a:cubicBezTo>
                  <a:close/>
                  <a:moveTo>
                    <a:pt x="53340" y="38100"/>
                  </a:moveTo>
                  <a:cubicBezTo>
                    <a:pt x="44923" y="38100"/>
                    <a:pt x="38100" y="44923"/>
                    <a:pt x="38100" y="53340"/>
                  </a:cubicBezTo>
                  <a:cubicBezTo>
                    <a:pt x="38100" y="61757"/>
                    <a:pt x="44923" y="68580"/>
                    <a:pt x="53340" y="68580"/>
                  </a:cubicBezTo>
                  <a:cubicBezTo>
                    <a:pt x="61757" y="68580"/>
                    <a:pt x="68580" y="61757"/>
                    <a:pt x="68580" y="53340"/>
                  </a:cubicBezTo>
                  <a:cubicBezTo>
                    <a:pt x="68580" y="44923"/>
                    <a:pt x="61757" y="38100"/>
                    <a:pt x="53340" y="38100"/>
                  </a:cubicBezTo>
                  <a:close/>
                  <a:moveTo>
                    <a:pt x="11430" y="213360"/>
                  </a:moveTo>
                  <a:cubicBezTo>
                    <a:pt x="5117" y="213360"/>
                    <a:pt x="0" y="218478"/>
                    <a:pt x="0" y="224790"/>
                  </a:cubicBezTo>
                  <a:lnTo>
                    <a:pt x="0" y="232410"/>
                  </a:lnTo>
                  <a:cubicBezTo>
                    <a:pt x="0" y="263974"/>
                    <a:pt x="25587" y="289560"/>
                    <a:pt x="57150" y="289560"/>
                  </a:cubicBezTo>
                  <a:lnTo>
                    <a:pt x="247650" y="289560"/>
                  </a:lnTo>
                  <a:cubicBezTo>
                    <a:pt x="279214" y="289560"/>
                    <a:pt x="304800" y="263974"/>
                    <a:pt x="304800" y="232410"/>
                  </a:cubicBezTo>
                  <a:lnTo>
                    <a:pt x="304800" y="224790"/>
                  </a:lnTo>
                  <a:cubicBezTo>
                    <a:pt x="304800" y="218478"/>
                    <a:pt x="299682" y="213360"/>
                    <a:pt x="293370" y="213360"/>
                  </a:cubicBezTo>
                  <a:lnTo>
                    <a:pt x="11430" y="213360"/>
                  </a:lnTo>
                  <a:close/>
                  <a:moveTo>
                    <a:pt x="57150" y="266700"/>
                  </a:moveTo>
                  <a:cubicBezTo>
                    <a:pt x="39687" y="266700"/>
                    <a:pt x="25014" y="253575"/>
                    <a:pt x="23073" y="236220"/>
                  </a:cubicBezTo>
                  <a:lnTo>
                    <a:pt x="281727" y="236220"/>
                  </a:lnTo>
                  <a:cubicBezTo>
                    <a:pt x="279787" y="253575"/>
                    <a:pt x="265114" y="266700"/>
                    <a:pt x="247650" y="266700"/>
                  </a:cubicBezTo>
                  <a:lnTo>
                    <a:pt x="57150" y="266700"/>
                  </a:lnTo>
                  <a:close/>
                </a:path>
              </a:pathLst>
            </a:custGeom>
            <a:grp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Display"/>
                <a:ea typeface="+mn-ea"/>
                <a:cs typeface="+mn-cs"/>
              </a:endParaRPr>
            </a:p>
          </p:txBody>
        </p:sp>
      </p:grpSp>
      <p:grpSp>
        <p:nvGrpSpPr>
          <p:cNvPr id="2359" name="Group 2358">
            <a:extLst>
              <a:ext uri="{FF2B5EF4-FFF2-40B4-BE49-F238E27FC236}">
                <a16:creationId xmlns:a16="http://schemas.microsoft.com/office/drawing/2014/main" id="{20677738-C642-8D2A-76FC-0A8DAD8B9A91}"/>
              </a:ext>
              <a:ext uri="{C183D7F6-B498-43B3-948B-1728B52AA6E4}">
                <adec:decorative xmlns:adec="http://schemas.microsoft.com/office/drawing/2017/decorative" val="1"/>
              </a:ext>
            </a:extLst>
          </p:cNvPr>
          <p:cNvGrpSpPr/>
          <p:nvPr/>
        </p:nvGrpSpPr>
        <p:grpSpPr>
          <a:xfrm>
            <a:off x="5729404" y="4028274"/>
            <a:ext cx="721284" cy="721284"/>
            <a:chOff x="5735361" y="2642371"/>
            <a:chExt cx="721284" cy="721284"/>
          </a:xfrm>
          <a:noFill/>
        </p:grpSpPr>
        <p:grpSp>
          <p:nvGrpSpPr>
            <p:cNvPr id="2360" name="Group 2359">
              <a:extLst>
                <a:ext uri="{FF2B5EF4-FFF2-40B4-BE49-F238E27FC236}">
                  <a16:creationId xmlns:a16="http://schemas.microsoft.com/office/drawing/2014/main" id="{EB7F0B2F-8E30-6756-E2FC-512BE1349364}"/>
                </a:ext>
              </a:extLst>
            </p:cNvPr>
            <p:cNvGrpSpPr/>
            <p:nvPr/>
          </p:nvGrpSpPr>
          <p:grpSpPr>
            <a:xfrm>
              <a:off x="5735361" y="2642371"/>
              <a:ext cx="721284" cy="721284"/>
              <a:chOff x="6351737" y="3356390"/>
              <a:chExt cx="451805" cy="451805"/>
            </a:xfrm>
            <a:grpFill/>
          </p:grpSpPr>
          <p:sp>
            <p:nvSpPr>
              <p:cNvPr id="2362" name="Oval 2361">
                <a:extLst>
                  <a:ext uri="{FF2B5EF4-FFF2-40B4-BE49-F238E27FC236}">
                    <a16:creationId xmlns:a16="http://schemas.microsoft.com/office/drawing/2014/main" id="{0B7C3CAC-DDD6-A51D-7DAD-D35367673DC6}"/>
                  </a:ext>
                </a:extLst>
              </p:cNvPr>
              <p:cNvSpPr/>
              <p:nvPr/>
            </p:nvSpPr>
            <p:spPr bwMode="auto">
              <a:xfrm>
                <a:off x="6351737" y="3356390"/>
                <a:ext cx="451805" cy="451805"/>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363" name="Oval 2362">
                <a:extLst>
                  <a:ext uri="{FF2B5EF4-FFF2-40B4-BE49-F238E27FC236}">
                    <a16:creationId xmlns:a16="http://schemas.microsoft.com/office/drawing/2014/main" id="{D1ED70D4-3892-F450-36DB-8ABAF83C0EAE}"/>
                  </a:ext>
                </a:extLst>
              </p:cNvPr>
              <p:cNvSpPr/>
              <p:nvPr/>
            </p:nvSpPr>
            <p:spPr bwMode="auto">
              <a:xfrm>
                <a:off x="6396037" y="3400692"/>
                <a:ext cx="363201" cy="363198"/>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Segoe Sans Display"/>
                  <a:ea typeface="+mn-ea"/>
                  <a:cs typeface="+mn-cs"/>
                </a:endParaRPr>
              </a:p>
            </p:txBody>
          </p:sp>
        </p:grpSp>
        <p:pic>
          <p:nvPicPr>
            <p:cNvPr id="2361" name="Graphic 2360">
              <a:extLst>
                <a:ext uri="{FF2B5EF4-FFF2-40B4-BE49-F238E27FC236}">
                  <a16:creationId xmlns:a16="http://schemas.microsoft.com/office/drawing/2014/main" id="{17CF43AB-4A24-A0E4-E6CB-0067913A56F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913123" y="2820133"/>
              <a:ext cx="365760" cy="365760"/>
            </a:xfrm>
            <a:prstGeom prst="rect">
              <a:avLst/>
            </a:prstGeom>
          </p:spPr>
        </p:pic>
      </p:grpSp>
      <p:sp>
        <p:nvSpPr>
          <p:cNvPr id="2544" name="Rectangle: Rounded Corners 2543">
            <a:extLst>
              <a:ext uri="{FF2B5EF4-FFF2-40B4-BE49-F238E27FC236}">
                <a16:creationId xmlns:a16="http://schemas.microsoft.com/office/drawing/2014/main" id="{BC41A56B-7E38-7C19-4A6D-1D41CCDF293F}"/>
              </a:ext>
              <a:ext uri="{C183D7F6-B498-43B3-948B-1728B52AA6E4}">
                <adec:decorative xmlns:adec="http://schemas.microsoft.com/office/drawing/2017/decorative" val="1"/>
              </a:ext>
            </a:extLst>
          </p:cNvPr>
          <p:cNvSpPr>
            <a:spLocks/>
          </p:cNvSpPr>
          <p:nvPr/>
        </p:nvSpPr>
        <p:spPr bwMode="auto">
          <a:xfrm rot="16200000">
            <a:off x="-783337" y="3182350"/>
            <a:ext cx="4480560" cy="1737360"/>
          </a:xfrm>
          <a:prstGeom prst="roundRect">
            <a:avLst>
              <a:gd name="adj" fmla="val 9490"/>
            </a:avLst>
          </a:prstGeom>
          <a:solidFill>
            <a:srgbClr val="FFFFFF"/>
          </a:solidFill>
          <a:ln w="9525" cap="flat" cmpd="sng" algn="ctr">
            <a:noFill/>
            <a:prstDash val="solid"/>
            <a:headEnd type="none" w="med" len="med"/>
            <a:tailEnd type="none" w="med" len="med"/>
          </a:ln>
          <a:effectLst>
            <a:innerShdw blurRad="508000" dist="63500" dir="16200000">
              <a:srgbClr val="B1B3B3">
                <a:alpha val="25000"/>
              </a:srgbClr>
            </a:inn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Sans Display"/>
              <a:ea typeface="+mn-ea"/>
              <a:cs typeface="Segoe UI" pitchFamily="34" charset="0"/>
            </a:endParaRPr>
          </a:p>
        </p:txBody>
      </p:sp>
      <p:sp>
        <p:nvSpPr>
          <p:cNvPr id="11" name="Title 10">
            <a:extLst>
              <a:ext uri="{FF2B5EF4-FFF2-40B4-BE49-F238E27FC236}">
                <a16:creationId xmlns:a16="http://schemas.microsoft.com/office/drawing/2014/main" id="{32A905A9-8C01-2698-1FE9-D1AAD9AD7F5F}"/>
              </a:ext>
            </a:extLst>
          </p:cNvPr>
          <p:cNvSpPr>
            <a:spLocks noGrp="1"/>
          </p:cNvSpPr>
          <p:nvPr>
            <p:ph type="title" idx="4294967295"/>
          </p:nvPr>
        </p:nvSpPr>
        <p:spPr>
          <a:xfrm>
            <a:off x="472126" y="437735"/>
            <a:ext cx="11017250" cy="554038"/>
          </a:xfrm>
        </p:spPr>
        <p:txBody>
          <a:bodyPr>
            <a:normAutofit/>
          </a:bodyPr>
          <a:lstStyle/>
          <a:p>
            <a:pPr algn="ctr"/>
            <a:r>
              <a:rPr lang="en-US" sz="3200" dirty="0">
                <a:latin typeface="Segoe Sans Display Semibold" pitchFamily="2" charset="0"/>
                <a:cs typeface="Segoe Sans Display Semibold" pitchFamily="2" charset="0"/>
              </a:rPr>
              <a:t>Addressing evolving threats requires a new approach</a:t>
            </a:r>
          </a:p>
        </p:txBody>
      </p:sp>
      <p:sp>
        <p:nvSpPr>
          <p:cNvPr id="2545" name="TextBox 2544">
            <a:extLst>
              <a:ext uri="{FF2B5EF4-FFF2-40B4-BE49-F238E27FC236}">
                <a16:creationId xmlns:a16="http://schemas.microsoft.com/office/drawing/2014/main" id="{07E7671E-57C3-15D1-4246-B092C53D993B}"/>
              </a:ext>
            </a:extLst>
          </p:cNvPr>
          <p:cNvSpPr txBox="1"/>
          <p:nvPr/>
        </p:nvSpPr>
        <p:spPr>
          <a:xfrm>
            <a:off x="612646" y="2672429"/>
            <a:ext cx="168859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Sans Display Semibold"/>
                <a:ea typeface="+mn-ea"/>
                <a:cs typeface="+mn-cs"/>
              </a:rPr>
              <a:t>Any employee</a:t>
            </a:r>
          </a:p>
        </p:txBody>
      </p:sp>
      <p:sp>
        <p:nvSpPr>
          <p:cNvPr id="2546" name="TextBox 2545">
            <a:extLst>
              <a:ext uri="{FF2B5EF4-FFF2-40B4-BE49-F238E27FC236}">
                <a16:creationId xmlns:a16="http://schemas.microsoft.com/office/drawing/2014/main" id="{F9498254-B60A-0B7D-AC09-904C751D0C9B}"/>
              </a:ext>
            </a:extLst>
          </p:cNvPr>
          <p:cNvSpPr txBox="1"/>
          <p:nvPr/>
        </p:nvSpPr>
        <p:spPr>
          <a:xfrm>
            <a:off x="612646" y="3730499"/>
            <a:ext cx="168859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Sans Display Semibold"/>
                <a:ea typeface="+mn-ea"/>
                <a:cs typeface="+mn-cs"/>
              </a:rPr>
              <a:t>Any location</a:t>
            </a:r>
          </a:p>
        </p:txBody>
      </p:sp>
      <p:sp>
        <p:nvSpPr>
          <p:cNvPr id="2547" name="TextBox 2546">
            <a:extLst>
              <a:ext uri="{FF2B5EF4-FFF2-40B4-BE49-F238E27FC236}">
                <a16:creationId xmlns:a16="http://schemas.microsoft.com/office/drawing/2014/main" id="{EA1FE62C-3EC5-CFFD-3566-C5A65DA0EC03}"/>
              </a:ext>
            </a:extLst>
          </p:cNvPr>
          <p:cNvSpPr txBox="1"/>
          <p:nvPr/>
        </p:nvSpPr>
        <p:spPr>
          <a:xfrm>
            <a:off x="612646" y="4788569"/>
            <a:ext cx="168859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Sans Display Semibold"/>
                <a:ea typeface="+mn-ea"/>
                <a:cs typeface="+mn-cs"/>
              </a:rPr>
              <a:t>Any platform</a:t>
            </a:r>
          </a:p>
        </p:txBody>
      </p:sp>
      <p:sp>
        <p:nvSpPr>
          <p:cNvPr id="2548" name="TextBox 2547">
            <a:extLst>
              <a:ext uri="{FF2B5EF4-FFF2-40B4-BE49-F238E27FC236}">
                <a16:creationId xmlns:a16="http://schemas.microsoft.com/office/drawing/2014/main" id="{83D6D9AB-2561-2B45-7FE6-41AE970F6079}"/>
              </a:ext>
            </a:extLst>
          </p:cNvPr>
          <p:cNvSpPr txBox="1"/>
          <p:nvPr/>
        </p:nvSpPr>
        <p:spPr>
          <a:xfrm>
            <a:off x="612646" y="5846639"/>
            <a:ext cx="168859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Sans Display Semibold"/>
                <a:ea typeface="+mn-ea"/>
                <a:cs typeface="+mn-cs"/>
              </a:rPr>
              <a:t>Any device</a:t>
            </a:r>
          </a:p>
        </p:txBody>
      </p:sp>
      <p:grpSp>
        <p:nvGrpSpPr>
          <p:cNvPr id="2549" name="Group 2548">
            <a:extLst>
              <a:ext uri="{FF2B5EF4-FFF2-40B4-BE49-F238E27FC236}">
                <a16:creationId xmlns:a16="http://schemas.microsoft.com/office/drawing/2014/main" id="{C513FEB2-7402-9484-78B8-4D6F7FA56B02}"/>
              </a:ext>
              <a:ext uri="{C183D7F6-B498-43B3-948B-1728B52AA6E4}">
                <adec:decorative xmlns:adec="http://schemas.microsoft.com/office/drawing/2017/decorative" val="1"/>
              </a:ext>
            </a:extLst>
          </p:cNvPr>
          <p:cNvGrpSpPr/>
          <p:nvPr/>
        </p:nvGrpSpPr>
        <p:grpSpPr>
          <a:xfrm>
            <a:off x="1182623" y="2039978"/>
            <a:ext cx="548640" cy="548640"/>
            <a:chOff x="1303496" y="2241231"/>
            <a:chExt cx="1233888" cy="1233888"/>
          </a:xfrm>
          <a:solidFill>
            <a:srgbClr val="052252"/>
          </a:solidFill>
        </p:grpSpPr>
        <p:sp>
          <p:nvSpPr>
            <p:cNvPr id="2550" name="Oval 2549">
              <a:extLst>
                <a:ext uri="{FF2B5EF4-FFF2-40B4-BE49-F238E27FC236}">
                  <a16:creationId xmlns:a16="http://schemas.microsoft.com/office/drawing/2014/main" id="{92ECA20F-269F-E27D-7F79-D13BD7C0B4DD}"/>
                </a:ext>
              </a:extLst>
            </p:cNvPr>
            <p:cNvSpPr/>
            <p:nvPr/>
          </p:nvSpPr>
          <p:spPr bwMode="auto">
            <a:xfrm>
              <a:off x="1303496" y="2241231"/>
              <a:ext cx="1233888" cy="1233888"/>
            </a:xfrm>
            <a:prstGeom prst="ellipse">
              <a:avLst/>
            </a:prstGeom>
            <a:gradFill>
              <a:gsLst>
                <a:gs pos="0">
                  <a:srgbClr val="0360DB">
                    <a:alpha val="50000"/>
                  </a:srgbClr>
                </a:gs>
                <a:gs pos="85000">
                  <a:srgbClr val="FADC14">
                    <a:alpha val="50000"/>
                  </a:srgbClr>
                </a:gs>
              </a:gsLst>
              <a:lin ang="2700000" scaled="1"/>
            </a:gradFill>
            <a:ln w="19050" cap="flat" cmpd="sng" algn="ctr">
              <a:noFill/>
              <a:prstDash val="solid"/>
              <a:headEnd type="none" w="med" len="sm"/>
              <a:tailEnd type="arrow" w="lg" len="med"/>
            </a:ln>
            <a:effectLst/>
          </p:spPr>
          <p:txBody>
            <a:bodyPr rot="0" spcFirstLastPara="0" vertOverflow="overflow" horzOverflow="overflow" vert="horz" wrap="square" lIns="137160" tIns="91440" rIns="137160" bIns="137160" numCol="1" spcCol="0" rtlCol="0" fromWordArt="0" anchor="ctr" anchorCtr="0" forceAA="0" compatLnSpc="1">
              <a:prstTxWarp prst="textNoShape">
                <a:avLst/>
              </a:prstTxWarp>
              <a:noAutofit/>
            </a:bodyPr>
            <a:lstStyle/>
            <a:p>
              <a:pPr marL="0" marR="0" lvl="0" indent="0" algn="l" defTabSz="932754" rtl="0" eaLnBrk="1" fontAlgn="auto" latinLnBrk="0" hangingPunct="1">
                <a:lnSpc>
                  <a:spcPct val="100000"/>
                </a:lnSpc>
                <a:spcBef>
                  <a:spcPts val="0"/>
                </a:spcBef>
                <a:spcAft>
                  <a:spcPts val="600"/>
                </a:spcAft>
                <a:buClrTx/>
                <a:buSzPct val="90000"/>
                <a:buFontTx/>
                <a:buNone/>
                <a:tabLst/>
                <a:defRPr/>
              </a:pPr>
              <a:endParaRPr kumimoji="0" lang="en-US" sz="1900" b="0" i="0" u="none" strike="noStrike" kern="0" cap="none" spc="0" normalizeH="0" baseline="0" noProof="0">
                <a:ln>
                  <a:noFill/>
                </a:ln>
                <a:solidFill>
                  <a:srgbClr val="FFFFFF"/>
                </a:solidFill>
                <a:effectLst/>
                <a:uLnTx/>
                <a:uFillTx/>
                <a:latin typeface="Segoe Sans Display"/>
                <a:ea typeface="+mn-ea"/>
                <a:cs typeface="Segoe Sans Display Semilight" pitchFamily="2" charset="0"/>
              </a:endParaRPr>
            </a:p>
          </p:txBody>
        </p:sp>
        <p:sp>
          <p:nvSpPr>
            <p:cNvPr id="2551" name="Oval 2550">
              <a:extLst>
                <a:ext uri="{FF2B5EF4-FFF2-40B4-BE49-F238E27FC236}">
                  <a16:creationId xmlns:a16="http://schemas.microsoft.com/office/drawing/2014/main" id="{E24F9B2D-A33F-6ED7-A252-5031854D2039}"/>
                </a:ext>
              </a:extLst>
            </p:cNvPr>
            <p:cNvSpPr/>
            <p:nvPr/>
          </p:nvSpPr>
          <p:spPr bwMode="auto">
            <a:xfrm>
              <a:off x="1457488" y="2395223"/>
              <a:ext cx="925905" cy="925905"/>
            </a:xfrm>
            <a:prstGeom prst="ellipse">
              <a:avLst/>
            </a:prstGeom>
            <a:solidFill>
              <a:srgbClr val="FFFFFF"/>
            </a:solidFill>
            <a:ln w="19050" cap="flat" cmpd="sng" algn="ctr">
              <a:gradFill>
                <a:gsLst>
                  <a:gs pos="0">
                    <a:srgbClr val="599FFD"/>
                  </a:gs>
                  <a:gs pos="100000">
                    <a:srgbClr val="FADC14"/>
                  </a:gs>
                </a:gsLst>
                <a:lin ang="5400000" scaled="1"/>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Variable Display"/>
                <a:ea typeface="+mn-ea"/>
                <a:cs typeface="Segoe UI" pitchFamily="34" charset="0"/>
              </a:endParaRPr>
            </a:p>
          </p:txBody>
        </p:sp>
      </p:grpSp>
      <p:pic>
        <p:nvPicPr>
          <p:cNvPr id="2552" name="Graphic 2551">
            <a:extLst>
              <a:ext uri="{FF2B5EF4-FFF2-40B4-BE49-F238E27FC236}">
                <a16:creationId xmlns:a16="http://schemas.microsoft.com/office/drawing/2014/main" id="{74C6C06B-6D11-E306-ABB5-72F27A49F115}"/>
              </a:ext>
              <a:ext uri="{C183D7F6-B498-43B3-948B-1728B52AA6E4}">
                <adec:decorative xmlns:adec="http://schemas.microsoft.com/office/drawing/2017/decorative" val="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314692" y="2172047"/>
            <a:ext cx="284502" cy="284502"/>
          </a:xfrm>
          <a:prstGeom prst="rect">
            <a:avLst/>
          </a:prstGeom>
        </p:spPr>
      </p:pic>
      <p:grpSp>
        <p:nvGrpSpPr>
          <p:cNvPr id="2553" name="Group 2552">
            <a:extLst>
              <a:ext uri="{FF2B5EF4-FFF2-40B4-BE49-F238E27FC236}">
                <a16:creationId xmlns:a16="http://schemas.microsoft.com/office/drawing/2014/main" id="{BAD99771-A4B7-3C11-6C7B-722A2FA41889}"/>
              </a:ext>
              <a:ext uri="{C183D7F6-B498-43B3-948B-1728B52AA6E4}">
                <adec:decorative xmlns:adec="http://schemas.microsoft.com/office/drawing/2017/decorative" val="1"/>
              </a:ext>
            </a:extLst>
          </p:cNvPr>
          <p:cNvGrpSpPr/>
          <p:nvPr/>
        </p:nvGrpSpPr>
        <p:grpSpPr>
          <a:xfrm>
            <a:off x="1182623" y="3098048"/>
            <a:ext cx="548640" cy="548640"/>
            <a:chOff x="1303496" y="2241231"/>
            <a:chExt cx="1233888" cy="1233888"/>
          </a:xfrm>
          <a:solidFill>
            <a:srgbClr val="052252"/>
          </a:solidFill>
        </p:grpSpPr>
        <p:sp>
          <p:nvSpPr>
            <p:cNvPr id="2554" name="Oval 2553">
              <a:extLst>
                <a:ext uri="{FF2B5EF4-FFF2-40B4-BE49-F238E27FC236}">
                  <a16:creationId xmlns:a16="http://schemas.microsoft.com/office/drawing/2014/main" id="{1C2FFC2A-AAD7-0D68-045C-FBEE3CE77693}"/>
                </a:ext>
              </a:extLst>
            </p:cNvPr>
            <p:cNvSpPr/>
            <p:nvPr/>
          </p:nvSpPr>
          <p:spPr bwMode="auto">
            <a:xfrm>
              <a:off x="1303496" y="2241231"/>
              <a:ext cx="1233888" cy="1233888"/>
            </a:xfrm>
            <a:prstGeom prst="ellipse">
              <a:avLst/>
            </a:prstGeom>
            <a:gradFill>
              <a:gsLst>
                <a:gs pos="0">
                  <a:srgbClr val="0360DB">
                    <a:alpha val="50000"/>
                  </a:srgbClr>
                </a:gs>
                <a:gs pos="85000">
                  <a:srgbClr val="FADC14">
                    <a:alpha val="50000"/>
                  </a:srgbClr>
                </a:gs>
              </a:gsLst>
              <a:lin ang="2700000" scaled="1"/>
            </a:gradFill>
            <a:ln w="19050" cap="flat" cmpd="sng" algn="ctr">
              <a:noFill/>
              <a:prstDash val="solid"/>
              <a:headEnd type="none" w="med" len="sm"/>
              <a:tailEnd type="arrow" w="lg" len="med"/>
            </a:ln>
            <a:effectLst/>
          </p:spPr>
          <p:txBody>
            <a:bodyPr rot="0" spcFirstLastPara="0" vertOverflow="overflow" horzOverflow="overflow" vert="horz" wrap="square" lIns="137160" tIns="91440" rIns="137160" bIns="137160" numCol="1" spcCol="0" rtlCol="0" fromWordArt="0" anchor="ctr" anchorCtr="0" forceAA="0" compatLnSpc="1">
              <a:prstTxWarp prst="textNoShape">
                <a:avLst/>
              </a:prstTxWarp>
              <a:noAutofit/>
            </a:bodyPr>
            <a:lstStyle/>
            <a:p>
              <a:pPr marL="0" marR="0" lvl="0" indent="0" algn="l" defTabSz="932754" rtl="0" eaLnBrk="1" fontAlgn="auto" latinLnBrk="0" hangingPunct="1">
                <a:lnSpc>
                  <a:spcPct val="100000"/>
                </a:lnSpc>
                <a:spcBef>
                  <a:spcPts val="0"/>
                </a:spcBef>
                <a:spcAft>
                  <a:spcPts val="600"/>
                </a:spcAft>
                <a:buClrTx/>
                <a:buSzPct val="90000"/>
                <a:buFontTx/>
                <a:buNone/>
                <a:tabLst/>
                <a:defRPr/>
              </a:pPr>
              <a:endParaRPr kumimoji="0" lang="en-US" sz="1900" b="0" i="0" u="none" strike="noStrike" kern="0" cap="none" spc="0" normalizeH="0" baseline="0" noProof="0">
                <a:ln>
                  <a:noFill/>
                </a:ln>
                <a:solidFill>
                  <a:srgbClr val="FFFFFF"/>
                </a:solidFill>
                <a:effectLst/>
                <a:uLnTx/>
                <a:uFillTx/>
                <a:latin typeface="Segoe Sans Display"/>
                <a:ea typeface="+mn-ea"/>
                <a:cs typeface="Segoe Sans Display Semilight" pitchFamily="2" charset="0"/>
              </a:endParaRPr>
            </a:p>
          </p:txBody>
        </p:sp>
        <p:sp>
          <p:nvSpPr>
            <p:cNvPr id="2555" name="Oval 2554">
              <a:extLst>
                <a:ext uri="{FF2B5EF4-FFF2-40B4-BE49-F238E27FC236}">
                  <a16:creationId xmlns:a16="http://schemas.microsoft.com/office/drawing/2014/main" id="{EABE70F9-4CC7-4C51-D168-65C19C21825E}"/>
                </a:ext>
              </a:extLst>
            </p:cNvPr>
            <p:cNvSpPr/>
            <p:nvPr/>
          </p:nvSpPr>
          <p:spPr bwMode="auto">
            <a:xfrm>
              <a:off x="1457488" y="2395223"/>
              <a:ext cx="925905" cy="925905"/>
            </a:xfrm>
            <a:prstGeom prst="ellipse">
              <a:avLst/>
            </a:prstGeom>
            <a:solidFill>
              <a:srgbClr val="FFFFFF"/>
            </a:solidFill>
            <a:ln w="19050" cap="flat" cmpd="sng" algn="ctr">
              <a:gradFill>
                <a:gsLst>
                  <a:gs pos="0">
                    <a:srgbClr val="599FFD"/>
                  </a:gs>
                  <a:gs pos="100000">
                    <a:srgbClr val="FADC14"/>
                  </a:gs>
                </a:gsLst>
                <a:lin ang="5400000" scaled="1"/>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Variable Display"/>
                <a:ea typeface="+mn-ea"/>
                <a:cs typeface="Segoe UI" pitchFamily="34" charset="0"/>
              </a:endParaRPr>
            </a:p>
          </p:txBody>
        </p:sp>
      </p:grpSp>
      <p:pic>
        <p:nvPicPr>
          <p:cNvPr id="2556" name="Graphic 2555">
            <a:extLst>
              <a:ext uri="{FF2B5EF4-FFF2-40B4-BE49-F238E27FC236}">
                <a16:creationId xmlns:a16="http://schemas.microsoft.com/office/drawing/2014/main" id="{FF2652A4-D993-661F-B7C4-3FD04A0FB69F}"/>
              </a:ext>
              <a:ext uri="{C183D7F6-B498-43B3-948B-1728B52AA6E4}">
                <adec:decorative xmlns:adec="http://schemas.microsoft.com/office/drawing/2017/decorative" val="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330262" y="3245687"/>
            <a:ext cx="253363" cy="253363"/>
          </a:xfrm>
          <a:prstGeom prst="rect">
            <a:avLst/>
          </a:prstGeom>
        </p:spPr>
      </p:pic>
      <p:grpSp>
        <p:nvGrpSpPr>
          <p:cNvPr id="2557" name="Group 2556">
            <a:extLst>
              <a:ext uri="{FF2B5EF4-FFF2-40B4-BE49-F238E27FC236}">
                <a16:creationId xmlns:a16="http://schemas.microsoft.com/office/drawing/2014/main" id="{DC4F3888-CBAD-0013-B739-08DDB2FC577B}"/>
              </a:ext>
              <a:ext uri="{C183D7F6-B498-43B3-948B-1728B52AA6E4}">
                <adec:decorative xmlns:adec="http://schemas.microsoft.com/office/drawing/2017/decorative" val="1"/>
              </a:ext>
            </a:extLst>
          </p:cNvPr>
          <p:cNvGrpSpPr/>
          <p:nvPr/>
        </p:nvGrpSpPr>
        <p:grpSpPr>
          <a:xfrm>
            <a:off x="1182623" y="4156118"/>
            <a:ext cx="548640" cy="548640"/>
            <a:chOff x="1303496" y="2241231"/>
            <a:chExt cx="1233888" cy="1233888"/>
          </a:xfrm>
          <a:solidFill>
            <a:srgbClr val="052252"/>
          </a:solidFill>
        </p:grpSpPr>
        <p:sp>
          <p:nvSpPr>
            <p:cNvPr id="2558" name="Oval 2557">
              <a:extLst>
                <a:ext uri="{FF2B5EF4-FFF2-40B4-BE49-F238E27FC236}">
                  <a16:creationId xmlns:a16="http://schemas.microsoft.com/office/drawing/2014/main" id="{BD2FF9B5-7ECE-5B03-6BE2-D5DD3607DE67}"/>
                </a:ext>
              </a:extLst>
            </p:cNvPr>
            <p:cNvSpPr/>
            <p:nvPr/>
          </p:nvSpPr>
          <p:spPr bwMode="auto">
            <a:xfrm>
              <a:off x="1303496" y="2241231"/>
              <a:ext cx="1233888" cy="1233888"/>
            </a:xfrm>
            <a:prstGeom prst="ellipse">
              <a:avLst/>
            </a:prstGeom>
            <a:gradFill>
              <a:gsLst>
                <a:gs pos="0">
                  <a:srgbClr val="0360DB">
                    <a:alpha val="50000"/>
                  </a:srgbClr>
                </a:gs>
                <a:gs pos="85000">
                  <a:srgbClr val="FADC14">
                    <a:alpha val="50000"/>
                  </a:srgbClr>
                </a:gs>
              </a:gsLst>
              <a:lin ang="2700000" scaled="1"/>
            </a:gradFill>
            <a:ln w="19050" cap="flat" cmpd="sng" algn="ctr">
              <a:noFill/>
              <a:prstDash val="solid"/>
              <a:headEnd type="none" w="med" len="sm"/>
              <a:tailEnd type="arrow" w="lg" len="med"/>
            </a:ln>
            <a:effectLst/>
          </p:spPr>
          <p:txBody>
            <a:bodyPr rot="0" spcFirstLastPara="0" vertOverflow="overflow" horzOverflow="overflow" vert="horz" wrap="square" lIns="137160" tIns="91440" rIns="137160" bIns="137160" numCol="1" spcCol="0" rtlCol="0" fromWordArt="0" anchor="ctr" anchorCtr="0" forceAA="0" compatLnSpc="1">
              <a:prstTxWarp prst="textNoShape">
                <a:avLst/>
              </a:prstTxWarp>
              <a:noAutofit/>
            </a:bodyPr>
            <a:lstStyle/>
            <a:p>
              <a:pPr marL="0" marR="0" lvl="0" indent="0" algn="l" defTabSz="932754" rtl="0" eaLnBrk="1" fontAlgn="auto" latinLnBrk="0" hangingPunct="1">
                <a:lnSpc>
                  <a:spcPct val="100000"/>
                </a:lnSpc>
                <a:spcBef>
                  <a:spcPts val="0"/>
                </a:spcBef>
                <a:spcAft>
                  <a:spcPts val="600"/>
                </a:spcAft>
                <a:buClrTx/>
                <a:buSzPct val="90000"/>
                <a:buFontTx/>
                <a:buNone/>
                <a:tabLst/>
                <a:defRPr/>
              </a:pPr>
              <a:endParaRPr kumimoji="0" lang="en-US" sz="1900" b="0" i="0" u="none" strike="noStrike" kern="0" cap="none" spc="0" normalizeH="0" baseline="0" noProof="0">
                <a:ln>
                  <a:noFill/>
                </a:ln>
                <a:solidFill>
                  <a:srgbClr val="FFFFFF"/>
                </a:solidFill>
                <a:effectLst/>
                <a:uLnTx/>
                <a:uFillTx/>
                <a:latin typeface="Segoe Sans Display"/>
                <a:ea typeface="+mn-ea"/>
                <a:cs typeface="Segoe Sans Display Semilight" pitchFamily="2" charset="0"/>
              </a:endParaRPr>
            </a:p>
          </p:txBody>
        </p:sp>
        <p:sp>
          <p:nvSpPr>
            <p:cNvPr id="2559" name="Oval 2558">
              <a:extLst>
                <a:ext uri="{FF2B5EF4-FFF2-40B4-BE49-F238E27FC236}">
                  <a16:creationId xmlns:a16="http://schemas.microsoft.com/office/drawing/2014/main" id="{3CEC4D0F-AC9D-3D1A-4F20-D17CAAE4C5B0}"/>
                </a:ext>
              </a:extLst>
            </p:cNvPr>
            <p:cNvSpPr/>
            <p:nvPr/>
          </p:nvSpPr>
          <p:spPr bwMode="auto">
            <a:xfrm>
              <a:off x="1457488" y="2395223"/>
              <a:ext cx="925905" cy="925905"/>
            </a:xfrm>
            <a:prstGeom prst="ellipse">
              <a:avLst/>
            </a:prstGeom>
            <a:solidFill>
              <a:srgbClr val="FFFFFF"/>
            </a:solidFill>
            <a:ln w="19050" cap="flat" cmpd="sng" algn="ctr">
              <a:gradFill>
                <a:gsLst>
                  <a:gs pos="0">
                    <a:srgbClr val="599FFD"/>
                  </a:gs>
                  <a:gs pos="100000">
                    <a:srgbClr val="FADC14"/>
                  </a:gs>
                </a:gsLst>
                <a:lin ang="5400000" scaled="1"/>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Variable Display"/>
                <a:ea typeface="+mn-ea"/>
                <a:cs typeface="Segoe UI" pitchFamily="34" charset="0"/>
              </a:endParaRPr>
            </a:p>
          </p:txBody>
        </p:sp>
      </p:grpSp>
      <p:pic>
        <p:nvPicPr>
          <p:cNvPr id="2560" name="Graphic 2559">
            <a:extLst>
              <a:ext uri="{FF2B5EF4-FFF2-40B4-BE49-F238E27FC236}">
                <a16:creationId xmlns:a16="http://schemas.microsoft.com/office/drawing/2014/main" id="{37385BDE-F6EE-C65B-2C43-A8898283CA5B}"/>
              </a:ext>
              <a:ext uri="{C183D7F6-B498-43B3-948B-1728B52AA6E4}">
                <adec:decorative xmlns:adec="http://schemas.microsoft.com/office/drawing/2017/decorative" val="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310833" y="4284328"/>
            <a:ext cx="292220" cy="292220"/>
          </a:xfrm>
          <a:prstGeom prst="rect">
            <a:avLst/>
          </a:prstGeom>
        </p:spPr>
      </p:pic>
      <p:grpSp>
        <p:nvGrpSpPr>
          <p:cNvPr id="2561" name="Group 2560">
            <a:extLst>
              <a:ext uri="{FF2B5EF4-FFF2-40B4-BE49-F238E27FC236}">
                <a16:creationId xmlns:a16="http://schemas.microsoft.com/office/drawing/2014/main" id="{0E2CFA00-372A-3CBE-61A3-4CDF465DAE20}"/>
              </a:ext>
              <a:ext uri="{C183D7F6-B498-43B3-948B-1728B52AA6E4}">
                <adec:decorative xmlns:adec="http://schemas.microsoft.com/office/drawing/2017/decorative" val="1"/>
              </a:ext>
            </a:extLst>
          </p:cNvPr>
          <p:cNvGrpSpPr/>
          <p:nvPr/>
        </p:nvGrpSpPr>
        <p:grpSpPr>
          <a:xfrm>
            <a:off x="1182623" y="5214188"/>
            <a:ext cx="548640" cy="548640"/>
            <a:chOff x="1303496" y="2241231"/>
            <a:chExt cx="1233888" cy="1233888"/>
          </a:xfrm>
          <a:solidFill>
            <a:srgbClr val="052252"/>
          </a:solidFill>
        </p:grpSpPr>
        <p:sp>
          <p:nvSpPr>
            <p:cNvPr id="2562" name="Oval 2561">
              <a:extLst>
                <a:ext uri="{FF2B5EF4-FFF2-40B4-BE49-F238E27FC236}">
                  <a16:creationId xmlns:a16="http://schemas.microsoft.com/office/drawing/2014/main" id="{65E9CB5C-DF44-290B-9D85-CFB5AE1088DA}"/>
                </a:ext>
              </a:extLst>
            </p:cNvPr>
            <p:cNvSpPr/>
            <p:nvPr/>
          </p:nvSpPr>
          <p:spPr bwMode="auto">
            <a:xfrm>
              <a:off x="1303496" y="2241231"/>
              <a:ext cx="1233888" cy="1233888"/>
            </a:xfrm>
            <a:prstGeom prst="ellipse">
              <a:avLst/>
            </a:prstGeom>
            <a:gradFill>
              <a:gsLst>
                <a:gs pos="0">
                  <a:srgbClr val="0360DB">
                    <a:alpha val="50000"/>
                  </a:srgbClr>
                </a:gs>
                <a:gs pos="85000">
                  <a:srgbClr val="FADC14">
                    <a:alpha val="50000"/>
                  </a:srgbClr>
                </a:gs>
              </a:gsLst>
              <a:lin ang="2700000" scaled="1"/>
            </a:gradFill>
            <a:ln w="19050" cap="flat" cmpd="sng" algn="ctr">
              <a:noFill/>
              <a:prstDash val="solid"/>
              <a:headEnd type="none" w="med" len="sm"/>
              <a:tailEnd type="arrow" w="lg" len="med"/>
            </a:ln>
            <a:effectLst/>
          </p:spPr>
          <p:txBody>
            <a:bodyPr rot="0" spcFirstLastPara="0" vertOverflow="overflow" horzOverflow="overflow" vert="horz" wrap="square" lIns="137160" tIns="91440" rIns="137160" bIns="137160" numCol="1" spcCol="0" rtlCol="0" fromWordArt="0" anchor="ctr" anchorCtr="0" forceAA="0" compatLnSpc="1">
              <a:prstTxWarp prst="textNoShape">
                <a:avLst/>
              </a:prstTxWarp>
              <a:noAutofit/>
            </a:bodyPr>
            <a:lstStyle/>
            <a:p>
              <a:pPr marL="0" marR="0" lvl="0" indent="0" algn="l" defTabSz="932754" rtl="0" eaLnBrk="1" fontAlgn="auto" latinLnBrk="0" hangingPunct="1">
                <a:lnSpc>
                  <a:spcPct val="100000"/>
                </a:lnSpc>
                <a:spcBef>
                  <a:spcPts val="0"/>
                </a:spcBef>
                <a:spcAft>
                  <a:spcPts val="600"/>
                </a:spcAft>
                <a:buClrTx/>
                <a:buSzPct val="90000"/>
                <a:buFontTx/>
                <a:buNone/>
                <a:tabLst/>
                <a:defRPr/>
              </a:pPr>
              <a:endParaRPr kumimoji="0" lang="en-US" sz="1900" b="0" i="0" u="none" strike="noStrike" kern="0" cap="none" spc="0" normalizeH="0" baseline="0" noProof="0">
                <a:ln>
                  <a:noFill/>
                </a:ln>
                <a:solidFill>
                  <a:srgbClr val="FFFFFF"/>
                </a:solidFill>
                <a:effectLst/>
                <a:uLnTx/>
                <a:uFillTx/>
                <a:latin typeface="Segoe Sans Display"/>
                <a:ea typeface="+mn-ea"/>
                <a:cs typeface="Segoe Sans Display Semilight" pitchFamily="2" charset="0"/>
              </a:endParaRPr>
            </a:p>
          </p:txBody>
        </p:sp>
        <p:sp>
          <p:nvSpPr>
            <p:cNvPr id="2563" name="Oval 2562">
              <a:extLst>
                <a:ext uri="{FF2B5EF4-FFF2-40B4-BE49-F238E27FC236}">
                  <a16:creationId xmlns:a16="http://schemas.microsoft.com/office/drawing/2014/main" id="{EC9A4C6F-6839-C34F-2F0A-FA556F38E8E7}"/>
                </a:ext>
              </a:extLst>
            </p:cNvPr>
            <p:cNvSpPr/>
            <p:nvPr/>
          </p:nvSpPr>
          <p:spPr bwMode="auto">
            <a:xfrm>
              <a:off x="1457488" y="2395223"/>
              <a:ext cx="925905" cy="925905"/>
            </a:xfrm>
            <a:prstGeom prst="ellipse">
              <a:avLst/>
            </a:prstGeom>
            <a:solidFill>
              <a:srgbClr val="FFFFFF"/>
            </a:solidFill>
            <a:ln w="19050" cap="flat" cmpd="sng" algn="ctr">
              <a:gradFill>
                <a:gsLst>
                  <a:gs pos="0">
                    <a:srgbClr val="599FFD"/>
                  </a:gs>
                  <a:gs pos="100000">
                    <a:srgbClr val="FADC14"/>
                  </a:gs>
                </a:gsLst>
                <a:lin ang="5400000" scaled="1"/>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Variable Display"/>
                <a:ea typeface="+mn-ea"/>
                <a:cs typeface="Segoe UI" pitchFamily="34" charset="0"/>
              </a:endParaRPr>
            </a:p>
          </p:txBody>
        </p:sp>
      </p:grpSp>
      <p:pic>
        <p:nvPicPr>
          <p:cNvPr id="2564" name="Graphic 2563">
            <a:extLst>
              <a:ext uri="{FF2B5EF4-FFF2-40B4-BE49-F238E27FC236}">
                <a16:creationId xmlns:a16="http://schemas.microsoft.com/office/drawing/2014/main" id="{66C9F189-3A33-A5E9-CC05-3D9DA3D0A862}"/>
              </a:ext>
              <a:ext uri="{C183D7F6-B498-43B3-948B-1728B52AA6E4}">
                <adec:decorative xmlns:adec="http://schemas.microsoft.com/office/drawing/2017/decorative" val="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311391" y="5342956"/>
            <a:ext cx="291105" cy="291105"/>
          </a:xfrm>
          <a:prstGeom prst="rect">
            <a:avLst/>
          </a:prstGeom>
        </p:spPr>
      </p:pic>
      <p:sp>
        <p:nvSpPr>
          <p:cNvPr id="2565" name="Rectangle: Rounded Corners 2564">
            <a:extLst>
              <a:ext uri="{FF2B5EF4-FFF2-40B4-BE49-F238E27FC236}">
                <a16:creationId xmlns:a16="http://schemas.microsoft.com/office/drawing/2014/main" id="{1988421A-594C-55F7-6913-BDDCD05FFCD0}"/>
              </a:ext>
              <a:ext uri="{C183D7F6-B498-43B3-948B-1728B52AA6E4}">
                <adec:decorative xmlns:adec="http://schemas.microsoft.com/office/drawing/2017/decorative" val="1"/>
              </a:ext>
            </a:extLst>
          </p:cNvPr>
          <p:cNvSpPr>
            <a:spLocks/>
          </p:cNvSpPr>
          <p:nvPr/>
        </p:nvSpPr>
        <p:spPr bwMode="auto">
          <a:xfrm rot="16200000">
            <a:off x="8497823" y="3182350"/>
            <a:ext cx="4480560" cy="1737360"/>
          </a:xfrm>
          <a:prstGeom prst="roundRect">
            <a:avLst>
              <a:gd name="adj" fmla="val 8693"/>
            </a:avLst>
          </a:prstGeom>
          <a:solidFill>
            <a:srgbClr val="FFFFFF"/>
          </a:solidFill>
          <a:ln w="9525" cap="flat" cmpd="sng" algn="ctr">
            <a:noFill/>
            <a:prstDash val="solid"/>
            <a:headEnd type="none" w="med" len="med"/>
            <a:tailEnd type="none" w="med" len="med"/>
          </a:ln>
          <a:effectLst>
            <a:innerShdw blurRad="508000" dist="63500" dir="16200000">
              <a:srgbClr val="B1B3B3">
                <a:alpha val="25000"/>
              </a:srgbClr>
            </a:inn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Sans Display"/>
              <a:ea typeface="+mn-ea"/>
              <a:cs typeface="Segoe UI" pitchFamily="34" charset="0"/>
            </a:endParaRPr>
          </a:p>
        </p:txBody>
      </p:sp>
      <p:sp>
        <p:nvSpPr>
          <p:cNvPr id="2566" name="TextBox 2565">
            <a:extLst>
              <a:ext uri="{FF2B5EF4-FFF2-40B4-BE49-F238E27FC236}">
                <a16:creationId xmlns:a16="http://schemas.microsoft.com/office/drawing/2014/main" id="{836659AC-6F6C-B4A4-DADE-D1912CB0FF2C}"/>
              </a:ext>
            </a:extLst>
          </p:cNvPr>
          <p:cNvSpPr txBox="1"/>
          <p:nvPr/>
        </p:nvSpPr>
        <p:spPr>
          <a:xfrm>
            <a:off x="9921941" y="1935666"/>
            <a:ext cx="1632324"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40" normalizeH="0" baseline="0" noProof="0">
                <a:ln>
                  <a:noFill/>
                </a:ln>
                <a:solidFill>
                  <a:prstClr val="black"/>
                </a:solidFill>
                <a:effectLst/>
                <a:uLnTx/>
                <a:uFillTx/>
                <a:latin typeface="Segoe Sans Display"/>
                <a:ea typeface="+mn-ea"/>
                <a:cs typeface="+mn-cs"/>
              </a:rPr>
              <a:t>Access to all </a:t>
            </a:r>
            <a:br>
              <a:rPr kumimoji="0" lang="en-US" sz="1600" b="0" i="0" u="none" strike="noStrike" kern="0" cap="none" spc="-40" normalizeH="0" baseline="0" noProof="0">
                <a:ln>
                  <a:noFill/>
                </a:ln>
                <a:solidFill>
                  <a:prstClr val="black"/>
                </a:solidFill>
                <a:effectLst/>
                <a:uLnTx/>
                <a:uFillTx/>
                <a:latin typeface="Segoe Sans Display"/>
                <a:ea typeface="+mn-ea"/>
                <a:cs typeface="+mn-cs"/>
              </a:rPr>
            </a:br>
            <a:r>
              <a:rPr kumimoji="0" lang="en-US" sz="1600" b="0" i="0" u="none" strike="noStrike" kern="0" cap="none" spc="-60" normalizeH="0" baseline="0" noProof="0">
                <a:ln>
                  <a:noFill/>
                </a:ln>
                <a:solidFill>
                  <a:prstClr val="black"/>
                </a:solidFill>
                <a:effectLst/>
                <a:uLnTx/>
                <a:uFillTx/>
                <a:latin typeface="Segoe Sans Display"/>
                <a:ea typeface="+mn-ea"/>
                <a:cs typeface="+mn-cs"/>
              </a:rPr>
              <a:t>apps &amp; resources</a:t>
            </a:r>
          </a:p>
        </p:txBody>
      </p:sp>
      <p:sp>
        <p:nvSpPr>
          <p:cNvPr id="2567" name="TextBox 2566">
            <a:extLst>
              <a:ext uri="{FF2B5EF4-FFF2-40B4-BE49-F238E27FC236}">
                <a16:creationId xmlns:a16="http://schemas.microsoft.com/office/drawing/2014/main" id="{44D64A26-7341-3B88-1955-C0F151D4A816}"/>
              </a:ext>
            </a:extLst>
          </p:cNvPr>
          <p:cNvSpPr txBox="1"/>
          <p:nvPr/>
        </p:nvSpPr>
        <p:spPr>
          <a:xfrm>
            <a:off x="10091925" y="2623302"/>
            <a:ext cx="129235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40" normalizeH="0" baseline="0" noProof="0">
                <a:ln w="3175">
                  <a:noFill/>
                </a:ln>
                <a:gradFill>
                  <a:gsLst>
                    <a:gs pos="0">
                      <a:srgbClr val="0360DB"/>
                    </a:gs>
                    <a:gs pos="80000">
                      <a:srgbClr val="207EFC"/>
                    </a:gs>
                  </a:gsLst>
                  <a:path path="circle">
                    <a:fillToRect l="100000" t="100000"/>
                  </a:path>
                </a:gradFill>
                <a:effectLst/>
                <a:uLnTx/>
                <a:uFillTx/>
                <a:latin typeface="Segoe Sans Display Semibold"/>
                <a:ea typeface="+mn-ea"/>
                <a:cs typeface="Segoe UI" panose="020B0502040204020203" pitchFamily="34" charset="0"/>
              </a:rPr>
              <a:t>AI</a:t>
            </a:r>
          </a:p>
        </p:txBody>
      </p:sp>
      <p:sp>
        <p:nvSpPr>
          <p:cNvPr id="2568" name="TextBox 2567">
            <a:extLst>
              <a:ext uri="{FF2B5EF4-FFF2-40B4-BE49-F238E27FC236}">
                <a16:creationId xmlns:a16="http://schemas.microsoft.com/office/drawing/2014/main" id="{EB4BFBB3-1A5C-6CFB-39CE-ECB6A9B4038C}"/>
              </a:ext>
            </a:extLst>
          </p:cNvPr>
          <p:cNvSpPr txBox="1"/>
          <p:nvPr/>
        </p:nvSpPr>
        <p:spPr>
          <a:xfrm>
            <a:off x="10104625" y="3320370"/>
            <a:ext cx="126695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40" normalizeH="0" baseline="0" noProof="0">
                <a:ln w="3175">
                  <a:noFill/>
                </a:ln>
                <a:gradFill>
                  <a:gsLst>
                    <a:gs pos="0">
                      <a:srgbClr val="0360DB"/>
                    </a:gs>
                    <a:gs pos="80000">
                      <a:srgbClr val="207EFC"/>
                    </a:gs>
                  </a:gsLst>
                  <a:path path="circle">
                    <a:fillToRect l="100000" t="100000"/>
                  </a:path>
                </a:gradFill>
                <a:effectLst/>
                <a:uLnTx/>
                <a:uFillTx/>
                <a:latin typeface="Segoe Sans Display Semibold"/>
                <a:ea typeface="+mn-ea"/>
                <a:cs typeface="Segoe UI" panose="020B0502040204020203" pitchFamily="34" charset="0"/>
              </a:rPr>
              <a:t>IaaS, PaaS, Datacenter</a:t>
            </a:r>
          </a:p>
        </p:txBody>
      </p:sp>
      <p:sp>
        <p:nvSpPr>
          <p:cNvPr id="2569" name="TextBox 2568">
            <a:extLst>
              <a:ext uri="{FF2B5EF4-FFF2-40B4-BE49-F238E27FC236}">
                <a16:creationId xmlns:a16="http://schemas.microsoft.com/office/drawing/2014/main" id="{7F1954E1-7F6B-ADF5-C083-AEF7971BC8AE}"/>
              </a:ext>
            </a:extLst>
          </p:cNvPr>
          <p:cNvSpPr txBox="1"/>
          <p:nvPr/>
        </p:nvSpPr>
        <p:spPr>
          <a:xfrm>
            <a:off x="10091925" y="4232881"/>
            <a:ext cx="129235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40" normalizeH="0" baseline="0" noProof="0">
                <a:ln w="3175">
                  <a:noFill/>
                </a:ln>
                <a:gradFill>
                  <a:gsLst>
                    <a:gs pos="0">
                      <a:srgbClr val="0360DB"/>
                    </a:gs>
                    <a:gs pos="80000">
                      <a:srgbClr val="207EFC"/>
                    </a:gs>
                  </a:gsLst>
                  <a:path path="circle">
                    <a:fillToRect l="100000" t="100000"/>
                  </a:path>
                </a:gradFill>
                <a:effectLst/>
                <a:uLnTx/>
                <a:uFillTx/>
                <a:latin typeface="Segoe Sans Display Semibold"/>
                <a:ea typeface="+mn-ea"/>
                <a:cs typeface="Segoe UI" panose="020B0502040204020203" pitchFamily="34" charset="0"/>
              </a:rPr>
              <a:t>Microsoft 365</a:t>
            </a:r>
          </a:p>
        </p:txBody>
      </p:sp>
      <p:sp>
        <p:nvSpPr>
          <p:cNvPr id="2570" name="TextBox 2569">
            <a:extLst>
              <a:ext uri="{FF2B5EF4-FFF2-40B4-BE49-F238E27FC236}">
                <a16:creationId xmlns:a16="http://schemas.microsoft.com/office/drawing/2014/main" id="{287E7BB3-3337-47CF-5441-6BF7F2C384E4}"/>
              </a:ext>
            </a:extLst>
          </p:cNvPr>
          <p:cNvSpPr txBox="1"/>
          <p:nvPr/>
        </p:nvSpPr>
        <p:spPr>
          <a:xfrm>
            <a:off x="10221466" y="4929949"/>
            <a:ext cx="1033274"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40" normalizeH="0" baseline="0" noProof="0">
                <a:ln w="3175">
                  <a:noFill/>
                </a:ln>
                <a:gradFill>
                  <a:gsLst>
                    <a:gs pos="0">
                      <a:srgbClr val="0360DB"/>
                    </a:gs>
                    <a:gs pos="80000">
                      <a:srgbClr val="207EFC"/>
                    </a:gs>
                  </a:gsLst>
                  <a:path path="circle">
                    <a:fillToRect l="100000" t="100000"/>
                  </a:path>
                </a:gradFill>
                <a:effectLst/>
                <a:uLnTx/>
                <a:uFillTx/>
                <a:latin typeface="Segoe Sans Display Semibold"/>
                <a:ea typeface="+mn-ea"/>
                <a:cs typeface="Segoe UI" panose="020B0502040204020203" pitchFamily="34" charset="0"/>
              </a:rPr>
              <a:t>SaaS, websites</a:t>
            </a:r>
          </a:p>
        </p:txBody>
      </p:sp>
      <p:sp>
        <p:nvSpPr>
          <p:cNvPr id="2571" name="TextBox 2570">
            <a:extLst>
              <a:ext uri="{FF2B5EF4-FFF2-40B4-BE49-F238E27FC236}">
                <a16:creationId xmlns:a16="http://schemas.microsoft.com/office/drawing/2014/main" id="{6745B7B5-AB84-4D6A-4274-487E7587E595}"/>
              </a:ext>
            </a:extLst>
          </p:cNvPr>
          <p:cNvSpPr txBox="1"/>
          <p:nvPr/>
        </p:nvSpPr>
        <p:spPr>
          <a:xfrm>
            <a:off x="10091925" y="5842462"/>
            <a:ext cx="129235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40" normalizeH="0" baseline="0" noProof="0">
                <a:ln w="3175">
                  <a:noFill/>
                </a:ln>
                <a:gradFill>
                  <a:gsLst>
                    <a:gs pos="0">
                      <a:srgbClr val="0360DB"/>
                    </a:gs>
                    <a:gs pos="80000">
                      <a:srgbClr val="207EFC"/>
                    </a:gs>
                  </a:gsLst>
                  <a:path path="circle">
                    <a:fillToRect l="100000" t="100000"/>
                  </a:path>
                </a:gradFill>
                <a:effectLst/>
                <a:uLnTx/>
                <a:uFillTx/>
                <a:latin typeface="Segoe Sans Display Semibold"/>
                <a:ea typeface="+mn-ea"/>
                <a:cs typeface="Segoe UI" panose="020B0502040204020203" pitchFamily="34" charset="0"/>
              </a:rPr>
              <a:t>On-premises</a:t>
            </a:r>
          </a:p>
        </p:txBody>
      </p:sp>
      <p:cxnSp>
        <p:nvCxnSpPr>
          <p:cNvPr id="2572" name="Straight Connector 2571">
            <a:extLst>
              <a:ext uri="{FF2B5EF4-FFF2-40B4-BE49-F238E27FC236}">
                <a16:creationId xmlns:a16="http://schemas.microsoft.com/office/drawing/2014/main" id="{B2D539E6-CAC0-9195-5424-E07593AA10C5}"/>
              </a:ext>
              <a:ext uri="{C183D7F6-B498-43B3-948B-1728B52AA6E4}">
                <adec:decorative xmlns:adec="http://schemas.microsoft.com/office/drawing/2017/decorative" val="1"/>
              </a:ext>
            </a:extLst>
          </p:cNvPr>
          <p:cNvCxnSpPr>
            <a:cxnSpLocks/>
          </p:cNvCxnSpPr>
          <p:nvPr/>
        </p:nvCxnSpPr>
        <p:spPr>
          <a:xfrm>
            <a:off x="10122407" y="3079558"/>
            <a:ext cx="1231392" cy="0"/>
          </a:xfrm>
          <a:prstGeom prst="line">
            <a:avLst/>
          </a:prstGeom>
          <a:solidFill>
            <a:srgbClr val="091F2C">
              <a:lumMod val="90000"/>
              <a:lumOff val="10000"/>
            </a:srgbClr>
          </a:solidFill>
          <a:ln w="9525" cap="flat">
            <a:solidFill>
              <a:srgbClr val="F4F3F5"/>
            </a:solidFill>
            <a:prstDash val="solid"/>
            <a:miter/>
          </a:ln>
          <a:scene3d>
            <a:camera prst="isometricOffAxis1Right">
              <a:rot lat="0" lon="0" rev="0"/>
            </a:camera>
            <a:lightRig rig="flood" dir="t"/>
          </a:scene3d>
        </p:spPr>
      </p:cxnSp>
      <p:cxnSp>
        <p:nvCxnSpPr>
          <p:cNvPr id="2573" name="Straight Connector 2572">
            <a:extLst>
              <a:ext uri="{FF2B5EF4-FFF2-40B4-BE49-F238E27FC236}">
                <a16:creationId xmlns:a16="http://schemas.microsoft.com/office/drawing/2014/main" id="{3C612E11-5AE4-BD59-67EE-B2BF98C44129}"/>
              </a:ext>
              <a:ext uri="{C183D7F6-B498-43B3-948B-1728B52AA6E4}">
                <adec:decorative xmlns:adec="http://schemas.microsoft.com/office/drawing/2017/decorative" val="1"/>
              </a:ext>
            </a:extLst>
          </p:cNvPr>
          <p:cNvCxnSpPr>
            <a:cxnSpLocks/>
          </p:cNvCxnSpPr>
          <p:nvPr/>
        </p:nvCxnSpPr>
        <p:spPr>
          <a:xfrm>
            <a:off x="10122407" y="3992069"/>
            <a:ext cx="1231392" cy="0"/>
          </a:xfrm>
          <a:prstGeom prst="line">
            <a:avLst/>
          </a:prstGeom>
          <a:solidFill>
            <a:srgbClr val="091F2C">
              <a:lumMod val="90000"/>
              <a:lumOff val="10000"/>
            </a:srgbClr>
          </a:solidFill>
          <a:ln w="9525" cap="flat">
            <a:solidFill>
              <a:srgbClr val="F4F3F5"/>
            </a:solidFill>
            <a:prstDash val="solid"/>
            <a:miter/>
          </a:ln>
          <a:scene3d>
            <a:camera prst="isometricOffAxis1Right">
              <a:rot lat="0" lon="0" rev="0"/>
            </a:camera>
            <a:lightRig rig="flood" dir="t"/>
          </a:scene3d>
        </p:spPr>
      </p:cxnSp>
      <p:cxnSp>
        <p:nvCxnSpPr>
          <p:cNvPr id="2574" name="Straight Connector 2573">
            <a:extLst>
              <a:ext uri="{FF2B5EF4-FFF2-40B4-BE49-F238E27FC236}">
                <a16:creationId xmlns:a16="http://schemas.microsoft.com/office/drawing/2014/main" id="{D2CC2D0B-63FE-2267-700C-DE36CA24F037}"/>
              </a:ext>
              <a:ext uri="{C183D7F6-B498-43B3-948B-1728B52AA6E4}">
                <adec:decorative xmlns:adec="http://schemas.microsoft.com/office/drawing/2017/decorative" val="1"/>
              </a:ext>
            </a:extLst>
          </p:cNvPr>
          <p:cNvCxnSpPr>
            <a:cxnSpLocks/>
          </p:cNvCxnSpPr>
          <p:nvPr/>
        </p:nvCxnSpPr>
        <p:spPr>
          <a:xfrm>
            <a:off x="10122407" y="4689137"/>
            <a:ext cx="1231392" cy="0"/>
          </a:xfrm>
          <a:prstGeom prst="line">
            <a:avLst/>
          </a:prstGeom>
          <a:solidFill>
            <a:srgbClr val="091F2C">
              <a:lumMod val="90000"/>
              <a:lumOff val="10000"/>
            </a:srgbClr>
          </a:solidFill>
          <a:ln w="9525" cap="flat">
            <a:solidFill>
              <a:srgbClr val="F4F3F5"/>
            </a:solidFill>
            <a:prstDash val="solid"/>
            <a:miter/>
          </a:ln>
          <a:scene3d>
            <a:camera prst="isometricOffAxis1Right">
              <a:rot lat="0" lon="0" rev="0"/>
            </a:camera>
            <a:lightRig rig="flood" dir="t"/>
          </a:scene3d>
        </p:spPr>
      </p:cxnSp>
      <p:cxnSp>
        <p:nvCxnSpPr>
          <p:cNvPr id="2575" name="Straight Connector 2574">
            <a:extLst>
              <a:ext uri="{FF2B5EF4-FFF2-40B4-BE49-F238E27FC236}">
                <a16:creationId xmlns:a16="http://schemas.microsoft.com/office/drawing/2014/main" id="{F52A572C-FA94-3420-B772-9D08F8C54649}"/>
              </a:ext>
              <a:ext uri="{C183D7F6-B498-43B3-948B-1728B52AA6E4}">
                <adec:decorative xmlns:adec="http://schemas.microsoft.com/office/drawing/2017/decorative" val="1"/>
              </a:ext>
            </a:extLst>
          </p:cNvPr>
          <p:cNvCxnSpPr>
            <a:cxnSpLocks/>
          </p:cNvCxnSpPr>
          <p:nvPr/>
        </p:nvCxnSpPr>
        <p:spPr>
          <a:xfrm>
            <a:off x="10122407" y="5601648"/>
            <a:ext cx="1231392" cy="0"/>
          </a:xfrm>
          <a:prstGeom prst="line">
            <a:avLst/>
          </a:prstGeom>
          <a:solidFill>
            <a:srgbClr val="091F2C">
              <a:lumMod val="90000"/>
              <a:lumOff val="10000"/>
            </a:srgbClr>
          </a:solidFill>
          <a:ln w="9525" cap="flat">
            <a:solidFill>
              <a:srgbClr val="F4F3F5"/>
            </a:solidFill>
            <a:prstDash val="solid"/>
            <a:miter/>
          </a:ln>
          <a:scene3d>
            <a:camera prst="isometricOffAxis1Right">
              <a:rot lat="0" lon="0" rev="0"/>
            </a:camera>
            <a:lightRig rig="flood" dir="t"/>
          </a:scene3d>
        </p:spPr>
      </p:cxnSp>
      <p:sp>
        <p:nvSpPr>
          <p:cNvPr id="2543" name="Rectangle 2542">
            <a:extLst>
              <a:ext uri="{FF2B5EF4-FFF2-40B4-BE49-F238E27FC236}">
                <a16:creationId xmlns:a16="http://schemas.microsoft.com/office/drawing/2014/main" id="{CEB47870-1A49-35D0-767A-27752184B408}"/>
              </a:ext>
              <a:ext uri="{C183D7F6-B498-43B3-948B-1728B52AA6E4}">
                <adec:decorative xmlns:adec="http://schemas.microsoft.com/office/drawing/2017/decorative" val="1"/>
              </a:ext>
            </a:extLst>
          </p:cNvPr>
          <p:cNvSpPr/>
          <p:nvPr/>
        </p:nvSpPr>
        <p:spPr bwMode="auto">
          <a:xfrm>
            <a:off x="4239161" y="3711570"/>
            <a:ext cx="3716724" cy="633880"/>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0" i="0" u="none" strike="noStrike" kern="0" cap="none" spc="0" normalizeH="0" baseline="0" noProof="0">
                <a:ln>
                  <a:noFill/>
                </a:ln>
                <a:solidFill>
                  <a:prstClr val="black"/>
                </a:solidFill>
                <a:effectLst/>
                <a:uLnTx/>
                <a:uFillTx/>
                <a:latin typeface="Segoe Sans Display Semibold"/>
                <a:ea typeface="+mn-ea"/>
                <a:cs typeface="Segoe UI"/>
              </a:rPr>
              <a:t>Unified access security </a:t>
            </a:r>
          </a:p>
        </p:txBody>
      </p:sp>
      <p:grpSp>
        <p:nvGrpSpPr>
          <p:cNvPr id="32" name="Group 31">
            <a:extLst>
              <a:ext uri="{FF2B5EF4-FFF2-40B4-BE49-F238E27FC236}">
                <a16:creationId xmlns:a16="http://schemas.microsoft.com/office/drawing/2014/main" id="{7D05E046-AE12-5DCB-DFDA-1321B006121D}"/>
              </a:ext>
              <a:ext uri="{C183D7F6-B498-43B3-948B-1728B52AA6E4}">
                <adec:decorative xmlns:adec="http://schemas.microsoft.com/office/drawing/2017/decorative" val="1"/>
              </a:ext>
            </a:extLst>
          </p:cNvPr>
          <p:cNvGrpSpPr/>
          <p:nvPr/>
        </p:nvGrpSpPr>
        <p:grpSpPr>
          <a:xfrm>
            <a:off x="5730240" y="5152203"/>
            <a:ext cx="731520" cy="731520"/>
            <a:chOff x="5730240" y="5152203"/>
            <a:chExt cx="731520" cy="731520"/>
          </a:xfrm>
        </p:grpSpPr>
        <p:sp>
          <p:nvSpPr>
            <p:cNvPr id="6" name="Oval 5">
              <a:extLst>
                <a:ext uri="{FF2B5EF4-FFF2-40B4-BE49-F238E27FC236}">
                  <a16:creationId xmlns:a16="http://schemas.microsoft.com/office/drawing/2014/main" id="{6CDED74C-E809-21E2-0B56-765CB65E89C2}"/>
                </a:ext>
                <a:ext uri="{C183D7F6-B498-43B3-948B-1728B52AA6E4}">
                  <adec:decorative xmlns:adec="http://schemas.microsoft.com/office/drawing/2017/decorative" val="1"/>
                </a:ext>
              </a:extLst>
            </p:cNvPr>
            <p:cNvSpPr/>
            <p:nvPr/>
          </p:nvSpPr>
          <p:spPr bwMode="auto">
            <a:xfrm>
              <a:off x="5730240" y="5152203"/>
              <a:ext cx="731520" cy="731520"/>
            </a:xfrm>
            <a:prstGeom prst="ellipse">
              <a:avLst/>
            </a:prstGeom>
            <a:solidFill>
              <a:sysClr val="window" lastClr="FFFFFF"/>
            </a:solidFill>
            <a:ln w="12700" cap="flat" cmpd="sng" algn="ctr">
              <a:solidFill>
                <a:srgbClr val="A5B8EE"/>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Segoe Sans Display"/>
                <a:ea typeface="+mn-ea"/>
                <a:cs typeface="+mn-cs"/>
              </a:endParaRPr>
            </a:p>
          </p:txBody>
        </p:sp>
        <p:sp>
          <p:nvSpPr>
            <p:cNvPr id="7" name="Graphic 252">
              <a:extLst>
                <a:ext uri="{FF2B5EF4-FFF2-40B4-BE49-F238E27FC236}">
                  <a16:creationId xmlns:a16="http://schemas.microsoft.com/office/drawing/2014/main" id="{1F2E1665-DFAA-E973-0FC5-56A89332F3E4}"/>
                </a:ext>
                <a:ext uri="{C183D7F6-B498-43B3-948B-1728B52AA6E4}">
                  <adec:decorative xmlns:adec="http://schemas.microsoft.com/office/drawing/2017/decorative" val="1"/>
                </a:ext>
              </a:extLst>
            </p:cNvPr>
            <p:cNvSpPr/>
            <p:nvPr/>
          </p:nvSpPr>
          <p:spPr>
            <a:xfrm>
              <a:off x="5890303" y="5322687"/>
              <a:ext cx="411425" cy="380455"/>
            </a:xfrm>
            <a:custGeom>
              <a:avLst/>
              <a:gdLst>
                <a:gd name="connsiteX0" fmla="*/ 81130 w 182110"/>
                <a:gd name="connsiteY0" fmla="*/ 2565 h 168400"/>
                <a:gd name="connsiteX1" fmla="*/ 108198 w 182110"/>
                <a:gd name="connsiteY1" fmla="*/ 9297 h 168400"/>
                <a:gd name="connsiteX2" fmla="*/ 108953 w 182110"/>
                <a:gd name="connsiteY2" fmla="*/ 10553 h 168400"/>
                <a:gd name="connsiteX3" fmla="*/ 179547 w 182110"/>
                <a:gd name="connsiteY3" fmla="*/ 138012 h 168400"/>
                <a:gd name="connsiteX4" fmla="*/ 171546 w 182110"/>
                <a:gd name="connsiteY4" fmla="*/ 165835 h 168400"/>
                <a:gd name="connsiteX5" fmla="*/ 163043 w 182110"/>
                <a:gd name="connsiteY5" fmla="*/ 168346 h 168400"/>
                <a:gd name="connsiteX6" fmla="*/ 161642 w 182110"/>
                <a:gd name="connsiteY6" fmla="*/ 168401 h 168400"/>
                <a:gd name="connsiteX7" fmla="*/ 20471 w 182110"/>
                <a:gd name="connsiteY7" fmla="*/ 168401 h 168400"/>
                <a:gd name="connsiteX8" fmla="*/ 0 w 182110"/>
                <a:gd name="connsiteY8" fmla="*/ 147929 h 168400"/>
                <a:gd name="connsiteX9" fmla="*/ 1902 w 182110"/>
                <a:gd name="connsiteY9" fmla="*/ 139313 h 168400"/>
                <a:gd name="connsiteX10" fmla="*/ 2557 w 182110"/>
                <a:gd name="connsiteY10" fmla="*/ 138012 h 168400"/>
                <a:gd name="connsiteX11" fmla="*/ 73133 w 182110"/>
                <a:gd name="connsiteY11" fmla="*/ 10553 h 168400"/>
                <a:gd name="connsiteX12" fmla="*/ 81121 w 182110"/>
                <a:gd name="connsiteY12" fmla="*/ 2565 h 168400"/>
                <a:gd name="connsiteX13" fmla="*/ 167610 w 182110"/>
                <a:gd name="connsiteY13" fmla="*/ 144618 h 168400"/>
                <a:gd name="connsiteX14" fmla="*/ 97007 w 182110"/>
                <a:gd name="connsiteY14" fmla="*/ 17168 h 168400"/>
                <a:gd name="connsiteX15" fmla="*/ 87728 w 182110"/>
                <a:gd name="connsiteY15" fmla="*/ 14516 h 168400"/>
                <a:gd name="connsiteX16" fmla="*/ 85598 w 182110"/>
                <a:gd name="connsiteY16" fmla="*/ 16367 h 168400"/>
                <a:gd name="connsiteX17" fmla="*/ 85079 w 182110"/>
                <a:gd name="connsiteY17" fmla="*/ 17168 h 168400"/>
                <a:gd name="connsiteX18" fmla="*/ 14503 w 182110"/>
                <a:gd name="connsiteY18" fmla="*/ 144618 h 168400"/>
                <a:gd name="connsiteX19" fmla="*/ 17157 w 182110"/>
                <a:gd name="connsiteY19" fmla="*/ 153896 h 168400"/>
                <a:gd name="connsiteX20" fmla="*/ 19607 w 182110"/>
                <a:gd name="connsiteY20" fmla="*/ 154699 h 168400"/>
                <a:gd name="connsiteX21" fmla="*/ 20471 w 182110"/>
                <a:gd name="connsiteY21" fmla="*/ 154753 h 168400"/>
                <a:gd name="connsiteX22" fmla="*/ 161642 w 182110"/>
                <a:gd name="connsiteY22" fmla="*/ 154753 h 168400"/>
                <a:gd name="connsiteX23" fmla="*/ 168460 w 182110"/>
                <a:gd name="connsiteY23" fmla="*/ 147924 h 168400"/>
                <a:gd name="connsiteX24" fmla="*/ 167974 w 182110"/>
                <a:gd name="connsiteY24" fmla="*/ 145400 h 168400"/>
                <a:gd name="connsiteX25" fmla="*/ 167610 w 182110"/>
                <a:gd name="connsiteY25" fmla="*/ 144618 h 168400"/>
                <a:gd name="connsiteX26" fmla="*/ 97007 w 182110"/>
                <a:gd name="connsiteY26" fmla="*/ 17168 h 168400"/>
                <a:gd name="connsiteX27" fmla="*/ 167610 w 182110"/>
                <a:gd name="connsiteY27" fmla="*/ 144618 h 168400"/>
                <a:gd name="connsiteX28" fmla="*/ 91047 w 182110"/>
                <a:gd name="connsiteY28" fmla="*/ 122845 h 168400"/>
                <a:gd name="connsiteX29" fmla="*/ 100420 w 182110"/>
                <a:gd name="connsiteY29" fmla="*/ 131642 h 168400"/>
                <a:gd name="connsiteX30" fmla="*/ 91622 w 182110"/>
                <a:gd name="connsiteY30" fmla="*/ 141015 h 168400"/>
                <a:gd name="connsiteX31" fmla="*/ 91047 w 182110"/>
                <a:gd name="connsiteY31" fmla="*/ 141015 h 168400"/>
                <a:gd name="connsiteX32" fmla="*/ 82250 w 182110"/>
                <a:gd name="connsiteY32" fmla="*/ 131642 h 168400"/>
                <a:gd name="connsiteX33" fmla="*/ 91047 w 182110"/>
                <a:gd name="connsiteY33" fmla="*/ 122845 h 168400"/>
                <a:gd name="connsiteX34" fmla="*/ 91002 w 182110"/>
                <a:gd name="connsiteY34" fmla="*/ 54589 h 168400"/>
                <a:gd name="connsiteX35" fmla="*/ 97771 w 182110"/>
                <a:gd name="connsiteY35" fmla="*/ 60476 h 168400"/>
                <a:gd name="connsiteX36" fmla="*/ 97835 w 182110"/>
                <a:gd name="connsiteY36" fmla="*/ 61404 h 168400"/>
                <a:gd name="connsiteX37" fmla="*/ 97871 w 182110"/>
                <a:gd name="connsiteY37" fmla="*/ 102365 h 168400"/>
                <a:gd name="connsiteX38" fmla="*/ 91128 w 182110"/>
                <a:gd name="connsiteY38" fmla="*/ 109268 h 168400"/>
                <a:gd name="connsiteX39" fmla="*/ 84278 w 182110"/>
                <a:gd name="connsiteY39" fmla="*/ 103302 h 168400"/>
                <a:gd name="connsiteX40" fmla="*/ 84224 w 182110"/>
                <a:gd name="connsiteY40" fmla="*/ 102374 h 168400"/>
                <a:gd name="connsiteX41" fmla="*/ 84187 w 182110"/>
                <a:gd name="connsiteY41" fmla="*/ 61413 h 168400"/>
                <a:gd name="connsiteX42" fmla="*/ 91011 w 182110"/>
                <a:gd name="connsiteY42" fmla="*/ 54589 h 16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82110" h="168400">
                  <a:moveTo>
                    <a:pt x="81130" y="2565"/>
                  </a:moveTo>
                  <a:cubicBezTo>
                    <a:pt x="90522" y="-2636"/>
                    <a:pt x="102337" y="303"/>
                    <a:pt x="108198" y="9297"/>
                  </a:cubicBezTo>
                  <a:lnTo>
                    <a:pt x="108953" y="10553"/>
                  </a:lnTo>
                  <a:lnTo>
                    <a:pt x="179547" y="138012"/>
                  </a:lnTo>
                  <a:cubicBezTo>
                    <a:pt x="185021" y="147905"/>
                    <a:pt x="181439" y="160361"/>
                    <a:pt x="171546" y="165835"/>
                  </a:cubicBezTo>
                  <a:cubicBezTo>
                    <a:pt x="168930" y="167283"/>
                    <a:pt x="166027" y="168141"/>
                    <a:pt x="163043" y="168346"/>
                  </a:cubicBezTo>
                  <a:lnTo>
                    <a:pt x="161642" y="168401"/>
                  </a:lnTo>
                  <a:lnTo>
                    <a:pt x="20471" y="168401"/>
                  </a:lnTo>
                  <a:cubicBezTo>
                    <a:pt x="9165" y="168401"/>
                    <a:pt x="0" y="159235"/>
                    <a:pt x="0" y="147929"/>
                  </a:cubicBezTo>
                  <a:cubicBezTo>
                    <a:pt x="0" y="144953"/>
                    <a:pt x="649" y="142013"/>
                    <a:pt x="1902" y="139313"/>
                  </a:cubicBezTo>
                  <a:lnTo>
                    <a:pt x="2557" y="138012"/>
                  </a:lnTo>
                  <a:lnTo>
                    <a:pt x="73133" y="10553"/>
                  </a:lnTo>
                  <a:cubicBezTo>
                    <a:pt x="74993" y="7194"/>
                    <a:pt x="77762" y="4425"/>
                    <a:pt x="81121" y="2565"/>
                  </a:cubicBezTo>
                  <a:close/>
                  <a:moveTo>
                    <a:pt x="167610" y="144618"/>
                  </a:moveTo>
                  <a:lnTo>
                    <a:pt x="97007" y="17168"/>
                  </a:lnTo>
                  <a:cubicBezTo>
                    <a:pt x="95177" y="13873"/>
                    <a:pt x="91023" y="12686"/>
                    <a:pt x="87728" y="14516"/>
                  </a:cubicBezTo>
                  <a:cubicBezTo>
                    <a:pt x="86897" y="14978"/>
                    <a:pt x="86171" y="15608"/>
                    <a:pt x="85598" y="16367"/>
                  </a:cubicBezTo>
                  <a:lnTo>
                    <a:pt x="85079" y="17168"/>
                  </a:lnTo>
                  <a:lnTo>
                    <a:pt x="14503" y="144618"/>
                  </a:lnTo>
                  <a:cubicBezTo>
                    <a:pt x="12674" y="147913"/>
                    <a:pt x="13862" y="152066"/>
                    <a:pt x="17157" y="153896"/>
                  </a:cubicBezTo>
                  <a:cubicBezTo>
                    <a:pt x="17915" y="154316"/>
                    <a:pt x="18747" y="154589"/>
                    <a:pt x="19607" y="154699"/>
                  </a:cubicBezTo>
                  <a:lnTo>
                    <a:pt x="20471" y="154753"/>
                  </a:lnTo>
                  <a:lnTo>
                    <a:pt x="161642" y="154753"/>
                  </a:lnTo>
                  <a:cubicBezTo>
                    <a:pt x="165410" y="154750"/>
                    <a:pt x="168463" y="151692"/>
                    <a:pt x="168460" y="147924"/>
                  </a:cubicBezTo>
                  <a:cubicBezTo>
                    <a:pt x="168460" y="147060"/>
                    <a:pt x="168294" y="146203"/>
                    <a:pt x="167974" y="145400"/>
                  </a:cubicBezTo>
                  <a:lnTo>
                    <a:pt x="167610" y="144618"/>
                  </a:lnTo>
                  <a:lnTo>
                    <a:pt x="97007" y="17168"/>
                  </a:lnTo>
                  <a:lnTo>
                    <a:pt x="167610" y="144618"/>
                  </a:lnTo>
                  <a:close/>
                  <a:moveTo>
                    <a:pt x="91047" y="122845"/>
                  </a:moveTo>
                  <a:cubicBezTo>
                    <a:pt x="96065" y="122686"/>
                    <a:pt x="100260" y="126625"/>
                    <a:pt x="100420" y="131642"/>
                  </a:cubicBezTo>
                  <a:cubicBezTo>
                    <a:pt x="100579" y="136660"/>
                    <a:pt x="96640" y="140855"/>
                    <a:pt x="91622" y="141015"/>
                  </a:cubicBezTo>
                  <a:cubicBezTo>
                    <a:pt x="91430" y="141021"/>
                    <a:pt x="91239" y="141021"/>
                    <a:pt x="91047" y="141015"/>
                  </a:cubicBezTo>
                  <a:cubicBezTo>
                    <a:pt x="86030" y="140855"/>
                    <a:pt x="82091" y="136660"/>
                    <a:pt x="82250" y="131642"/>
                  </a:cubicBezTo>
                  <a:cubicBezTo>
                    <a:pt x="82402" y="126848"/>
                    <a:pt x="86254" y="122997"/>
                    <a:pt x="91047" y="122845"/>
                  </a:cubicBezTo>
                  <a:close/>
                  <a:moveTo>
                    <a:pt x="91002" y="54589"/>
                  </a:moveTo>
                  <a:cubicBezTo>
                    <a:pt x="94412" y="54584"/>
                    <a:pt x="97303" y="57098"/>
                    <a:pt x="97771" y="60476"/>
                  </a:cubicBezTo>
                  <a:lnTo>
                    <a:pt x="97835" y="61404"/>
                  </a:lnTo>
                  <a:lnTo>
                    <a:pt x="97871" y="102365"/>
                  </a:lnTo>
                  <a:cubicBezTo>
                    <a:pt x="97915" y="106133"/>
                    <a:pt x="94896" y="109224"/>
                    <a:pt x="91128" y="109268"/>
                  </a:cubicBezTo>
                  <a:cubicBezTo>
                    <a:pt x="87660" y="109308"/>
                    <a:pt x="84714" y="106742"/>
                    <a:pt x="84278" y="103302"/>
                  </a:cubicBezTo>
                  <a:lnTo>
                    <a:pt x="84224" y="102374"/>
                  </a:lnTo>
                  <a:lnTo>
                    <a:pt x="84187" y="61413"/>
                  </a:lnTo>
                  <a:cubicBezTo>
                    <a:pt x="84187" y="57644"/>
                    <a:pt x="87243" y="54589"/>
                    <a:pt x="91011" y="54589"/>
                  </a:cubicBezTo>
                  <a:close/>
                </a:path>
              </a:pathLst>
            </a:custGeom>
            <a:solidFill>
              <a:sysClr val="windowText" lastClr="000000"/>
            </a:solidFill>
            <a:ln w="8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Display"/>
                <a:ea typeface="+mn-ea"/>
                <a:cs typeface="+mn-cs"/>
              </a:endParaRPr>
            </a:p>
          </p:txBody>
        </p:sp>
      </p:grpSp>
      <p:grpSp>
        <p:nvGrpSpPr>
          <p:cNvPr id="33" name="Group 32">
            <a:extLst>
              <a:ext uri="{FF2B5EF4-FFF2-40B4-BE49-F238E27FC236}">
                <a16:creationId xmlns:a16="http://schemas.microsoft.com/office/drawing/2014/main" id="{A1656FBB-715D-9A7F-4EB7-1443FD320A03}"/>
              </a:ext>
              <a:ext uri="{C183D7F6-B498-43B3-948B-1728B52AA6E4}">
                <adec:decorative xmlns:adec="http://schemas.microsoft.com/office/drawing/2017/decorative" val="1"/>
              </a:ext>
            </a:extLst>
          </p:cNvPr>
          <p:cNvGrpSpPr/>
          <p:nvPr/>
        </p:nvGrpSpPr>
        <p:grpSpPr>
          <a:xfrm>
            <a:off x="3158970" y="5152203"/>
            <a:ext cx="731520" cy="731520"/>
            <a:chOff x="3158970" y="5152203"/>
            <a:chExt cx="731520" cy="731520"/>
          </a:xfrm>
        </p:grpSpPr>
        <p:sp>
          <p:nvSpPr>
            <p:cNvPr id="4" name="Oval 3">
              <a:extLst>
                <a:ext uri="{FF2B5EF4-FFF2-40B4-BE49-F238E27FC236}">
                  <a16:creationId xmlns:a16="http://schemas.microsoft.com/office/drawing/2014/main" id="{A9D8B6BF-13EA-E42B-C3D9-3357410A55AF}"/>
                </a:ext>
                <a:ext uri="{C183D7F6-B498-43B3-948B-1728B52AA6E4}">
                  <adec:decorative xmlns:adec="http://schemas.microsoft.com/office/drawing/2017/decorative" val="1"/>
                </a:ext>
              </a:extLst>
            </p:cNvPr>
            <p:cNvSpPr/>
            <p:nvPr/>
          </p:nvSpPr>
          <p:spPr bwMode="auto">
            <a:xfrm>
              <a:off x="3158970" y="5152203"/>
              <a:ext cx="731520" cy="731520"/>
            </a:xfrm>
            <a:prstGeom prst="ellipse">
              <a:avLst/>
            </a:prstGeom>
            <a:solidFill>
              <a:sysClr val="window" lastClr="FFFFFF"/>
            </a:solidFill>
            <a:ln w="12700" cap="flat" cmpd="sng" algn="ctr">
              <a:solidFill>
                <a:srgbClr val="A5B8EE"/>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Segoe Sans Display"/>
                <a:ea typeface="+mn-ea"/>
                <a:cs typeface="+mn-cs"/>
              </a:endParaRPr>
            </a:p>
          </p:txBody>
        </p:sp>
        <p:sp>
          <p:nvSpPr>
            <p:cNvPr id="9" name="Graphic 1114">
              <a:extLst>
                <a:ext uri="{FF2B5EF4-FFF2-40B4-BE49-F238E27FC236}">
                  <a16:creationId xmlns:a16="http://schemas.microsoft.com/office/drawing/2014/main" id="{07F7D255-842B-5252-F706-87C149FF6F3B}"/>
                </a:ext>
                <a:ext uri="{C183D7F6-B498-43B3-948B-1728B52AA6E4}">
                  <adec:decorative xmlns:adec="http://schemas.microsoft.com/office/drawing/2017/decorative" val="1"/>
                </a:ext>
              </a:extLst>
            </p:cNvPr>
            <p:cNvSpPr/>
            <p:nvPr/>
          </p:nvSpPr>
          <p:spPr>
            <a:xfrm>
              <a:off x="3319175" y="5317544"/>
              <a:ext cx="411102" cy="405967"/>
            </a:xfrm>
            <a:custGeom>
              <a:avLst/>
              <a:gdLst>
                <a:gd name="connsiteX0" fmla="*/ 72137 w 147974"/>
                <a:gd name="connsiteY0" fmla="*/ 0 h 146124"/>
                <a:gd name="connsiteX1" fmla="*/ 30239 w 147974"/>
                <a:gd name="connsiteY1" fmla="*/ 35144 h 146124"/>
                <a:gd name="connsiteX2" fmla="*/ 29595 w 147974"/>
                <a:gd name="connsiteY2" fmla="*/ 35144 h 146124"/>
                <a:gd name="connsiteX3" fmla="*/ 0 w 147974"/>
                <a:gd name="connsiteY3" fmla="*/ 64739 h 146124"/>
                <a:gd name="connsiteX4" fmla="*/ 29595 w 147974"/>
                <a:gd name="connsiteY4" fmla="*/ 94334 h 146124"/>
                <a:gd name="connsiteX5" fmla="*/ 82533 w 147974"/>
                <a:gd name="connsiteY5" fmla="*/ 94334 h 146124"/>
                <a:gd name="connsiteX6" fmla="*/ 83583 w 147974"/>
                <a:gd name="connsiteY6" fmla="*/ 91196 h 146124"/>
                <a:gd name="connsiteX7" fmla="*/ 88222 w 147974"/>
                <a:gd name="connsiteY7" fmla="*/ 83235 h 146124"/>
                <a:gd name="connsiteX8" fmla="*/ 29595 w 147974"/>
                <a:gd name="connsiteY8" fmla="*/ 83235 h 146124"/>
                <a:gd name="connsiteX9" fmla="*/ 11098 w 147974"/>
                <a:gd name="connsiteY9" fmla="*/ 64739 h 146124"/>
                <a:gd name="connsiteX10" fmla="*/ 29595 w 147974"/>
                <a:gd name="connsiteY10" fmla="*/ 46242 h 146124"/>
                <a:gd name="connsiteX11" fmla="*/ 35188 w 147974"/>
                <a:gd name="connsiteY11" fmla="*/ 46242 h 146124"/>
                <a:gd name="connsiteX12" fmla="*/ 40737 w 147974"/>
                <a:gd name="connsiteY12" fmla="*/ 40967 h 146124"/>
                <a:gd name="connsiteX13" fmla="*/ 73740 w 147974"/>
                <a:gd name="connsiteY13" fmla="*/ 11162 h 146124"/>
                <a:gd name="connsiteX14" fmla="*/ 103545 w 147974"/>
                <a:gd name="connsiteY14" fmla="*/ 40967 h 146124"/>
                <a:gd name="connsiteX15" fmla="*/ 109087 w 147974"/>
                <a:gd name="connsiteY15" fmla="*/ 46242 h 146124"/>
                <a:gd name="connsiteX16" fmla="*/ 114680 w 147974"/>
                <a:gd name="connsiteY16" fmla="*/ 46242 h 146124"/>
                <a:gd name="connsiteX17" fmla="*/ 131638 w 147974"/>
                <a:gd name="connsiteY17" fmla="*/ 57340 h 146124"/>
                <a:gd name="connsiteX18" fmla="*/ 142425 w 147974"/>
                <a:gd name="connsiteY18" fmla="*/ 57340 h 146124"/>
                <a:gd name="connsiteX19" fmla="*/ 143350 w 147974"/>
                <a:gd name="connsiteY19" fmla="*/ 57370 h 146124"/>
                <a:gd name="connsiteX20" fmla="*/ 114680 w 147974"/>
                <a:gd name="connsiteY20" fmla="*/ 35144 h 146124"/>
                <a:gd name="connsiteX21" fmla="*/ 114036 w 147974"/>
                <a:gd name="connsiteY21" fmla="*/ 35144 h 146124"/>
                <a:gd name="connsiteX22" fmla="*/ 72137 w 147974"/>
                <a:gd name="connsiteY22" fmla="*/ 0 h 146124"/>
                <a:gd name="connsiteX23" fmla="*/ 107281 w 147974"/>
                <a:gd name="connsiteY23" fmla="*/ 70288 h 146124"/>
                <a:gd name="connsiteX24" fmla="*/ 112830 w 147974"/>
                <a:gd name="connsiteY24" fmla="*/ 64739 h 146124"/>
                <a:gd name="connsiteX25" fmla="*/ 142425 w 147974"/>
                <a:gd name="connsiteY25" fmla="*/ 64739 h 146124"/>
                <a:gd name="connsiteX26" fmla="*/ 147974 w 147974"/>
                <a:gd name="connsiteY26" fmla="*/ 70288 h 146124"/>
                <a:gd name="connsiteX27" fmla="*/ 147974 w 147974"/>
                <a:gd name="connsiteY27" fmla="*/ 99883 h 146124"/>
                <a:gd name="connsiteX28" fmla="*/ 142425 w 147974"/>
                <a:gd name="connsiteY28" fmla="*/ 105432 h 146124"/>
                <a:gd name="connsiteX29" fmla="*/ 112830 w 147974"/>
                <a:gd name="connsiteY29" fmla="*/ 105432 h 146124"/>
                <a:gd name="connsiteX30" fmla="*/ 107281 w 147974"/>
                <a:gd name="connsiteY30" fmla="*/ 99883 h 146124"/>
                <a:gd name="connsiteX31" fmla="*/ 107281 w 147974"/>
                <a:gd name="connsiteY31" fmla="*/ 94334 h 146124"/>
                <a:gd name="connsiteX32" fmla="*/ 104891 w 147974"/>
                <a:gd name="connsiteY32" fmla="*/ 94334 h 146124"/>
                <a:gd name="connsiteX33" fmla="*/ 101133 w 147974"/>
                <a:gd name="connsiteY33" fmla="*/ 97041 h 146124"/>
                <a:gd name="connsiteX34" fmla="*/ 94371 w 147974"/>
                <a:gd name="connsiteY34" fmla="*/ 117329 h 146124"/>
                <a:gd name="connsiteX35" fmla="*/ 80076 w 147974"/>
                <a:gd name="connsiteY35" fmla="*/ 127628 h 146124"/>
                <a:gd name="connsiteX36" fmla="*/ 73987 w 147974"/>
                <a:gd name="connsiteY36" fmla="*/ 127628 h 146124"/>
                <a:gd name="connsiteX37" fmla="*/ 73987 w 147974"/>
                <a:gd name="connsiteY37" fmla="*/ 140575 h 146124"/>
                <a:gd name="connsiteX38" fmla="*/ 68438 w 147974"/>
                <a:gd name="connsiteY38" fmla="*/ 146124 h 146124"/>
                <a:gd name="connsiteX39" fmla="*/ 38843 w 147974"/>
                <a:gd name="connsiteY39" fmla="*/ 146124 h 146124"/>
                <a:gd name="connsiteX40" fmla="*/ 33294 w 147974"/>
                <a:gd name="connsiteY40" fmla="*/ 140575 h 146124"/>
                <a:gd name="connsiteX41" fmla="*/ 33294 w 147974"/>
                <a:gd name="connsiteY41" fmla="*/ 110981 h 146124"/>
                <a:gd name="connsiteX42" fmla="*/ 38843 w 147974"/>
                <a:gd name="connsiteY42" fmla="*/ 105432 h 146124"/>
                <a:gd name="connsiteX43" fmla="*/ 68438 w 147974"/>
                <a:gd name="connsiteY43" fmla="*/ 105432 h 146124"/>
                <a:gd name="connsiteX44" fmla="*/ 73987 w 147974"/>
                <a:gd name="connsiteY44" fmla="*/ 110981 h 146124"/>
                <a:gd name="connsiteX45" fmla="*/ 73987 w 147974"/>
                <a:gd name="connsiteY45" fmla="*/ 116530 h 146124"/>
                <a:gd name="connsiteX46" fmla="*/ 80076 w 147974"/>
                <a:gd name="connsiteY46" fmla="*/ 116530 h 146124"/>
                <a:gd name="connsiteX47" fmla="*/ 83835 w 147974"/>
                <a:gd name="connsiteY47" fmla="*/ 113822 h 146124"/>
                <a:gd name="connsiteX48" fmla="*/ 90597 w 147974"/>
                <a:gd name="connsiteY48" fmla="*/ 93534 h 146124"/>
                <a:gd name="connsiteX49" fmla="*/ 104891 w 147974"/>
                <a:gd name="connsiteY49" fmla="*/ 83235 h 146124"/>
                <a:gd name="connsiteX50" fmla="*/ 107281 w 147974"/>
                <a:gd name="connsiteY50" fmla="*/ 83235 h 146124"/>
                <a:gd name="connsiteX51" fmla="*/ 107281 w 147974"/>
                <a:gd name="connsiteY51" fmla="*/ 70288 h 146124"/>
                <a:gd name="connsiteX52" fmla="*/ 118379 w 147974"/>
                <a:gd name="connsiteY52" fmla="*/ 88918 h 146124"/>
                <a:gd name="connsiteX53" fmla="*/ 118379 w 147974"/>
                <a:gd name="connsiteY53" fmla="*/ 94334 h 146124"/>
                <a:gd name="connsiteX54" fmla="*/ 136876 w 147974"/>
                <a:gd name="connsiteY54" fmla="*/ 94334 h 146124"/>
                <a:gd name="connsiteX55" fmla="*/ 136876 w 147974"/>
                <a:gd name="connsiteY55" fmla="*/ 75837 h 146124"/>
                <a:gd name="connsiteX56" fmla="*/ 118379 w 147974"/>
                <a:gd name="connsiteY56" fmla="*/ 75837 h 146124"/>
                <a:gd name="connsiteX57" fmla="*/ 118379 w 147974"/>
                <a:gd name="connsiteY57" fmla="*/ 88651 h 146124"/>
                <a:gd name="connsiteX58" fmla="*/ 118379 w 147974"/>
                <a:gd name="connsiteY58" fmla="*/ 88918 h 146124"/>
                <a:gd name="connsiteX59" fmla="*/ 44392 w 147974"/>
                <a:gd name="connsiteY59" fmla="*/ 116530 h 146124"/>
                <a:gd name="connsiteX60" fmla="*/ 44392 w 147974"/>
                <a:gd name="connsiteY60" fmla="*/ 135026 h 146124"/>
                <a:gd name="connsiteX61" fmla="*/ 62889 w 147974"/>
                <a:gd name="connsiteY61" fmla="*/ 135026 h 146124"/>
                <a:gd name="connsiteX62" fmla="*/ 62889 w 147974"/>
                <a:gd name="connsiteY62" fmla="*/ 116530 h 146124"/>
                <a:gd name="connsiteX63" fmla="*/ 44392 w 147974"/>
                <a:gd name="connsiteY63" fmla="*/ 116530 h 146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47974" h="146124">
                  <a:moveTo>
                    <a:pt x="72137" y="0"/>
                  </a:moveTo>
                  <a:cubicBezTo>
                    <a:pt x="51497" y="4"/>
                    <a:pt x="33834" y="14819"/>
                    <a:pt x="30239" y="35144"/>
                  </a:cubicBezTo>
                  <a:lnTo>
                    <a:pt x="29595" y="35144"/>
                  </a:lnTo>
                  <a:cubicBezTo>
                    <a:pt x="13250" y="35144"/>
                    <a:pt x="0" y="48394"/>
                    <a:pt x="0" y="64739"/>
                  </a:cubicBezTo>
                  <a:cubicBezTo>
                    <a:pt x="0" y="81083"/>
                    <a:pt x="13250" y="94334"/>
                    <a:pt x="29595" y="94334"/>
                  </a:cubicBezTo>
                  <a:lnTo>
                    <a:pt x="82533" y="94334"/>
                  </a:lnTo>
                  <a:lnTo>
                    <a:pt x="83583" y="91196"/>
                  </a:lnTo>
                  <a:cubicBezTo>
                    <a:pt x="84561" y="88250"/>
                    <a:pt x="86142" y="85539"/>
                    <a:pt x="88222" y="83235"/>
                  </a:cubicBezTo>
                  <a:lnTo>
                    <a:pt x="29595" y="83235"/>
                  </a:lnTo>
                  <a:cubicBezTo>
                    <a:pt x="19379" y="83235"/>
                    <a:pt x="11098" y="74954"/>
                    <a:pt x="11098" y="64739"/>
                  </a:cubicBezTo>
                  <a:cubicBezTo>
                    <a:pt x="11098" y="54523"/>
                    <a:pt x="19379" y="46242"/>
                    <a:pt x="29595" y="46242"/>
                  </a:cubicBezTo>
                  <a:lnTo>
                    <a:pt x="35188" y="46242"/>
                  </a:lnTo>
                  <a:cubicBezTo>
                    <a:pt x="38148" y="46242"/>
                    <a:pt x="40589" y="43919"/>
                    <a:pt x="40737" y="40967"/>
                  </a:cubicBezTo>
                  <a:cubicBezTo>
                    <a:pt x="41620" y="23623"/>
                    <a:pt x="56396" y="10279"/>
                    <a:pt x="73740" y="11162"/>
                  </a:cubicBezTo>
                  <a:cubicBezTo>
                    <a:pt x="89849" y="11982"/>
                    <a:pt x="102724" y="24858"/>
                    <a:pt x="103545" y="40967"/>
                  </a:cubicBezTo>
                  <a:cubicBezTo>
                    <a:pt x="103693" y="43926"/>
                    <a:pt x="106127" y="46242"/>
                    <a:pt x="109087" y="46242"/>
                  </a:cubicBezTo>
                  <a:lnTo>
                    <a:pt x="114680" y="46242"/>
                  </a:lnTo>
                  <a:cubicBezTo>
                    <a:pt x="122037" y="46240"/>
                    <a:pt x="128695" y="50598"/>
                    <a:pt x="131638" y="57340"/>
                  </a:cubicBezTo>
                  <a:lnTo>
                    <a:pt x="142425" y="57340"/>
                  </a:lnTo>
                  <a:cubicBezTo>
                    <a:pt x="142736" y="57340"/>
                    <a:pt x="143047" y="57355"/>
                    <a:pt x="143350" y="57370"/>
                  </a:cubicBezTo>
                  <a:cubicBezTo>
                    <a:pt x="139981" y="44289"/>
                    <a:pt x="128188" y="35146"/>
                    <a:pt x="114680" y="35144"/>
                  </a:cubicBezTo>
                  <a:lnTo>
                    <a:pt x="114036" y="35144"/>
                  </a:lnTo>
                  <a:cubicBezTo>
                    <a:pt x="110441" y="14819"/>
                    <a:pt x="92778" y="4"/>
                    <a:pt x="72137" y="0"/>
                  </a:cubicBezTo>
                  <a:close/>
                  <a:moveTo>
                    <a:pt x="107281" y="70288"/>
                  </a:moveTo>
                  <a:cubicBezTo>
                    <a:pt x="107281" y="67223"/>
                    <a:pt x="109766" y="64739"/>
                    <a:pt x="112830" y="64739"/>
                  </a:cubicBezTo>
                  <a:lnTo>
                    <a:pt x="142425" y="64739"/>
                  </a:lnTo>
                  <a:cubicBezTo>
                    <a:pt x="145490" y="64739"/>
                    <a:pt x="147974" y="67223"/>
                    <a:pt x="147974" y="70288"/>
                  </a:cubicBezTo>
                  <a:lnTo>
                    <a:pt x="147974" y="99883"/>
                  </a:lnTo>
                  <a:cubicBezTo>
                    <a:pt x="147974" y="102947"/>
                    <a:pt x="145490" y="105432"/>
                    <a:pt x="142425" y="105432"/>
                  </a:cubicBezTo>
                  <a:lnTo>
                    <a:pt x="112830" y="105432"/>
                  </a:lnTo>
                  <a:cubicBezTo>
                    <a:pt x="109766" y="105432"/>
                    <a:pt x="107281" y="102947"/>
                    <a:pt x="107281" y="99883"/>
                  </a:cubicBezTo>
                  <a:lnTo>
                    <a:pt x="107281" y="94334"/>
                  </a:lnTo>
                  <a:lnTo>
                    <a:pt x="104891" y="94334"/>
                  </a:lnTo>
                  <a:cubicBezTo>
                    <a:pt x="103187" y="94334"/>
                    <a:pt x="101674" y="95425"/>
                    <a:pt x="101133" y="97041"/>
                  </a:cubicBezTo>
                  <a:lnTo>
                    <a:pt x="94371" y="117329"/>
                  </a:lnTo>
                  <a:cubicBezTo>
                    <a:pt x="92320" y="123481"/>
                    <a:pt x="86561" y="127629"/>
                    <a:pt x="80076" y="127628"/>
                  </a:cubicBezTo>
                  <a:lnTo>
                    <a:pt x="73987" y="127628"/>
                  </a:lnTo>
                  <a:lnTo>
                    <a:pt x="73987" y="140575"/>
                  </a:lnTo>
                  <a:cubicBezTo>
                    <a:pt x="73987" y="143640"/>
                    <a:pt x="71503" y="146124"/>
                    <a:pt x="68438" y="146124"/>
                  </a:cubicBezTo>
                  <a:lnTo>
                    <a:pt x="38843" y="146124"/>
                  </a:lnTo>
                  <a:cubicBezTo>
                    <a:pt x="35779" y="146124"/>
                    <a:pt x="33294" y="143640"/>
                    <a:pt x="33294" y="140575"/>
                  </a:cubicBezTo>
                  <a:lnTo>
                    <a:pt x="33294" y="110981"/>
                  </a:lnTo>
                  <a:cubicBezTo>
                    <a:pt x="33294" y="107916"/>
                    <a:pt x="35779" y="105432"/>
                    <a:pt x="38843" y="105432"/>
                  </a:cubicBezTo>
                  <a:lnTo>
                    <a:pt x="68438" y="105432"/>
                  </a:lnTo>
                  <a:cubicBezTo>
                    <a:pt x="71503" y="105432"/>
                    <a:pt x="73987" y="107916"/>
                    <a:pt x="73987" y="110981"/>
                  </a:cubicBezTo>
                  <a:lnTo>
                    <a:pt x="73987" y="116530"/>
                  </a:lnTo>
                  <a:lnTo>
                    <a:pt x="80076" y="116530"/>
                  </a:lnTo>
                  <a:cubicBezTo>
                    <a:pt x="81778" y="116530"/>
                    <a:pt x="83302" y="115435"/>
                    <a:pt x="83835" y="113822"/>
                  </a:cubicBezTo>
                  <a:lnTo>
                    <a:pt x="90597" y="93534"/>
                  </a:lnTo>
                  <a:cubicBezTo>
                    <a:pt x="92648" y="87382"/>
                    <a:pt x="98407" y="83234"/>
                    <a:pt x="104891" y="83235"/>
                  </a:cubicBezTo>
                  <a:lnTo>
                    <a:pt x="107281" y="83235"/>
                  </a:lnTo>
                  <a:lnTo>
                    <a:pt x="107281" y="70288"/>
                  </a:lnTo>
                  <a:close/>
                  <a:moveTo>
                    <a:pt x="118379" y="88918"/>
                  </a:moveTo>
                  <a:lnTo>
                    <a:pt x="118379" y="94334"/>
                  </a:lnTo>
                  <a:lnTo>
                    <a:pt x="136876" y="94334"/>
                  </a:lnTo>
                  <a:lnTo>
                    <a:pt x="136876" y="75837"/>
                  </a:lnTo>
                  <a:lnTo>
                    <a:pt x="118379" y="75837"/>
                  </a:lnTo>
                  <a:lnTo>
                    <a:pt x="118379" y="88651"/>
                  </a:lnTo>
                  <a:cubicBezTo>
                    <a:pt x="118381" y="88740"/>
                    <a:pt x="118381" y="88829"/>
                    <a:pt x="118379" y="88918"/>
                  </a:cubicBezTo>
                  <a:close/>
                  <a:moveTo>
                    <a:pt x="44392" y="116530"/>
                  </a:moveTo>
                  <a:lnTo>
                    <a:pt x="44392" y="135026"/>
                  </a:lnTo>
                  <a:lnTo>
                    <a:pt x="62889" y="135026"/>
                  </a:lnTo>
                  <a:lnTo>
                    <a:pt x="62889" y="116530"/>
                  </a:lnTo>
                  <a:lnTo>
                    <a:pt x="44392" y="116530"/>
                  </a:lnTo>
                  <a:close/>
                </a:path>
              </a:pathLst>
            </a:custGeom>
            <a:solidFill>
              <a:sysClr val="windowText" lastClr="000000"/>
            </a:solidFill>
            <a:ln w="71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Display"/>
                <a:ea typeface="+mn-ea"/>
                <a:cs typeface="+mn-cs"/>
              </a:endParaRPr>
            </a:p>
          </p:txBody>
        </p:sp>
      </p:grpSp>
      <p:grpSp>
        <p:nvGrpSpPr>
          <p:cNvPr id="31" name="Group 30">
            <a:extLst>
              <a:ext uri="{FF2B5EF4-FFF2-40B4-BE49-F238E27FC236}">
                <a16:creationId xmlns:a16="http://schemas.microsoft.com/office/drawing/2014/main" id="{81F7FA43-0208-419F-C412-4ED54AE66AFE}"/>
              </a:ext>
              <a:ext uri="{C183D7F6-B498-43B3-948B-1728B52AA6E4}">
                <adec:decorative xmlns:adec="http://schemas.microsoft.com/office/drawing/2017/decorative" val="1"/>
              </a:ext>
            </a:extLst>
          </p:cNvPr>
          <p:cNvGrpSpPr/>
          <p:nvPr/>
        </p:nvGrpSpPr>
        <p:grpSpPr>
          <a:xfrm>
            <a:off x="8301510" y="5152203"/>
            <a:ext cx="731520" cy="731520"/>
            <a:chOff x="8301510" y="5152203"/>
            <a:chExt cx="731520" cy="731520"/>
          </a:xfrm>
        </p:grpSpPr>
        <p:sp>
          <p:nvSpPr>
            <p:cNvPr id="21" name="Oval 20">
              <a:extLst>
                <a:ext uri="{FF2B5EF4-FFF2-40B4-BE49-F238E27FC236}">
                  <a16:creationId xmlns:a16="http://schemas.microsoft.com/office/drawing/2014/main" id="{8160323E-74B0-1F44-5D53-F86F0ED4ED24}"/>
                </a:ext>
                <a:ext uri="{C183D7F6-B498-43B3-948B-1728B52AA6E4}">
                  <adec:decorative xmlns:adec="http://schemas.microsoft.com/office/drawing/2017/decorative" val="1"/>
                </a:ext>
              </a:extLst>
            </p:cNvPr>
            <p:cNvSpPr/>
            <p:nvPr/>
          </p:nvSpPr>
          <p:spPr bwMode="auto">
            <a:xfrm>
              <a:off x="8301510" y="5152203"/>
              <a:ext cx="731520" cy="731520"/>
            </a:xfrm>
            <a:prstGeom prst="ellipse">
              <a:avLst/>
            </a:prstGeom>
            <a:solidFill>
              <a:sysClr val="window" lastClr="FFFFFF"/>
            </a:solidFill>
            <a:ln w="12700" cap="flat" cmpd="sng" algn="ctr">
              <a:solidFill>
                <a:srgbClr val="A5B8EE"/>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Segoe Sans Display"/>
                <a:ea typeface="+mn-ea"/>
                <a:cs typeface="+mn-cs"/>
              </a:endParaRPr>
            </a:p>
          </p:txBody>
        </p:sp>
        <p:sp>
          <p:nvSpPr>
            <p:cNvPr id="22" name="Freeform: Shape 21">
              <a:extLst>
                <a:ext uri="{FF2B5EF4-FFF2-40B4-BE49-F238E27FC236}">
                  <a16:creationId xmlns:a16="http://schemas.microsoft.com/office/drawing/2014/main" id="{8F82B8DC-108B-EE42-DD23-265D90BA1D1B}"/>
                </a:ext>
                <a:ext uri="{C183D7F6-B498-43B3-948B-1728B52AA6E4}">
                  <adec:decorative xmlns:adec="http://schemas.microsoft.com/office/drawing/2017/decorative" val="1"/>
                </a:ext>
              </a:extLst>
            </p:cNvPr>
            <p:cNvSpPr/>
            <p:nvPr/>
          </p:nvSpPr>
          <p:spPr>
            <a:xfrm>
              <a:off x="8564489" y="5476848"/>
              <a:ext cx="226104" cy="184997"/>
            </a:xfrm>
            <a:custGeom>
              <a:avLst/>
              <a:gdLst>
                <a:gd name="connsiteX0" fmla="*/ 36994 w 81385"/>
                <a:gd name="connsiteY0" fmla="*/ 7399 h 66588"/>
                <a:gd name="connsiteX1" fmla="*/ 29595 w 81385"/>
                <a:gd name="connsiteY1" fmla="*/ 14797 h 66588"/>
                <a:gd name="connsiteX2" fmla="*/ 22196 w 81385"/>
                <a:gd name="connsiteY2" fmla="*/ 7399 h 66588"/>
                <a:gd name="connsiteX3" fmla="*/ 29595 w 81385"/>
                <a:gd name="connsiteY3" fmla="*/ 0 h 66588"/>
                <a:gd name="connsiteX4" fmla="*/ 36994 w 81385"/>
                <a:gd name="connsiteY4" fmla="*/ 7399 h 66588"/>
                <a:gd name="connsiteX5" fmla="*/ 29595 w 81385"/>
                <a:gd name="connsiteY5" fmla="*/ 36994 h 66588"/>
                <a:gd name="connsiteX6" fmla="*/ 36994 w 81385"/>
                <a:gd name="connsiteY6" fmla="*/ 29595 h 66588"/>
                <a:gd name="connsiteX7" fmla="*/ 29595 w 81385"/>
                <a:gd name="connsiteY7" fmla="*/ 22196 h 66588"/>
                <a:gd name="connsiteX8" fmla="*/ 22196 w 81385"/>
                <a:gd name="connsiteY8" fmla="*/ 29595 h 66588"/>
                <a:gd name="connsiteX9" fmla="*/ 29595 w 81385"/>
                <a:gd name="connsiteY9" fmla="*/ 36994 h 66588"/>
                <a:gd name="connsiteX10" fmla="*/ 14797 w 81385"/>
                <a:gd name="connsiteY10" fmla="*/ 7399 h 66588"/>
                <a:gd name="connsiteX11" fmla="*/ 7399 w 81385"/>
                <a:gd name="connsiteY11" fmla="*/ 14797 h 66588"/>
                <a:gd name="connsiteX12" fmla="*/ 0 w 81385"/>
                <a:gd name="connsiteY12" fmla="*/ 7399 h 66588"/>
                <a:gd name="connsiteX13" fmla="*/ 7399 w 81385"/>
                <a:gd name="connsiteY13" fmla="*/ 0 h 66588"/>
                <a:gd name="connsiteX14" fmla="*/ 14797 w 81385"/>
                <a:gd name="connsiteY14" fmla="*/ 7399 h 66588"/>
                <a:gd name="connsiteX15" fmla="*/ 7399 w 81385"/>
                <a:gd name="connsiteY15" fmla="*/ 36994 h 66588"/>
                <a:gd name="connsiteX16" fmla="*/ 14797 w 81385"/>
                <a:gd name="connsiteY16" fmla="*/ 29595 h 66588"/>
                <a:gd name="connsiteX17" fmla="*/ 7399 w 81385"/>
                <a:gd name="connsiteY17" fmla="*/ 22196 h 66588"/>
                <a:gd name="connsiteX18" fmla="*/ 0 w 81385"/>
                <a:gd name="connsiteY18" fmla="*/ 29595 h 66588"/>
                <a:gd name="connsiteX19" fmla="*/ 7399 w 81385"/>
                <a:gd name="connsiteY19" fmla="*/ 36994 h 66588"/>
                <a:gd name="connsiteX20" fmla="*/ 81386 w 81385"/>
                <a:gd name="connsiteY20" fmla="*/ 36994 h 66588"/>
                <a:gd name="connsiteX21" fmla="*/ 73987 w 81385"/>
                <a:gd name="connsiteY21" fmla="*/ 44392 h 66588"/>
                <a:gd name="connsiteX22" fmla="*/ 66588 w 81385"/>
                <a:gd name="connsiteY22" fmla="*/ 36994 h 66588"/>
                <a:gd name="connsiteX23" fmla="*/ 73987 w 81385"/>
                <a:gd name="connsiteY23" fmla="*/ 29595 h 66588"/>
                <a:gd name="connsiteX24" fmla="*/ 81386 w 81385"/>
                <a:gd name="connsiteY24" fmla="*/ 36994 h 66588"/>
                <a:gd name="connsiteX25" fmla="*/ 73987 w 81385"/>
                <a:gd name="connsiteY25" fmla="*/ 66588 h 66588"/>
                <a:gd name="connsiteX26" fmla="*/ 81386 w 81385"/>
                <a:gd name="connsiteY26" fmla="*/ 59190 h 66588"/>
                <a:gd name="connsiteX27" fmla="*/ 73987 w 81385"/>
                <a:gd name="connsiteY27" fmla="*/ 51791 h 66588"/>
                <a:gd name="connsiteX28" fmla="*/ 66588 w 81385"/>
                <a:gd name="connsiteY28" fmla="*/ 59190 h 66588"/>
                <a:gd name="connsiteX29" fmla="*/ 73987 w 81385"/>
                <a:gd name="connsiteY29" fmla="*/ 66588 h 66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1385" h="66588">
                  <a:moveTo>
                    <a:pt x="36994" y="7399"/>
                  </a:moveTo>
                  <a:cubicBezTo>
                    <a:pt x="36994" y="11485"/>
                    <a:pt x="33681" y="14797"/>
                    <a:pt x="29595" y="14797"/>
                  </a:cubicBezTo>
                  <a:cubicBezTo>
                    <a:pt x="25509" y="14797"/>
                    <a:pt x="22196" y="11485"/>
                    <a:pt x="22196" y="7399"/>
                  </a:cubicBezTo>
                  <a:cubicBezTo>
                    <a:pt x="22196" y="3312"/>
                    <a:pt x="25509" y="0"/>
                    <a:pt x="29595" y="0"/>
                  </a:cubicBezTo>
                  <a:cubicBezTo>
                    <a:pt x="33681" y="0"/>
                    <a:pt x="36994" y="3312"/>
                    <a:pt x="36994" y="7399"/>
                  </a:cubicBezTo>
                  <a:close/>
                  <a:moveTo>
                    <a:pt x="29595" y="36994"/>
                  </a:moveTo>
                  <a:cubicBezTo>
                    <a:pt x="33681" y="36994"/>
                    <a:pt x="36994" y="33681"/>
                    <a:pt x="36994" y="29595"/>
                  </a:cubicBezTo>
                  <a:cubicBezTo>
                    <a:pt x="36994" y="25509"/>
                    <a:pt x="33681" y="22196"/>
                    <a:pt x="29595" y="22196"/>
                  </a:cubicBezTo>
                  <a:cubicBezTo>
                    <a:pt x="25509" y="22196"/>
                    <a:pt x="22196" y="25509"/>
                    <a:pt x="22196" y="29595"/>
                  </a:cubicBezTo>
                  <a:cubicBezTo>
                    <a:pt x="22196" y="33681"/>
                    <a:pt x="25509" y="36994"/>
                    <a:pt x="29595" y="36994"/>
                  </a:cubicBezTo>
                  <a:close/>
                  <a:moveTo>
                    <a:pt x="14797" y="7399"/>
                  </a:moveTo>
                  <a:cubicBezTo>
                    <a:pt x="14797" y="11485"/>
                    <a:pt x="11485" y="14797"/>
                    <a:pt x="7399" y="14797"/>
                  </a:cubicBezTo>
                  <a:cubicBezTo>
                    <a:pt x="3313" y="14797"/>
                    <a:pt x="0" y="11485"/>
                    <a:pt x="0" y="7399"/>
                  </a:cubicBezTo>
                  <a:cubicBezTo>
                    <a:pt x="0" y="3312"/>
                    <a:pt x="3313" y="0"/>
                    <a:pt x="7399" y="0"/>
                  </a:cubicBezTo>
                  <a:cubicBezTo>
                    <a:pt x="11485" y="0"/>
                    <a:pt x="14797" y="3312"/>
                    <a:pt x="14797" y="7399"/>
                  </a:cubicBezTo>
                  <a:close/>
                  <a:moveTo>
                    <a:pt x="7399" y="36994"/>
                  </a:moveTo>
                  <a:cubicBezTo>
                    <a:pt x="11485" y="36994"/>
                    <a:pt x="14797" y="33681"/>
                    <a:pt x="14797" y="29595"/>
                  </a:cubicBezTo>
                  <a:cubicBezTo>
                    <a:pt x="14797" y="25509"/>
                    <a:pt x="11485" y="22196"/>
                    <a:pt x="7399" y="22196"/>
                  </a:cubicBezTo>
                  <a:cubicBezTo>
                    <a:pt x="3313" y="22196"/>
                    <a:pt x="0" y="25509"/>
                    <a:pt x="0" y="29595"/>
                  </a:cubicBezTo>
                  <a:cubicBezTo>
                    <a:pt x="0" y="33681"/>
                    <a:pt x="3313" y="36994"/>
                    <a:pt x="7399" y="36994"/>
                  </a:cubicBezTo>
                  <a:close/>
                  <a:moveTo>
                    <a:pt x="81386" y="36994"/>
                  </a:moveTo>
                  <a:cubicBezTo>
                    <a:pt x="81386" y="41080"/>
                    <a:pt x="78073" y="44392"/>
                    <a:pt x="73987" y="44392"/>
                  </a:cubicBezTo>
                  <a:cubicBezTo>
                    <a:pt x="69901" y="44392"/>
                    <a:pt x="66588" y="41080"/>
                    <a:pt x="66588" y="36994"/>
                  </a:cubicBezTo>
                  <a:cubicBezTo>
                    <a:pt x="66588" y="32907"/>
                    <a:pt x="69901" y="29595"/>
                    <a:pt x="73987" y="29595"/>
                  </a:cubicBezTo>
                  <a:cubicBezTo>
                    <a:pt x="78073" y="29595"/>
                    <a:pt x="81386" y="32907"/>
                    <a:pt x="81386" y="36994"/>
                  </a:cubicBezTo>
                  <a:close/>
                  <a:moveTo>
                    <a:pt x="73987" y="66588"/>
                  </a:moveTo>
                  <a:cubicBezTo>
                    <a:pt x="78073" y="66588"/>
                    <a:pt x="81386" y="63276"/>
                    <a:pt x="81386" y="59190"/>
                  </a:cubicBezTo>
                  <a:cubicBezTo>
                    <a:pt x="81386" y="55103"/>
                    <a:pt x="78073" y="51791"/>
                    <a:pt x="73987" y="51791"/>
                  </a:cubicBezTo>
                  <a:cubicBezTo>
                    <a:pt x="69901" y="51791"/>
                    <a:pt x="66588" y="55103"/>
                    <a:pt x="66588" y="59190"/>
                  </a:cubicBezTo>
                  <a:cubicBezTo>
                    <a:pt x="66588" y="63276"/>
                    <a:pt x="69901" y="66588"/>
                    <a:pt x="73987" y="66588"/>
                  </a:cubicBezTo>
                  <a:close/>
                </a:path>
              </a:pathLst>
            </a:custGeom>
            <a:solidFill>
              <a:sysClr val="windowText" lastClr="000000"/>
            </a:solidFill>
            <a:ln w="71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Display"/>
                <a:ea typeface="+mn-ea"/>
                <a:cs typeface="+mn-cs"/>
              </a:endParaRPr>
            </a:p>
          </p:txBody>
        </p:sp>
        <p:sp>
          <p:nvSpPr>
            <p:cNvPr id="23" name="Freeform: Shape 22">
              <a:extLst>
                <a:ext uri="{FF2B5EF4-FFF2-40B4-BE49-F238E27FC236}">
                  <a16:creationId xmlns:a16="http://schemas.microsoft.com/office/drawing/2014/main" id="{05599DEB-E78A-9745-6AE4-465549280333}"/>
                </a:ext>
                <a:ext uri="{C183D7F6-B498-43B3-948B-1728B52AA6E4}">
                  <adec:decorative xmlns:adec="http://schemas.microsoft.com/office/drawing/2017/decorative" val="1"/>
                </a:ext>
              </a:extLst>
            </p:cNvPr>
            <p:cNvSpPr/>
            <p:nvPr/>
          </p:nvSpPr>
          <p:spPr>
            <a:xfrm>
              <a:off x="8502824" y="5312446"/>
              <a:ext cx="339157" cy="400788"/>
            </a:xfrm>
            <a:custGeom>
              <a:avLst/>
              <a:gdLst>
                <a:gd name="connsiteX0" fmla="*/ 31445 w 122078"/>
                <a:gd name="connsiteY0" fmla="*/ 0 h 144260"/>
                <a:gd name="connsiteX1" fmla="*/ 25895 w 122078"/>
                <a:gd name="connsiteY1" fmla="*/ 5549 h 144260"/>
                <a:gd name="connsiteX2" fmla="*/ 25895 w 122078"/>
                <a:gd name="connsiteY2" fmla="*/ 22181 h 144260"/>
                <a:gd name="connsiteX3" fmla="*/ 16647 w 122078"/>
                <a:gd name="connsiteY3" fmla="*/ 22181 h 144260"/>
                <a:gd name="connsiteX4" fmla="*/ 11098 w 122078"/>
                <a:gd name="connsiteY4" fmla="*/ 27730 h 144260"/>
                <a:gd name="connsiteX5" fmla="*/ 11098 w 122078"/>
                <a:gd name="connsiteY5" fmla="*/ 42898 h 144260"/>
                <a:gd name="connsiteX6" fmla="*/ 0 w 122078"/>
                <a:gd name="connsiteY6" fmla="*/ 61025 h 144260"/>
                <a:gd name="connsiteX7" fmla="*/ 0 w 122078"/>
                <a:gd name="connsiteY7" fmla="*/ 138711 h 144260"/>
                <a:gd name="connsiteX8" fmla="*/ 5549 w 122078"/>
                <a:gd name="connsiteY8" fmla="*/ 144260 h 144260"/>
                <a:gd name="connsiteX9" fmla="*/ 116530 w 122078"/>
                <a:gd name="connsiteY9" fmla="*/ 144260 h 144260"/>
                <a:gd name="connsiteX10" fmla="*/ 122079 w 122078"/>
                <a:gd name="connsiteY10" fmla="*/ 138711 h 144260"/>
                <a:gd name="connsiteX11" fmla="*/ 122079 w 122078"/>
                <a:gd name="connsiteY11" fmla="*/ 101717 h 144260"/>
                <a:gd name="connsiteX12" fmla="*/ 81312 w 122078"/>
                <a:gd name="connsiteY12" fmla="*/ 59212 h 144260"/>
                <a:gd name="connsiteX13" fmla="*/ 70310 w 122078"/>
                <a:gd name="connsiteY13" fmla="*/ 42913 h 144260"/>
                <a:gd name="connsiteX14" fmla="*/ 70310 w 122078"/>
                <a:gd name="connsiteY14" fmla="*/ 27730 h 144260"/>
                <a:gd name="connsiteX15" fmla="*/ 64761 w 122078"/>
                <a:gd name="connsiteY15" fmla="*/ 22181 h 144260"/>
                <a:gd name="connsiteX16" fmla="*/ 55490 w 122078"/>
                <a:gd name="connsiteY16" fmla="*/ 22181 h 144260"/>
                <a:gd name="connsiteX17" fmla="*/ 55490 w 122078"/>
                <a:gd name="connsiteY17" fmla="*/ 5549 h 144260"/>
                <a:gd name="connsiteX18" fmla="*/ 49941 w 122078"/>
                <a:gd name="connsiteY18" fmla="*/ 0 h 144260"/>
                <a:gd name="connsiteX19" fmla="*/ 31445 w 122078"/>
                <a:gd name="connsiteY19" fmla="*/ 0 h 144260"/>
                <a:gd name="connsiteX20" fmla="*/ 59212 w 122078"/>
                <a:gd name="connsiteY20" fmla="*/ 40678 h 144260"/>
                <a:gd name="connsiteX21" fmla="*/ 22196 w 122078"/>
                <a:gd name="connsiteY21" fmla="*/ 40678 h 144260"/>
                <a:gd name="connsiteX22" fmla="*/ 22196 w 122078"/>
                <a:gd name="connsiteY22" fmla="*/ 33279 h 144260"/>
                <a:gd name="connsiteX23" fmla="*/ 59212 w 122078"/>
                <a:gd name="connsiteY23" fmla="*/ 33279 h 144260"/>
                <a:gd name="connsiteX24" fmla="*/ 59212 w 122078"/>
                <a:gd name="connsiteY24" fmla="*/ 40678 h 144260"/>
                <a:gd name="connsiteX25" fmla="*/ 70288 w 122078"/>
                <a:gd name="connsiteY25" fmla="*/ 133162 h 144260"/>
                <a:gd name="connsiteX26" fmla="*/ 59190 w 122078"/>
                <a:gd name="connsiteY26" fmla="*/ 133162 h 144260"/>
                <a:gd name="connsiteX27" fmla="*/ 59190 w 122078"/>
                <a:gd name="connsiteY27" fmla="*/ 112816 h 144260"/>
                <a:gd name="connsiteX28" fmla="*/ 53641 w 122078"/>
                <a:gd name="connsiteY28" fmla="*/ 107266 h 144260"/>
                <a:gd name="connsiteX29" fmla="*/ 27745 w 122078"/>
                <a:gd name="connsiteY29" fmla="*/ 107266 h 144260"/>
                <a:gd name="connsiteX30" fmla="*/ 22196 w 122078"/>
                <a:gd name="connsiteY30" fmla="*/ 112816 h 144260"/>
                <a:gd name="connsiteX31" fmla="*/ 22196 w 122078"/>
                <a:gd name="connsiteY31" fmla="*/ 133162 h 144260"/>
                <a:gd name="connsiteX32" fmla="*/ 11098 w 122078"/>
                <a:gd name="connsiteY32" fmla="*/ 133162 h 144260"/>
                <a:gd name="connsiteX33" fmla="*/ 11098 w 122078"/>
                <a:gd name="connsiteY33" fmla="*/ 61025 h 144260"/>
                <a:gd name="connsiteX34" fmla="*/ 20346 w 122078"/>
                <a:gd name="connsiteY34" fmla="*/ 51776 h 144260"/>
                <a:gd name="connsiteX35" fmla="*/ 61039 w 122078"/>
                <a:gd name="connsiteY35" fmla="*/ 51776 h 144260"/>
                <a:gd name="connsiteX36" fmla="*/ 70288 w 122078"/>
                <a:gd name="connsiteY36" fmla="*/ 61025 h 144260"/>
                <a:gd name="connsiteX37" fmla="*/ 70288 w 122078"/>
                <a:gd name="connsiteY37" fmla="*/ 133162 h 144260"/>
                <a:gd name="connsiteX38" fmla="*/ 33294 w 122078"/>
                <a:gd name="connsiteY38" fmla="*/ 133162 h 144260"/>
                <a:gd name="connsiteX39" fmla="*/ 33294 w 122078"/>
                <a:gd name="connsiteY39" fmla="*/ 118365 h 144260"/>
                <a:gd name="connsiteX40" fmla="*/ 48092 w 122078"/>
                <a:gd name="connsiteY40" fmla="*/ 118365 h 144260"/>
                <a:gd name="connsiteX41" fmla="*/ 48092 w 122078"/>
                <a:gd name="connsiteY41" fmla="*/ 133162 h 144260"/>
                <a:gd name="connsiteX42" fmla="*/ 33294 w 122078"/>
                <a:gd name="connsiteY42" fmla="*/ 133162 h 144260"/>
                <a:gd name="connsiteX43" fmla="*/ 81386 w 122078"/>
                <a:gd name="connsiteY43" fmla="*/ 133162 h 144260"/>
                <a:gd name="connsiteX44" fmla="*/ 81386 w 122078"/>
                <a:gd name="connsiteY44" fmla="*/ 70332 h 144260"/>
                <a:gd name="connsiteX45" fmla="*/ 110981 w 122078"/>
                <a:gd name="connsiteY45" fmla="*/ 101717 h 144260"/>
                <a:gd name="connsiteX46" fmla="*/ 110981 w 122078"/>
                <a:gd name="connsiteY46" fmla="*/ 133162 h 144260"/>
                <a:gd name="connsiteX47" fmla="*/ 81386 w 122078"/>
                <a:gd name="connsiteY47" fmla="*/ 133162 h 144260"/>
                <a:gd name="connsiteX48" fmla="*/ 44392 w 122078"/>
                <a:gd name="connsiteY48" fmla="*/ 22181 h 144260"/>
                <a:gd name="connsiteX49" fmla="*/ 36994 w 122078"/>
                <a:gd name="connsiteY49" fmla="*/ 22181 h 144260"/>
                <a:gd name="connsiteX50" fmla="*/ 36994 w 122078"/>
                <a:gd name="connsiteY50" fmla="*/ 11098 h 144260"/>
                <a:gd name="connsiteX51" fmla="*/ 44392 w 122078"/>
                <a:gd name="connsiteY51" fmla="*/ 11098 h 144260"/>
                <a:gd name="connsiteX52" fmla="*/ 44392 w 122078"/>
                <a:gd name="connsiteY52" fmla="*/ 22181 h 144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22078" h="144260">
                  <a:moveTo>
                    <a:pt x="31445" y="0"/>
                  </a:moveTo>
                  <a:cubicBezTo>
                    <a:pt x="28380" y="0"/>
                    <a:pt x="25895" y="2484"/>
                    <a:pt x="25895" y="5549"/>
                  </a:cubicBezTo>
                  <a:lnTo>
                    <a:pt x="25895" y="22181"/>
                  </a:lnTo>
                  <a:lnTo>
                    <a:pt x="16647" y="22181"/>
                  </a:lnTo>
                  <a:cubicBezTo>
                    <a:pt x="13582" y="22181"/>
                    <a:pt x="11098" y="24666"/>
                    <a:pt x="11098" y="27730"/>
                  </a:cubicBezTo>
                  <a:lnTo>
                    <a:pt x="11098" y="42898"/>
                  </a:lnTo>
                  <a:cubicBezTo>
                    <a:pt x="4286" y="46374"/>
                    <a:pt x="-1" y="53377"/>
                    <a:pt x="0" y="61025"/>
                  </a:cubicBezTo>
                  <a:lnTo>
                    <a:pt x="0" y="138711"/>
                  </a:lnTo>
                  <a:cubicBezTo>
                    <a:pt x="0" y="141781"/>
                    <a:pt x="2486" y="144260"/>
                    <a:pt x="5549" y="144260"/>
                  </a:cubicBezTo>
                  <a:lnTo>
                    <a:pt x="116530" y="144260"/>
                  </a:lnTo>
                  <a:cubicBezTo>
                    <a:pt x="119594" y="144260"/>
                    <a:pt x="122079" y="141776"/>
                    <a:pt x="122079" y="138711"/>
                  </a:cubicBezTo>
                  <a:lnTo>
                    <a:pt x="122079" y="101717"/>
                  </a:lnTo>
                  <a:cubicBezTo>
                    <a:pt x="122079" y="78912"/>
                    <a:pt x="104097" y="60164"/>
                    <a:pt x="81312" y="59212"/>
                  </a:cubicBezTo>
                  <a:cubicBezTo>
                    <a:pt x="80687" y="52250"/>
                    <a:pt x="76533" y="46096"/>
                    <a:pt x="70310" y="42913"/>
                  </a:cubicBezTo>
                  <a:lnTo>
                    <a:pt x="70310" y="27730"/>
                  </a:lnTo>
                  <a:cubicBezTo>
                    <a:pt x="70310" y="24666"/>
                    <a:pt x="67825" y="22181"/>
                    <a:pt x="64761" y="22181"/>
                  </a:cubicBezTo>
                  <a:lnTo>
                    <a:pt x="55490" y="22181"/>
                  </a:lnTo>
                  <a:lnTo>
                    <a:pt x="55490" y="5549"/>
                  </a:lnTo>
                  <a:cubicBezTo>
                    <a:pt x="55490" y="2484"/>
                    <a:pt x="53006" y="0"/>
                    <a:pt x="49941" y="0"/>
                  </a:cubicBezTo>
                  <a:lnTo>
                    <a:pt x="31445" y="0"/>
                  </a:lnTo>
                  <a:close/>
                  <a:moveTo>
                    <a:pt x="59212" y="40678"/>
                  </a:moveTo>
                  <a:lnTo>
                    <a:pt x="22196" y="40678"/>
                  </a:lnTo>
                  <a:lnTo>
                    <a:pt x="22196" y="33279"/>
                  </a:lnTo>
                  <a:lnTo>
                    <a:pt x="59212" y="33279"/>
                  </a:lnTo>
                  <a:lnTo>
                    <a:pt x="59212" y="40678"/>
                  </a:lnTo>
                  <a:close/>
                  <a:moveTo>
                    <a:pt x="70288" y="133162"/>
                  </a:moveTo>
                  <a:lnTo>
                    <a:pt x="59190" y="133162"/>
                  </a:lnTo>
                  <a:lnTo>
                    <a:pt x="59190" y="112816"/>
                  </a:lnTo>
                  <a:cubicBezTo>
                    <a:pt x="59190" y="109751"/>
                    <a:pt x="56705" y="107266"/>
                    <a:pt x="53641" y="107266"/>
                  </a:cubicBezTo>
                  <a:lnTo>
                    <a:pt x="27745" y="107266"/>
                  </a:lnTo>
                  <a:cubicBezTo>
                    <a:pt x="24681" y="107266"/>
                    <a:pt x="22196" y="109751"/>
                    <a:pt x="22196" y="112816"/>
                  </a:cubicBezTo>
                  <a:lnTo>
                    <a:pt x="22196" y="133162"/>
                  </a:lnTo>
                  <a:lnTo>
                    <a:pt x="11098" y="133162"/>
                  </a:lnTo>
                  <a:lnTo>
                    <a:pt x="11098" y="61025"/>
                  </a:lnTo>
                  <a:cubicBezTo>
                    <a:pt x="11098" y="55919"/>
                    <a:pt x="15241" y="51776"/>
                    <a:pt x="20346" y="51776"/>
                  </a:cubicBezTo>
                  <a:lnTo>
                    <a:pt x="61039" y="51776"/>
                  </a:lnTo>
                  <a:cubicBezTo>
                    <a:pt x="66144" y="51776"/>
                    <a:pt x="70288" y="55919"/>
                    <a:pt x="70288" y="61025"/>
                  </a:cubicBezTo>
                  <a:lnTo>
                    <a:pt x="70288" y="133162"/>
                  </a:lnTo>
                  <a:close/>
                  <a:moveTo>
                    <a:pt x="33294" y="133162"/>
                  </a:moveTo>
                  <a:lnTo>
                    <a:pt x="33294" y="118365"/>
                  </a:lnTo>
                  <a:lnTo>
                    <a:pt x="48092" y="118365"/>
                  </a:lnTo>
                  <a:lnTo>
                    <a:pt x="48092" y="133162"/>
                  </a:lnTo>
                  <a:lnTo>
                    <a:pt x="33294" y="133162"/>
                  </a:lnTo>
                  <a:close/>
                  <a:moveTo>
                    <a:pt x="81386" y="133162"/>
                  </a:moveTo>
                  <a:lnTo>
                    <a:pt x="81386" y="70332"/>
                  </a:lnTo>
                  <a:cubicBezTo>
                    <a:pt x="97885" y="71287"/>
                    <a:pt x="110981" y="84974"/>
                    <a:pt x="110981" y="101717"/>
                  </a:cubicBezTo>
                  <a:lnTo>
                    <a:pt x="110981" y="133162"/>
                  </a:lnTo>
                  <a:lnTo>
                    <a:pt x="81386" y="133162"/>
                  </a:lnTo>
                  <a:close/>
                  <a:moveTo>
                    <a:pt x="44392" y="22181"/>
                  </a:moveTo>
                  <a:lnTo>
                    <a:pt x="36994" y="22181"/>
                  </a:lnTo>
                  <a:lnTo>
                    <a:pt x="36994" y="11098"/>
                  </a:lnTo>
                  <a:lnTo>
                    <a:pt x="44392" y="11098"/>
                  </a:lnTo>
                  <a:lnTo>
                    <a:pt x="44392" y="22181"/>
                  </a:lnTo>
                  <a:close/>
                </a:path>
              </a:pathLst>
            </a:custGeom>
            <a:solidFill>
              <a:sysClr val="windowText" lastClr="000000"/>
            </a:solidFill>
            <a:ln w="71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Display"/>
                <a:ea typeface="+mn-ea"/>
                <a:cs typeface="+mn-cs"/>
              </a:endParaRPr>
            </a:p>
          </p:txBody>
        </p:sp>
      </p:grpSp>
      <p:grpSp>
        <p:nvGrpSpPr>
          <p:cNvPr id="19" name="Group 18">
            <a:extLst>
              <a:ext uri="{FF2B5EF4-FFF2-40B4-BE49-F238E27FC236}">
                <a16:creationId xmlns:a16="http://schemas.microsoft.com/office/drawing/2014/main" id="{AE5A20C4-2F6D-3242-7687-5753F266FEBA}"/>
              </a:ext>
              <a:ext uri="{C183D7F6-B498-43B3-948B-1728B52AA6E4}">
                <adec:decorative xmlns:adec="http://schemas.microsoft.com/office/drawing/2017/decorative" val="1"/>
              </a:ext>
            </a:extLst>
          </p:cNvPr>
          <p:cNvGrpSpPr/>
          <p:nvPr/>
        </p:nvGrpSpPr>
        <p:grpSpPr>
          <a:xfrm>
            <a:off x="8301510" y="2218336"/>
            <a:ext cx="731520" cy="731520"/>
            <a:chOff x="8177543" y="2194664"/>
            <a:chExt cx="328479" cy="328479"/>
          </a:xfrm>
        </p:grpSpPr>
        <p:sp>
          <p:nvSpPr>
            <p:cNvPr id="10" name="Oval 9">
              <a:extLst>
                <a:ext uri="{FF2B5EF4-FFF2-40B4-BE49-F238E27FC236}">
                  <a16:creationId xmlns:a16="http://schemas.microsoft.com/office/drawing/2014/main" id="{108D2108-EEB1-C8DD-1187-61FE68DFECB7}"/>
                </a:ext>
              </a:extLst>
            </p:cNvPr>
            <p:cNvSpPr/>
            <p:nvPr/>
          </p:nvSpPr>
          <p:spPr bwMode="auto">
            <a:xfrm>
              <a:off x="8177543" y="2194664"/>
              <a:ext cx="328479" cy="328479"/>
            </a:xfrm>
            <a:prstGeom prst="ellipse">
              <a:avLst/>
            </a:prstGeom>
            <a:solidFill>
              <a:sysClr val="window" lastClr="FFFFFF"/>
            </a:solidFill>
            <a:ln w="12700" cap="flat" cmpd="sng" algn="ctr">
              <a:solidFill>
                <a:srgbClr val="FADC14"/>
              </a:solidFill>
              <a:prstDash val="solid"/>
              <a:headEnd type="none" w="med" len="med"/>
              <a:tailEnd type="none" w="med" len="med"/>
            </a:ln>
            <a:effectLst/>
          </p:spPr>
          <p:txBody>
            <a:bodyPr rot="0" spcFirstLastPara="0" vertOverflow="overflow" horzOverflow="overflow" vert="horz" wrap="square" lIns="201168" tIns="160934" rIns="201168" bIns="160934" numCol="1" spcCol="0" rtlCol="0" fromWordArt="0" anchor="t" anchorCtr="0" forceAA="0" compatLnSpc="1">
              <a:prstTxWarp prst="textNoShape">
                <a:avLst/>
              </a:prstTxWarp>
              <a:noAutofit/>
            </a:bodyPr>
            <a:lstStyle/>
            <a:p>
              <a:pPr marL="0" marR="0" lvl="0" indent="0" algn="l" defTabSz="1025756"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err="1">
                <a:ln>
                  <a:noFill/>
                </a:ln>
                <a:solidFill>
                  <a:srgbClr val="FFFFFF"/>
                </a:solidFill>
                <a:effectLst/>
                <a:uLnTx/>
                <a:uFillTx/>
                <a:latin typeface="Segoe UI Variable Display"/>
                <a:ea typeface="+mn-ea"/>
                <a:cs typeface="Segoe UI" pitchFamily="34" charset="0"/>
              </a:endParaRPr>
            </a:p>
          </p:txBody>
        </p:sp>
        <p:pic>
          <p:nvPicPr>
            <p:cNvPr id="12" name="Graphic 11">
              <a:extLst>
                <a:ext uri="{FF2B5EF4-FFF2-40B4-BE49-F238E27FC236}">
                  <a16:creationId xmlns:a16="http://schemas.microsoft.com/office/drawing/2014/main" id="{235918D0-ECAC-58F1-C07C-9FE30412E09D}"/>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232602" y="2249723"/>
              <a:ext cx="218360" cy="218360"/>
            </a:xfrm>
            <a:prstGeom prst="rect">
              <a:avLst/>
            </a:prstGeom>
          </p:spPr>
        </p:pic>
      </p:grpSp>
      <p:grpSp>
        <p:nvGrpSpPr>
          <p:cNvPr id="18" name="Group 17">
            <a:extLst>
              <a:ext uri="{FF2B5EF4-FFF2-40B4-BE49-F238E27FC236}">
                <a16:creationId xmlns:a16="http://schemas.microsoft.com/office/drawing/2014/main" id="{5B0D07BB-0458-883C-5272-E979CEA44539}"/>
              </a:ext>
              <a:ext uri="{C183D7F6-B498-43B3-948B-1728B52AA6E4}">
                <adec:decorative xmlns:adec="http://schemas.microsoft.com/office/drawing/2017/decorative" val="1"/>
              </a:ext>
            </a:extLst>
          </p:cNvPr>
          <p:cNvGrpSpPr/>
          <p:nvPr/>
        </p:nvGrpSpPr>
        <p:grpSpPr>
          <a:xfrm>
            <a:off x="5730240" y="2218336"/>
            <a:ext cx="731520" cy="731520"/>
            <a:chOff x="7824086" y="2887310"/>
            <a:chExt cx="328479" cy="328479"/>
          </a:xfrm>
        </p:grpSpPr>
        <p:sp>
          <p:nvSpPr>
            <p:cNvPr id="13" name="Oval 12">
              <a:extLst>
                <a:ext uri="{FF2B5EF4-FFF2-40B4-BE49-F238E27FC236}">
                  <a16:creationId xmlns:a16="http://schemas.microsoft.com/office/drawing/2014/main" id="{BC6CBD3C-99E2-3EC3-E2CD-F1B1F54FA92C}"/>
                </a:ext>
              </a:extLst>
            </p:cNvPr>
            <p:cNvSpPr/>
            <p:nvPr/>
          </p:nvSpPr>
          <p:spPr bwMode="auto">
            <a:xfrm>
              <a:off x="7824086" y="2887310"/>
              <a:ext cx="328479" cy="328479"/>
            </a:xfrm>
            <a:prstGeom prst="ellipse">
              <a:avLst/>
            </a:prstGeom>
            <a:solidFill>
              <a:sysClr val="window" lastClr="FFFFFF"/>
            </a:solidFill>
            <a:ln w="12700" cap="flat" cmpd="sng" algn="ctr">
              <a:solidFill>
                <a:srgbClr val="FADC14"/>
              </a:solidFill>
              <a:prstDash val="solid"/>
              <a:headEnd type="none" w="med" len="med"/>
              <a:tailEnd type="none" w="med" len="med"/>
            </a:ln>
            <a:effectLst/>
          </p:spPr>
          <p:txBody>
            <a:bodyPr rot="0" spcFirstLastPara="0" vertOverflow="overflow" horzOverflow="overflow" vert="horz" wrap="square" lIns="201168" tIns="160934" rIns="201168" bIns="160934" numCol="1" spcCol="0" rtlCol="0" fromWordArt="0" anchor="t" anchorCtr="0" forceAA="0" compatLnSpc="1">
              <a:prstTxWarp prst="textNoShape">
                <a:avLst/>
              </a:prstTxWarp>
              <a:noAutofit/>
            </a:bodyPr>
            <a:lstStyle/>
            <a:p>
              <a:pPr marL="0" marR="0" lvl="0" indent="0" algn="l" defTabSz="1025756"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err="1">
                <a:ln>
                  <a:noFill/>
                </a:ln>
                <a:solidFill>
                  <a:srgbClr val="FFFFFF"/>
                </a:solidFill>
                <a:effectLst/>
                <a:uLnTx/>
                <a:uFillTx/>
                <a:latin typeface="Segoe UI Variable Display"/>
                <a:ea typeface="+mn-ea"/>
                <a:cs typeface="Segoe UI" pitchFamily="34" charset="0"/>
              </a:endParaRPr>
            </a:p>
          </p:txBody>
        </p:sp>
        <p:pic>
          <p:nvPicPr>
            <p:cNvPr id="14" name="Graphic 13">
              <a:extLst>
                <a:ext uri="{FF2B5EF4-FFF2-40B4-BE49-F238E27FC236}">
                  <a16:creationId xmlns:a16="http://schemas.microsoft.com/office/drawing/2014/main" id="{2833151C-592E-CDD7-DDB5-0F969644E012}"/>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7879145" y="2942369"/>
              <a:ext cx="218360" cy="218360"/>
            </a:xfrm>
            <a:prstGeom prst="rect">
              <a:avLst/>
            </a:prstGeom>
          </p:spPr>
        </p:pic>
      </p:grpSp>
      <p:grpSp>
        <p:nvGrpSpPr>
          <p:cNvPr id="24" name="Group 23">
            <a:extLst>
              <a:ext uri="{FF2B5EF4-FFF2-40B4-BE49-F238E27FC236}">
                <a16:creationId xmlns:a16="http://schemas.microsoft.com/office/drawing/2014/main" id="{DDA67F51-70F5-DA6C-0804-F08FFEC5168E}"/>
              </a:ext>
              <a:ext uri="{C183D7F6-B498-43B3-948B-1728B52AA6E4}">
                <adec:decorative xmlns:adec="http://schemas.microsoft.com/office/drawing/2017/decorative" val="1"/>
              </a:ext>
            </a:extLst>
          </p:cNvPr>
          <p:cNvGrpSpPr/>
          <p:nvPr/>
        </p:nvGrpSpPr>
        <p:grpSpPr>
          <a:xfrm>
            <a:off x="3158970" y="2218336"/>
            <a:ext cx="731520" cy="731520"/>
            <a:chOff x="5904343" y="5301407"/>
            <a:chExt cx="275106" cy="275106"/>
          </a:xfrm>
        </p:grpSpPr>
        <p:sp>
          <p:nvSpPr>
            <p:cNvPr id="25" name="Oval 24">
              <a:extLst>
                <a:ext uri="{FF2B5EF4-FFF2-40B4-BE49-F238E27FC236}">
                  <a16:creationId xmlns:a16="http://schemas.microsoft.com/office/drawing/2014/main" id="{44D639A0-68FF-C7A1-827A-30C95D048957}"/>
                </a:ext>
              </a:extLst>
            </p:cNvPr>
            <p:cNvSpPr/>
            <p:nvPr/>
          </p:nvSpPr>
          <p:spPr bwMode="auto">
            <a:xfrm>
              <a:off x="5904343" y="5301407"/>
              <a:ext cx="275106" cy="275106"/>
            </a:xfrm>
            <a:prstGeom prst="ellipse">
              <a:avLst/>
            </a:prstGeom>
            <a:solidFill>
              <a:sysClr val="window" lastClr="FFFFFF"/>
            </a:solidFill>
            <a:ln w="12700" cap="flat" cmpd="sng" algn="ctr">
              <a:solidFill>
                <a:srgbClr val="FADC14"/>
              </a:solidFill>
              <a:prstDash val="solid"/>
              <a:headEnd type="none" w="med" len="med"/>
              <a:tailEnd type="none" w="med" len="med"/>
            </a:ln>
            <a:effectLst/>
          </p:spPr>
          <p:txBody>
            <a:bodyPr rot="0" spcFirstLastPara="0" vertOverflow="overflow" horzOverflow="overflow" vert="horz" wrap="square" lIns="201168" tIns="160934" rIns="201168" bIns="160934" numCol="1" spcCol="0" rtlCol="0" fromWordArt="0" anchor="t" anchorCtr="0" forceAA="0" compatLnSpc="1">
              <a:prstTxWarp prst="textNoShape">
                <a:avLst/>
              </a:prstTxWarp>
              <a:noAutofit/>
            </a:bodyPr>
            <a:lstStyle/>
            <a:p>
              <a:pPr marL="0" marR="0" lvl="0" indent="0" algn="l" defTabSz="1025756"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err="1">
                <a:ln>
                  <a:noFill/>
                </a:ln>
                <a:solidFill>
                  <a:srgbClr val="FFFFFF"/>
                </a:solidFill>
                <a:effectLst/>
                <a:uLnTx/>
                <a:uFillTx/>
                <a:latin typeface="Segoe UI Variable Display"/>
                <a:ea typeface="+mn-ea"/>
                <a:cs typeface="Segoe UI" pitchFamily="34" charset="0"/>
              </a:endParaRPr>
            </a:p>
          </p:txBody>
        </p:sp>
        <p:pic>
          <p:nvPicPr>
            <p:cNvPr id="26" name="Graphic 25">
              <a:extLst>
                <a:ext uri="{FF2B5EF4-FFF2-40B4-BE49-F238E27FC236}">
                  <a16:creationId xmlns:a16="http://schemas.microsoft.com/office/drawing/2014/main" id="{33CED628-14A6-4622-8F5B-67DB006AD166}"/>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5950456" y="5347520"/>
              <a:ext cx="182880" cy="182880"/>
            </a:xfrm>
            <a:prstGeom prst="rect">
              <a:avLst/>
            </a:prstGeom>
          </p:spPr>
        </p:pic>
      </p:grpSp>
    </p:spTree>
    <p:extLst>
      <p:ext uri="{BB962C8B-B14F-4D97-AF65-F5344CB8AC3E}">
        <p14:creationId xmlns:p14="http://schemas.microsoft.com/office/powerpoint/2010/main" val="164779827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5FB1F1-949C-8B98-8BA2-1C446B9EC01C}"/>
            </a:ext>
          </a:extLst>
        </p:cNvPr>
        <p:cNvGrpSpPr/>
        <p:nvPr/>
      </p:nvGrpSpPr>
      <p:grpSpPr>
        <a:xfrm>
          <a:off x="0" y="0"/>
          <a:ext cx="0" cy="0"/>
          <a:chOff x="0" y="0"/>
          <a:chExt cx="0" cy="0"/>
        </a:xfrm>
      </p:grpSpPr>
      <p:pic>
        <p:nvPicPr>
          <p:cNvPr id="570" name="Picture 569">
            <a:extLst>
              <a:ext uri="{FF2B5EF4-FFF2-40B4-BE49-F238E27FC236}">
                <a16:creationId xmlns:a16="http://schemas.microsoft.com/office/drawing/2014/main" id="{A1E6616C-AFE6-5CED-FDFD-DF8C467BF14B}"/>
              </a:ext>
            </a:extLst>
          </p:cNvPr>
          <p:cNvPicPr>
            <a:picLocks noChangeAspect="1"/>
          </p:cNvPicPr>
          <p:nvPr/>
        </p:nvPicPr>
        <p:blipFill>
          <a:blip r:embed="rId3"/>
          <a:stretch>
            <a:fillRect/>
          </a:stretch>
        </p:blipFill>
        <p:spPr>
          <a:xfrm>
            <a:off x="-19750" y="-14095"/>
            <a:ext cx="12211749" cy="6872095"/>
          </a:xfrm>
          <a:prstGeom prst="rect">
            <a:avLst/>
          </a:prstGeom>
        </p:spPr>
      </p:pic>
      <p:sp>
        <p:nvSpPr>
          <p:cNvPr id="1408" name="Rectangle 1407">
            <a:extLst>
              <a:ext uri="{FF2B5EF4-FFF2-40B4-BE49-F238E27FC236}">
                <a16:creationId xmlns:a16="http://schemas.microsoft.com/office/drawing/2014/main" id="{06F2B195-F50E-F304-FC34-FDAA9F7FECBF}"/>
              </a:ext>
            </a:extLst>
          </p:cNvPr>
          <p:cNvSpPr/>
          <p:nvPr/>
        </p:nvSpPr>
        <p:spPr>
          <a:xfrm>
            <a:off x="0" y="0"/>
            <a:ext cx="12192000" cy="6858000"/>
          </a:xfrm>
          <a:prstGeom prst="rect">
            <a:avLst/>
          </a:prstGeom>
          <a:solidFill>
            <a:schemeClr val="bg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 name="Picture 1">
            <a:extLst>
              <a:ext uri="{FF2B5EF4-FFF2-40B4-BE49-F238E27FC236}">
                <a16:creationId xmlns:a16="http://schemas.microsoft.com/office/drawing/2014/main" id="{0FB6718D-AC3A-03B9-F0AE-08A603F5CF5F}"/>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2591868" y="0"/>
            <a:ext cx="7008263" cy="6858000"/>
          </a:xfrm>
          <a:prstGeom prst="rect">
            <a:avLst/>
          </a:prstGeom>
        </p:spPr>
      </p:pic>
      <p:pic>
        <p:nvPicPr>
          <p:cNvPr id="3" name="Picture 2">
            <a:extLst>
              <a:ext uri="{FF2B5EF4-FFF2-40B4-BE49-F238E27FC236}">
                <a16:creationId xmlns:a16="http://schemas.microsoft.com/office/drawing/2014/main" id="{6A11E708-3FA8-7849-1A0E-718A5BB1B93C}"/>
              </a:ext>
              <a:ext uri="{C183D7F6-B498-43B3-948B-1728B52AA6E4}">
                <adec:decorative xmlns:adec="http://schemas.microsoft.com/office/drawing/2017/decorative" val="1"/>
              </a:ext>
            </a:extLst>
          </p:cNvPr>
          <p:cNvPicPr>
            <a:picLocks noChangeAspect="1"/>
          </p:cNvPicPr>
          <p:nvPr/>
        </p:nvPicPr>
        <p:blipFill>
          <a:blip r:embed="rId5">
            <a:alphaModFix amt="0"/>
          </a:blip>
          <a:stretch>
            <a:fillRect/>
          </a:stretch>
        </p:blipFill>
        <p:spPr>
          <a:xfrm>
            <a:off x="5659373" y="3031838"/>
            <a:ext cx="873254" cy="873254"/>
          </a:xfrm>
          <a:prstGeom prst="rect">
            <a:avLst/>
          </a:prstGeom>
        </p:spPr>
      </p:pic>
      <p:grpSp>
        <p:nvGrpSpPr>
          <p:cNvPr id="4" name="Group 3">
            <a:extLst>
              <a:ext uri="{FF2B5EF4-FFF2-40B4-BE49-F238E27FC236}">
                <a16:creationId xmlns:a16="http://schemas.microsoft.com/office/drawing/2014/main" id="{663D9BB7-E934-B0F3-0DFE-30ADB51B008D}"/>
              </a:ext>
              <a:ext uri="{C183D7F6-B498-43B3-948B-1728B52AA6E4}">
                <adec:decorative xmlns:adec="http://schemas.microsoft.com/office/drawing/2017/decorative" val="1"/>
              </a:ext>
            </a:extLst>
          </p:cNvPr>
          <p:cNvGrpSpPr/>
          <p:nvPr/>
        </p:nvGrpSpPr>
        <p:grpSpPr>
          <a:xfrm>
            <a:off x="2560657" y="452013"/>
            <a:ext cx="7070687" cy="5953975"/>
            <a:chOff x="5267489" y="902367"/>
            <a:chExt cx="6232486" cy="5248156"/>
          </a:xfrm>
          <a:scene3d>
            <a:camera prst="perspectiveRight" fov="0">
              <a:rot lat="0" lon="0" rev="0"/>
            </a:camera>
            <a:lightRig rig="flood" dir="t"/>
          </a:scene3d>
        </p:grpSpPr>
        <p:grpSp>
          <p:nvGrpSpPr>
            <p:cNvPr id="5" name="Group 4">
              <a:extLst>
                <a:ext uri="{FF2B5EF4-FFF2-40B4-BE49-F238E27FC236}">
                  <a16:creationId xmlns:a16="http://schemas.microsoft.com/office/drawing/2014/main" id="{3E404928-C337-ACE1-FC84-C3C4D6FD3151}"/>
                </a:ext>
              </a:extLst>
            </p:cNvPr>
            <p:cNvGrpSpPr/>
            <p:nvPr/>
          </p:nvGrpSpPr>
          <p:grpSpPr>
            <a:xfrm>
              <a:off x="5756493" y="1145957"/>
              <a:ext cx="5207912" cy="4691749"/>
              <a:chOff x="5723133" y="1035454"/>
              <a:chExt cx="5411648" cy="4875298"/>
            </a:xfrm>
          </p:grpSpPr>
          <p:sp>
            <p:nvSpPr>
              <p:cNvPr id="522" name="Oval 521">
                <a:extLst>
                  <a:ext uri="{FF2B5EF4-FFF2-40B4-BE49-F238E27FC236}">
                    <a16:creationId xmlns:a16="http://schemas.microsoft.com/office/drawing/2014/main" id="{2913D876-3484-860D-0E13-A5A9D6AA7646}"/>
                  </a:ext>
                </a:extLst>
              </p:cNvPr>
              <p:cNvSpPr>
                <a:spLocks/>
              </p:cNvSpPr>
              <p:nvPr/>
            </p:nvSpPr>
            <p:spPr bwMode="auto">
              <a:xfrm>
                <a:off x="6185168" y="4355605"/>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25" name="Oval 524">
                <a:extLst>
                  <a:ext uri="{FF2B5EF4-FFF2-40B4-BE49-F238E27FC236}">
                    <a16:creationId xmlns:a16="http://schemas.microsoft.com/office/drawing/2014/main" id="{DD5F2C75-A0C3-70ED-E118-ABC946AF18F1}"/>
                  </a:ext>
                </a:extLst>
              </p:cNvPr>
              <p:cNvSpPr>
                <a:spLocks/>
              </p:cNvSpPr>
              <p:nvPr/>
            </p:nvSpPr>
            <p:spPr bwMode="auto">
              <a:xfrm>
                <a:off x="6299294" y="4993563"/>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44" name="Oval 543">
                <a:extLst>
                  <a:ext uri="{FF2B5EF4-FFF2-40B4-BE49-F238E27FC236}">
                    <a16:creationId xmlns:a16="http://schemas.microsoft.com/office/drawing/2014/main" id="{39D69C97-14B7-93CF-37F6-133FFC18CEB6}"/>
                  </a:ext>
                </a:extLst>
              </p:cNvPr>
              <p:cNvSpPr>
                <a:spLocks/>
              </p:cNvSpPr>
              <p:nvPr/>
            </p:nvSpPr>
            <p:spPr bwMode="auto">
              <a:xfrm>
                <a:off x="10419814" y="1882864"/>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53" name="Oval 552">
                <a:extLst>
                  <a:ext uri="{FF2B5EF4-FFF2-40B4-BE49-F238E27FC236}">
                    <a16:creationId xmlns:a16="http://schemas.microsoft.com/office/drawing/2014/main" id="{366B95CD-7738-11FD-D815-F455E5E0CC68}"/>
                  </a:ext>
                </a:extLst>
              </p:cNvPr>
              <p:cNvSpPr>
                <a:spLocks/>
              </p:cNvSpPr>
              <p:nvPr/>
            </p:nvSpPr>
            <p:spPr bwMode="auto">
              <a:xfrm>
                <a:off x="10636545" y="2489222"/>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54" name="Oval 553">
                <a:extLst>
                  <a:ext uri="{FF2B5EF4-FFF2-40B4-BE49-F238E27FC236}">
                    <a16:creationId xmlns:a16="http://schemas.microsoft.com/office/drawing/2014/main" id="{47DEF28F-53A8-A4ED-F28E-DC9B62B8BF12}"/>
                  </a:ext>
                </a:extLst>
              </p:cNvPr>
              <p:cNvSpPr>
                <a:spLocks/>
              </p:cNvSpPr>
              <p:nvPr/>
            </p:nvSpPr>
            <p:spPr bwMode="auto">
              <a:xfrm>
                <a:off x="10850723" y="3024079"/>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59" name="Oval 558">
                <a:extLst>
                  <a:ext uri="{FF2B5EF4-FFF2-40B4-BE49-F238E27FC236}">
                    <a16:creationId xmlns:a16="http://schemas.microsoft.com/office/drawing/2014/main" id="{A2F7396B-1F3F-113D-6B18-BC999A90C52C}"/>
                  </a:ext>
                </a:extLst>
              </p:cNvPr>
              <p:cNvSpPr>
                <a:spLocks/>
              </p:cNvSpPr>
              <p:nvPr/>
            </p:nvSpPr>
            <p:spPr bwMode="auto">
              <a:xfrm>
                <a:off x="10961349" y="2702067"/>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60" name="Oval 559">
                <a:extLst>
                  <a:ext uri="{FF2B5EF4-FFF2-40B4-BE49-F238E27FC236}">
                    <a16:creationId xmlns:a16="http://schemas.microsoft.com/office/drawing/2014/main" id="{75C988C1-6A17-0FAA-23E5-80DFE00FB606}"/>
                  </a:ext>
                </a:extLst>
              </p:cNvPr>
              <p:cNvSpPr>
                <a:spLocks/>
              </p:cNvSpPr>
              <p:nvPr/>
            </p:nvSpPr>
            <p:spPr bwMode="auto">
              <a:xfrm>
                <a:off x="10759073" y="3612536"/>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61" name="Oval 560">
                <a:extLst>
                  <a:ext uri="{FF2B5EF4-FFF2-40B4-BE49-F238E27FC236}">
                    <a16:creationId xmlns:a16="http://schemas.microsoft.com/office/drawing/2014/main" id="{B91E02E6-FBBB-EF08-562D-81F685582484}"/>
                  </a:ext>
                </a:extLst>
              </p:cNvPr>
              <p:cNvSpPr>
                <a:spLocks/>
              </p:cNvSpPr>
              <p:nvPr/>
            </p:nvSpPr>
            <p:spPr bwMode="auto">
              <a:xfrm>
                <a:off x="10728195" y="4155168"/>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62" name="Oval 561">
                <a:extLst>
                  <a:ext uri="{FF2B5EF4-FFF2-40B4-BE49-F238E27FC236}">
                    <a16:creationId xmlns:a16="http://schemas.microsoft.com/office/drawing/2014/main" id="{A9BD2481-C89A-1182-F4A0-CD7F0B1FBABF}"/>
                  </a:ext>
                </a:extLst>
              </p:cNvPr>
              <p:cNvSpPr>
                <a:spLocks/>
              </p:cNvSpPr>
              <p:nvPr/>
            </p:nvSpPr>
            <p:spPr bwMode="auto">
              <a:xfrm>
                <a:off x="10282339" y="5254325"/>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63" name="Oval 562">
                <a:extLst>
                  <a:ext uri="{FF2B5EF4-FFF2-40B4-BE49-F238E27FC236}">
                    <a16:creationId xmlns:a16="http://schemas.microsoft.com/office/drawing/2014/main" id="{21F59874-31DB-3045-8F9B-3FFED972A858}"/>
                  </a:ext>
                </a:extLst>
              </p:cNvPr>
              <p:cNvSpPr>
                <a:spLocks/>
              </p:cNvSpPr>
              <p:nvPr/>
            </p:nvSpPr>
            <p:spPr bwMode="auto">
              <a:xfrm>
                <a:off x="10392628" y="4851254"/>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64" name="Oval 563">
                <a:extLst>
                  <a:ext uri="{FF2B5EF4-FFF2-40B4-BE49-F238E27FC236}">
                    <a16:creationId xmlns:a16="http://schemas.microsoft.com/office/drawing/2014/main" id="{E50FE341-BBC8-767D-940F-42E1C7EE4C97}"/>
                  </a:ext>
                </a:extLst>
              </p:cNvPr>
              <p:cNvSpPr>
                <a:spLocks/>
              </p:cNvSpPr>
              <p:nvPr/>
            </p:nvSpPr>
            <p:spPr bwMode="auto">
              <a:xfrm>
                <a:off x="9705568" y="5346176"/>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65" name="Oval 564">
                <a:extLst>
                  <a:ext uri="{FF2B5EF4-FFF2-40B4-BE49-F238E27FC236}">
                    <a16:creationId xmlns:a16="http://schemas.microsoft.com/office/drawing/2014/main" id="{BAA81887-1FAE-C9C3-2D2C-FB10E86A7AD4}"/>
                  </a:ext>
                </a:extLst>
              </p:cNvPr>
              <p:cNvSpPr>
                <a:spLocks/>
              </p:cNvSpPr>
              <p:nvPr/>
            </p:nvSpPr>
            <p:spPr bwMode="auto">
              <a:xfrm>
                <a:off x="5931001" y="3966240"/>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66" name="Oval 565">
                <a:extLst>
                  <a:ext uri="{FF2B5EF4-FFF2-40B4-BE49-F238E27FC236}">
                    <a16:creationId xmlns:a16="http://schemas.microsoft.com/office/drawing/2014/main" id="{20EF83C0-42F9-8FE9-5945-3BBE5561D2FC}"/>
                  </a:ext>
                </a:extLst>
              </p:cNvPr>
              <p:cNvSpPr>
                <a:spLocks/>
              </p:cNvSpPr>
              <p:nvPr/>
            </p:nvSpPr>
            <p:spPr bwMode="auto">
              <a:xfrm>
                <a:off x="5976826" y="3062164"/>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67" name="Oval 566">
                <a:extLst>
                  <a:ext uri="{FF2B5EF4-FFF2-40B4-BE49-F238E27FC236}">
                    <a16:creationId xmlns:a16="http://schemas.microsoft.com/office/drawing/2014/main" id="{D238FCA1-D7C2-46D6-B25C-C4DCDBB51E37}"/>
                  </a:ext>
                </a:extLst>
              </p:cNvPr>
              <p:cNvSpPr>
                <a:spLocks/>
              </p:cNvSpPr>
              <p:nvPr/>
            </p:nvSpPr>
            <p:spPr bwMode="auto">
              <a:xfrm>
                <a:off x="5893817" y="3450748"/>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68" name="Oval 567">
                <a:extLst>
                  <a:ext uri="{FF2B5EF4-FFF2-40B4-BE49-F238E27FC236}">
                    <a16:creationId xmlns:a16="http://schemas.microsoft.com/office/drawing/2014/main" id="{4F545067-BCF8-9D38-75A7-109B99045EB5}"/>
                  </a:ext>
                </a:extLst>
              </p:cNvPr>
              <p:cNvSpPr>
                <a:spLocks/>
              </p:cNvSpPr>
              <p:nvPr/>
            </p:nvSpPr>
            <p:spPr bwMode="auto">
              <a:xfrm>
                <a:off x="6612604" y="5176272"/>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69" name="Oval 568">
                <a:extLst>
                  <a:ext uri="{FF2B5EF4-FFF2-40B4-BE49-F238E27FC236}">
                    <a16:creationId xmlns:a16="http://schemas.microsoft.com/office/drawing/2014/main" id="{6AEF3890-D2AF-E7EE-38C2-42159DFAB10E}"/>
                  </a:ext>
                </a:extLst>
              </p:cNvPr>
              <p:cNvSpPr>
                <a:spLocks/>
              </p:cNvSpPr>
              <p:nvPr/>
            </p:nvSpPr>
            <p:spPr bwMode="auto">
              <a:xfrm>
                <a:off x="6958994" y="5513753"/>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74" name="Oval 573">
                <a:extLst>
                  <a:ext uri="{FF2B5EF4-FFF2-40B4-BE49-F238E27FC236}">
                    <a16:creationId xmlns:a16="http://schemas.microsoft.com/office/drawing/2014/main" id="{31AFEE6A-9720-5684-9B08-B87A12BB455A}"/>
                  </a:ext>
                </a:extLst>
              </p:cNvPr>
              <p:cNvSpPr>
                <a:spLocks/>
              </p:cNvSpPr>
              <p:nvPr/>
            </p:nvSpPr>
            <p:spPr bwMode="auto">
              <a:xfrm>
                <a:off x="11070317" y="3358397"/>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75" name="Oval 574">
                <a:extLst>
                  <a:ext uri="{FF2B5EF4-FFF2-40B4-BE49-F238E27FC236}">
                    <a16:creationId xmlns:a16="http://schemas.microsoft.com/office/drawing/2014/main" id="{1A81B6CE-E789-9DBF-B555-C2DA22E3AA9E}"/>
                  </a:ext>
                </a:extLst>
              </p:cNvPr>
              <p:cNvSpPr>
                <a:spLocks/>
              </p:cNvSpPr>
              <p:nvPr/>
            </p:nvSpPr>
            <p:spPr bwMode="auto">
              <a:xfrm>
                <a:off x="10942681" y="3877187"/>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76" name="Oval 575">
                <a:extLst>
                  <a:ext uri="{FF2B5EF4-FFF2-40B4-BE49-F238E27FC236}">
                    <a16:creationId xmlns:a16="http://schemas.microsoft.com/office/drawing/2014/main" id="{2DA57871-BC11-6068-7713-45A4F4B55CC2}"/>
                  </a:ext>
                </a:extLst>
              </p:cNvPr>
              <p:cNvSpPr>
                <a:spLocks/>
              </p:cNvSpPr>
              <p:nvPr/>
            </p:nvSpPr>
            <p:spPr bwMode="auto">
              <a:xfrm>
                <a:off x="10663731" y="4581463"/>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77" name="Oval 576">
                <a:extLst>
                  <a:ext uri="{FF2B5EF4-FFF2-40B4-BE49-F238E27FC236}">
                    <a16:creationId xmlns:a16="http://schemas.microsoft.com/office/drawing/2014/main" id="{0472DA6D-76C6-E817-9724-C5AE91807847}"/>
                  </a:ext>
                </a:extLst>
              </p:cNvPr>
              <p:cNvSpPr>
                <a:spLocks/>
              </p:cNvSpPr>
              <p:nvPr/>
            </p:nvSpPr>
            <p:spPr bwMode="auto">
              <a:xfrm>
                <a:off x="9288951" y="5606212"/>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78" name="Oval 577">
                <a:extLst>
                  <a:ext uri="{FF2B5EF4-FFF2-40B4-BE49-F238E27FC236}">
                    <a16:creationId xmlns:a16="http://schemas.microsoft.com/office/drawing/2014/main" id="{AB2F573B-35C8-801A-B409-9AF60FD26583}"/>
                  </a:ext>
                </a:extLst>
              </p:cNvPr>
              <p:cNvSpPr>
                <a:spLocks/>
              </p:cNvSpPr>
              <p:nvPr/>
            </p:nvSpPr>
            <p:spPr bwMode="auto">
              <a:xfrm>
                <a:off x="6275504" y="4678715"/>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79" name="Oval 578">
                <a:extLst>
                  <a:ext uri="{FF2B5EF4-FFF2-40B4-BE49-F238E27FC236}">
                    <a16:creationId xmlns:a16="http://schemas.microsoft.com/office/drawing/2014/main" id="{CBE629FC-BE66-6E86-627E-5D24D082BC9A}"/>
                  </a:ext>
                </a:extLst>
              </p:cNvPr>
              <p:cNvSpPr>
                <a:spLocks/>
              </p:cNvSpPr>
              <p:nvPr/>
            </p:nvSpPr>
            <p:spPr bwMode="auto">
              <a:xfrm>
                <a:off x="6032043" y="3758588"/>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80" name="Oval 579">
                <a:extLst>
                  <a:ext uri="{FF2B5EF4-FFF2-40B4-BE49-F238E27FC236}">
                    <a16:creationId xmlns:a16="http://schemas.microsoft.com/office/drawing/2014/main" id="{81C39527-8FDC-068D-01DB-76AAD0D13F20}"/>
                  </a:ext>
                </a:extLst>
              </p:cNvPr>
              <p:cNvSpPr>
                <a:spLocks/>
              </p:cNvSpPr>
              <p:nvPr/>
            </p:nvSpPr>
            <p:spPr bwMode="auto">
              <a:xfrm>
                <a:off x="5999811" y="2669835"/>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81" name="Oval 580">
                <a:extLst>
                  <a:ext uri="{FF2B5EF4-FFF2-40B4-BE49-F238E27FC236}">
                    <a16:creationId xmlns:a16="http://schemas.microsoft.com/office/drawing/2014/main" id="{06EF7188-A231-AA65-A174-8008BDD829C7}"/>
                  </a:ext>
                </a:extLst>
              </p:cNvPr>
              <p:cNvSpPr>
                <a:spLocks/>
              </p:cNvSpPr>
              <p:nvPr/>
            </p:nvSpPr>
            <p:spPr bwMode="auto">
              <a:xfrm>
                <a:off x="6123308" y="2197470"/>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82" name="Oval 581">
                <a:extLst>
                  <a:ext uri="{FF2B5EF4-FFF2-40B4-BE49-F238E27FC236}">
                    <a16:creationId xmlns:a16="http://schemas.microsoft.com/office/drawing/2014/main" id="{13B51F8D-9550-8D83-53A9-932377FEA275}"/>
                  </a:ext>
                </a:extLst>
              </p:cNvPr>
              <p:cNvSpPr>
                <a:spLocks/>
              </p:cNvSpPr>
              <p:nvPr/>
            </p:nvSpPr>
            <p:spPr bwMode="auto">
              <a:xfrm>
                <a:off x="6623670" y="1814149"/>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83" name="Oval 582">
                <a:extLst>
                  <a:ext uri="{FF2B5EF4-FFF2-40B4-BE49-F238E27FC236}">
                    <a16:creationId xmlns:a16="http://schemas.microsoft.com/office/drawing/2014/main" id="{C6C7499D-B1F4-A04B-D29C-6C86BE2F1849}"/>
                  </a:ext>
                </a:extLst>
              </p:cNvPr>
              <p:cNvSpPr>
                <a:spLocks/>
              </p:cNvSpPr>
              <p:nvPr/>
            </p:nvSpPr>
            <p:spPr bwMode="auto">
              <a:xfrm>
                <a:off x="7147878" y="1317393"/>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84" name="Oval 583">
                <a:extLst>
                  <a:ext uri="{FF2B5EF4-FFF2-40B4-BE49-F238E27FC236}">
                    <a16:creationId xmlns:a16="http://schemas.microsoft.com/office/drawing/2014/main" id="{24E72A29-08A0-735C-35DF-22A22BDB9638}"/>
                  </a:ext>
                </a:extLst>
              </p:cNvPr>
              <p:cNvSpPr>
                <a:spLocks/>
              </p:cNvSpPr>
              <p:nvPr/>
            </p:nvSpPr>
            <p:spPr bwMode="auto">
              <a:xfrm>
                <a:off x="6365375" y="1943752"/>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85" name="Oval 584">
                <a:extLst>
                  <a:ext uri="{FF2B5EF4-FFF2-40B4-BE49-F238E27FC236}">
                    <a16:creationId xmlns:a16="http://schemas.microsoft.com/office/drawing/2014/main" id="{F71707BE-AE81-C042-D2A6-491DF8BB8BB0}"/>
                  </a:ext>
                </a:extLst>
              </p:cNvPr>
              <p:cNvSpPr>
                <a:spLocks/>
              </p:cNvSpPr>
              <p:nvPr/>
            </p:nvSpPr>
            <p:spPr bwMode="auto">
              <a:xfrm>
                <a:off x="6847142" y="1548806"/>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86" name="Oval 585">
                <a:extLst>
                  <a:ext uri="{FF2B5EF4-FFF2-40B4-BE49-F238E27FC236}">
                    <a16:creationId xmlns:a16="http://schemas.microsoft.com/office/drawing/2014/main" id="{FD9A79AD-E584-39A6-CF18-92681762DE14}"/>
                  </a:ext>
                </a:extLst>
              </p:cNvPr>
              <p:cNvSpPr>
                <a:spLocks/>
              </p:cNvSpPr>
              <p:nvPr/>
            </p:nvSpPr>
            <p:spPr bwMode="auto">
              <a:xfrm>
                <a:off x="5723133" y="2832839"/>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87" name="Oval 586">
                <a:extLst>
                  <a:ext uri="{FF2B5EF4-FFF2-40B4-BE49-F238E27FC236}">
                    <a16:creationId xmlns:a16="http://schemas.microsoft.com/office/drawing/2014/main" id="{45ADC8CB-E1D6-181A-84A1-4D1FFDFB3D01}"/>
                  </a:ext>
                </a:extLst>
              </p:cNvPr>
              <p:cNvSpPr>
                <a:spLocks/>
              </p:cNvSpPr>
              <p:nvPr/>
            </p:nvSpPr>
            <p:spPr bwMode="auto">
              <a:xfrm>
                <a:off x="7412507" y="5680814"/>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88" name="Oval 587">
                <a:extLst>
                  <a:ext uri="{FF2B5EF4-FFF2-40B4-BE49-F238E27FC236}">
                    <a16:creationId xmlns:a16="http://schemas.microsoft.com/office/drawing/2014/main" id="{4CEA8D9C-8506-2D5C-0891-F56057D93D8C}"/>
                  </a:ext>
                </a:extLst>
              </p:cNvPr>
              <p:cNvSpPr>
                <a:spLocks/>
              </p:cNvSpPr>
              <p:nvPr/>
            </p:nvSpPr>
            <p:spPr bwMode="auto">
              <a:xfrm>
                <a:off x="6437197" y="1605773"/>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89" name="Oval 588">
                <a:extLst>
                  <a:ext uri="{FF2B5EF4-FFF2-40B4-BE49-F238E27FC236}">
                    <a16:creationId xmlns:a16="http://schemas.microsoft.com/office/drawing/2014/main" id="{B74F85EA-D333-C2ED-D46D-191E990A4BF4}"/>
                  </a:ext>
                </a:extLst>
              </p:cNvPr>
              <p:cNvSpPr>
                <a:spLocks/>
              </p:cNvSpPr>
              <p:nvPr/>
            </p:nvSpPr>
            <p:spPr bwMode="auto">
              <a:xfrm>
                <a:off x="7468778" y="1251180"/>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90" name="Oval 589">
                <a:extLst>
                  <a:ext uri="{FF2B5EF4-FFF2-40B4-BE49-F238E27FC236}">
                    <a16:creationId xmlns:a16="http://schemas.microsoft.com/office/drawing/2014/main" id="{64B4461D-4649-D4D6-A828-2F502D38EF83}"/>
                  </a:ext>
                </a:extLst>
              </p:cNvPr>
              <p:cNvSpPr>
                <a:spLocks/>
              </p:cNvSpPr>
              <p:nvPr/>
            </p:nvSpPr>
            <p:spPr bwMode="auto">
              <a:xfrm>
                <a:off x="7733447" y="5762442"/>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91" name="Oval 590">
                <a:extLst>
                  <a:ext uri="{FF2B5EF4-FFF2-40B4-BE49-F238E27FC236}">
                    <a16:creationId xmlns:a16="http://schemas.microsoft.com/office/drawing/2014/main" id="{7CC30853-2FA9-A86F-3101-D07FE9AC8F41}"/>
                  </a:ext>
                </a:extLst>
              </p:cNvPr>
              <p:cNvSpPr>
                <a:spLocks/>
              </p:cNvSpPr>
              <p:nvPr/>
            </p:nvSpPr>
            <p:spPr bwMode="auto">
              <a:xfrm>
                <a:off x="5750735" y="3694124"/>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92" name="Oval 591">
                <a:extLst>
                  <a:ext uri="{FF2B5EF4-FFF2-40B4-BE49-F238E27FC236}">
                    <a16:creationId xmlns:a16="http://schemas.microsoft.com/office/drawing/2014/main" id="{528CB3E4-AA65-D4DD-DCBF-9E6819E516BA}"/>
                  </a:ext>
                </a:extLst>
              </p:cNvPr>
              <p:cNvSpPr>
                <a:spLocks/>
              </p:cNvSpPr>
              <p:nvPr/>
            </p:nvSpPr>
            <p:spPr bwMode="auto">
              <a:xfrm>
                <a:off x="6637263" y="5462812"/>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93" name="Oval 592">
                <a:extLst>
                  <a:ext uri="{FF2B5EF4-FFF2-40B4-BE49-F238E27FC236}">
                    <a16:creationId xmlns:a16="http://schemas.microsoft.com/office/drawing/2014/main" id="{7FB65E6D-3FB4-CA47-43CD-D176F36E4457}"/>
                  </a:ext>
                </a:extLst>
              </p:cNvPr>
              <p:cNvSpPr>
                <a:spLocks/>
              </p:cNvSpPr>
              <p:nvPr/>
            </p:nvSpPr>
            <p:spPr bwMode="auto">
              <a:xfrm>
                <a:off x="8504616" y="5846288"/>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94" name="Oval 593">
                <a:extLst>
                  <a:ext uri="{FF2B5EF4-FFF2-40B4-BE49-F238E27FC236}">
                    <a16:creationId xmlns:a16="http://schemas.microsoft.com/office/drawing/2014/main" id="{BB65D0BA-3912-1439-BD1E-C8A0737DCEE6}"/>
                  </a:ext>
                </a:extLst>
              </p:cNvPr>
              <p:cNvSpPr>
                <a:spLocks/>
              </p:cNvSpPr>
              <p:nvPr/>
            </p:nvSpPr>
            <p:spPr bwMode="auto">
              <a:xfrm>
                <a:off x="10469630" y="2133006"/>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95" name="Oval 594">
                <a:extLst>
                  <a:ext uri="{FF2B5EF4-FFF2-40B4-BE49-F238E27FC236}">
                    <a16:creationId xmlns:a16="http://schemas.microsoft.com/office/drawing/2014/main" id="{F84E291E-D313-9AEA-14E6-3164E48A5CF5}"/>
                  </a:ext>
                </a:extLst>
              </p:cNvPr>
              <p:cNvSpPr>
                <a:spLocks/>
              </p:cNvSpPr>
              <p:nvPr/>
            </p:nvSpPr>
            <p:spPr bwMode="auto">
              <a:xfrm>
                <a:off x="9865472" y="1457705"/>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96" name="Oval 595">
                <a:extLst>
                  <a:ext uri="{FF2B5EF4-FFF2-40B4-BE49-F238E27FC236}">
                    <a16:creationId xmlns:a16="http://schemas.microsoft.com/office/drawing/2014/main" id="{1ED2B112-26E8-55DB-381E-4B9CD15763BA}"/>
                  </a:ext>
                </a:extLst>
              </p:cNvPr>
              <p:cNvSpPr>
                <a:spLocks/>
              </p:cNvSpPr>
              <p:nvPr/>
            </p:nvSpPr>
            <p:spPr bwMode="auto">
              <a:xfrm>
                <a:off x="9395902" y="1206772"/>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97" name="Oval 596">
                <a:extLst>
                  <a:ext uri="{FF2B5EF4-FFF2-40B4-BE49-F238E27FC236}">
                    <a16:creationId xmlns:a16="http://schemas.microsoft.com/office/drawing/2014/main" id="{99887B70-8C0C-34A1-0A78-3927B9948DEB}"/>
                  </a:ext>
                </a:extLst>
              </p:cNvPr>
              <p:cNvSpPr>
                <a:spLocks/>
              </p:cNvSpPr>
              <p:nvPr/>
            </p:nvSpPr>
            <p:spPr bwMode="auto">
              <a:xfrm>
                <a:off x="7843688" y="1035454"/>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98" name="Oval 597">
                <a:extLst>
                  <a:ext uri="{FF2B5EF4-FFF2-40B4-BE49-F238E27FC236}">
                    <a16:creationId xmlns:a16="http://schemas.microsoft.com/office/drawing/2014/main" id="{1A5EE5F4-0731-E519-C25F-B785BF71E155}"/>
                  </a:ext>
                </a:extLst>
              </p:cNvPr>
              <p:cNvSpPr>
                <a:spLocks/>
              </p:cNvSpPr>
              <p:nvPr/>
            </p:nvSpPr>
            <p:spPr bwMode="auto">
              <a:xfrm>
                <a:off x="8472984" y="1080400"/>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99" name="Oval 598">
                <a:extLst>
                  <a:ext uri="{FF2B5EF4-FFF2-40B4-BE49-F238E27FC236}">
                    <a16:creationId xmlns:a16="http://schemas.microsoft.com/office/drawing/2014/main" id="{E5A06D5A-A184-C9CA-7CD7-1D57C15647CB}"/>
                  </a:ext>
                </a:extLst>
              </p:cNvPr>
              <p:cNvSpPr>
                <a:spLocks/>
              </p:cNvSpPr>
              <p:nvPr/>
            </p:nvSpPr>
            <p:spPr bwMode="auto">
              <a:xfrm>
                <a:off x="8984512" y="1047407"/>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600" name="Oval 599">
                <a:extLst>
                  <a:ext uri="{FF2B5EF4-FFF2-40B4-BE49-F238E27FC236}">
                    <a16:creationId xmlns:a16="http://schemas.microsoft.com/office/drawing/2014/main" id="{A0C40ABC-BEBA-0698-1A05-3DA6DC5DADFD}"/>
                  </a:ext>
                </a:extLst>
              </p:cNvPr>
              <p:cNvSpPr>
                <a:spLocks/>
              </p:cNvSpPr>
              <p:nvPr/>
            </p:nvSpPr>
            <p:spPr bwMode="auto">
              <a:xfrm>
                <a:off x="5897593" y="4508918"/>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601" name="Oval 600">
                <a:extLst>
                  <a:ext uri="{FF2B5EF4-FFF2-40B4-BE49-F238E27FC236}">
                    <a16:creationId xmlns:a16="http://schemas.microsoft.com/office/drawing/2014/main" id="{44D029FD-E697-6975-0827-EB8E6475B34D}"/>
                  </a:ext>
                </a:extLst>
              </p:cNvPr>
              <p:cNvSpPr>
                <a:spLocks/>
              </p:cNvSpPr>
              <p:nvPr/>
            </p:nvSpPr>
            <p:spPr bwMode="auto">
              <a:xfrm>
                <a:off x="10636545" y="4866149"/>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602" name="Oval 601">
                <a:extLst>
                  <a:ext uri="{FF2B5EF4-FFF2-40B4-BE49-F238E27FC236}">
                    <a16:creationId xmlns:a16="http://schemas.microsoft.com/office/drawing/2014/main" id="{28956057-8B3F-9540-15E4-B4B83A86EECF}"/>
                  </a:ext>
                </a:extLst>
              </p:cNvPr>
              <p:cNvSpPr>
                <a:spLocks/>
              </p:cNvSpPr>
              <p:nvPr/>
            </p:nvSpPr>
            <p:spPr bwMode="auto">
              <a:xfrm>
                <a:off x="11070317" y="4304723"/>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603" name="Oval 602">
                <a:extLst>
                  <a:ext uri="{FF2B5EF4-FFF2-40B4-BE49-F238E27FC236}">
                    <a16:creationId xmlns:a16="http://schemas.microsoft.com/office/drawing/2014/main" id="{29AA8621-07B7-7EED-7314-E26D92451D08}"/>
                  </a:ext>
                </a:extLst>
              </p:cNvPr>
              <p:cNvSpPr>
                <a:spLocks/>
              </p:cNvSpPr>
              <p:nvPr/>
            </p:nvSpPr>
            <p:spPr bwMode="auto">
              <a:xfrm>
                <a:off x="9780906" y="1170912"/>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604" name="Oval 603">
                <a:extLst>
                  <a:ext uri="{FF2B5EF4-FFF2-40B4-BE49-F238E27FC236}">
                    <a16:creationId xmlns:a16="http://schemas.microsoft.com/office/drawing/2014/main" id="{4E19D935-30C4-8EC1-8DDE-6BFD75F963B3}"/>
                  </a:ext>
                </a:extLst>
              </p:cNvPr>
              <p:cNvSpPr>
                <a:spLocks/>
              </p:cNvSpPr>
              <p:nvPr/>
            </p:nvSpPr>
            <p:spPr bwMode="auto">
              <a:xfrm>
                <a:off x="10263700" y="1505315"/>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grpSp>
        <p:grpSp>
          <p:nvGrpSpPr>
            <p:cNvPr id="6" name="Group 5">
              <a:extLst>
                <a:ext uri="{FF2B5EF4-FFF2-40B4-BE49-F238E27FC236}">
                  <a16:creationId xmlns:a16="http://schemas.microsoft.com/office/drawing/2014/main" id="{901D6A2D-197E-0322-F9E1-0AD7E295E4B0}"/>
                </a:ext>
              </a:extLst>
            </p:cNvPr>
            <p:cNvGrpSpPr/>
            <p:nvPr/>
          </p:nvGrpSpPr>
          <p:grpSpPr>
            <a:xfrm>
              <a:off x="5267489" y="902367"/>
              <a:ext cx="6232486" cy="5248156"/>
              <a:chOff x="5267489" y="902367"/>
              <a:chExt cx="6232486" cy="5248156"/>
            </a:xfrm>
          </p:grpSpPr>
          <p:sp>
            <p:nvSpPr>
              <p:cNvPr id="7" name="Oval 6">
                <a:extLst>
                  <a:ext uri="{FF2B5EF4-FFF2-40B4-BE49-F238E27FC236}">
                    <a16:creationId xmlns:a16="http://schemas.microsoft.com/office/drawing/2014/main" id="{B5E8A593-A62C-B94C-99B6-8BA51FDF93ED}"/>
                  </a:ext>
                </a:extLst>
              </p:cNvPr>
              <p:cNvSpPr>
                <a:spLocks/>
              </p:cNvSpPr>
              <p:nvPr/>
            </p:nvSpPr>
            <p:spPr bwMode="auto">
              <a:xfrm rot="467850" flipV="1">
                <a:off x="6011949" y="2062864"/>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8" name="Oval 7">
                <a:extLst>
                  <a:ext uri="{FF2B5EF4-FFF2-40B4-BE49-F238E27FC236}">
                    <a16:creationId xmlns:a16="http://schemas.microsoft.com/office/drawing/2014/main" id="{14F0CE97-BAB6-3A2B-646B-46FB8BFB7C82}"/>
                  </a:ext>
                </a:extLst>
              </p:cNvPr>
              <p:cNvSpPr>
                <a:spLocks/>
              </p:cNvSpPr>
              <p:nvPr/>
            </p:nvSpPr>
            <p:spPr bwMode="auto">
              <a:xfrm rot="467850" flipV="1">
                <a:off x="6237568" y="1343693"/>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9" name="Oval 8">
                <a:extLst>
                  <a:ext uri="{FF2B5EF4-FFF2-40B4-BE49-F238E27FC236}">
                    <a16:creationId xmlns:a16="http://schemas.microsoft.com/office/drawing/2014/main" id="{73301A08-C479-1681-2220-46991BF2B657}"/>
                  </a:ext>
                </a:extLst>
              </p:cNvPr>
              <p:cNvSpPr>
                <a:spLocks/>
              </p:cNvSpPr>
              <p:nvPr/>
            </p:nvSpPr>
            <p:spPr bwMode="auto">
              <a:xfrm rot="467850" flipV="1">
                <a:off x="10337351" y="5451911"/>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0" name="Oval 9">
                <a:extLst>
                  <a:ext uri="{FF2B5EF4-FFF2-40B4-BE49-F238E27FC236}">
                    <a16:creationId xmlns:a16="http://schemas.microsoft.com/office/drawing/2014/main" id="{464E98E6-E9B2-1CD2-3E14-388AC59562C3}"/>
                  </a:ext>
                </a:extLst>
              </p:cNvPr>
              <p:cNvSpPr>
                <a:spLocks/>
              </p:cNvSpPr>
              <p:nvPr/>
            </p:nvSpPr>
            <p:spPr bwMode="auto">
              <a:xfrm rot="467850" flipV="1">
                <a:off x="10672077" y="4783422"/>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1" name="Oval 10">
                <a:extLst>
                  <a:ext uri="{FF2B5EF4-FFF2-40B4-BE49-F238E27FC236}">
                    <a16:creationId xmlns:a16="http://schemas.microsoft.com/office/drawing/2014/main" id="{5F3EC4F0-C4F2-13D4-B9A3-12F8728C912F}"/>
                  </a:ext>
                </a:extLst>
              </p:cNvPr>
              <p:cNvSpPr>
                <a:spLocks/>
              </p:cNvSpPr>
              <p:nvPr/>
            </p:nvSpPr>
            <p:spPr bwMode="auto">
              <a:xfrm rot="467850" flipV="1">
                <a:off x="11075840" y="4101895"/>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2" name="Oval 11">
                <a:extLst>
                  <a:ext uri="{FF2B5EF4-FFF2-40B4-BE49-F238E27FC236}">
                    <a16:creationId xmlns:a16="http://schemas.microsoft.com/office/drawing/2014/main" id="{0958B10D-1262-05D2-89D4-13BA8F021ECF}"/>
                  </a:ext>
                </a:extLst>
              </p:cNvPr>
              <p:cNvSpPr>
                <a:spLocks/>
              </p:cNvSpPr>
              <p:nvPr/>
            </p:nvSpPr>
            <p:spPr bwMode="auto">
              <a:xfrm rot="467850" flipV="1">
                <a:off x="11063111" y="4624756"/>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 name="Oval 12">
                <a:extLst>
                  <a:ext uri="{FF2B5EF4-FFF2-40B4-BE49-F238E27FC236}">
                    <a16:creationId xmlns:a16="http://schemas.microsoft.com/office/drawing/2014/main" id="{9D7BAFB9-93B8-38C2-B67E-3E73A2C9A076}"/>
                  </a:ext>
                </a:extLst>
              </p:cNvPr>
              <p:cNvSpPr>
                <a:spLocks/>
              </p:cNvSpPr>
              <p:nvPr/>
            </p:nvSpPr>
            <p:spPr bwMode="auto">
              <a:xfrm rot="467850" flipV="1">
                <a:off x="10978887" y="3554938"/>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4" name="Oval 13">
                <a:extLst>
                  <a:ext uri="{FF2B5EF4-FFF2-40B4-BE49-F238E27FC236}">
                    <a16:creationId xmlns:a16="http://schemas.microsoft.com/office/drawing/2014/main" id="{18C71395-BBC0-8753-3CE6-5C082B72A4AC}"/>
                  </a:ext>
                </a:extLst>
              </p:cNvPr>
              <p:cNvSpPr>
                <a:spLocks/>
              </p:cNvSpPr>
              <p:nvPr/>
            </p:nvSpPr>
            <p:spPr bwMode="auto">
              <a:xfrm rot="467850" flipV="1">
                <a:off x="11027101" y="2947810"/>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8" name="Oval 17">
                <a:extLst>
                  <a:ext uri="{FF2B5EF4-FFF2-40B4-BE49-F238E27FC236}">
                    <a16:creationId xmlns:a16="http://schemas.microsoft.com/office/drawing/2014/main" id="{DD6C4048-7692-2D6E-3BA0-E6A3E0777EFA}"/>
                  </a:ext>
                </a:extLst>
              </p:cNvPr>
              <p:cNvSpPr>
                <a:spLocks/>
              </p:cNvSpPr>
              <p:nvPr/>
            </p:nvSpPr>
            <p:spPr bwMode="auto">
              <a:xfrm rot="467850" flipV="1">
                <a:off x="10699215" y="1659735"/>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9" name="Oval 18">
                <a:extLst>
                  <a:ext uri="{FF2B5EF4-FFF2-40B4-BE49-F238E27FC236}">
                    <a16:creationId xmlns:a16="http://schemas.microsoft.com/office/drawing/2014/main" id="{E3D9FC30-0F8E-8152-06D9-3F51C74B6115}"/>
                  </a:ext>
                </a:extLst>
              </p:cNvPr>
              <p:cNvSpPr>
                <a:spLocks/>
              </p:cNvSpPr>
              <p:nvPr/>
            </p:nvSpPr>
            <p:spPr bwMode="auto">
              <a:xfrm rot="467850" flipV="1">
                <a:off x="10760379" y="2123995"/>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0" name="Oval 19">
                <a:extLst>
                  <a:ext uri="{FF2B5EF4-FFF2-40B4-BE49-F238E27FC236}">
                    <a16:creationId xmlns:a16="http://schemas.microsoft.com/office/drawing/2014/main" id="{BC434AEC-8141-1F2D-F0D8-C100596B6FC2}"/>
                  </a:ext>
                </a:extLst>
              </p:cNvPr>
              <p:cNvSpPr>
                <a:spLocks/>
              </p:cNvSpPr>
              <p:nvPr/>
            </p:nvSpPr>
            <p:spPr bwMode="auto">
              <a:xfrm rot="467850" flipV="1">
                <a:off x="10318090" y="1314125"/>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21" name="Oval 20">
                <a:extLst>
                  <a:ext uri="{FF2B5EF4-FFF2-40B4-BE49-F238E27FC236}">
                    <a16:creationId xmlns:a16="http://schemas.microsoft.com/office/drawing/2014/main" id="{E0EB5E6B-2FF1-FC3F-48B9-23D779996C82}"/>
                  </a:ext>
                </a:extLst>
              </p:cNvPr>
              <p:cNvSpPr>
                <a:spLocks/>
              </p:cNvSpPr>
              <p:nvPr/>
            </p:nvSpPr>
            <p:spPr bwMode="auto">
              <a:xfrm rot="467850" flipV="1">
                <a:off x="5672503" y="2428242"/>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30" name="Oval 29">
                <a:extLst>
                  <a:ext uri="{FF2B5EF4-FFF2-40B4-BE49-F238E27FC236}">
                    <a16:creationId xmlns:a16="http://schemas.microsoft.com/office/drawing/2014/main" id="{7BDB9FDF-EA18-0A44-45CA-0064F95AA865}"/>
                  </a:ext>
                </a:extLst>
              </p:cNvPr>
              <p:cNvSpPr>
                <a:spLocks/>
              </p:cNvSpPr>
              <p:nvPr/>
            </p:nvSpPr>
            <p:spPr bwMode="auto">
              <a:xfrm rot="467850" flipV="1">
                <a:off x="5585931" y="3438921"/>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31" name="Oval 30">
                <a:extLst>
                  <a:ext uri="{FF2B5EF4-FFF2-40B4-BE49-F238E27FC236}">
                    <a16:creationId xmlns:a16="http://schemas.microsoft.com/office/drawing/2014/main" id="{3AC533CB-3D5B-1D96-C7EA-EAC9B55D3E5C}"/>
                  </a:ext>
                </a:extLst>
              </p:cNvPr>
              <p:cNvSpPr>
                <a:spLocks/>
              </p:cNvSpPr>
              <p:nvPr/>
            </p:nvSpPr>
            <p:spPr bwMode="auto">
              <a:xfrm rot="467850" flipV="1">
                <a:off x="5550925" y="3023149"/>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32" name="Oval 31">
                <a:extLst>
                  <a:ext uri="{FF2B5EF4-FFF2-40B4-BE49-F238E27FC236}">
                    <a16:creationId xmlns:a16="http://schemas.microsoft.com/office/drawing/2014/main" id="{0A4392DB-8196-B1DF-8B53-A4036CE42B04}"/>
                  </a:ext>
                </a:extLst>
              </p:cNvPr>
              <p:cNvSpPr>
                <a:spLocks/>
              </p:cNvSpPr>
              <p:nvPr/>
            </p:nvSpPr>
            <p:spPr bwMode="auto">
              <a:xfrm rot="467850" flipV="1">
                <a:off x="6611258" y="1216737"/>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33" name="Oval 32">
                <a:extLst>
                  <a:ext uri="{FF2B5EF4-FFF2-40B4-BE49-F238E27FC236}">
                    <a16:creationId xmlns:a16="http://schemas.microsoft.com/office/drawing/2014/main" id="{2B8117B9-83D7-CC8C-6DFE-D589A083DE0A}"/>
                  </a:ext>
                </a:extLst>
              </p:cNvPr>
              <p:cNvSpPr>
                <a:spLocks/>
              </p:cNvSpPr>
              <p:nvPr/>
            </p:nvSpPr>
            <p:spPr bwMode="auto">
              <a:xfrm rot="467850" flipV="1">
                <a:off x="7095623" y="1053899"/>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34" name="Oval 33">
                <a:extLst>
                  <a:ext uri="{FF2B5EF4-FFF2-40B4-BE49-F238E27FC236}">
                    <a16:creationId xmlns:a16="http://schemas.microsoft.com/office/drawing/2014/main" id="{60A1A2EF-36D5-159F-E717-EFD957DEE0E1}"/>
                  </a:ext>
                </a:extLst>
              </p:cNvPr>
              <p:cNvSpPr>
                <a:spLocks/>
              </p:cNvSpPr>
              <p:nvPr/>
            </p:nvSpPr>
            <p:spPr bwMode="auto">
              <a:xfrm rot="467850" flipV="1">
                <a:off x="11283869" y="3912661"/>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35" name="Oval 34">
                <a:extLst>
                  <a:ext uri="{FF2B5EF4-FFF2-40B4-BE49-F238E27FC236}">
                    <a16:creationId xmlns:a16="http://schemas.microsoft.com/office/drawing/2014/main" id="{72EC7D64-CDA1-EB8B-B4E0-01A2D483766C}"/>
                  </a:ext>
                </a:extLst>
              </p:cNvPr>
              <p:cNvSpPr>
                <a:spLocks/>
              </p:cNvSpPr>
              <p:nvPr/>
            </p:nvSpPr>
            <p:spPr bwMode="auto">
              <a:xfrm rot="467850" flipV="1">
                <a:off x="11221038" y="3317292"/>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36" name="Oval 35">
                <a:extLst>
                  <a:ext uri="{FF2B5EF4-FFF2-40B4-BE49-F238E27FC236}">
                    <a16:creationId xmlns:a16="http://schemas.microsoft.com/office/drawing/2014/main" id="{0E0A96EB-56F8-7F59-4CF5-9C50A8186DCA}"/>
                  </a:ext>
                </a:extLst>
              </p:cNvPr>
              <p:cNvSpPr>
                <a:spLocks/>
              </p:cNvSpPr>
              <p:nvPr/>
            </p:nvSpPr>
            <p:spPr bwMode="auto">
              <a:xfrm rot="467850" flipV="1">
                <a:off x="11018417" y="2492991"/>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37" name="Oval 36">
                <a:extLst>
                  <a:ext uri="{FF2B5EF4-FFF2-40B4-BE49-F238E27FC236}">
                    <a16:creationId xmlns:a16="http://schemas.microsoft.com/office/drawing/2014/main" id="{72291BD0-E672-695F-295A-B2103CDF0F11}"/>
                  </a:ext>
                </a:extLst>
              </p:cNvPr>
              <p:cNvSpPr>
                <a:spLocks/>
              </p:cNvSpPr>
              <p:nvPr/>
            </p:nvSpPr>
            <p:spPr bwMode="auto">
              <a:xfrm rot="467850" flipV="1">
                <a:off x="9903579" y="1023309"/>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38" name="Oval 37">
                <a:extLst>
                  <a:ext uri="{FF2B5EF4-FFF2-40B4-BE49-F238E27FC236}">
                    <a16:creationId xmlns:a16="http://schemas.microsoft.com/office/drawing/2014/main" id="{1447DC14-3937-E06F-E11C-F400D6A56DDD}"/>
                  </a:ext>
                </a:extLst>
              </p:cNvPr>
              <p:cNvSpPr>
                <a:spLocks/>
              </p:cNvSpPr>
              <p:nvPr/>
            </p:nvSpPr>
            <p:spPr bwMode="auto">
              <a:xfrm rot="467850" flipV="1">
                <a:off x="6161364" y="1717879"/>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40" name="Oval 39">
                <a:extLst>
                  <a:ext uri="{FF2B5EF4-FFF2-40B4-BE49-F238E27FC236}">
                    <a16:creationId xmlns:a16="http://schemas.microsoft.com/office/drawing/2014/main" id="{3553C086-C06D-5E46-6A7B-8F171CCDFD40}"/>
                  </a:ext>
                </a:extLst>
              </p:cNvPr>
              <p:cNvSpPr>
                <a:spLocks/>
              </p:cNvSpPr>
              <p:nvPr/>
            </p:nvSpPr>
            <p:spPr bwMode="auto">
              <a:xfrm rot="467850" flipV="1">
                <a:off x="5751185" y="2702396"/>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41" name="Oval 40">
                <a:extLst>
                  <a:ext uri="{FF2B5EF4-FFF2-40B4-BE49-F238E27FC236}">
                    <a16:creationId xmlns:a16="http://schemas.microsoft.com/office/drawing/2014/main" id="{536EAA90-320A-7298-3917-B4D79FBB3F50}"/>
                  </a:ext>
                </a:extLst>
              </p:cNvPr>
              <p:cNvSpPr>
                <a:spLocks/>
              </p:cNvSpPr>
              <p:nvPr/>
            </p:nvSpPr>
            <p:spPr bwMode="auto">
              <a:xfrm rot="467850" flipV="1">
                <a:off x="5549877" y="3906237"/>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42" name="Oval 41">
                <a:extLst>
                  <a:ext uri="{FF2B5EF4-FFF2-40B4-BE49-F238E27FC236}">
                    <a16:creationId xmlns:a16="http://schemas.microsoft.com/office/drawing/2014/main" id="{2C6FD225-329E-EBF6-10DC-F0A2958C025F}"/>
                  </a:ext>
                </a:extLst>
              </p:cNvPr>
              <p:cNvSpPr>
                <a:spLocks/>
              </p:cNvSpPr>
              <p:nvPr/>
            </p:nvSpPr>
            <p:spPr bwMode="auto">
              <a:xfrm rot="467850" flipV="1">
                <a:off x="5617097" y="4421179"/>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43" name="Oval 42">
                <a:extLst>
                  <a:ext uri="{FF2B5EF4-FFF2-40B4-BE49-F238E27FC236}">
                    <a16:creationId xmlns:a16="http://schemas.microsoft.com/office/drawing/2014/main" id="{779A3B59-9B3C-6033-34E7-7E8F5EA1EE9F}"/>
                  </a:ext>
                </a:extLst>
              </p:cNvPr>
              <p:cNvSpPr>
                <a:spLocks/>
              </p:cNvSpPr>
              <p:nvPr/>
            </p:nvSpPr>
            <p:spPr bwMode="auto">
              <a:xfrm rot="467850" flipV="1">
                <a:off x="6114325" y="4922814"/>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44" name="Oval 43">
                <a:extLst>
                  <a:ext uri="{FF2B5EF4-FFF2-40B4-BE49-F238E27FC236}">
                    <a16:creationId xmlns:a16="http://schemas.microsoft.com/office/drawing/2014/main" id="{794F2242-F2F4-EAF2-2E63-9040636131FF}"/>
                  </a:ext>
                </a:extLst>
              </p:cNvPr>
              <p:cNvSpPr>
                <a:spLocks/>
              </p:cNvSpPr>
              <p:nvPr/>
            </p:nvSpPr>
            <p:spPr bwMode="auto">
              <a:xfrm rot="467850" flipV="1">
                <a:off x="6674064" y="5775719"/>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45" name="Oval 44">
                <a:extLst>
                  <a:ext uri="{FF2B5EF4-FFF2-40B4-BE49-F238E27FC236}">
                    <a16:creationId xmlns:a16="http://schemas.microsoft.com/office/drawing/2014/main" id="{01E40BA7-D9D4-2D5A-52EA-8D494A98B36E}"/>
                  </a:ext>
                </a:extLst>
              </p:cNvPr>
              <p:cNvSpPr>
                <a:spLocks/>
              </p:cNvSpPr>
              <p:nvPr/>
            </p:nvSpPr>
            <p:spPr bwMode="auto">
              <a:xfrm rot="467850" flipV="1">
                <a:off x="5845343" y="4767916"/>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48" name="Oval 47">
                <a:extLst>
                  <a:ext uri="{FF2B5EF4-FFF2-40B4-BE49-F238E27FC236}">
                    <a16:creationId xmlns:a16="http://schemas.microsoft.com/office/drawing/2014/main" id="{32D1E87E-D252-38D6-5252-0CC4686A7AD1}"/>
                  </a:ext>
                </a:extLst>
              </p:cNvPr>
              <p:cNvSpPr>
                <a:spLocks/>
              </p:cNvSpPr>
              <p:nvPr/>
            </p:nvSpPr>
            <p:spPr bwMode="auto">
              <a:xfrm rot="467850" flipV="1">
                <a:off x="6320160" y="5279631"/>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0" name="Oval 49">
                <a:extLst>
                  <a:ext uri="{FF2B5EF4-FFF2-40B4-BE49-F238E27FC236}">
                    <a16:creationId xmlns:a16="http://schemas.microsoft.com/office/drawing/2014/main" id="{CBFB255C-8D5E-D819-38AE-78A573430DDF}"/>
                  </a:ext>
                </a:extLst>
              </p:cNvPr>
              <p:cNvSpPr>
                <a:spLocks/>
              </p:cNvSpPr>
              <p:nvPr/>
            </p:nvSpPr>
            <p:spPr bwMode="auto">
              <a:xfrm rot="467850" flipV="1">
                <a:off x="5267489" y="3683206"/>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1" name="Oval 50">
                <a:extLst>
                  <a:ext uri="{FF2B5EF4-FFF2-40B4-BE49-F238E27FC236}">
                    <a16:creationId xmlns:a16="http://schemas.microsoft.com/office/drawing/2014/main" id="{B1823906-2387-7584-FBA8-9A1C69E1552F}"/>
                  </a:ext>
                </a:extLst>
              </p:cNvPr>
              <p:cNvSpPr>
                <a:spLocks/>
              </p:cNvSpPr>
              <p:nvPr/>
            </p:nvSpPr>
            <p:spPr bwMode="auto">
              <a:xfrm rot="467850" flipV="1">
                <a:off x="7588721" y="1100385"/>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2" name="Oval 51">
                <a:extLst>
                  <a:ext uri="{FF2B5EF4-FFF2-40B4-BE49-F238E27FC236}">
                    <a16:creationId xmlns:a16="http://schemas.microsoft.com/office/drawing/2014/main" id="{D99FF487-06D4-E05B-4E5D-948D6DE91E47}"/>
                  </a:ext>
                </a:extLst>
              </p:cNvPr>
              <p:cNvSpPr>
                <a:spLocks/>
              </p:cNvSpPr>
              <p:nvPr/>
            </p:nvSpPr>
            <p:spPr bwMode="auto">
              <a:xfrm rot="467850" flipV="1">
                <a:off x="5873696" y="5154062"/>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4" name="Oval 53">
                <a:extLst>
                  <a:ext uri="{FF2B5EF4-FFF2-40B4-BE49-F238E27FC236}">
                    <a16:creationId xmlns:a16="http://schemas.microsoft.com/office/drawing/2014/main" id="{FE2FEECF-51BB-BB73-59FF-6FD816FE0BDB}"/>
                  </a:ext>
                </a:extLst>
              </p:cNvPr>
              <p:cNvSpPr>
                <a:spLocks/>
              </p:cNvSpPr>
              <p:nvPr/>
            </p:nvSpPr>
            <p:spPr bwMode="auto">
              <a:xfrm rot="467850" flipV="1">
                <a:off x="6965056" y="5704565"/>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5" name="Oval 54">
                <a:extLst>
                  <a:ext uri="{FF2B5EF4-FFF2-40B4-BE49-F238E27FC236}">
                    <a16:creationId xmlns:a16="http://schemas.microsoft.com/office/drawing/2014/main" id="{9DBBE925-BDB6-F073-AB50-CA35F5AB92C6}"/>
                  </a:ext>
                </a:extLst>
              </p:cNvPr>
              <p:cNvSpPr>
                <a:spLocks/>
              </p:cNvSpPr>
              <p:nvPr/>
            </p:nvSpPr>
            <p:spPr bwMode="auto">
              <a:xfrm rot="467850" flipV="1">
                <a:off x="8028706" y="938215"/>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6" name="Oval 55">
                <a:extLst>
                  <a:ext uri="{FF2B5EF4-FFF2-40B4-BE49-F238E27FC236}">
                    <a16:creationId xmlns:a16="http://schemas.microsoft.com/office/drawing/2014/main" id="{B0B891AA-344C-90A1-84ED-AA1F2F99B2F4}"/>
                  </a:ext>
                </a:extLst>
              </p:cNvPr>
              <p:cNvSpPr>
                <a:spLocks/>
              </p:cNvSpPr>
              <p:nvPr/>
            </p:nvSpPr>
            <p:spPr bwMode="auto">
              <a:xfrm rot="467850" flipV="1">
                <a:off x="5429074" y="2731198"/>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7" name="Oval 56">
                <a:extLst>
                  <a:ext uri="{FF2B5EF4-FFF2-40B4-BE49-F238E27FC236}">
                    <a16:creationId xmlns:a16="http://schemas.microsoft.com/office/drawing/2014/main" id="{42D2A8DC-50B8-188A-8488-48F22D10D72D}"/>
                  </a:ext>
                </a:extLst>
              </p:cNvPr>
              <p:cNvSpPr>
                <a:spLocks/>
              </p:cNvSpPr>
              <p:nvPr/>
            </p:nvSpPr>
            <p:spPr bwMode="auto">
              <a:xfrm rot="467850" flipV="1">
                <a:off x="6682197" y="902367"/>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8" name="Oval 57">
                <a:extLst>
                  <a:ext uri="{FF2B5EF4-FFF2-40B4-BE49-F238E27FC236}">
                    <a16:creationId xmlns:a16="http://schemas.microsoft.com/office/drawing/2014/main" id="{6B812C6F-4BEE-393A-0BF8-3513937D4C7E}"/>
                  </a:ext>
                </a:extLst>
              </p:cNvPr>
              <p:cNvSpPr>
                <a:spLocks/>
              </p:cNvSpPr>
              <p:nvPr/>
            </p:nvSpPr>
            <p:spPr bwMode="auto">
              <a:xfrm rot="467850" flipV="1">
                <a:off x="8585041" y="904456"/>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9" name="Oval 58">
                <a:extLst>
                  <a:ext uri="{FF2B5EF4-FFF2-40B4-BE49-F238E27FC236}">
                    <a16:creationId xmlns:a16="http://schemas.microsoft.com/office/drawing/2014/main" id="{5ADDD374-DCD6-EB48-D235-4065F8E9D185}"/>
                  </a:ext>
                </a:extLst>
              </p:cNvPr>
              <p:cNvSpPr>
                <a:spLocks/>
              </p:cNvSpPr>
              <p:nvPr/>
            </p:nvSpPr>
            <p:spPr bwMode="auto">
              <a:xfrm rot="467850" flipV="1">
                <a:off x="10430686" y="5181776"/>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60" name="Oval 59">
                <a:extLst>
                  <a:ext uri="{FF2B5EF4-FFF2-40B4-BE49-F238E27FC236}">
                    <a16:creationId xmlns:a16="http://schemas.microsoft.com/office/drawing/2014/main" id="{D1959E06-2583-B44D-327F-A6858F690D6E}"/>
                  </a:ext>
                </a:extLst>
              </p:cNvPr>
              <p:cNvSpPr>
                <a:spLocks/>
              </p:cNvSpPr>
              <p:nvPr/>
            </p:nvSpPr>
            <p:spPr bwMode="auto">
              <a:xfrm rot="467850" flipV="1">
                <a:off x="9623414" y="5733108"/>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61" name="Oval 60">
                <a:extLst>
                  <a:ext uri="{FF2B5EF4-FFF2-40B4-BE49-F238E27FC236}">
                    <a16:creationId xmlns:a16="http://schemas.microsoft.com/office/drawing/2014/main" id="{D3FDD4B7-DC82-0688-3D86-22E0F6640785}"/>
                  </a:ext>
                </a:extLst>
              </p:cNvPr>
              <p:cNvSpPr>
                <a:spLocks/>
              </p:cNvSpPr>
              <p:nvPr/>
            </p:nvSpPr>
            <p:spPr bwMode="auto">
              <a:xfrm rot="467850" flipV="1">
                <a:off x="8933162" y="5775719"/>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62" name="Oval 61">
                <a:extLst>
                  <a:ext uri="{FF2B5EF4-FFF2-40B4-BE49-F238E27FC236}">
                    <a16:creationId xmlns:a16="http://schemas.microsoft.com/office/drawing/2014/main" id="{46B41E69-CFA4-3D94-828F-B2CACC91D191}"/>
                  </a:ext>
                </a:extLst>
              </p:cNvPr>
              <p:cNvSpPr>
                <a:spLocks/>
              </p:cNvSpPr>
              <p:nvPr/>
            </p:nvSpPr>
            <p:spPr bwMode="auto">
              <a:xfrm rot="467850" flipV="1">
                <a:off x="7464714" y="5958019"/>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63" name="Oval 62">
                <a:extLst>
                  <a:ext uri="{FF2B5EF4-FFF2-40B4-BE49-F238E27FC236}">
                    <a16:creationId xmlns:a16="http://schemas.microsoft.com/office/drawing/2014/main" id="{7E07CA53-A126-3DF1-A0E7-B9DCA02438C1}"/>
                  </a:ext>
                </a:extLst>
              </p:cNvPr>
              <p:cNvSpPr>
                <a:spLocks/>
              </p:cNvSpPr>
              <p:nvPr/>
            </p:nvSpPr>
            <p:spPr bwMode="auto">
              <a:xfrm rot="467850" flipV="1">
                <a:off x="8084623" y="5830936"/>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12" name="Oval 511">
                <a:extLst>
                  <a:ext uri="{FF2B5EF4-FFF2-40B4-BE49-F238E27FC236}">
                    <a16:creationId xmlns:a16="http://schemas.microsoft.com/office/drawing/2014/main" id="{959E1759-7A02-6DCE-E2DE-B5EED2960033}"/>
                  </a:ext>
                </a:extLst>
              </p:cNvPr>
              <p:cNvSpPr>
                <a:spLocks/>
              </p:cNvSpPr>
              <p:nvPr/>
            </p:nvSpPr>
            <p:spPr bwMode="auto">
              <a:xfrm rot="467850" flipV="1">
                <a:off x="8467386" y="6078287"/>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13" name="Oval 512">
                <a:extLst>
                  <a:ext uri="{FF2B5EF4-FFF2-40B4-BE49-F238E27FC236}">
                    <a16:creationId xmlns:a16="http://schemas.microsoft.com/office/drawing/2014/main" id="{C71738DB-4BD1-67FC-CCF2-9C010653A75B}"/>
                  </a:ext>
                </a:extLst>
              </p:cNvPr>
              <p:cNvSpPr>
                <a:spLocks/>
              </p:cNvSpPr>
              <p:nvPr/>
            </p:nvSpPr>
            <p:spPr bwMode="auto">
              <a:xfrm rot="467850" flipV="1">
                <a:off x="5717916" y="1820678"/>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14" name="Oval 513">
                <a:extLst>
                  <a:ext uri="{FF2B5EF4-FFF2-40B4-BE49-F238E27FC236}">
                    <a16:creationId xmlns:a16="http://schemas.microsoft.com/office/drawing/2014/main" id="{AAFBEEF8-F548-FB66-10D4-1A8EF84CCB59}"/>
                  </a:ext>
                </a:extLst>
              </p:cNvPr>
              <p:cNvSpPr>
                <a:spLocks/>
              </p:cNvSpPr>
              <p:nvPr/>
            </p:nvSpPr>
            <p:spPr bwMode="auto">
              <a:xfrm rot="467850" flipV="1">
                <a:off x="11033442" y="2144541"/>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15" name="Oval 514">
                <a:extLst>
                  <a:ext uri="{FF2B5EF4-FFF2-40B4-BE49-F238E27FC236}">
                    <a16:creationId xmlns:a16="http://schemas.microsoft.com/office/drawing/2014/main" id="{730D30D4-0895-8018-4D6E-B5A7E08026D9}"/>
                  </a:ext>
                </a:extLst>
              </p:cNvPr>
              <p:cNvSpPr>
                <a:spLocks/>
              </p:cNvSpPr>
              <p:nvPr/>
            </p:nvSpPr>
            <p:spPr bwMode="auto">
              <a:xfrm rot="467850" flipV="1">
                <a:off x="11427739" y="2862043"/>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16" name="Oval 515">
                <a:extLst>
                  <a:ext uri="{FF2B5EF4-FFF2-40B4-BE49-F238E27FC236}">
                    <a16:creationId xmlns:a16="http://schemas.microsoft.com/office/drawing/2014/main" id="{2B985455-C7C8-DDB1-EB0D-01534C3DCBA7}"/>
                  </a:ext>
                </a:extLst>
              </p:cNvPr>
              <p:cNvSpPr>
                <a:spLocks/>
              </p:cNvSpPr>
              <p:nvPr/>
            </p:nvSpPr>
            <p:spPr bwMode="auto">
              <a:xfrm rot="467850" flipV="1">
                <a:off x="9176894" y="6078287"/>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17" name="Oval 516">
                <a:extLst>
                  <a:ext uri="{FF2B5EF4-FFF2-40B4-BE49-F238E27FC236}">
                    <a16:creationId xmlns:a16="http://schemas.microsoft.com/office/drawing/2014/main" id="{1778AA31-13C2-71A9-C147-9AED034E2EB0}"/>
                  </a:ext>
                </a:extLst>
              </p:cNvPr>
              <p:cNvSpPr>
                <a:spLocks/>
              </p:cNvSpPr>
              <p:nvPr/>
            </p:nvSpPr>
            <p:spPr bwMode="auto">
              <a:xfrm rot="467850" flipV="1">
                <a:off x="9947691" y="5660034"/>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519" name="Oval 518">
                <a:extLst>
                  <a:ext uri="{FF2B5EF4-FFF2-40B4-BE49-F238E27FC236}">
                    <a16:creationId xmlns:a16="http://schemas.microsoft.com/office/drawing/2014/main" id="{C3422FE6-C33C-93A6-BD67-2C28CF995B0D}"/>
                  </a:ext>
                </a:extLst>
              </p:cNvPr>
              <p:cNvSpPr>
                <a:spLocks/>
              </p:cNvSpPr>
              <p:nvPr/>
            </p:nvSpPr>
            <p:spPr bwMode="auto">
              <a:xfrm rot="4295831" flipV="1">
                <a:off x="9268579" y="1011289"/>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grpSp>
      </p:grpSp>
      <p:sp>
        <p:nvSpPr>
          <p:cNvPr id="792" name="Oval 791">
            <a:extLst>
              <a:ext uri="{FF2B5EF4-FFF2-40B4-BE49-F238E27FC236}">
                <a16:creationId xmlns:a16="http://schemas.microsoft.com/office/drawing/2014/main" id="{C690C026-A568-4BE4-5C56-CA1B621AAC44}"/>
              </a:ext>
              <a:ext uri="{C183D7F6-B498-43B3-948B-1728B52AA6E4}">
                <adec:decorative xmlns:adec="http://schemas.microsoft.com/office/drawing/2017/decorative" val="1"/>
              </a:ext>
            </a:extLst>
          </p:cNvPr>
          <p:cNvSpPr/>
          <p:nvPr/>
        </p:nvSpPr>
        <p:spPr bwMode="auto">
          <a:xfrm>
            <a:off x="4119751" y="1452751"/>
            <a:ext cx="3952498" cy="3952498"/>
          </a:xfrm>
          <a:prstGeom prst="ellipse">
            <a:avLst/>
          </a:prstGeom>
          <a:gradFill flip="none" rotWithShape="1">
            <a:gsLst>
              <a:gs pos="93000">
                <a:schemeClr val="bg1">
                  <a:alpha val="0"/>
                </a:schemeClr>
              </a:gs>
              <a:gs pos="55000">
                <a:schemeClr val="bg1"/>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91F2C"/>
              </a:solidFill>
              <a:effectLst/>
              <a:uLnTx/>
              <a:uFillTx/>
              <a:latin typeface="Segoe Sans Display"/>
              <a:ea typeface="+mn-ea"/>
              <a:cs typeface="Segoe UI" pitchFamily="34" charset="0"/>
            </a:endParaRPr>
          </a:p>
        </p:txBody>
      </p:sp>
      <p:sp>
        <p:nvSpPr>
          <p:cNvPr id="793" name="!!Title: Microsoft Entra Suite">
            <a:extLst>
              <a:ext uri="{FF2B5EF4-FFF2-40B4-BE49-F238E27FC236}">
                <a16:creationId xmlns:a16="http://schemas.microsoft.com/office/drawing/2014/main" id="{14BCF8A3-CAB6-84AD-4705-6C4159343487}"/>
              </a:ext>
            </a:extLst>
          </p:cNvPr>
          <p:cNvSpPr txBox="1">
            <a:spLocks noGrp="1"/>
          </p:cNvSpPr>
          <p:nvPr>
            <p:ph type="title"/>
          </p:nvPr>
        </p:nvSpPr>
        <p:spPr>
          <a:xfrm>
            <a:off x="3341791" y="2885253"/>
            <a:ext cx="5508419" cy="372410"/>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ctr" defTabSz="932742" rtl="0" eaLnBrk="1" latinLnBrk="0" hangingPunct="1">
              <a:lnSpc>
                <a:spcPct val="100000"/>
              </a:lnSpc>
              <a:spcBef>
                <a:spcPct val="0"/>
              </a:spcBef>
              <a:buNone/>
              <a:defRPr lang="en-US" sz="3200" b="0" i="0" kern="1200" cap="none" spc="-50" baseline="0" dirty="0" smtClean="0">
                <a:ln w="3175">
                  <a:noFill/>
                </a:ln>
                <a:solidFill>
                  <a:schemeClr val="bg1"/>
                </a:solidFill>
                <a:effectLst/>
                <a:latin typeface="+mj-lt"/>
                <a:ea typeface="+mn-ea"/>
                <a:cs typeface="Segoe UI" pitchFamily="34" charset="0"/>
              </a:defRPr>
            </a:lvl1pPr>
          </a:lstStyle>
          <a:p>
            <a:pPr marL="0" marR="0" lvl="0" indent="0" algn="ctr" defTabSz="932472" rtl="0" eaLnBrk="1" fontAlgn="base" latinLnBrk="0" hangingPunct="1">
              <a:lnSpc>
                <a:spcPct val="76518"/>
              </a:lnSpc>
              <a:spcBef>
                <a:spcPts val="1200"/>
              </a:spcBef>
              <a:spcAft>
                <a:spcPct val="0"/>
              </a:spcAft>
              <a:buClrTx/>
              <a:buSzTx/>
              <a:buFontTx/>
              <a:buNone/>
              <a:tabLst/>
              <a:defRPr/>
            </a:pPr>
            <a:r>
              <a:rPr kumimoji="0" lang="en-US" sz="3600" b="0" i="0" u="none" strike="noStrike" kern="1200" cap="none" spc="-50" normalizeH="0" baseline="0" noProof="0">
                <a:ln w="3175">
                  <a:noFill/>
                </a:ln>
                <a:solidFill>
                  <a:schemeClr val="tx1"/>
                </a:solidFill>
                <a:effectLst/>
                <a:uLnTx/>
                <a:uFillTx/>
                <a:latin typeface="Segoe Sans Display Semibold"/>
                <a:ea typeface="+mn-ea"/>
                <a:cs typeface="Segoe UI" pitchFamily="34" charset="0"/>
              </a:rPr>
              <a:t>Microsoft </a:t>
            </a:r>
            <a:br>
              <a:rPr kumimoji="0" lang="en-US" sz="3600" b="0" i="0" u="none" strike="noStrike" kern="1200" cap="none" spc="-50" normalizeH="0" baseline="0" noProof="0">
                <a:ln w="3175">
                  <a:noFill/>
                </a:ln>
                <a:solidFill>
                  <a:schemeClr val="tx1"/>
                </a:solidFill>
                <a:effectLst/>
                <a:uLnTx/>
                <a:uFillTx/>
                <a:latin typeface="Segoe Sans Display Semibold"/>
                <a:ea typeface="+mn-ea"/>
                <a:cs typeface="Segoe UI" pitchFamily="34" charset="0"/>
              </a:rPr>
            </a:br>
            <a:r>
              <a:rPr kumimoji="0" lang="en-US" sz="3600" b="0" i="0" u="none" strike="noStrike" kern="1200" cap="none" spc="-50" normalizeH="0" baseline="0" noProof="0">
                <a:ln w="3175">
                  <a:noFill/>
                </a:ln>
                <a:solidFill>
                  <a:schemeClr val="tx1"/>
                </a:solidFill>
                <a:effectLst/>
                <a:uLnTx/>
                <a:uFillTx/>
                <a:latin typeface="Segoe Sans Display Semibold"/>
                <a:ea typeface="+mn-ea"/>
                <a:cs typeface="Segoe UI" pitchFamily="34" charset="0"/>
              </a:rPr>
              <a:t>Entra Suite  </a:t>
            </a:r>
          </a:p>
        </p:txBody>
      </p:sp>
      <p:sp>
        <p:nvSpPr>
          <p:cNvPr id="794" name="TextBox 793">
            <a:extLst>
              <a:ext uri="{FF2B5EF4-FFF2-40B4-BE49-F238E27FC236}">
                <a16:creationId xmlns:a16="http://schemas.microsoft.com/office/drawing/2014/main" id="{E836C647-C25E-9408-8D50-CEF9A546195D}"/>
              </a:ext>
              <a:ext uri="{C183D7F6-B498-43B3-948B-1728B52AA6E4}">
                <adec:decorative xmlns:adec="http://schemas.microsoft.com/office/drawing/2017/decorative" val="1"/>
              </a:ext>
            </a:extLst>
          </p:cNvPr>
          <p:cNvSpPr txBox="1"/>
          <p:nvPr/>
        </p:nvSpPr>
        <p:spPr>
          <a:xfrm>
            <a:off x="4414354" y="3634933"/>
            <a:ext cx="3363293" cy="73866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50" normalizeH="0" baseline="0" noProof="0">
                <a:ln w="3175">
                  <a:noFill/>
                </a:ln>
                <a:gradFill>
                  <a:gsLst>
                    <a:gs pos="0">
                      <a:srgbClr val="0360DB"/>
                    </a:gs>
                    <a:gs pos="100000">
                      <a:srgbClr val="207EFC"/>
                    </a:gs>
                  </a:gsLst>
                  <a:path path="circle">
                    <a:fillToRect t="100000" r="100000"/>
                  </a:path>
                </a:gradFill>
                <a:effectLst/>
                <a:uLnTx/>
                <a:uFillTx/>
                <a:latin typeface="Segoe Sans Display Semibold"/>
                <a:ea typeface="+mn-ea"/>
                <a:cs typeface="Segoe Sans Display" pitchFamily="2" charset="0"/>
              </a:rPr>
              <a:t>Secure Zero Trust acces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50" normalizeH="0" baseline="0" noProof="0">
                <a:ln w="3175">
                  <a:noFill/>
                </a:ln>
                <a:gradFill>
                  <a:gsLst>
                    <a:gs pos="0">
                      <a:srgbClr val="0360DB"/>
                    </a:gs>
                    <a:gs pos="100000">
                      <a:srgbClr val="207EFC"/>
                    </a:gs>
                  </a:gsLst>
                  <a:path path="circle">
                    <a:fillToRect t="100000" r="100000"/>
                  </a:path>
                </a:gradFill>
                <a:effectLst/>
                <a:uLnTx/>
                <a:uFillTx/>
                <a:latin typeface="Segoe Sans Display Semibold"/>
                <a:ea typeface="+mn-ea"/>
                <a:cs typeface="Segoe Sans Display" pitchFamily="2" charset="0"/>
              </a:rPr>
              <a:t>for your workforce</a:t>
            </a:r>
          </a:p>
        </p:txBody>
      </p:sp>
      <p:sp>
        <p:nvSpPr>
          <p:cNvPr id="22" name="Rectangle: Rounded Corners 21">
            <a:extLst>
              <a:ext uri="{FF2B5EF4-FFF2-40B4-BE49-F238E27FC236}">
                <a16:creationId xmlns:a16="http://schemas.microsoft.com/office/drawing/2014/main" id="{86B99872-5A44-AE4C-2A75-26DB0AAFA3DA}"/>
              </a:ext>
              <a:ext uri="{C183D7F6-B498-43B3-948B-1728B52AA6E4}">
                <adec:decorative xmlns:adec="http://schemas.microsoft.com/office/drawing/2017/decorative" val="1"/>
              </a:ext>
            </a:extLst>
          </p:cNvPr>
          <p:cNvSpPr>
            <a:spLocks/>
          </p:cNvSpPr>
          <p:nvPr/>
        </p:nvSpPr>
        <p:spPr bwMode="auto">
          <a:xfrm rot="16200000">
            <a:off x="-997323" y="2171374"/>
            <a:ext cx="5705522" cy="2534350"/>
          </a:xfrm>
          <a:prstGeom prst="roundRect">
            <a:avLst>
              <a:gd name="adj" fmla="val 6281"/>
            </a:avLst>
          </a:prstGeom>
          <a:solidFill>
            <a:schemeClr val="bg1"/>
          </a:solidFill>
          <a:ln>
            <a:noFill/>
            <a:headEnd type="none" w="med" len="med"/>
            <a:tailEnd type="none" w="med" len="med"/>
          </a:ln>
          <a:effectLst>
            <a:innerShdw blurRad="508000" dist="63500" dir="16200000">
              <a:srgbClr val="B1B3B3">
                <a:alpha val="25000"/>
              </a:srgb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20040" rIns="91440" bIns="91440" numCol="1" spcCol="0" rtlCol="0" fromWordArt="0" anchor="t" anchorCtr="0" forceAA="0" compatLnSpc="1">
            <a:prstTxWarp prst="textNoShape">
              <a:avLst/>
            </a:prstTxWarp>
            <a:noAutofit/>
          </a:bodyPr>
          <a:lstStyle/>
          <a:p>
            <a:pPr marL="0" marR="0" lvl="0" indent="0" algn="ctr" defTabSz="932754" rtl="0" eaLnBrk="1" fontAlgn="auto" latinLnBrk="0" hangingPunct="1">
              <a:lnSpc>
                <a:spcPct val="100000"/>
              </a:lnSpc>
              <a:spcBef>
                <a:spcPts val="0"/>
              </a:spcBef>
              <a:spcAft>
                <a:spcPts val="300"/>
              </a:spcAft>
              <a:buClrTx/>
              <a:buSzTx/>
              <a:buFontTx/>
              <a:buNone/>
              <a:tabLst/>
              <a:defRPr/>
            </a:pPr>
            <a:endParaRPr kumimoji="0" lang="en-US" sz="1400" b="0" i="0" u="none" strike="noStrike" kern="0" cap="none" spc="-10" normalizeH="0" baseline="0" noProof="0">
              <a:ln>
                <a:noFill/>
              </a:ln>
              <a:solidFill>
                <a:srgbClr val="8DC8E8"/>
              </a:solidFill>
              <a:effectLst/>
              <a:uLnTx/>
              <a:uFillTx/>
              <a:latin typeface="Segoe Sans Display Semibold" pitchFamily="2" charset="0"/>
              <a:ea typeface="+mn-ea"/>
              <a:cs typeface="Segoe Sans Display Semibold" pitchFamily="2" charset="0"/>
            </a:endParaRPr>
          </a:p>
        </p:txBody>
      </p:sp>
      <p:sp>
        <p:nvSpPr>
          <p:cNvPr id="26" name="TextBox 25">
            <a:extLst>
              <a:ext uri="{FF2B5EF4-FFF2-40B4-BE49-F238E27FC236}">
                <a16:creationId xmlns:a16="http://schemas.microsoft.com/office/drawing/2014/main" id="{4505624B-15E9-E043-BA25-B14F3E5C92AA}"/>
              </a:ext>
            </a:extLst>
          </p:cNvPr>
          <p:cNvSpPr txBox="1"/>
          <p:nvPr/>
        </p:nvSpPr>
        <p:spPr>
          <a:xfrm>
            <a:off x="1011141" y="1453523"/>
            <a:ext cx="168859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Sans Display Semibold"/>
                <a:ea typeface="+mn-ea"/>
                <a:cs typeface="+mn-cs"/>
              </a:rPr>
              <a:t>Any employee</a:t>
            </a:r>
          </a:p>
        </p:txBody>
      </p:sp>
      <p:sp>
        <p:nvSpPr>
          <p:cNvPr id="27" name="TextBox 26">
            <a:extLst>
              <a:ext uri="{FF2B5EF4-FFF2-40B4-BE49-F238E27FC236}">
                <a16:creationId xmlns:a16="http://schemas.microsoft.com/office/drawing/2014/main" id="{3285F5BE-7428-20C4-55FF-53E6F4ECD8E0}"/>
              </a:ext>
            </a:extLst>
          </p:cNvPr>
          <p:cNvSpPr txBox="1"/>
          <p:nvPr/>
        </p:nvSpPr>
        <p:spPr>
          <a:xfrm>
            <a:off x="920051" y="1713873"/>
            <a:ext cx="1870774" cy="33855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30" normalizeH="0" baseline="0" noProof="0">
                <a:ln>
                  <a:noFill/>
                </a:ln>
                <a:solidFill>
                  <a:prstClr val="black"/>
                </a:solidFill>
                <a:effectLst/>
                <a:uLnTx/>
                <a:uFillTx/>
                <a:latin typeface="Segoe Sans Display"/>
                <a:ea typeface="+mn-ea"/>
                <a:cs typeface="+mn-cs"/>
              </a:rPr>
              <a:t>Cloud-based &amp; on-premises identities, groups &amp; roles</a:t>
            </a:r>
          </a:p>
        </p:txBody>
      </p:sp>
      <p:sp>
        <p:nvSpPr>
          <p:cNvPr id="28" name="TextBox 27">
            <a:extLst>
              <a:ext uri="{FF2B5EF4-FFF2-40B4-BE49-F238E27FC236}">
                <a16:creationId xmlns:a16="http://schemas.microsoft.com/office/drawing/2014/main" id="{86277462-E20B-BFD5-D8DE-3B5B1EE3ABBC}"/>
              </a:ext>
            </a:extLst>
          </p:cNvPr>
          <p:cNvSpPr txBox="1"/>
          <p:nvPr/>
        </p:nvSpPr>
        <p:spPr>
          <a:xfrm>
            <a:off x="1011141" y="2924116"/>
            <a:ext cx="168859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Sans Display Semibold"/>
                <a:ea typeface="+mn-ea"/>
                <a:cs typeface="+mn-cs"/>
              </a:rPr>
              <a:t>Any location</a:t>
            </a:r>
          </a:p>
        </p:txBody>
      </p:sp>
      <p:sp>
        <p:nvSpPr>
          <p:cNvPr id="29" name="TextBox 28">
            <a:extLst>
              <a:ext uri="{FF2B5EF4-FFF2-40B4-BE49-F238E27FC236}">
                <a16:creationId xmlns:a16="http://schemas.microsoft.com/office/drawing/2014/main" id="{9151F680-1D59-07FD-5073-D39903490F22}"/>
              </a:ext>
            </a:extLst>
          </p:cNvPr>
          <p:cNvSpPr txBox="1"/>
          <p:nvPr/>
        </p:nvSpPr>
        <p:spPr>
          <a:xfrm>
            <a:off x="672401" y="3184466"/>
            <a:ext cx="2366074"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Segoe Sans Display"/>
                <a:ea typeface="+mn-ea"/>
                <a:cs typeface="+mn-cs"/>
              </a:rPr>
              <a:t>HQ, branch office, home, remote</a:t>
            </a:r>
          </a:p>
        </p:txBody>
      </p:sp>
      <p:sp>
        <p:nvSpPr>
          <p:cNvPr id="39" name="TextBox 38">
            <a:extLst>
              <a:ext uri="{FF2B5EF4-FFF2-40B4-BE49-F238E27FC236}">
                <a16:creationId xmlns:a16="http://schemas.microsoft.com/office/drawing/2014/main" id="{951E236F-1FEF-9DE3-4FA4-6C3F0C20E802}"/>
              </a:ext>
            </a:extLst>
          </p:cNvPr>
          <p:cNvSpPr txBox="1"/>
          <p:nvPr/>
        </p:nvSpPr>
        <p:spPr>
          <a:xfrm>
            <a:off x="1011141" y="4240820"/>
            <a:ext cx="168859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Sans Display Semibold"/>
                <a:ea typeface="+mn-ea"/>
                <a:cs typeface="+mn-cs"/>
              </a:rPr>
              <a:t>Any platform</a:t>
            </a:r>
          </a:p>
        </p:txBody>
      </p:sp>
      <p:sp>
        <p:nvSpPr>
          <p:cNvPr id="46" name="TextBox 45">
            <a:extLst>
              <a:ext uri="{FF2B5EF4-FFF2-40B4-BE49-F238E27FC236}">
                <a16:creationId xmlns:a16="http://schemas.microsoft.com/office/drawing/2014/main" id="{128AD34D-D363-E9A8-3B1A-0D1E9DA9EB8A}"/>
              </a:ext>
            </a:extLst>
          </p:cNvPr>
          <p:cNvSpPr txBox="1"/>
          <p:nvPr/>
        </p:nvSpPr>
        <p:spPr>
          <a:xfrm>
            <a:off x="672401" y="4501170"/>
            <a:ext cx="2366074"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Segoe Sans Display"/>
                <a:ea typeface="+mn-ea"/>
                <a:cs typeface="+mn-cs"/>
              </a:rPr>
              <a:t>Android, iOS, Linux, MacOS, Windows</a:t>
            </a:r>
          </a:p>
        </p:txBody>
      </p:sp>
      <p:sp>
        <p:nvSpPr>
          <p:cNvPr id="47" name="TextBox 46">
            <a:extLst>
              <a:ext uri="{FF2B5EF4-FFF2-40B4-BE49-F238E27FC236}">
                <a16:creationId xmlns:a16="http://schemas.microsoft.com/office/drawing/2014/main" id="{C28235A7-23EA-8EB0-0543-6054B66105E0}"/>
              </a:ext>
            </a:extLst>
          </p:cNvPr>
          <p:cNvSpPr txBox="1"/>
          <p:nvPr/>
        </p:nvSpPr>
        <p:spPr>
          <a:xfrm>
            <a:off x="1011141" y="5557525"/>
            <a:ext cx="168859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Sans Display Semibold"/>
                <a:ea typeface="+mn-ea"/>
                <a:cs typeface="+mn-cs"/>
              </a:rPr>
              <a:t>Any device</a:t>
            </a:r>
          </a:p>
        </p:txBody>
      </p:sp>
      <p:sp>
        <p:nvSpPr>
          <p:cNvPr id="49" name="TextBox 48">
            <a:extLst>
              <a:ext uri="{FF2B5EF4-FFF2-40B4-BE49-F238E27FC236}">
                <a16:creationId xmlns:a16="http://schemas.microsoft.com/office/drawing/2014/main" id="{BE6FC1A4-1789-2573-8D2E-8C9B4CBF7665}"/>
              </a:ext>
            </a:extLst>
          </p:cNvPr>
          <p:cNvSpPr txBox="1"/>
          <p:nvPr/>
        </p:nvSpPr>
        <p:spPr>
          <a:xfrm>
            <a:off x="672401" y="5817875"/>
            <a:ext cx="2366074"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Segoe Sans Display"/>
                <a:ea typeface="+mn-ea"/>
                <a:cs typeface="+mn-cs"/>
              </a:rPr>
              <a:t>Corporate &amp; personal</a:t>
            </a:r>
          </a:p>
        </p:txBody>
      </p:sp>
      <p:grpSp>
        <p:nvGrpSpPr>
          <p:cNvPr id="529" name="Group 528">
            <a:extLst>
              <a:ext uri="{FF2B5EF4-FFF2-40B4-BE49-F238E27FC236}">
                <a16:creationId xmlns:a16="http://schemas.microsoft.com/office/drawing/2014/main" id="{2CE936B7-2DDE-9919-28CC-5BB297C7D2C3}"/>
              </a:ext>
              <a:ext uri="{C183D7F6-B498-43B3-948B-1728B52AA6E4}">
                <adec:decorative xmlns:adec="http://schemas.microsoft.com/office/drawing/2017/decorative" val="1"/>
              </a:ext>
            </a:extLst>
          </p:cNvPr>
          <p:cNvGrpSpPr/>
          <p:nvPr/>
        </p:nvGrpSpPr>
        <p:grpSpPr>
          <a:xfrm>
            <a:off x="1581118" y="856241"/>
            <a:ext cx="548640" cy="548640"/>
            <a:chOff x="1303496" y="2241231"/>
            <a:chExt cx="1233888" cy="1233888"/>
          </a:xfrm>
          <a:solidFill>
            <a:srgbClr val="052252"/>
          </a:solidFill>
        </p:grpSpPr>
        <p:sp>
          <p:nvSpPr>
            <p:cNvPr id="530" name="Oval 529">
              <a:extLst>
                <a:ext uri="{FF2B5EF4-FFF2-40B4-BE49-F238E27FC236}">
                  <a16:creationId xmlns:a16="http://schemas.microsoft.com/office/drawing/2014/main" id="{C509F0C6-FAE8-8EC3-8731-2CF33C68D60F}"/>
                </a:ext>
              </a:extLst>
            </p:cNvPr>
            <p:cNvSpPr/>
            <p:nvPr/>
          </p:nvSpPr>
          <p:spPr bwMode="auto">
            <a:xfrm>
              <a:off x="1303496" y="2241231"/>
              <a:ext cx="1233888" cy="1233888"/>
            </a:xfrm>
            <a:prstGeom prst="ellipse">
              <a:avLst/>
            </a:prstGeom>
            <a:gradFill>
              <a:gsLst>
                <a:gs pos="0">
                  <a:srgbClr val="0360DB">
                    <a:alpha val="50000"/>
                  </a:srgbClr>
                </a:gs>
                <a:gs pos="85000">
                  <a:srgbClr val="FADC14">
                    <a:alpha val="50000"/>
                  </a:srgbClr>
                </a:gs>
              </a:gsLst>
              <a:lin ang="2700000" scaled="1"/>
            </a:gradFill>
            <a:ln w="19050" cap="flat" cmpd="sng" algn="ctr">
              <a:noFill/>
              <a:prstDash val="solid"/>
              <a:headEnd type="none" w="med" len="sm"/>
              <a:tailEnd type="arrow" w="lg" len="med"/>
            </a:ln>
            <a:effectLst/>
          </p:spPr>
          <p:txBody>
            <a:bodyPr rot="0" spcFirstLastPara="0" vertOverflow="overflow" horzOverflow="overflow" vert="horz" wrap="square" lIns="137160" tIns="91440" rIns="137160" bIns="137160" numCol="1" spcCol="0" rtlCol="0" fromWordArt="0" anchor="ctr" anchorCtr="0" forceAA="0" compatLnSpc="1">
              <a:prstTxWarp prst="textNoShape">
                <a:avLst/>
              </a:prstTxWarp>
              <a:noAutofit/>
            </a:bodyPr>
            <a:lstStyle/>
            <a:p>
              <a:pPr marL="0" marR="0" lvl="0" indent="0" algn="l" defTabSz="932754" rtl="0" eaLnBrk="1" fontAlgn="auto" latinLnBrk="0" hangingPunct="1">
                <a:lnSpc>
                  <a:spcPct val="100000"/>
                </a:lnSpc>
                <a:spcBef>
                  <a:spcPts val="0"/>
                </a:spcBef>
                <a:spcAft>
                  <a:spcPts val="600"/>
                </a:spcAft>
                <a:buClrTx/>
                <a:buSzPct val="90000"/>
                <a:buFontTx/>
                <a:buNone/>
                <a:tabLst/>
                <a:defRPr/>
              </a:pPr>
              <a:endParaRPr kumimoji="0" lang="en-US" sz="1900" b="0" i="0" u="none" strike="noStrike" kern="0" cap="none" spc="0" normalizeH="0" baseline="0" noProof="0">
                <a:ln>
                  <a:noFill/>
                </a:ln>
                <a:solidFill>
                  <a:srgbClr val="FFFFFF"/>
                </a:solidFill>
                <a:effectLst/>
                <a:uLnTx/>
                <a:uFillTx/>
                <a:latin typeface="Segoe Sans Display"/>
                <a:ea typeface="+mn-ea"/>
                <a:cs typeface="Segoe Sans Display Semilight" pitchFamily="2" charset="0"/>
              </a:endParaRPr>
            </a:p>
          </p:txBody>
        </p:sp>
        <p:sp>
          <p:nvSpPr>
            <p:cNvPr id="531" name="Oval 530">
              <a:extLst>
                <a:ext uri="{FF2B5EF4-FFF2-40B4-BE49-F238E27FC236}">
                  <a16:creationId xmlns:a16="http://schemas.microsoft.com/office/drawing/2014/main" id="{5BCA4746-9AA2-0AAA-828D-1B85652C6914}"/>
                </a:ext>
              </a:extLst>
            </p:cNvPr>
            <p:cNvSpPr/>
            <p:nvPr/>
          </p:nvSpPr>
          <p:spPr bwMode="auto">
            <a:xfrm>
              <a:off x="1457488" y="2395223"/>
              <a:ext cx="925905" cy="925905"/>
            </a:xfrm>
            <a:prstGeom prst="ellipse">
              <a:avLst/>
            </a:prstGeom>
            <a:solidFill>
              <a:srgbClr val="FFFFFF"/>
            </a:solidFill>
            <a:ln w="19050" cap="flat" cmpd="sng" algn="ctr">
              <a:gradFill>
                <a:gsLst>
                  <a:gs pos="0">
                    <a:srgbClr val="599FFD"/>
                  </a:gs>
                  <a:gs pos="100000">
                    <a:srgbClr val="FADC14"/>
                  </a:gs>
                </a:gsLst>
                <a:lin ang="5400000" scaled="1"/>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Variable Display"/>
                <a:ea typeface="+mn-ea"/>
                <a:cs typeface="Segoe UI" pitchFamily="34" charset="0"/>
              </a:endParaRPr>
            </a:p>
          </p:txBody>
        </p:sp>
      </p:grpSp>
      <p:pic>
        <p:nvPicPr>
          <p:cNvPr id="532" name="Graphic 531">
            <a:extLst>
              <a:ext uri="{FF2B5EF4-FFF2-40B4-BE49-F238E27FC236}">
                <a16:creationId xmlns:a16="http://schemas.microsoft.com/office/drawing/2014/main" id="{4B96CBE1-1075-AB31-F572-36BDA6DFCE41}"/>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713187" y="988310"/>
            <a:ext cx="284502" cy="284502"/>
          </a:xfrm>
          <a:prstGeom prst="rect">
            <a:avLst/>
          </a:prstGeom>
        </p:spPr>
      </p:pic>
      <p:grpSp>
        <p:nvGrpSpPr>
          <p:cNvPr id="533" name="Group 532">
            <a:extLst>
              <a:ext uri="{FF2B5EF4-FFF2-40B4-BE49-F238E27FC236}">
                <a16:creationId xmlns:a16="http://schemas.microsoft.com/office/drawing/2014/main" id="{1D17A78A-F115-799F-6950-61390BD169F7}"/>
              </a:ext>
              <a:ext uri="{C183D7F6-B498-43B3-948B-1728B52AA6E4}">
                <adec:decorative xmlns:adec="http://schemas.microsoft.com/office/drawing/2017/decorative" val="1"/>
              </a:ext>
            </a:extLst>
          </p:cNvPr>
          <p:cNvGrpSpPr/>
          <p:nvPr/>
        </p:nvGrpSpPr>
        <p:grpSpPr>
          <a:xfrm>
            <a:off x="1581118" y="2326834"/>
            <a:ext cx="548640" cy="548640"/>
            <a:chOff x="1303496" y="2241231"/>
            <a:chExt cx="1233888" cy="1233888"/>
          </a:xfrm>
          <a:solidFill>
            <a:srgbClr val="052252"/>
          </a:solidFill>
        </p:grpSpPr>
        <p:sp>
          <p:nvSpPr>
            <p:cNvPr id="534" name="Oval 533">
              <a:extLst>
                <a:ext uri="{FF2B5EF4-FFF2-40B4-BE49-F238E27FC236}">
                  <a16:creationId xmlns:a16="http://schemas.microsoft.com/office/drawing/2014/main" id="{4DAF0E4D-FBE3-45EA-13D9-61A2310C7533}"/>
                </a:ext>
              </a:extLst>
            </p:cNvPr>
            <p:cNvSpPr/>
            <p:nvPr/>
          </p:nvSpPr>
          <p:spPr bwMode="auto">
            <a:xfrm>
              <a:off x="1303496" y="2241231"/>
              <a:ext cx="1233888" cy="1233888"/>
            </a:xfrm>
            <a:prstGeom prst="ellipse">
              <a:avLst/>
            </a:prstGeom>
            <a:gradFill>
              <a:gsLst>
                <a:gs pos="0">
                  <a:srgbClr val="0360DB">
                    <a:alpha val="50000"/>
                  </a:srgbClr>
                </a:gs>
                <a:gs pos="85000">
                  <a:srgbClr val="FADC14">
                    <a:alpha val="50000"/>
                  </a:srgbClr>
                </a:gs>
              </a:gsLst>
              <a:lin ang="2700000" scaled="1"/>
            </a:gradFill>
            <a:ln w="19050" cap="flat" cmpd="sng" algn="ctr">
              <a:noFill/>
              <a:prstDash val="solid"/>
              <a:headEnd type="none" w="med" len="sm"/>
              <a:tailEnd type="arrow" w="lg" len="med"/>
            </a:ln>
            <a:effectLst/>
          </p:spPr>
          <p:txBody>
            <a:bodyPr rot="0" spcFirstLastPara="0" vertOverflow="overflow" horzOverflow="overflow" vert="horz" wrap="square" lIns="137160" tIns="91440" rIns="137160" bIns="137160" numCol="1" spcCol="0" rtlCol="0" fromWordArt="0" anchor="ctr" anchorCtr="0" forceAA="0" compatLnSpc="1">
              <a:prstTxWarp prst="textNoShape">
                <a:avLst/>
              </a:prstTxWarp>
              <a:noAutofit/>
            </a:bodyPr>
            <a:lstStyle/>
            <a:p>
              <a:pPr marL="0" marR="0" lvl="0" indent="0" algn="l" defTabSz="932754" rtl="0" eaLnBrk="1" fontAlgn="auto" latinLnBrk="0" hangingPunct="1">
                <a:lnSpc>
                  <a:spcPct val="100000"/>
                </a:lnSpc>
                <a:spcBef>
                  <a:spcPts val="0"/>
                </a:spcBef>
                <a:spcAft>
                  <a:spcPts val="600"/>
                </a:spcAft>
                <a:buClrTx/>
                <a:buSzPct val="90000"/>
                <a:buFontTx/>
                <a:buNone/>
                <a:tabLst/>
                <a:defRPr/>
              </a:pPr>
              <a:endParaRPr kumimoji="0" lang="en-US" sz="1900" b="0" i="0" u="none" strike="noStrike" kern="0" cap="none" spc="0" normalizeH="0" baseline="0" noProof="0">
                <a:ln>
                  <a:noFill/>
                </a:ln>
                <a:solidFill>
                  <a:srgbClr val="FFFFFF"/>
                </a:solidFill>
                <a:effectLst/>
                <a:uLnTx/>
                <a:uFillTx/>
                <a:latin typeface="Segoe Sans Display"/>
                <a:ea typeface="+mn-ea"/>
                <a:cs typeface="Segoe Sans Display Semilight" pitchFamily="2" charset="0"/>
              </a:endParaRPr>
            </a:p>
          </p:txBody>
        </p:sp>
        <p:sp>
          <p:nvSpPr>
            <p:cNvPr id="535" name="Oval 534">
              <a:extLst>
                <a:ext uri="{FF2B5EF4-FFF2-40B4-BE49-F238E27FC236}">
                  <a16:creationId xmlns:a16="http://schemas.microsoft.com/office/drawing/2014/main" id="{20B689F9-6F32-D8AF-D2D0-C83CFB6E205F}"/>
                </a:ext>
              </a:extLst>
            </p:cNvPr>
            <p:cNvSpPr/>
            <p:nvPr/>
          </p:nvSpPr>
          <p:spPr bwMode="auto">
            <a:xfrm>
              <a:off x="1457488" y="2395223"/>
              <a:ext cx="925905" cy="925905"/>
            </a:xfrm>
            <a:prstGeom prst="ellipse">
              <a:avLst/>
            </a:prstGeom>
            <a:solidFill>
              <a:srgbClr val="FFFFFF"/>
            </a:solidFill>
            <a:ln w="19050" cap="flat" cmpd="sng" algn="ctr">
              <a:gradFill>
                <a:gsLst>
                  <a:gs pos="0">
                    <a:srgbClr val="599FFD"/>
                  </a:gs>
                  <a:gs pos="100000">
                    <a:srgbClr val="FADC14"/>
                  </a:gs>
                </a:gsLst>
                <a:lin ang="5400000" scaled="1"/>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Variable Display"/>
                <a:ea typeface="+mn-ea"/>
                <a:cs typeface="Segoe UI" pitchFamily="34" charset="0"/>
              </a:endParaRPr>
            </a:p>
          </p:txBody>
        </p:sp>
      </p:grpSp>
      <p:pic>
        <p:nvPicPr>
          <p:cNvPr id="536" name="Graphic 535">
            <a:extLst>
              <a:ext uri="{FF2B5EF4-FFF2-40B4-BE49-F238E27FC236}">
                <a16:creationId xmlns:a16="http://schemas.microsoft.com/office/drawing/2014/main" id="{40509B93-3576-1E2F-793D-D9A064B93844}"/>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728757" y="2474473"/>
            <a:ext cx="253363" cy="253363"/>
          </a:xfrm>
          <a:prstGeom prst="rect">
            <a:avLst/>
          </a:prstGeom>
        </p:spPr>
      </p:pic>
      <p:grpSp>
        <p:nvGrpSpPr>
          <p:cNvPr id="537" name="Group 536">
            <a:extLst>
              <a:ext uri="{FF2B5EF4-FFF2-40B4-BE49-F238E27FC236}">
                <a16:creationId xmlns:a16="http://schemas.microsoft.com/office/drawing/2014/main" id="{911DE7C4-40F9-4C82-F0CF-DB76DC4D73BE}"/>
              </a:ext>
              <a:ext uri="{C183D7F6-B498-43B3-948B-1728B52AA6E4}">
                <adec:decorative xmlns:adec="http://schemas.microsoft.com/office/drawing/2017/decorative" val="1"/>
              </a:ext>
            </a:extLst>
          </p:cNvPr>
          <p:cNvGrpSpPr/>
          <p:nvPr/>
        </p:nvGrpSpPr>
        <p:grpSpPr>
          <a:xfrm>
            <a:off x="1581118" y="3643538"/>
            <a:ext cx="548640" cy="548640"/>
            <a:chOff x="1303496" y="2241231"/>
            <a:chExt cx="1233888" cy="1233888"/>
          </a:xfrm>
          <a:solidFill>
            <a:srgbClr val="052252"/>
          </a:solidFill>
        </p:grpSpPr>
        <p:sp>
          <p:nvSpPr>
            <p:cNvPr id="538" name="Oval 537">
              <a:extLst>
                <a:ext uri="{FF2B5EF4-FFF2-40B4-BE49-F238E27FC236}">
                  <a16:creationId xmlns:a16="http://schemas.microsoft.com/office/drawing/2014/main" id="{D20E10B1-A302-3569-E9D2-FC5C4778243A}"/>
                </a:ext>
              </a:extLst>
            </p:cNvPr>
            <p:cNvSpPr/>
            <p:nvPr/>
          </p:nvSpPr>
          <p:spPr bwMode="auto">
            <a:xfrm>
              <a:off x="1303496" y="2241231"/>
              <a:ext cx="1233888" cy="1233888"/>
            </a:xfrm>
            <a:prstGeom prst="ellipse">
              <a:avLst/>
            </a:prstGeom>
            <a:gradFill>
              <a:gsLst>
                <a:gs pos="0">
                  <a:srgbClr val="0360DB">
                    <a:alpha val="50000"/>
                  </a:srgbClr>
                </a:gs>
                <a:gs pos="85000">
                  <a:srgbClr val="FADC14">
                    <a:alpha val="50000"/>
                  </a:srgbClr>
                </a:gs>
              </a:gsLst>
              <a:lin ang="2700000" scaled="1"/>
            </a:gradFill>
            <a:ln w="19050" cap="flat" cmpd="sng" algn="ctr">
              <a:noFill/>
              <a:prstDash val="solid"/>
              <a:headEnd type="none" w="med" len="sm"/>
              <a:tailEnd type="arrow" w="lg" len="med"/>
            </a:ln>
            <a:effectLst/>
          </p:spPr>
          <p:txBody>
            <a:bodyPr rot="0" spcFirstLastPara="0" vertOverflow="overflow" horzOverflow="overflow" vert="horz" wrap="square" lIns="137160" tIns="91440" rIns="137160" bIns="137160" numCol="1" spcCol="0" rtlCol="0" fromWordArt="0" anchor="ctr" anchorCtr="0" forceAA="0" compatLnSpc="1">
              <a:prstTxWarp prst="textNoShape">
                <a:avLst/>
              </a:prstTxWarp>
              <a:noAutofit/>
            </a:bodyPr>
            <a:lstStyle/>
            <a:p>
              <a:pPr marL="0" marR="0" lvl="0" indent="0" algn="l" defTabSz="932754" rtl="0" eaLnBrk="1" fontAlgn="auto" latinLnBrk="0" hangingPunct="1">
                <a:lnSpc>
                  <a:spcPct val="100000"/>
                </a:lnSpc>
                <a:spcBef>
                  <a:spcPts val="0"/>
                </a:spcBef>
                <a:spcAft>
                  <a:spcPts val="600"/>
                </a:spcAft>
                <a:buClrTx/>
                <a:buSzPct val="90000"/>
                <a:buFontTx/>
                <a:buNone/>
                <a:tabLst/>
                <a:defRPr/>
              </a:pPr>
              <a:endParaRPr kumimoji="0" lang="en-US" sz="1900" b="0" i="0" u="none" strike="noStrike" kern="0" cap="none" spc="0" normalizeH="0" baseline="0" noProof="0">
                <a:ln>
                  <a:noFill/>
                </a:ln>
                <a:solidFill>
                  <a:srgbClr val="FFFFFF"/>
                </a:solidFill>
                <a:effectLst/>
                <a:uLnTx/>
                <a:uFillTx/>
                <a:latin typeface="Segoe Sans Display"/>
                <a:ea typeface="+mn-ea"/>
                <a:cs typeface="Segoe Sans Display Semilight" pitchFamily="2" charset="0"/>
              </a:endParaRPr>
            </a:p>
          </p:txBody>
        </p:sp>
        <p:sp>
          <p:nvSpPr>
            <p:cNvPr id="539" name="Oval 538">
              <a:extLst>
                <a:ext uri="{FF2B5EF4-FFF2-40B4-BE49-F238E27FC236}">
                  <a16:creationId xmlns:a16="http://schemas.microsoft.com/office/drawing/2014/main" id="{8548373F-B596-BB00-AE5B-CAEA76D26F0B}"/>
                </a:ext>
              </a:extLst>
            </p:cNvPr>
            <p:cNvSpPr/>
            <p:nvPr/>
          </p:nvSpPr>
          <p:spPr bwMode="auto">
            <a:xfrm>
              <a:off x="1457488" y="2395223"/>
              <a:ext cx="925905" cy="925905"/>
            </a:xfrm>
            <a:prstGeom prst="ellipse">
              <a:avLst/>
            </a:prstGeom>
            <a:solidFill>
              <a:srgbClr val="FFFFFF"/>
            </a:solidFill>
            <a:ln w="19050" cap="flat" cmpd="sng" algn="ctr">
              <a:gradFill>
                <a:gsLst>
                  <a:gs pos="0">
                    <a:srgbClr val="599FFD"/>
                  </a:gs>
                  <a:gs pos="100000">
                    <a:srgbClr val="FADC14"/>
                  </a:gs>
                </a:gsLst>
                <a:lin ang="5400000" scaled="1"/>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Variable Display"/>
                <a:ea typeface="+mn-ea"/>
                <a:cs typeface="Segoe UI" pitchFamily="34" charset="0"/>
              </a:endParaRPr>
            </a:p>
          </p:txBody>
        </p:sp>
      </p:grpSp>
      <p:pic>
        <p:nvPicPr>
          <p:cNvPr id="540" name="Graphic 539">
            <a:extLst>
              <a:ext uri="{FF2B5EF4-FFF2-40B4-BE49-F238E27FC236}">
                <a16:creationId xmlns:a16="http://schemas.microsoft.com/office/drawing/2014/main" id="{7DA8E210-8571-9246-D55D-20F6973687F0}"/>
              </a:ext>
              <a:ext uri="{C183D7F6-B498-43B3-948B-1728B52AA6E4}">
                <adec:decorative xmlns:adec="http://schemas.microsoft.com/office/drawing/2017/decorative" val="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709328" y="3771748"/>
            <a:ext cx="292220" cy="292220"/>
          </a:xfrm>
          <a:prstGeom prst="rect">
            <a:avLst/>
          </a:prstGeom>
        </p:spPr>
      </p:pic>
      <p:grpSp>
        <p:nvGrpSpPr>
          <p:cNvPr id="541" name="Group 540">
            <a:extLst>
              <a:ext uri="{FF2B5EF4-FFF2-40B4-BE49-F238E27FC236}">
                <a16:creationId xmlns:a16="http://schemas.microsoft.com/office/drawing/2014/main" id="{50A21EDF-2034-1696-ABFF-B5EDCBDB122F}"/>
              </a:ext>
              <a:ext uri="{C183D7F6-B498-43B3-948B-1728B52AA6E4}">
                <adec:decorative xmlns:adec="http://schemas.microsoft.com/office/drawing/2017/decorative" val="1"/>
              </a:ext>
            </a:extLst>
          </p:cNvPr>
          <p:cNvGrpSpPr/>
          <p:nvPr/>
        </p:nvGrpSpPr>
        <p:grpSpPr>
          <a:xfrm>
            <a:off x="1581118" y="4960243"/>
            <a:ext cx="548640" cy="548640"/>
            <a:chOff x="1303496" y="2241231"/>
            <a:chExt cx="1233888" cy="1233888"/>
          </a:xfrm>
          <a:solidFill>
            <a:srgbClr val="052252"/>
          </a:solidFill>
        </p:grpSpPr>
        <p:sp>
          <p:nvSpPr>
            <p:cNvPr id="542" name="Oval 541">
              <a:extLst>
                <a:ext uri="{FF2B5EF4-FFF2-40B4-BE49-F238E27FC236}">
                  <a16:creationId xmlns:a16="http://schemas.microsoft.com/office/drawing/2014/main" id="{4BB7985D-6D7E-A20B-C03E-1A0AD682F398}"/>
                </a:ext>
              </a:extLst>
            </p:cNvPr>
            <p:cNvSpPr/>
            <p:nvPr/>
          </p:nvSpPr>
          <p:spPr bwMode="auto">
            <a:xfrm>
              <a:off x="1303496" y="2241231"/>
              <a:ext cx="1233888" cy="1233888"/>
            </a:xfrm>
            <a:prstGeom prst="ellipse">
              <a:avLst/>
            </a:prstGeom>
            <a:gradFill>
              <a:gsLst>
                <a:gs pos="0">
                  <a:srgbClr val="0360DB">
                    <a:alpha val="50000"/>
                  </a:srgbClr>
                </a:gs>
                <a:gs pos="85000">
                  <a:srgbClr val="FADC14">
                    <a:alpha val="50000"/>
                  </a:srgbClr>
                </a:gs>
              </a:gsLst>
              <a:lin ang="2700000" scaled="1"/>
            </a:gradFill>
            <a:ln w="19050" cap="flat" cmpd="sng" algn="ctr">
              <a:noFill/>
              <a:prstDash val="solid"/>
              <a:headEnd type="none" w="med" len="sm"/>
              <a:tailEnd type="arrow" w="lg" len="med"/>
            </a:ln>
            <a:effectLst/>
          </p:spPr>
          <p:txBody>
            <a:bodyPr rot="0" spcFirstLastPara="0" vertOverflow="overflow" horzOverflow="overflow" vert="horz" wrap="square" lIns="137160" tIns="91440" rIns="137160" bIns="137160" numCol="1" spcCol="0" rtlCol="0" fromWordArt="0" anchor="ctr" anchorCtr="0" forceAA="0" compatLnSpc="1">
              <a:prstTxWarp prst="textNoShape">
                <a:avLst/>
              </a:prstTxWarp>
              <a:noAutofit/>
            </a:bodyPr>
            <a:lstStyle/>
            <a:p>
              <a:pPr marL="0" marR="0" lvl="0" indent="0" algn="l" defTabSz="932754" rtl="0" eaLnBrk="1" fontAlgn="auto" latinLnBrk="0" hangingPunct="1">
                <a:lnSpc>
                  <a:spcPct val="100000"/>
                </a:lnSpc>
                <a:spcBef>
                  <a:spcPts val="0"/>
                </a:spcBef>
                <a:spcAft>
                  <a:spcPts val="600"/>
                </a:spcAft>
                <a:buClrTx/>
                <a:buSzPct val="90000"/>
                <a:buFontTx/>
                <a:buNone/>
                <a:tabLst/>
                <a:defRPr/>
              </a:pPr>
              <a:endParaRPr kumimoji="0" lang="en-US" sz="1900" b="0" i="0" u="none" strike="noStrike" kern="0" cap="none" spc="0" normalizeH="0" baseline="0" noProof="0">
                <a:ln>
                  <a:noFill/>
                </a:ln>
                <a:solidFill>
                  <a:srgbClr val="FFFFFF"/>
                </a:solidFill>
                <a:effectLst/>
                <a:uLnTx/>
                <a:uFillTx/>
                <a:latin typeface="Segoe Sans Display"/>
                <a:ea typeface="+mn-ea"/>
                <a:cs typeface="Segoe Sans Display Semilight" pitchFamily="2" charset="0"/>
              </a:endParaRPr>
            </a:p>
          </p:txBody>
        </p:sp>
        <p:sp>
          <p:nvSpPr>
            <p:cNvPr id="543" name="Oval 542">
              <a:extLst>
                <a:ext uri="{FF2B5EF4-FFF2-40B4-BE49-F238E27FC236}">
                  <a16:creationId xmlns:a16="http://schemas.microsoft.com/office/drawing/2014/main" id="{A0D54BCA-E292-FEAB-FC2A-F1B233EA7AFA}"/>
                </a:ext>
              </a:extLst>
            </p:cNvPr>
            <p:cNvSpPr/>
            <p:nvPr/>
          </p:nvSpPr>
          <p:spPr bwMode="auto">
            <a:xfrm>
              <a:off x="1457488" y="2395223"/>
              <a:ext cx="925905" cy="925905"/>
            </a:xfrm>
            <a:prstGeom prst="ellipse">
              <a:avLst/>
            </a:prstGeom>
            <a:solidFill>
              <a:srgbClr val="FFFFFF"/>
            </a:solidFill>
            <a:ln w="19050" cap="flat" cmpd="sng" algn="ctr">
              <a:gradFill>
                <a:gsLst>
                  <a:gs pos="0">
                    <a:srgbClr val="599FFD"/>
                  </a:gs>
                  <a:gs pos="100000">
                    <a:srgbClr val="FADC14"/>
                  </a:gs>
                </a:gsLst>
                <a:lin ang="5400000" scaled="1"/>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Variable Display"/>
                <a:ea typeface="+mn-ea"/>
                <a:cs typeface="Segoe UI" pitchFamily="34" charset="0"/>
              </a:endParaRPr>
            </a:p>
          </p:txBody>
        </p:sp>
      </p:grpSp>
      <p:pic>
        <p:nvPicPr>
          <p:cNvPr id="545" name="Graphic 544">
            <a:extLst>
              <a:ext uri="{FF2B5EF4-FFF2-40B4-BE49-F238E27FC236}">
                <a16:creationId xmlns:a16="http://schemas.microsoft.com/office/drawing/2014/main" id="{9C937060-31BE-BA29-1880-D6311B97FE97}"/>
              </a:ext>
              <a:ext uri="{C183D7F6-B498-43B3-948B-1728B52AA6E4}">
                <adec:decorative xmlns:adec="http://schemas.microsoft.com/office/drawing/2017/decorative" val="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709886" y="5089011"/>
            <a:ext cx="291105" cy="291105"/>
          </a:xfrm>
          <a:prstGeom prst="rect">
            <a:avLst/>
          </a:prstGeom>
        </p:spPr>
      </p:pic>
      <p:grpSp>
        <p:nvGrpSpPr>
          <p:cNvPr id="1424" name="Group 1423">
            <a:extLst>
              <a:ext uri="{FF2B5EF4-FFF2-40B4-BE49-F238E27FC236}">
                <a16:creationId xmlns:a16="http://schemas.microsoft.com/office/drawing/2014/main" id="{D3BC54CD-9A9F-18D8-57A1-323B72EFCE07}"/>
              </a:ext>
              <a:ext uri="{C183D7F6-B498-43B3-948B-1728B52AA6E4}">
                <adec:decorative xmlns:adec="http://schemas.microsoft.com/office/drawing/2017/decorative" val="1"/>
              </a:ext>
            </a:extLst>
          </p:cNvPr>
          <p:cNvGrpSpPr/>
          <p:nvPr/>
        </p:nvGrpSpPr>
        <p:grpSpPr>
          <a:xfrm>
            <a:off x="9070975" y="585788"/>
            <a:ext cx="2535808" cy="5705522"/>
            <a:chOff x="9070975" y="585788"/>
            <a:chExt cx="2535808" cy="5705522"/>
          </a:xfrm>
        </p:grpSpPr>
        <p:sp>
          <p:nvSpPr>
            <p:cNvPr id="25" name="Rectangle: Rounded Corners 24">
              <a:extLst>
                <a:ext uri="{FF2B5EF4-FFF2-40B4-BE49-F238E27FC236}">
                  <a16:creationId xmlns:a16="http://schemas.microsoft.com/office/drawing/2014/main" id="{E5038E75-8D83-F783-E418-FEAB8D5A762E}"/>
                </a:ext>
                <a:ext uri="{C183D7F6-B498-43B3-948B-1728B52AA6E4}">
                  <adec:decorative xmlns:adec="http://schemas.microsoft.com/office/drawing/2017/decorative" val="1"/>
                </a:ext>
              </a:extLst>
            </p:cNvPr>
            <p:cNvSpPr>
              <a:spLocks/>
            </p:cNvSpPr>
            <p:nvPr/>
          </p:nvSpPr>
          <p:spPr bwMode="auto">
            <a:xfrm rot="16200000">
              <a:off x="7486118" y="2170645"/>
              <a:ext cx="5705522" cy="2535808"/>
            </a:xfrm>
            <a:prstGeom prst="roundRect">
              <a:avLst>
                <a:gd name="adj" fmla="val 4646"/>
              </a:avLst>
            </a:prstGeom>
            <a:solidFill>
              <a:schemeClr val="bg1"/>
            </a:solidFill>
            <a:ln>
              <a:noFill/>
              <a:headEnd type="none" w="med" len="med"/>
              <a:tailEnd type="none" w="med" len="med"/>
            </a:ln>
            <a:effectLst>
              <a:innerShdw blurRad="508000" dist="63500" dir="16200000">
                <a:srgbClr val="B1B3B3">
                  <a:alpha val="25000"/>
                </a:srgb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20040" rIns="91440" bIns="91440" numCol="1" spcCol="0" rtlCol="0" fromWordArt="0" anchor="t" anchorCtr="0" forceAA="0" compatLnSpc="1">
              <a:prstTxWarp prst="textNoShape">
                <a:avLst/>
              </a:prstTxWarp>
              <a:noAutofit/>
            </a:bodyPr>
            <a:lstStyle/>
            <a:p>
              <a:pPr marL="0" marR="0" lvl="0" indent="0" algn="ctr" defTabSz="932754" rtl="0" eaLnBrk="1" fontAlgn="auto" latinLnBrk="0" hangingPunct="1">
                <a:lnSpc>
                  <a:spcPct val="100000"/>
                </a:lnSpc>
                <a:spcBef>
                  <a:spcPts val="0"/>
                </a:spcBef>
                <a:spcAft>
                  <a:spcPts val="300"/>
                </a:spcAft>
                <a:buClrTx/>
                <a:buSzTx/>
                <a:buFontTx/>
                <a:buNone/>
                <a:tabLst/>
                <a:defRPr/>
              </a:pPr>
              <a:endParaRPr kumimoji="0" lang="en-US" sz="1400" b="0" i="0" u="none" strike="noStrike" kern="0" cap="none" spc="-10" normalizeH="0" baseline="0" noProof="0">
                <a:ln>
                  <a:noFill/>
                </a:ln>
                <a:solidFill>
                  <a:srgbClr val="8DC8E8"/>
                </a:solidFill>
                <a:effectLst/>
                <a:uLnTx/>
                <a:uFillTx/>
                <a:latin typeface="Segoe Sans Display Semibold" pitchFamily="2" charset="0"/>
                <a:ea typeface="+mn-ea"/>
                <a:cs typeface="Segoe Sans Display Semibold" pitchFamily="2" charset="0"/>
              </a:endParaRPr>
            </a:p>
          </p:txBody>
        </p:sp>
        <p:sp>
          <p:nvSpPr>
            <p:cNvPr id="53" name="TextBox 52">
              <a:extLst>
                <a:ext uri="{FF2B5EF4-FFF2-40B4-BE49-F238E27FC236}">
                  <a16:creationId xmlns:a16="http://schemas.microsoft.com/office/drawing/2014/main" id="{1588A845-F5E4-0A32-0449-695EE051D382}"/>
                </a:ext>
              </a:extLst>
            </p:cNvPr>
            <p:cNvSpPr txBox="1"/>
            <p:nvPr/>
          </p:nvSpPr>
          <p:spPr>
            <a:xfrm>
              <a:off x="9522717" y="826465"/>
              <a:ext cx="1632324"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40" normalizeH="0" baseline="0" noProof="0">
                  <a:ln>
                    <a:noFill/>
                  </a:ln>
                  <a:solidFill>
                    <a:prstClr val="black"/>
                  </a:solidFill>
                  <a:effectLst/>
                  <a:uLnTx/>
                  <a:uFillTx/>
                  <a:latin typeface="Segoe Sans Display"/>
                  <a:ea typeface="+mn-ea"/>
                  <a:cs typeface="+mn-cs"/>
                </a:rPr>
                <a:t>Access to all </a:t>
              </a:r>
              <a:br>
                <a:rPr kumimoji="0" lang="en-US" sz="1600" b="0" i="0" u="none" strike="noStrike" kern="0" cap="none" spc="-40" normalizeH="0" baseline="0" noProof="0">
                  <a:ln>
                    <a:noFill/>
                  </a:ln>
                  <a:solidFill>
                    <a:prstClr val="black"/>
                  </a:solidFill>
                  <a:effectLst/>
                  <a:uLnTx/>
                  <a:uFillTx/>
                  <a:latin typeface="Segoe Sans Display"/>
                  <a:ea typeface="+mn-ea"/>
                  <a:cs typeface="+mn-cs"/>
                </a:rPr>
              </a:br>
              <a:r>
                <a:rPr kumimoji="0" lang="en-US" sz="1600" b="0" i="0" u="none" strike="noStrike" kern="0" cap="none" spc="-60" normalizeH="0" baseline="0" noProof="0">
                  <a:ln>
                    <a:noFill/>
                  </a:ln>
                  <a:solidFill>
                    <a:prstClr val="black"/>
                  </a:solidFill>
                  <a:effectLst/>
                  <a:uLnTx/>
                  <a:uFillTx/>
                  <a:latin typeface="Segoe Sans Display"/>
                  <a:ea typeface="+mn-ea"/>
                  <a:cs typeface="+mn-cs"/>
                </a:rPr>
                <a:t>apps &amp; resources</a:t>
              </a:r>
            </a:p>
          </p:txBody>
        </p:sp>
        <p:grpSp>
          <p:nvGrpSpPr>
            <p:cNvPr id="1416" name="Group 1415">
              <a:extLst>
                <a:ext uri="{FF2B5EF4-FFF2-40B4-BE49-F238E27FC236}">
                  <a16:creationId xmlns:a16="http://schemas.microsoft.com/office/drawing/2014/main" id="{0340BF01-546F-3049-6AA3-4D1054A825C3}"/>
                </a:ext>
              </a:extLst>
            </p:cNvPr>
            <p:cNvGrpSpPr/>
            <p:nvPr/>
          </p:nvGrpSpPr>
          <p:grpSpPr>
            <a:xfrm>
              <a:off x="9336658" y="2922561"/>
              <a:ext cx="2004442" cy="628893"/>
              <a:chOff x="9336658" y="3218006"/>
              <a:chExt cx="2004442" cy="628893"/>
            </a:xfrm>
          </p:grpSpPr>
          <p:sp>
            <p:nvSpPr>
              <p:cNvPr id="520" name="TextBox 519">
                <a:extLst>
                  <a:ext uri="{FF2B5EF4-FFF2-40B4-BE49-F238E27FC236}">
                    <a16:creationId xmlns:a16="http://schemas.microsoft.com/office/drawing/2014/main" id="{31C0E3E0-08C1-52F7-44EB-76E28A768A47}"/>
                  </a:ext>
                </a:extLst>
              </p:cNvPr>
              <p:cNvSpPr txBox="1"/>
              <p:nvPr/>
            </p:nvSpPr>
            <p:spPr>
              <a:xfrm>
                <a:off x="9336658" y="3631455"/>
                <a:ext cx="200444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40" normalizeH="0" baseline="0" noProof="0">
                    <a:ln w="3175">
                      <a:noFill/>
                    </a:ln>
                    <a:gradFill>
                      <a:gsLst>
                        <a:gs pos="0">
                          <a:srgbClr val="0360DB"/>
                        </a:gs>
                        <a:gs pos="80000">
                          <a:srgbClr val="207EFC"/>
                        </a:gs>
                      </a:gsLst>
                      <a:path path="circle">
                        <a:fillToRect l="100000" t="100000"/>
                      </a:path>
                    </a:gradFill>
                    <a:effectLst/>
                    <a:uLnTx/>
                    <a:uFillTx/>
                    <a:latin typeface="Segoe Sans Display Semibold"/>
                    <a:ea typeface="+mn-ea"/>
                    <a:cs typeface="Segoe UI" panose="020B0502040204020203" pitchFamily="34" charset="0"/>
                  </a:rPr>
                  <a:t>IaaS, PaaS, Datacenter</a:t>
                </a:r>
              </a:p>
            </p:txBody>
          </p:sp>
          <p:grpSp>
            <p:nvGrpSpPr>
              <p:cNvPr id="548" name="Group 547">
                <a:extLst>
                  <a:ext uri="{FF2B5EF4-FFF2-40B4-BE49-F238E27FC236}">
                    <a16:creationId xmlns:a16="http://schemas.microsoft.com/office/drawing/2014/main" id="{BC38C5BF-46B5-AF84-7A39-4AB31B731DBF}"/>
                  </a:ext>
                  <a:ext uri="{C183D7F6-B498-43B3-948B-1728B52AA6E4}">
                    <adec:decorative xmlns:adec="http://schemas.microsoft.com/office/drawing/2017/decorative" val="1"/>
                  </a:ext>
                </a:extLst>
              </p:cNvPr>
              <p:cNvGrpSpPr/>
              <p:nvPr/>
            </p:nvGrpSpPr>
            <p:grpSpPr>
              <a:xfrm>
                <a:off x="9567777" y="3218006"/>
                <a:ext cx="1542204" cy="269375"/>
                <a:chOff x="10340855" y="2520231"/>
                <a:chExt cx="1589888" cy="277704"/>
              </a:xfrm>
            </p:grpSpPr>
            <p:grpSp>
              <p:nvGrpSpPr>
                <p:cNvPr id="549" name="Group 548">
                  <a:extLst>
                    <a:ext uri="{FF2B5EF4-FFF2-40B4-BE49-F238E27FC236}">
                      <a16:creationId xmlns:a16="http://schemas.microsoft.com/office/drawing/2014/main" id="{A132384C-E363-D3CD-1177-BA210785F93B}"/>
                    </a:ext>
                  </a:extLst>
                </p:cNvPr>
                <p:cNvGrpSpPr/>
                <p:nvPr/>
              </p:nvGrpSpPr>
              <p:grpSpPr>
                <a:xfrm>
                  <a:off x="11327047" y="2543699"/>
                  <a:ext cx="297309" cy="230769"/>
                  <a:chOff x="10687515" y="2757597"/>
                  <a:chExt cx="220210" cy="177220"/>
                </a:xfrm>
              </p:grpSpPr>
              <p:sp>
                <p:nvSpPr>
                  <p:cNvPr id="555" name="Freeform: Shape 400">
                    <a:extLst>
                      <a:ext uri="{FF2B5EF4-FFF2-40B4-BE49-F238E27FC236}">
                        <a16:creationId xmlns:a16="http://schemas.microsoft.com/office/drawing/2014/main" id="{02C05D8D-2D93-3D8B-D7F7-3F5F820BF2AD}"/>
                      </a:ext>
                    </a:extLst>
                  </p:cNvPr>
                  <p:cNvSpPr/>
                  <p:nvPr/>
                </p:nvSpPr>
                <p:spPr>
                  <a:xfrm>
                    <a:off x="10714077" y="2757597"/>
                    <a:ext cx="139971" cy="63510"/>
                  </a:xfrm>
                  <a:custGeom>
                    <a:avLst/>
                    <a:gdLst>
                      <a:gd name="connsiteX0" fmla="*/ 160496 w 198501"/>
                      <a:gd name="connsiteY0" fmla="*/ 69209 h 90069"/>
                      <a:gd name="connsiteX1" fmla="*/ 170021 w 198501"/>
                      <a:gd name="connsiteY1" fmla="*/ 69209 h 90069"/>
                      <a:gd name="connsiteX2" fmla="*/ 197168 w 198501"/>
                      <a:gd name="connsiteY2" fmla="*/ 42063 h 90069"/>
                      <a:gd name="connsiteX3" fmla="*/ 198501 w 198501"/>
                      <a:gd name="connsiteY3" fmla="*/ 30538 h 90069"/>
                      <a:gd name="connsiteX4" fmla="*/ 26280 w 198501"/>
                      <a:gd name="connsiteY4" fmla="*/ 41274 h 90069"/>
                      <a:gd name="connsiteX5" fmla="*/ 0 w 198501"/>
                      <a:gd name="connsiteY5" fmla="*/ 90069 h 90069"/>
                      <a:gd name="connsiteX6" fmla="*/ 9525 w 198501"/>
                      <a:gd name="connsiteY6" fmla="*/ 89498 h 90069"/>
                      <a:gd name="connsiteX7" fmla="*/ 63818 w 198501"/>
                      <a:gd name="connsiteY7" fmla="*/ 80544 h 90069"/>
                      <a:gd name="connsiteX8" fmla="*/ 68009 w 198501"/>
                      <a:gd name="connsiteY8" fmla="*/ 76258 h 90069"/>
                      <a:gd name="connsiteX9" fmla="*/ 160687 w 198501"/>
                      <a:gd name="connsiteY9" fmla="*/ 69209 h 90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501" h="90069">
                        <a:moveTo>
                          <a:pt x="160496" y="69209"/>
                        </a:moveTo>
                        <a:lnTo>
                          <a:pt x="170021" y="69209"/>
                        </a:lnTo>
                        <a:lnTo>
                          <a:pt x="197168" y="42063"/>
                        </a:lnTo>
                        <a:lnTo>
                          <a:pt x="198501" y="30538"/>
                        </a:lnTo>
                        <a:cubicBezTo>
                          <a:pt x="147979" y="-14055"/>
                          <a:pt x="70873" y="-9248"/>
                          <a:pt x="26280" y="41274"/>
                        </a:cubicBezTo>
                        <a:cubicBezTo>
                          <a:pt x="13893" y="55308"/>
                          <a:pt x="4901" y="72004"/>
                          <a:pt x="0" y="90069"/>
                        </a:cubicBezTo>
                        <a:cubicBezTo>
                          <a:pt x="3024" y="88830"/>
                          <a:pt x="6374" y="88629"/>
                          <a:pt x="9525" y="89498"/>
                        </a:cubicBezTo>
                        <a:lnTo>
                          <a:pt x="63818" y="80544"/>
                        </a:lnTo>
                        <a:cubicBezTo>
                          <a:pt x="63818" y="80544"/>
                          <a:pt x="66580" y="75972"/>
                          <a:pt x="68009" y="76258"/>
                        </a:cubicBezTo>
                        <a:cubicBezTo>
                          <a:pt x="92159" y="49734"/>
                          <a:pt x="132802" y="46643"/>
                          <a:pt x="160687" y="69209"/>
                        </a:cubicBezTo>
                        <a:close/>
                      </a:path>
                    </a:pathLst>
                  </a:custGeom>
                  <a:solidFill>
                    <a:srgbClr val="EA4335"/>
                  </a:solidFill>
                  <a:ln w="9525" cap="flat">
                    <a:noFill/>
                    <a:prstDash val="solid"/>
                    <a:miter/>
                  </a:ln>
                </p:spPr>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gradFill>
                        <a:gsLst>
                          <a:gs pos="8621">
                            <a:srgbClr val="000000"/>
                          </a:gs>
                          <a:gs pos="20225">
                            <a:srgbClr val="000000"/>
                          </a:gs>
                        </a:gsLst>
                        <a:lin ang="5400000" scaled="1"/>
                      </a:gradFill>
                      <a:effectLst/>
                      <a:uLnTx/>
                      <a:uFillTx/>
                      <a:latin typeface="Segoe Sans Display Semibold"/>
                      <a:ea typeface="+mn-ea"/>
                      <a:cs typeface="+mn-cs"/>
                    </a:endParaRPr>
                  </a:p>
                </p:txBody>
              </p:sp>
              <p:sp>
                <p:nvSpPr>
                  <p:cNvPr id="556" name="Freeform: Shape 401">
                    <a:extLst>
                      <a:ext uri="{FF2B5EF4-FFF2-40B4-BE49-F238E27FC236}">
                        <a16:creationId xmlns:a16="http://schemas.microsoft.com/office/drawing/2014/main" id="{0D37757F-DBBB-D1DF-C576-F5A35B7B894F}"/>
                      </a:ext>
                    </a:extLst>
                  </p:cNvPr>
                  <p:cNvSpPr/>
                  <p:nvPr/>
                </p:nvSpPr>
                <p:spPr>
                  <a:xfrm>
                    <a:off x="10792457" y="2779197"/>
                    <a:ext cx="115268" cy="155620"/>
                  </a:xfrm>
                  <a:custGeom>
                    <a:avLst/>
                    <a:gdLst>
                      <a:gd name="connsiteX0" fmla="*/ 124682 w 163468"/>
                      <a:gd name="connsiteY0" fmla="*/ 59436 h 220696"/>
                      <a:gd name="connsiteX1" fmla="*/ 87820 w 163468"/>
                      <a:gd name="connsiteY1" fmla="*/ 0 h 220696"/>
                      <a:gd name="connsiteX2" fmla="*/ 49720 w 163468"/>
                      <a:gd name="connsiteY2" fmla="*/ 38100 h 220696"/>
                      <a:gd name="connsiteX3" fmla="*/ 74581 w 163468"/>
                      <a:gd name="connsiteY3" fmla="*/ 91821 h 220696"/>
                      <a:gd name="connsiteX4" fmla="*/ 74581 w 163468"/>
                      <a:gd name="connsiteY4" fmla="*/ 98584 h 220696"/>
                      <a:gd name="connsiteX5" fmla="*/ 108490 w 163468"/>
                      <a:gd name="connsiteY5" fmla="*/ 132493 h 220696"/>
                      <a:gd name="connsiteX6" fmla="*/ 74581 w 163468"/>
                      <a:gd name="connsiteY6" fmla="*/ 166402 h 220696"/>
                      <a:gd name="connsiteX7" fmla="*/ 6763 w 163468"/>
                      <a:gd name="connsiteY7" fmla="*/ 166402 h 220696"/>
                      <a:gd name="connsiteX8" fmla="*/ 0 w 163468"/>
                      <a:gd name="connsiteY8" fmla="*/ 173260 h 220696"/>
                      <a:gd name="connsiteX9" fmla="*/ 0 w 163468"/>
                      <a:gd name="connsiteY9" fmla="*/ 213932 h 220696"/>
                      <a:gd name="connsiteX10" fmla="*/ 6763 w 163468"/>
                      <a:gd name="connsiteY10" fmla="*/ 220694 h 220696"/>
                      <a:gd name="connsiteX11" fmla="*/ 74581 w 163468"/>
                      <a:gd name="connsiteY11" fmla="*/ 220694 h 220696"/>
                      <a:gd name="connsiteX12" fmla="*/ 163466 w 163468"/>
                      <a:gd name="connsiteY12" fmla="*/ 133182 h 220696"/>
                      <a:gd name="connsiteX13" fmla="*/ 124682 w 163468"/>
                      <a:gd name="connsiteY13" fmla="*/ 59436 h 220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3468" h="220696">
                        <a:moveTo>
                          <a:pt x="124682" y="59436"/>
                        </a:moveTo>
                        <a:cubicBezTo>
                          <a:pt x="118442" y="36458"/>
                          <a:pt x="105631" y="15801"/>
                          <a:pt x="87820" y="0"/>
                        </a:cubicBezTo>
                        <a:lnTo>
                          <a:pt x="49720" y="38100"/>
                        </a:lnTo>
                        <a:cubicBezTo>
                          <a:pt x="65809" y="51246"/>
                          <a:pt x="74973" y="71049"/>
                          <a:pt x="74581" y="91821"/>
                        </a:cubicBezTo>
                        <a:lnTo>
                          <a:pt x="74581" y="98584"/>
                        </a:lnTo>
                        <a:cubicBezTo>
                          <a:pt x="93308" y="98584"/>
                          <a:pt x="108490" y="113766"/>
                          <a:pt x="108490" y="132493"/>
                        </a:cubicBezTo>
                        <a:cubicBezTo>
                          <a:pt x="108490" y="151220"/>
                          <a:pt x="93308" y="166402"/>
                          <a:pt x="74581" y="166402"/>
                        </a:cubicBezTo>
                        <a:lnTo>
                          <a:pt x="6763" y="166402"/>
                        </a:lnTo>
                        <a:lnTo>
                          <a:pt x="0" y="173260"/>
                        </a:lnTo>
                        <a:lnTo>
                          <a:pt x="0" y="213932"/>
                        </a:lnTo>
                        <a:lnTo>
                          <a:pt x="6763" y="220694"/>
                        </a:lnTo>
                        <a:lnTo>
                          <a:pt x="74581" y="220694"/>
                        </a:lnTo>
                        <a:cubicBezTo>
                          <a:pt x="123292" y="221073"/>
                          <a:pt x="163087" y="181893"/>
                          <a:pt x="163466" y="133182"/>
                        </a:cubicBezTo>
                        <a:cubicBezTo>
                          <a:pt x="163696" y="103658"/>
                          <a:pt x="149139" y="75977"/>
                          <a:pt x="124682" y="59436"/>
                        </a:cubicBezTo>
                        <a:close/>
                      </a:path>
                    </a:pathLst>
                  </a:custGeom>
                  <a:solidFill>
                    <a:srgbClr val="4285F4"/>
                  </a:solidFill>
                  <a:ln w="9525" cap="flat">
                    <a:noFill/>
                    <a:prstDash val="solid"/>
                    <a:miter/>
                  </a:ln>
                </p:spPr>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gradFill>
                        <a:gsLst>
                          <a:gs pos="8621">
                            <a:srgbClr val="000000"/>
                          </a:gs>
                          <a:gs pos="20225">
                            <a:srgbClr val="000000"/>
                          </a:gs>
                        </a:gsLst>
                        <a:lin ang="5400000" scaled="1"/>
                      </a:gradFill>
                      <a:effectLst/>
                      <a:uLnTx/>
                      <a:uFillTx/>
                      <a:latin typeface="Segoe Sans Display Semibold"/>
                      <a:ea typeface="+mn-ea"/>
                      <a:cs typeface="+mn-cs"/>
                    </a:endParaRPr>
                  </a:p>
                </p:txBody>
              </p:sp>
              <p:sp>
                <p:nvSpPr>
                  <p:cNvPr id="557" name="Freeform: Shape 402">
                    <a:extLst>
                      <a:ext uri="{FF2B5EF4-FFF2-40B4-BE49-F238E27FC236}">
                        <a16:creationId xmlns:a16="http://schemas.microsoft.com/office/drawing/2014/main" id="{2D960E35-012D-C41B-F56C-498273C38B51}"/>
                      </a:ext>
                    </a:extLst>
                  </p:cNvPr>
                  <p:cNvSpPr/>
                  <p:nvPr/>
                </p:nvSpPr>
                <p:spPr>
                  <a:xfrm>
                    <a:off x="10711793" y="2894115"/>
                    <a:ext cx="85366" cy="40433"/>
                  </a:xfrm>
                  <a:custGeom>
                    <a:avLst/>
                    <a:gdLst>
                      <a:gd name="connsiteX0" fmla="*/ 53245 w 121062"/>
                      <a:gd name="connsiteY0" fmla="*/ 57341 h 57341"/>
                      <a:gd name="connsiteX1" fmla="*/ 121063 w 121062"/>
                      <a:gd name="connsiteY1" fmla="*/ 57341 h 57341"/>
                      <a:gd name="connsiteX2" fmla="*/ 121063 w 121062"/>
                      <a:gd name="connsiteY2" fmla="*/ 3048 h 57341"/>
                      <a:gd name="connsiteX3" fmla="*/ 53245 w 121062"/>
                      <a:gd name="connsiteY3" fmla="*/ 3048 h 57341"/>
                      <a:gd name="connsiteX4" fmla="*/ 39243 w 121062"/>
                      <a:gd name="connsiteY4" fmla="*/ 0 h 57341"/>
                      <a:gd name="connsiteX5" fmla="*/ 29718 w 121062"/>
                      <a:gd name="connsiteY5" fmla="*/ 2953 h 57341"/>
                      <a:gd name="connsiteX6" fmla="*/ 2381 w 121062"/>
                      <a:gd name="connsiteY6" fmla="*/ 30099 h 57341"/>
                      <a:gd name="connsiteX7" fmla="*/ 0 w 121062"/>
                      <a:gd name="connsiteY7" fmla="*/ 39624 h 57341"/>
                      <a:gd name="connsiteX8" fmla="*/ 53245 w 121062"/>
                      <a:gd name="connsiteY8" fmla="*/ 57341 h 57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062" h="57341">
                        <a:moveTo>
                          <a:pt x="53245" y="57341"/>
                        </a:moveTo>
                        <a:lnTo>
                          <a:pt x="121063" y="57341"/>
                        </a:lnTo>
                        <a:lnTo>
                          <a:pt x="121063" y="3048"/>
                        </a:lnTo>
                        <a:lnTo>
                          <a:pt x="53245" y="3048"/>
                        </a:lnTo>
                        <a:cubicBezTo>
                          <a:pt x="48413" y="3047"/>
                          <a:pt x="43638" y="2008"/>
                          <a:pt x="39243" y="0"/>
                        </a:cubicBezTo>
                        <a:lnTo>
                          <a:pt x="29718" y="2953"/>
                        </a:lnTo>
                        <a:lnTo>
                          <a:pt x="2381" y="30099"/>
                        </a:lnTo>
                        <a:lnTo>
                          <a:pt x="0" y="39624"/>
                        </a:lnTo>
                        <a:cubicBezTo>
                          <a:pt x="15330" y="51200"/>
                          <a:pt x="34035" y="57424"/>
                          <a:pt x="53245" y="57341"/>
                        </a:cubicBezTo>
                        <a:close/>
                      </a:path>
                    </a:pathLst>
                  </a:custGeom>
                  <a:solidFill>
                    <a:srgbClr val="34A853"/>
                  </a:solidFill>
                  <a:ln w="9525" cap="flat">
                    <a:noFill/>
                    <a:prstDash val="solid"/>
                    <a:miter/>
                  </a:ln>
                </p:spPr>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gradFill>
                        <a:gsLst>
                          <a:gs pos="8621">
                            <a:srgbClr val="000000"/>
                          </a:gs>
                          <a:gs pos="20225">
                            <a:srgbClr val="000000"/>
                          </a:gs>
                        </a:gsLst>
                        <a:lin ang="5400000" scaled="1"/>
                      </a:gradFill>
                      <a:effectLst/>
                      <a:uLnTx/>
                      <a:uFillTx/>
                      <a:latin typeface="Segoe Sans Display Semibold"/>
                      <a:ea typeface="+mn-ea"/>
                      <a:cs typeface="+mn-cs"/>
                    </a:endParaRPr>
                  </a:p>
                </p:txBody>
              </p:sp>
              <p:sp>
                <p:nvSpPr>
                  <p:cNvPr id="558" name="Freeform: Shape 403">
                    <a:extLst>
                      <a:ext uri="{FF2B5EF4-FFF2-40B4-BE49-F238E27FC236}">
                        <a16:creationId xmlns:a16="http://schemas.microsoft.com/office/drawing/2014/main" id="{EAE68C6F-B87D-801E-4ECB-50061A785BE2}"/>
                      </a:ext>
                    </a:extLst>
                  </p:cNvPr>
                  <p:cNvSpPr/>
                  <p:nvPr/>
                </p:nvSpPr>
                <p:spPr>
                  <a:xfrm>
                    <a:off x="10687515" y="2810361"/>
                    <a:ext cx="111390" cy="111492"/>
                  </a:xfrm>
                  <a:custGeom>
                    <a:avLst/>
                    <a:gdLst>
                      <a:gd name="connsiteX0" fmla="*/ 87675 w 157969"/>
                      <a:gd name="connsiteY0" fmla="*/ 1 h 158115"/>
                      <a:gd name="connsiteX1" fmla="*/ 2 w 157969"/>
                      <a:gd name="connsiteY1" fmla="*/ 88727 h 158115"/>
                      <a:gd name="connsiteX2" fmla="*/ 34430 w 157969"/>
                      <a:gd name="connsiteY2" fmla="*/ 158116 h 158115"/>
                      <a:gd name="connsiteX3" fmla="*/ 73768 w 157969"/>
                      <a:gd name="connsiteY3" fmla="*/ 118777 h 158115"/>
                      <a:gd name="connsiteX4" fmla="*/ 56828 w 157969"/>
                      <a:gd name="connsiteY4" fmla="*/ 73915 h 158115"/>
                      <a:gd name="connsiteX5" fmla="*/ 101691 w 157969"/>
                      <a:gd name="connsiteY5" fmla="*/ 56974 h 158115"/>
                      <a:gd name="connsiteX6" fmla="*/ 118631 w 157969"/>
                      <a:gd name="connsiteY6" fmla="*/ 73915 h 158115"/>
                      <a:gd name="connsiteX7" fmla="*/ 157969 w 157969"/>
                      <a:gd name="connsiteY7" fmla="*/ 34576 h 158115"/>
                      <a:gd name="connsiteX8" fmla="*/ 87675 w 157969"/>
                      <a:gd name="connsiteY8" fmla="*/ 1 h 158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969" h="158115">
                        <a:moveTo>
                          <a:pt x="87675" y="1"/>
                        </a:moveTo>
                        <a:cubicBezTo>
                          <a:pt x="38963" y="292"/>
                          <a:pt x="-289" y="40016"/>
                          <a:pt x="2" y="88727"/>
                        </a:cubicBezTo>
                        <a:cubicBezTo>
                          <a:pt x="164" y="115928"/>
                          <a:pt x="12868" y="141533"/>
                          <a:pt x="34430" y="158116"/>
                        </a:cubicBezTo>
                        <a:lnTo>
                          <a:pt x="73768" y="118777"/>
                        </a:lnTo>
                        <a:cubicBezTo>
                          <a:pt x="56702" y="111067"/>
                          <a:pt x="49117" y="90981"/>
                          <a:pt x="56828" y="73915"/>
                        </a:cubicBezTo>
                        <a:cubicBezTo>
                          <a:pt x="64538" y="56848"/>
                          <a:pt x="84624" y="49264"/>
                          <a:pt x="101691" y="56974"/>
                        </a:cubicBezTo>
                        <a:cubicBezTo>
                          <a:pt x="109211" y="60372"/>
                          <a:pt x="115233" y="66395"/>
                          <a:pt x="118631" y="73915"/>
                        </a:cubicBezTo>
                        <a:lnTo>
                          <a:pt x="157969" y="34576"/>
                        </a:lnTo>
                        <a:cubicBezTo>
                          <a:pt x="141232" y="12695"/>
                          <a:pt x="115223" y="-98"/>
                          <a:pt x="87675" y="1"/>
                        </a:cubicBezTo>
                        <a:close/>
                      </a:path>
                    </a:pathLst>
                  </a:custGeom>
                  <a:solidFill>
                    <a:srgbClr val="FBBC05"/>
                  </a:solidFill>
                  <a:ln w="9525" cap="flat">
                    <a:noFill/>
                    <a:prstDash val="solid"/>
                    <a:miter/>
                  </a:ln>
                </p:spPr>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gradFill>
                        <a:gsLst>
                          <a:gs pos="8621">
                            <a:srgbClr val="000000"/>
                          </a:gs>
                          <a:gs pos="20225">
                            <a:srgbClr val="000000"/>
                          </a:gs>
                        </a:gsLst>
                        <a:lin ang="5400000" scaled="1"/>
                      </a:gradFill>
                      <a:effectLst/>
                      <a:uLnTx/>
                      <a:uFillTx/>
                      <a:latin typeface="Segoe Sans Display Semibold"/>
                      <a:ea typeface="+mn-ea"/>
                      <a:cs typeface="+mn-cs"/>
                    </a:endParaRPr>
                  </a:p>
                </p:txBody>
              </p:sp>
            </p:grpSp>
            <p:pic>
              <p:nvPicPr>
                <p:cNvPr id="550" name="Graphic 198">
                  <a:extLst>
                    <a:ext uri="{FF2B5EF4-FFF2-40B4-BE49-F238E27FC236}">
                      <a16:creationId xmlns:a16="http://schemas.microsoft.com/office/drawing/2014/main" id="{B335CD86-AFEF-332E-56E9-5C3DD9446998}"/>
                    </a:ext>
                  </a:extLst>
                </p:cNvPr>
                <p:cNvPicPr>
                  <a:picLocks noChangeAspect="1"/>
                </p:cNvPicPr>
                <p:nvPr/>
              </p:nvPicPr>
              <p:blipFill>
                <a:blip r:embed="rId14">
                  <a:lum bright="-100000"/>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10795607" y="2549936"/>
                  <a:ext cx="364622" cy="218295"/>
                </a:xfrm>
                <a:prstGeom prst="rect">
                  <a:avLst/>
                </a:prstGeom>
              </p:spPr>
            </p:pic>
            <p:pic>
              <p:nvPicPr>
                <p:cNvPr id="551" name="Graphic 550">
                  <a:extLst>
                    <a:ext uri="{FF2B5EF4-FFF2-40B4-BE49-F238E27FC236}">
                      <a16:creationId xmlns:a16="http://schemas.microsoft.com/office/drawing/2014/main" id="{AB643371-31CB-3B7B-DCE4-8AC1EA5F99E5}"/>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340855" y="2520231"/>
                  <a:ext cx="287934" cy="277704"/>
                </a:xfrm>
                <a:prstGeom prst="rect">
                  <a:avLst/>
                </a:prstGeom>
              </p:spPr>
            </p:pic>
            <p:sp>
              <p:nvSpPr>
                <p:cNvPr id="552" name="Graphic 44">
                  <a:extLst>
                    <a:ext uri="{FF2B5EF4-FFF2-40B4-BE49-F238E27FC236}">
                      <a16:creationId xmlns:a16="http://schemas.microsoft.com/office/drawing/2014/main" id="{E676953A-F1E7-F627-C24A-0D137D7DFEF9}"/>
                    </a:ext>
                  </a:extLst>
                </p:cNvPr>
                <p:cNvSpPr/>
                <p:nvPr/>
              </p:nvSpPr>
              <p:spPr>
                <a:xfrm>
                  <a:off x="11791175" y="2542777"/>
                  <a:ext cx="139568" cy="232613"/>
                </a:xfrm>
                <a:custGeom>
                  <a:avLst/>
                  <a:gdLst>
                    <a:gd name="connsiteX0" fmla="*/ 49530 w 182880"/>
                    <a:gd name="connsiteY0" fmla="*/ 60960 h 304800"/>
                    <a:gd name="connsiteX1" fmla="*/ 38100 w 182880"/>
                    <a:gd name="connsiteY1" fmla="*/ 72390 h 304800"/>
                    <a:gd name="connsiteX2" fmla="*/ 49530 w 182880"/>
                    <a:gd name="connsiteY2" fmla="*/ 83820 h 304800"/>
                    <a:gd name="connsiteX3" fmla="*/ 133350 w 182880"/>
                    <a:gd name="connsiteY3" fmla="*/ 83820 h 304800"/>
                    <a:gd name="connsiteX4" fmla="*/ 144780 w 182880"/>
                    <a:gd name="connsiteY4" fmla="*/ 72390 h 304800"/>
                    <a:gd name="connsiteX5" fmla="*/ 133350 w 182880"/>
                    <a:gd name="connsiteY5" fmla="*/ 60960 h 304800"/>
                    <a:gd name="connsiteX6" fmla="*/ 49530 w 182880"/>
                    <a:gd name="connsiteY6" fmla="*/ 60960 h 304800"/>
                    <a:gd name="connsiteX7" fmla="*/ 38100 w 182880"/>
                    <a:gd name="connsiteY7" fmla="*/ 240030 h 304800"/>
                    <a:gd name="connsiteX8" fmla="*/ 49530 w 182880"/>
                    <a:gd name="connsiteY8" fmla="*/ 228600 h 304800"/>
                    <a:gd name="connsiteX9" fmla="*/ 133350 w 182880"/>
                    <a:gd name="connsiteY9" fmla="*/ 228600 h 304800"/>
                    <a:gd name="connsiteX10" fmla="*/ 144780 w 182880"/>
                    <a:gd name="connsiteY10" fmla="*/ 240030 h 304800"/>
                    <a:gd name="connsiteX11" fmla="*/ 133350 w 182880"/>
                    <a:gd name="connsiteY11" fmla="*/ 251460 h 304800"/>
                    <a:gd name="connsiteX12" fmla="*/ 49530 w 182880"/>
                    <a:gd name="connsiteY12" fmla="*/ 251460 h 304800"/>
                    <a:gd name="connsiteX13" fmla="*/ 38100 w 182880"/>
                    <a:gd name="connsiteY13" fmla="*/ 240030 h 304800"/>
                    <a:gd name="connsiteX14" fmla="*/ 49530 w 182880"/>
                    <a:gd name="connsiteY14" fmla="*/ 182880 h 304800"/>
                    <a:gd name="connsiteX15" fmla="*/ 38100 w 182880"/>
                    <a:gd name="connsiteY15" fmla="*/ 194310 h 304800"/>
                    <a:gd name="connsiteX16" fmla="*/ 49530 w 182880"/>
                    <a:gd name="connsiteY16" fmla="*/ 205740 h 304800"/>
                    <a:gd name="connsiteX17" fmla="*/ 133350 w 182880"/>
                    <a:gd name="connsiteY17" fmla="*/ 205740 h 304800"/>
                    <a:gd name="connsiteX18" fmla="*/ 144780 w 182880"/>
                    <a:gd name="connsiteY18" fmla="*/ 194310 h 304800"/>
                    <a:gd name="connsiteX19" fmla="*/ 133350 w 182880"/>
                    <a:gd name="connsiteY19" fmla="*/ 182880 h 304800"/>
                    <a:gd name="connsiteX20" fmla="*/ 49530 w 182880"/>
                    <a:gd name="connsiteY20" fmla="*/ 182880 h 304800"/>
                    <a:gd name="connsiteX21" fmla="*/ 0 w 182880"/>
                    <a:gd name="connsiteY21" fmla="*/ 45720 h 304800"/>
                    <a:gd name="connsiteX22" fmla="*/ 45720 w 182880"/>
                    <a:gd name="connsiteY22" fmla="*/ 0 h 304800"/>
                    <a:gd name="connsiteX23" fmla="*/ 137160 w 182880"/>
                    <a:gd name="connsiteY23" fmla="*/ 0 h 304800"/>
                    <a:gd name="connsiteX24" fmla="*/ 182880 w 182880"/>
                    <a:gd name="connsiteY24" fmla="*/ 45720 h 304800"/>
                    <a:gd name="connsiteX25" fmla="*/ 182880 w 182880"/>
                    <a:gd name="connsiteY25" fmla="*/ 259080 h 304800"/>
                    <a:gd name="connsiteX26" fmla="*/ 137160 w 182880"/>
                    <a:gd name="connsiteY26" fmla="*/ 304800 h 304800"/>
                    <a:gd name="connsiteX27" fmla="*/ 45720 w 182880"/>
                    <a:gd name="connsiteY27" fmla="*/ 304800 h 304800"/>
                    <a:gd name="connsiteX28" fmla="*/ 0 w 182880"/>
                    <a:gd name="connsiteY28" fmla="*/ 259080 h 304800"/>
                    <a:gd name="connsiteX29" fmla="*/ 0 w 182880"/>
                    <a:gd name="connsiteY29" fmla="*/ 45720 h 304800"/>
                    <a:gd name="connsiteX30" fmla="*/ 45720 w 182880"/>
                    <a:gd name="connsiteY30" fmla="*/ 22860 h 304800"/>
                    <a:gd name="connsiteX31" fmla="*/ 22860 w 182880"/>
                    <a:gd name="connsiteY31" fmla="*/ 45720 h 304800"/>
                    <a:gd name="connsiteX32" fmla="*/ 22860 w 182880"/>
                    <a:gd name="connsiteY32" fmla="*/ 259080 h 304800"/>
                    <a:gd name="connsiteX33" fmla="*/ 45720 w 182880"/>
                    <a:gd name="connsiteY33" fmla="*/ 281940 h 304800"/>
                    <a:gd name="connsiteX34" fmla="*/ 137160 w 182880"/>
                    <a:gd name="connsiteY34" fmla="*/ 281940 h 304800"/>
                    <a:gd name="connsiteX35" fmla="*/ 160020 w 182880"/>
                    <a:gd name="connsiteY35" fmla="*/ 259080 h 304800"/>
                    <a:gd name="connsiteX36" fmla="*/ 160020 w 182880"/>
                    <a:gd name="connsiteY36" fmla="*/ 45720 h 304800"/>
                    <a:gd name="connsiteX37" fmla="*/ 137160 w 182880"/>
                    <a:gd name="connsiteY37" fmla="*/ 22860 h 304800"/>
                    <a:gd name="connsiteX38" fmla="*/ 45720 w 182880"/>
                    <a:gd name="connsiteY38" fmla="*/ 2286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82880" h="304800">
                      <a:moveTo>
                        <a:pt x="49530" y="60960"/>
                      </a:moveTo>
                      <a:cubicBezTo>
                        <a:pt x="43217" y="60960"/>
                        <a:pt x="38100" y="66077"/>
                        <a:pt x="38100" y="72390"/>
                      </a:cubicBezTo>
                      <a:cubicBezTo>
                        <a:pt x="38100" y="78703"/>
                        <a:pt x="43217" y="83820"/>
                        <a:pt x="49530" y="83820"/>
                      </a:cubicBezTo>
                      <a:lnTo>
                        <a:pt x="133350" y="83820"/>
                      </a:lnTo>
                      <a:cubicBezTo>
                        <a:pt x="139662" y="83820"/>
                        <a:pt x="144780" y="78703"/>
                        <a:pt x="144780" y="72390"/>
                      </a:cubicBezTo>
                      <a:cubicBezTo>
                        <a:pt x="144780" y="66077"/>
                        <a:pt x="139662" y="60960"/>
                        <a:pt x="133350" y="60960"/>
                      </a:cubicBezTo>
                      <a:lnTo>
                        <a:pt x="49530" y="60960"/>
                      </a:lnTo>
                      <a:close/>
                      <a:moveTo>
                        <a:pt x="38100" y="240030"/>
                      </a:moveTo>
                      <a:cubicBezTo>
                        <a:pt x="38100" y="233718"/>
                        <a:pt x="43217" y="228600"/>
                        <a:pt x="49530" y="228600"/>
                      </a:cubicBezTo>
                      <a:lnTo>
                        <a:pt x="133350" y="228600"/>
                      </a:lnTo>
                      <a:cubicBezTo>
                        <a:pt x="139662" y="228600"/>
                        <a:pt x="144780" y="233718"/>
                        <a:pt x="144780" y="240030"/>
                      </a:cubicBezTo>
                      <a:cubicBezTo>
                        <a:pt x="144780" y="246342"/>
                        <a:pt x="139662" y="251460"/>
                        <a:pt x="133350" y="251460"/>
                      </a:cubicBezTo>
                      <a:lnTo>
                        <a:pt x="49530" y="251460"/>
                      </a:lnTo>
                      <a:cubicBezTo>
                        <a:pt x="43217" y="251460"/>
                        <a:pt x="38100" y="246342"/>
                        <a:pt x="38100" y="240030"/>
                      </a:cubicBezTo>
                      <a:close/>
                      <a:moveTo>
                        <a:pt x="49530" y="182880"/>
                      </a:moveTo>
                      <a:cubicBezTo>
                        <a:pt x="43217" y="182880"/>
                        <a:pt x="38100" y="187998"/>
                        <a:pt x="38100" y="194310"/>
                      </a:cubicBezTo>
                      <a:cubicBezTo>
                        <a:pt x="38100" y="200622"/>
                        <a:pt x="43217" y="205740"/>
                        <a:pt x="49530" y="205740"/>
                      </a:cubicBezTo>
                      <a:lnTo>
                        <a:pt x="133350" y="205740"/>
                      </a:lnTo>
                      <a:cubicBezTo>
                        <a:pt x="139662" y="205740"/>
                        <a:pt x="144780" y="200622"/>
                        <a:pt x="144780" y="194310"/>
                      </a:cubicBezTo>
                      <a:cubicBezTo>
                        <a:pt x="144780" y="187998"/>
                        <a:pt x="139662" y="182880"/>
                        <a:pt x="133350" y="182880"/>
                      </a:cubicBezTo>
                      <a:lnTo>
                        <a:pt x="49530" y="182880"/>
                      </a:lnTo>
                      <a:close/>
                      <a:moveTo>
                        <a:pt x="0" y="45720"/>
                      </a:moveTo>
                      <a:cubicBezTo>
                        <a:pt x="0" y="20470"/>
                        <a:pt x="20470" y="0"/>
                        <a:pt x="45720" y="0"/>
                      </a:cubicBezTo>
                      <a:lnTo>
                        <a:pt x="137160" y="0"/>
                      </a:lnTo>
                      <a:cubicBezTo>
                        <a:pt x="162411" y="0"/>
                        <a:pt x="182880" y="20470"/>
                        <a:pt x="182880" y="45720"/>
                      </a:cubicBezTo>
                      <a:lnTo>
                        <a:pt x="182880" y="259080"/>
                      </a:lnTo>
                      <a:cubicBezTo>
                        <a:pt x="182880" y="284331"/>
                        <a:pt x="162411" y="304800"/>
                        <a:pt x="137160" y="304800"/>
                      </a:cubicBezTo>
                      <a:lnTo>
                        <a:pt x="45720" y="304800"/>
                      </a:lnTo>
                      <a:cubicBezTo>
                        <a:pt x="20470" y="304800"/>
                        <a:pt x="0" y="284331"/>
                        <a:pt x="0" y="259080"/>
                      </a:cubicBezTo>
                      <a:lnTo>
                        <a:pt x="0" y="45720"/>
                      </a:lnTo>
                      <a:close/>
                      <a:moveTo>
                        <a:pt x="45720" y="22860"/>
                      </a:moveTo>
                      <a:cubicBezTo>
                        <a:pt x="33095" y="22860"/>
                        <a:pt x="22860" y="33095"/>
                        <a:pt x="22860" y="45720"/>
                      </a:cubicBezTo>
                      <a:lnTo>
                        <a:pt x="22860" y="259080"/>
                      </a:lnTo>
                      <a:cubicBezTo>
                        <a:pt x="22860" y="271705"/>
                        <a:pt x="33095" y="281940"/>
                        <a:pt x="45720" y="281940"/>
                      </a:cubicBezTo>
                      <a:lnTo>
                        <a:pt x="137160" y="281940"/>
                      </a:lnTo>
                      <a:cubicBezTo>
                        <a:pt x="149785" y="281940"/>
                        <a:pt x="160020" y="271705"/>
                        <a:pt x="160020" y="259080"/>
                      </a:cubicBezTo>
                      <a:lnTo>
                        <a:pt x="160020" y="45720"/>
                      </a:lnTo>
                      <a:cubicBezTo>
                        <a:pt x="160020" y="33095"/>
                        <a:pt x="149785" y="22860"/>
                        <a:pt x="137160" y="22860"/>
                      </a:cubicBezTo>
                      <a:lnTo>
                        <a:pt x="45720" y="22860"/>
                      </a:lnTo>
                      <a:close/>
                    </a:path>
                  </a:pathLst>
                </a:custGeom>
                <a:solidFill>
                  <a:schemeClr val="tx1"/>
                </a:solid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Display"/>
                    <a:ea typeface="+mn-ea"/>
                    <a:cs typeface="+mn-cs"/>
                  </a:endParaRPr>
                </a:p>
              </p:txBody>
            </p:sp>
          </p:grpSp>
        </p:grpSp>
        <p:grpSp>
          <p:nvGrpSpPr>
            <p:cNvPr id="1422" name="Group 1421">
              <a:extLst>
                <a:ext uri="{FF2B5EF4-FFF2-40B4-BE49-F238E27FC236}">
                  <a16:creationId xmlns:a16="http://schemas.microsoft.com/office/drawing/2014/main" id="{7320C509-AB34-7CB7-052D-E7CC545A2CBF}"/>
                </a:ext>
              </a:extLst>
            </p:cNvPr>
            <p:cNvGrpSpPr/>
            <p:nvPr/>
          </p:nvGrpSpPr>
          <p:grpSpPr>
            <a:xfrm>
              <a:off x="9333039" y="2533048"/>
              <a:ext cx="2011680" cy="2312579"/>
              <a:chOff x="9333039" y="2533048"/>
              <a:chExt cx="2011680" cy="2312579"/>
            </a:xfrm>
          </p:grpSpPr>
          <p:cxnSp>
            <p:nvCxnSpPr>
              <p:cNvPr id="526" name="Straight Connector 525">
                <a:extLst>
                  <a:ext uri="{FF2B5EF4-FFF2-40B4-BE49-F238E27FC236}">
                    <a16:creationId xmlns:a16="http://schemas.microsoft.com/office/drawing/2014/main" id="{A4B04283-A3C4-41A2-D15E-A1382DADC384}"/>
                  </a:ext>
                  <a:ext uri="{C183D7F6-B498-43B3-948B-1728B52AA6E4}">
                    <adec:decorative xmlns:adec="http://schemas.microsoft.com/office/drawing/2017/decorative" val="1"/>
                  </a:ext>
                </a:extLst>
              </p:cNvPr>
              <p:cNvCxnSpPr>
                <a:cxnSpLocks/>
              </p:cNvCxnSpPr>
              <p:nvPr/>
            </p:nvCxnSpPr>
            <p:spPr>
              <a:xfrm>
                <a:off x="9333039" y="3731417"/>
                <a:ext cx="2011680" cy="0"/>
              </a:xfrm>
              <a:prstGeom prst="line">
                <a:avLst/>
              </a:prstGeom>
              <a:solidFill>
                <a:srgbClr val="091F2C">
                  <a:lumMod val="90000"/>
                  <a:lumOff val="10000"/>
                </a:srgbClr>
              </a:solidFill>
              <a:ln w="12700" cap="flat">
                <a:solidFill>
                  <a:schemeClr val="bg1">
                    <a:lumMod val="50000"/>
                  </a:schemeClr>
                </a:solidFill>
                <a:prstDash val="solid"/>
                <a:miter/>
              </a:ln>
              <a:scene3d>
                <a:camera prst="isometricOffAxis1Right">
                  <a:rot lat="0" lon="0" rev="0"/>
                </a:camera>
                <a:lightRig rig="flood" dir="t"/>
              </a:scene3d>
            </p:spPr>
          </p:cxnSp>
          <p:cxnSp>
            <p:nvCxnSpPr>
              <p:cNvPr id="528" name="Straight Connector 527">
                <a:extLst>
                  <a:ext uri="{FF2B5EF4-FFF2-40B4-BE49-F238E27FC236}">
                    <a16:creationId xmlns:a16="http://schemas.microsoft.com/office/drawing/2014/main" id="{0D013541-9289-1B32-7F26-B367A738A4D6}"/>
                  </a:ext>
                  <a:ext uri="{C183D7F6-B498-43B3-948B-1728B52AA6E4}">
                    <adec:decorative xmlns:adec="http://schemas.microsoft.com/office/drawing/2017/decorative" val="1"/>
                  </a:ext>
                </a:extLst>
              </p:cNvPr>
              <p:cNvCxnSpPr>
                <a:cxnSpLocks/>
              </p:cNvCxnSpPr>
              <p:nvPr/>
            </p:nvCxnSpPr>
            <p:spPr>
              <a:xfrm>
                <a:off x="9333039" y="4845627"/>
                <a:ext cx="2011680" cy="0"/>
              </a:xfrm>
              <a:prstGeom prst="line">
                <a:avLst/>
              </a:prstGeom>
              <a:solidFill>
                <a:srgbClr val="091F2C">
                  <a:lumMod val="90000"/>
                  <a:lumOff val="10000"/>
                </a:srgbClr>
              </a:solidFill>
              <a:ln w="12700" cap="flat">
                <a:solidFill>
                  <a:schemeClr val="bg1">
                    <a:lumMod val="50000"/>
                  </a:schemeClr>
                </a:solidFill>
                <a:prstDash val="solid"/>
                <a:miter/>
              </a:ln>
              <a:scene3d>
                <a:camera prst="isometricOffAxis1Right">
                  <a:rot lat="0" lon="0" rev="0"/>
                </a:camera>
                <a:lightRig rig="flood" dir="t"/>
              </a:scene3d>
            </p:spPr>
          </p:cxnSp>
          <p:cxnSp>
            <p:nvCxnSpPr>
              <p:cNvPr id="524" name="Straight Connector 523">
                <a:extLst>
                  <a:ext uri="{FF2B5EF4-FFF2-40B4-BE49-F238E27FC236}">
                    <a16:creationId xmlns:a16="http://schemas.microsoft.com/office/drawing/2014/main" id="{144F688F-92C7-6BE5-113E-A892183D6DD8}"/>
                  </a:ext>
                  <a:ext uri="{C183D7F6-B498-43B3-948B-1728B52AA6E4}">
                    <adec:decorative xmlns:adec="http://schemas.microsoft.com/office/drawing/2017/decorative" val="1"/>
                  </a:ext>
                </a:extLst>
              </p:cNvPr>
              <p:cNvCxnSpPr>
                <a:cxnSpLocks/>
              </p:cNvCxnSpPr>
              <p:nvPr/>
            </p:nvCxnSpPr>
            <p:spPr>
              <a:xfrm>
                <a:off x="9333039" y="2533048"/>
                <a:ext cx="2011680" cy="0"/>
              </a:xfrm>
              <a:prstGeom prst="line">
                <a:avLst/>
              </a:prstGeom>
              <a:solidFill>
                <a:srgbClr val="091F2C">
                  <a:lumMod val="90000"/>
                  <a:lumOff val="10000"/>
                </a:srgbClr>
              </a:solidFill>
              <a:ln w="12700" cap="flat">
                <a:solidFill>
                  <a:schemeClr val="bg1">
                    <a:lumMod val="50000"/>
                  </a:schemeClr>
                </a:solidFill>
                <a:prstDash val="solid"/>
                <a:miter/>
              </a:ln>
              <a:scene3d>
                <a:camera prst="isometricOffAxis1Right">
                  <a:rot lat="0" lon="0" rev="0"/>
                </a:camera>
                <a:lightRig rig="flood" dir="t"/>
              </a:scene3d>
            </p:spPr>
          </p:cxnSp>
        </p:grpSp>
        <p:grpSp>
          <p:nvGrpSpPr>
            <p:cNvPr id="1417" name="Group 1416">
              <a:extLst>
                <a:ext uri="{FF2B5EF4-FFF2-40B4-BE49-F238E27FC236}">
                  <a16:creationId xmlns:a16="http://schemas.microsoft.com/office/drawing/2014/main" id="{8272B693-90AF-0134-2F95-74C61573A550}"/>
                </a:ext>
              </a:extLst>
            </p:cNvPr>
            <p:cNvGrpSpPr/>
            <p:nvPr/>
          </p:nvGrpSpPr>
          <p:grpSpPr>
            <a:xfrm>
              <a:off x="9564497" y="1811664"/>
              <a:ext cx="1548764" cy="541421"/>
              <a:chOff x="9564497" y="1845154"/>
              <a:chExt cx="1548764" cy="541421"/>
            </a:xfrm>
          </p:grpSpPr>
          <p:sp>
            <p:nvSpPr>
              <p:cNvPr id="518" name="TextBox 517">
                <a:extLst>
                  <a:ext uri="{FF2B5EF4-FFF2-40B4-BE49-F238E27FC236}">
                    <a16:creationId xmlns:a16="http://schemas.microsoft.com/office/drawing/2014/main" id="{01AD0F23-71A5-5179-D5C0-D0A8253AEE53}"/>
                  </a:ext>
                </a:extLst>
              </p:cNvPr>
              <p:cNvSpPr txBox="1"/>
              <p:nvPr/>
            </p:nvSpPr>
            <p:spPr>
              <a:xfrm>
                <a:off x="9692701" y="2171131"/>
                <a:ext cx="129235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40" normalizeH="0" baseline="0" noProof="0">
                    <a:ln w="3175">
                      <a:noFill/>
                    </a:ln>
                    <a:gradFill>
                      <a:gsLst>
                        <a:gs pos="0">
                          <a:srgbClr val="0360DB"/>
                        </a:gs>
                        <a:gs pos="80000">
                          <a:srgbClr val="207EFC"/>
                        </a:gs>
                      </a:gsLst>
                      <a:path path="circle">
                        <a:fillToRect l="100000" t="100000"/>
                      </a:path>
                    </a:gradFill>
                    <a:effectLst/>
                    <a:uLnTx/>
                    <a:uFillTx/>
                    <a:latin typeface="Segoe Sans Display Semibold"/>
                    <a:ea typeface="+mn-ea"/>
                    <a:cs typeface="Segoe UI" panose="020B0502040204020203" pitchFamily="34" charset="0"/>
                  </a:rPr>
                  <a:t>AI</a:t>
                </a:r>
              </a:p>
            </p:txBody>
          </p:sp>
          <p:grpSp>
            <p:nvGrpSpPr>
              <p:cNvPr id="1444" name="Group 1443">
                <a:extLst>
                  <a:ext uri="{FF2B5EF4-FFF2-40B4-BE49-F238E27FC236}">
                    <a16:creationId xmlns:a16="http://schemas.microsoft.com/office/drawing/2014/main" id="{E797F591-4B56-46E7-EE19-7C26A7F51B80}"/>
                  </a:ext>
                </a:extLst>
              </p:cNvPr>
              <p:cNvGrpSpPr/>
              <p:nvPr/>
            </p:nvGrpSpPr>
            <p:grpSpPr>
              <a:xfrm>
                <a:off x="9564497" y="1845154"/>
                <a:ext cx="1548764" cy="273470"/>
                <a:chOff x="10204011" y="1536537"/>
                <a:chExt cx="1548764" cy="273470"/>
              </a:xfrm>
            </p:grpSpPr>
            <p:pic>
              <p:nvPicPr>
                <p:cNvPr id="546" name="Picture 545">
                  <a:extLst>
                    <a:ext uri="{FF2B5EF4-FFF2-40B4-BE49-F238E27FC236}">
                      <a16:creationId xmlns:a16="http://schemas.microsoft.com/office/drawing/2014/main" id="{D9F66DB0-A500-BD36-7B40-7B3FF20F47AA}"/>
                    </a:ext>
                    <a:ext uri="{C183D7F6-B498-43B3-948B-1728B52AA6E4}">
                      <adec:decorative xmlns:adec="http://schemas.microsoft.com/office/drawing/2017/decorative" val="1"/>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l="19219" r="20127"/>
                <a:stretch/>
              </p:blipFill>
              <p:spPr bwMode="auto">
                <a:xfrm>
                  <a:off x="10204011" y="1548197"/>
                  <a:ext cx="269736" cy="250151"/>
                </a:xfrm>
                <a:prstGeom prst="rect">
                  <a:avLst/>
                </a:prstGeom>
                <a:noFill/>
                <a:extLst>
                  <a:ext uri="{909E8E84-426E-40DD-AFC4-6F175D3DCCD1}">
                    <a14:hiddenFill xmlns:a14="http://schemas.microsoft.com/office/drawing/2010/main">
                      <a:solidFill>
                        <a:srgbClr val="FFFFFF"/>
                      </a:solidFill>
                    </a14:hiddenFill>
                  </a:ext>
                </a:extLst>
              </p:spPr>
            </p:pic>
            <p:grpSp>
              <p:nvGrpSpPr>
                <p:cNvPr id="1443" name="Group 1442">
                  <a:extLst>
                    <a:ext uri="{FF2B5EF4-FFF2-40B4-BE49-F238E27FC236}">
                      <a16:creationId xmlns:a16="http://schemas.microsoft.com/office/drawing/2014/main" id="{333BDAD5-86DA-896E-517E-BF7C956033C1}"/>
                    </a:ext>
                  </a:extLst>
                </p:cNvPr>
                <p:cNvGrpSpPr/>
                <p:nvPr/>
              </p:nvGrpSpPr>
              <p:grpSpPr>
                <a:xfrm>
                  <a:off x="10592008" y="1536537"/>
                  <a:ext cx="1160767" cy="273470"/>
                  <a:chOff x="13692816" y="1980829"/>
                  <a:chExt cx="1160767" cy="273470"/>
                </a:xfrm>
              </p:grpSpPr>
              <p:pic>
                <p:nvPicPr>
                  <p:cNvPr id="1441" name="Picture 2" descr="Chatgpt Logo Transparent Background 22841111 Png - vrogue.co">
                    <a:extLst>
                      <a:ext uri="{FF2B5EF4-FFF2-40B4-BE49-F238E27FC236}">
                        <a16:creationId xmlns:a16="http://schemas.microsoft.com/office/drawing/2014/main" id="{5EAB8FAE-429A-5F9E-6F9E-7194D4C11701}"/>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3692816" y="1980829"/>
                    <a:ext cx="269735" cy="273470"/>
                  </a:xfrm>
                  <a:prstGeom prst="rect">
                    <a:avLst/>
                  </a:prstGeom>
                  <a:noFill/>
                  <a:extLst>
                    <a:ext uri="{909E8E84-426E-40DD-AFC4-6F175D3DCCD1}">
                      <a14:hiddenFill xmlns:a14="http://schemas.microsoft.com/office/drawing/2010/main">
                        <a:solidFill>
                          <a:srgbClr val="FFFFFF"/>
                        </a:solidFill>
                      </a14:hiddenFill>
                    </a:ext>
                  </a:extLst>
                </p:spPr>
              </p:pic>
              <p:pic>
                <p:nvPicPr>
                  <p:cNvPr id="1442" name="Picture 6" descr="DeepSeek-V2 - Intelligence, Performance &amp; Price Analysis | Artificial Analysis">
                    <a:extLst>
                      <a:ext uri="{FF2B5EF4-FFF2-40B4-BE49-F238E27FC236}">
                        <a16:creationId xmlns:a16="http://schemas.microsoft.com/office/drawing/2014/main" id="{C0A70561-BFFA-C616-9EB1-1240011163E2}"/>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4055657" y="2041347"/>
                    <a:ext cx="797926" cy="168792"/>
                  </a:xfrm>
                  <a:prstGeom prst="rect">
                    <a:avLst/>
                  </a:prstGeom>
                  <a:noFill/>
                  <a:extLst>
                    <a:ext uri="{909E8E84-426E-40DD-AFC4-6F175D3DCCD1}">
                      <a14:hiddenFill xmlns:a14="http://schemas.microsoft.com/office/drawing/2010/main">
                        <a:solidFill>
                          <a:srgbClr val="FFFFFF"/>
                        </a:solidFill>
                      </a14:hiddenFill>
                    </a:ext>
                  </a:extLst>
                </p:spPr>
              </p:pic>
            </p:grpSp>
          </p:grpSp>
        </p:grpSp>
        <p:grpSp>
          <p:nvGrpSpPr>
            <p:cNvPr id="1415" name="Group 1414">
              <a:extLst>
                <a:ext uri="{FF2B5EF4-FFF2-40B4-BE49-F238E27FC236}">
                  <a16:creationId xmlns:a16="http://schemas.microsoft.com/office/drawing/2014/main" id="{E973F5F4-09AE-E2C7-CF5A-A11D23C260D6}"/>
                </a:ext>
              </a:extLst>
            </p:cNvPr>
            <p:cNvGrpSpPr/>
            <p:nvPr/>
          </p:nvGrpSpPr>
          <p:grpSpPr>
            <a:xfrm>
              <a:off x="9316116" y="4120930"/>
              <a:ext cx="2045527" cy="544734"/>
              <a:chOff x="9316116" y="4670447"/>
              <a:chExt cx="2045527" cy="544734"/>
            </a:xfrm>
          </p:grpSpPr>
          <p:sp>
            <p:nvSpPr>
              <p:cNvPr id="521" name="TextBox 520">
                <a:extLst>
                  <a:ext uri="{FF2B5EF4-FFF2-40B4-BE49-F238E27FC236}">
                    <a16:creationId xmlns:a16="http://schemas.microsoft.com/office/drawing/2014/main" id="{4AC3CCCB-DE09-56AC-3CE4-3428235D110B}"/>
                  </a:ext>
                </a:extLst>
              </p:cNvPr>
              <p:cNvSpPr txBox="1"/>
              <p:nvPr/>
            </p:nvSpPr>
            <p:spPr>
              <a:xfrm>
                <a:off x="9336658" y="4999737"/>
                <a:ext cx="200444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40" normalizeH="0" baseline="0" noProof="0">
                    <a:ln w="3175">
                      <a:noFill/>
                    </a:ln>
                    <a:gradFill>
                      <a:gsLst>
                        <a:gs pos="0">
                          <a:srgbClr val="0360DB"/>
                        </a:gs>
                        <a:gs pos="80000">
                          <a:srgbClr val="207EFC"/>
                        </a:gs>
                      </a:gsLst>
                      <a:path path="circle">
                        <a:fillToRect l="100000" t="100000"/>
                      </a:path>
                    </a:gradFill>
                    <a:effectLst/>
                    <a:uLnTx/>
                    <a:uFillTx/>
                    <a:latin typeface="Segoe Sans Display Semibold"/>
                    <a:ea typeface="+mn-ea"/>
                    <a:cs typeface="Segoe UI" panose="020B0502040204020203" pitchFamily="34" charset="0"/>
                  </a:rPr>
                  <a:t>SaaS, websites</a:t>
                </a:r>
              </a:p>
            </p:txBody>
          </p:sp>
          <p:grpSp>
            <p:nvGrpSpPr>
              <p:cNvPr id="1414" name="Group 1413">
                <a:extLst>
                  <a:ext uri="{FF2B5EF4-FFF2-40B4-BE49-F238E27FC236}">
                    <a16:creationId xmlns:a16="http://schemas.microsoft.com/office/drawing/2014/main" id="{CDEC3F89-E7CE-1FD9-0F8A-8047623FB88A}"/>
                  </a:ext>
                </a:extLst>
              </p:cNvPr>
              <p:cNvGrpSpPr/>
              <p:nvPr/>
            </p:nvGrpSpPr>
            <p:grpSpPr>
              <a:xfrm>
                <a:off x="9316116" y="4670447"/>
                <a:ext cx="2045527" cy="242893"/>
                <a:chOff x="9346317" y="4670447"/>
                <a:chExt cx="2045527" cy="242893"/>
              </a:xfrm>
            </p:grpSpPr>
            <p:pic>
              <p:nvPicPr>
                <p:cNvPr id="571" name="Graphic 570">
                  <a:extLst>
                    <a:ext uri="{FF2B5EF4-FFF2-40B4-BE49-F238E27FC236}">
                      <a16:creationId xmlns:a16="http://schemas.microsoft.com/office/drawing/2014/main" id="{023C97E4-9009-87D0-0545-0E15226A4CC8}"/>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rcRect/>
                <a:stretch/>
              </p:blipFill>
              <p:spPr>
                <a:xfrm>
                  <a:off x="9346317" y="4670448"/>
                  <a:ext cx="220810" cy="242891"/>
                </a:xfrm>
                <a:prstGeom prst="rect">
                  <a:avLst/>
                </a:prstGeom>
              </p:spPr>
            </p:pic>
            <p:pic>
              <p:nvPicPr>
                <p:cNvPr id="572" name="Picture 571">
                  <a:extLst>
                    <a:ext uri="{FF2B5EF4-FFF2-40B4-BE49-F238E27FC236}">
                      <a16:creationId xmlns:a16="http://schemas.microsoft.com/office/drawing/2014/main" id="{012DC3D7-61C0-034A-59F0-4B668BD935B3}"/>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9659351" y="4670447"/>
                  <a:ext cx="346819" cy="242893"/>
                </a:xfrm>
                <a:prstGeom prst="rect">
                  <a:avLst/>
                </a:prstGeom>
              </p:spPr>
            </p:pic>
            <p:pic>
              <p:nvPicPr>
                <p:cNvPr id="573" name="Picture 4" descr="Zoom Video Conferencing - Shining Waters">
                  <a:extLst>
                    <a:ext uri="{FF2B5EF4-FFF2-40B4-BE49-F238E27FC236}">
                      <a16:creationId xmlns:a16="http://schemas.microsoft.com/office/drawing/2014/main" id="{DB1AC11E-312E-79C9-A6B4-D01127613804}"/>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l="4259" t="4259" r="4259" b="4259"/>
                <a:stretch/>
              </p:blipFill>
              <p:spPr bwMode="auto">
                <a:xfrm>
                  <a:off x="11169641" y="4680793"/>
                  <a:ext cx="222203" cy="222201"/>
                </a:xfrm>
                <a:prstGeom prst="rect">
                  <a:avLst/>
                </a:prstGeom>
                <a:noFill/>
                <a:extLst>
                  <a:ext uri="{909E8E84-426E-40DD-AFC4-6F175D3DCCD1}">
                    <a14:hiddenFill xmlns:a14="http://schemas.microsoft.com/office/drawing/2010/main">
                      <a:solidFill>
                        <a:srgbClr val="FFFFFF"/>
                      </a:solidFill>
                    </a14:hiddenFill>
                  </a:ext>
                </a:extLst>
              </p:spPr>
            </p:pic>
            <p:pic>
              <p:nvPicPr>
                <p:cNvPr id="1439" name="Picture 2" descr="ServiceNow Logo, symbol, meaning, history, PNG, brand">
                  <a:extLst>
                    <a:ext uri="{FF2B5EF4-FFF2-40B4-BE49-F238E27FC236}">
                      <a16:creationId xmlns:a16="http://schemas.microsoft.com/office/drawing/2014/main" id="{B549CBA1-5E76-A562-18E4-E9CD0F9F5AF5}"/>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l="17855" r="17855"/>
                <a:stretch/>
              </p:blipFill>
              <p:spPr bwMode="auto">
                <a:xfrm>
                  <a:off x="10524685" y="4670447"/>
                  <a:ext cx="277611" cy="242893"/>
                </a:xfrm>
                <a:prstGeom prst="rect">
                  <a:avLst/>
                </a:prstGeom>
                <a:noFill/>
                <a:extLst>
                  <a:ext uri="{909E8E84-426E-40DD-AFC4-6F175D3DCCD1}">
                    <a14:hiddenFill xmlns:a14="http://schemas.microsoft.com/office/drawing/2010/main">
                      <a:solidFill>
                        <a:srgbClr val="FFFFFF"/>
                      </a:solidFill>
                    </a14:hiddenFill>
                  </a:ext>
                </a:extLst>
              </p:spPr>
            </p:pic>
            <p:pic>
              <p:nvPicPr>
                <p:cNvPr id="1440" name="Picture 1439">
                  <a:extLst>
                    <a:ext uri="{FF2B5EF4-FFF2-40B4-BE49-F238E27FC236}">
                      <a16:creationId xmlns:a16="http://schemas.microsoft.com/office/drawing/2014/main" id="{2049FC16-9514-611B-228E-8C101F27B1BB}"/>
                    </a:ext>
                  </a:extLst>
                </p:cNvPr>
                <p:cNvPicPr>
                  <a:picLocks noChangeAspect="1"/>
                </p:cNvPicPr>
                <p:nvPr/>
              </p:nvPicPr>
              <p:blipFill>
                <a:blip r:embed="rId26">
                  <a:extLst>
                    <a:ext uri="{BEBA8EAE-BF5A-486C-A8C5-ECC9F3942E4B}">
                      <a14:imgProps xmlns:a14="http://schemas.microsoft.com/office/drawing/2010/main">
                        <a14:imgLayer r:embed="rId27">
                          <a14:imgEffect>
                            <a14:brightnessContrast bright="-100000"/>
                          </a14:imgEffect>
                        </a14:imgLayer>
                      </a14:imgProps>
                    </a:ext>
                  </a:extLst>
                </a:blip>
                <a:srcRect l="3279" t="3279" r="3279" b="3279"/>
                <a:stretch/>
              </p:blipFill>
              <p:spPr>
                <a:xfrm>
                  <a:off x="10872486" y="4678411"/>
                  <a:ext cx="226964" cy="226964"/>
                </a:xfrm>
                <a:prstGeom prst="rect">
                  <a:avLst/>
                </a:prstGeom>
              </p:spPr>
            </p:pic>
            <p:pic>
              <p:nvPicPr>
                <p:cNvPr id="17" name="Graphic 16">
                  <a:extLst>
                    <a:ext uri="{FF2B5EF4-FFF2-40B4-BE49-F238E27FC236}">
                      <a16:creationId xmlns:a16="http://schemas.microsoft.com/office/drawing/2014/main" id="{F5851A04-CD30-E7AC-4E37-586AC5BB1952}"/>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10109411" y="4692950"/>
                  <a:ext cx="400169" cy="197886"/>
                </a:xfrm>
                <a:prstGeom prst="rect">
                  <a:avLst/>
                </a:prstGeom>
              </p:spPr>
            </p:pic>
          </p:grpSp>
        </p:grpSp>
        <p:grpSp>
          <p:nvGrpSpPr>
            <p:cNvPr id="1423" name="Group 1422">
              <a:extLst>
                <a:ext uri="{FF2B5EF4-FFF2-40B4-BE49-F238E27FC236}">
                  <a16:creationId xmlns:a16="http://schemas.microsoft.com/office/drawing/2014/main" id="{62CB6809-2398-EEDA-EE10-9271FEF6C168}"/>
                </a:ext>
              </a:extLst>
            </p:cNvPr>
            <p:cNvGrpSpPr/>
            <p:nvPr/>
          </p:nvGrpSpPr>
          <p:grpSpPr>
            <a:xfrm>
              <a:off x="9488113" y="5162555"/>
              <a:ext cx="1701533" cy="816865"/>
              <a:chOff x="9488113" y="5162555"/>
              <a:chExt cx="1701533" cy="816865"/>
            </a:xfrm>
          </p:grpSpPr>
          <p:sp>
            <p:nvSpPr>
              <p:cNvPr id="523" name="TextBox 522">
                <a:extLst>
                  <a:ext uri="{FF2B5EF4-FFF2-40B4-BE49-F238E27FC236}">
                    <a16:creationId xmlns:a16="http://schemas.microsoft.com/office/drawing/2014/main" id="{57FDDDAD-4DDA-2420-58B9-62BD5F9D2A26}"/>
                  </a:ext>
                </a:extLst>
              </p:cNvPr>
              <p:cNvSpPr txBox="1"/>
              <p:nvPr/>
            </p:nvSpPr>
            <p:spPr>
              <a:xfrm>
                <a:off x="9692701" y="5763976"/>
                <a:ext cx="129235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40" normalizeH="0" baseline="0" noProof="0">
                    <a:ln w="3175">
                      <a:noFill/>
                    </a:ln>
                    <a:gradFill>
                      <a:gsLst>
                        <a:gs pos="0">
                          <a:srgbClr val="0360DB"/>
                        </a:gs>
                        <a:gs pos="80000">
                          <a:srgbClr val="207EFC"/>
                        </a:gs>
                      </a:gsLst>
                      <a:path path="circle">
                        <a:fillToRect l="100000" t="100000"/>
                      </a:path>
                    </a:gradFill>
                    <a:effectLst/>
                    <a:uLnTx/>
                    <a:uFillTx/>
                    <a:latin typeface="Segoe Sans Display Semibold"/>
                    <a:ea typeface="+mn-ea"/>
                    <a:cs typeface="Segoe UI" panose="020B0502040204020203" pitchFamily="34" charset="0"/>
                  </a:rPr>
                  <a:t>On-premises</a:t>
                </a:r>
              </a:p>
            </p:txBody>
          </p:sp>
          <p:grpSp>
            <p:nvGrpSpPr>
              <p:cNvPr id="1420" name="Group 1419">
                <a:extLst>
                  <a:ext uri="{FF2B5EF4-FFF2-40B4-BE49-F238E27FC236}">
                    <a16:creationId xmlns:a16="http://schemas.microsoft.com/office/drawing/2014/main" id="{03AC15A6-79E3-2A6C-7E2E-4647A6345BCE}"/>
                  </a:ext>
                </a:extLst>
              </p:cNvPr>
              <p:cNvGrpSpPr/>
              <p:nvPr/>
            </p:nvGrpSpPr>
            <p:grpSpPr>
              <a:xfrm>
                <a:off x="9488113" y="5162555"/>
                <a:ext cx="1701533" cy="542429"/>
                <a:chOff x="9263706" y="5104061"/>
                <a:chExt cx="1473849" cy="469846"/>
              </a:xfrm>
            </p:grpSpPr>
            <p:grpSp>
              <p:nvGrpSpPr>
                <p:cNvPr id="1419" name="Group 1418">
                  <a:extLst>
                    <a:ext uri="{FF2B5EF4-FFF2-40B4-BE49-F238E27FC236}">
                      <a16:creationId xmlns:a16="http://schemas.microsoft.com/office/drawing/2014/main" id="{97DDF633-A552-6D13-6EFA-2EAE35702912}"/>
                    </a:ext>
                  </a:extLst>
                </p:cNvPr>
                <p:cNvGrpSpPr/>
                <p:nvPr/>
              </p:nvGrpSpPr>
              <p:grpSpPr>
                <a:xfrm>
                  <a:off x="9263706" y="5104061"/>
                  <a:ext cx="1473849" cy="253346"/>
                  <a:chOff x="9263706" y="5104061"/>
                  <a:chExt cx="1473849" cy="253346"/>
                </a:xfrm>
              </p:grpSpPr>
              <p:pic>
                <p:nvPicPr>
                  <p:cNvPr id="547" name="Graphic 546">
                    <a:extLst>
                      <a:ext uri="{FF2B5EF4-FFF2-40B4-BE49-F238E27FC236}">
                        <a16:creationId xmlns:a16="http://schemas.microsoft.com/office/drawing/2014/main" id="{36FBD518-4787-35E3-2D66-382C7F4F617D}"/>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9263706" y="5157222"/>
                    <a:ext cx="1042344" cy="147024"/>
                  </a:xfrm>
                  <a:prstGeom prst="rect">
                    <a:avLst/>
                  </a:prstGeom>
                </p:spPr>
              </p:pic>
              <p:pic>
                <p:nvPicPr>
                  <p:cNvPr id="1411" name="Picture 1410" descr="A blue square with white arrow&#10;&#10;AI-generated content may be incorrect.">
                    <a:extLst>
                      <a:ext uri="{FF2B5EF4-FFF2-40B4-BE49-F238E27FC236}">
                        <a16:creationId xmlns:a16="http://schemas.microsoft.com/office/drawing/2014/main" id="{102DD611-22A8-D804-5624-9191D58C986E}"/>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10484209" y="5104061"/>
                    <a:ext cx="253346" cy="253346"/>
                  </a:xfrm>
                  <a:prstGeom prst="rect">
                    <a:avLst/>
                  </a:prstGeom>
                </p:spPr>
              </p:pic>
            </p:grpSp>
            <p:grpSp>
              <p:nvGrpSpPr>
                <p:cNvPr id="1418" name="Group 1417">
                  <a:extLst>
                    <a:ext uri="{FF2B5EF4-FFF2-40B4-BE49-F238E27FC236}">
                      <a16:creationId xmlns:a16="http://schemas.microsoft.com/office/drawing/2014/main" id="{40B09956-9C39-BE8C-4413-A33D1E77EC4F}"/>
                    </a:ext>
                  </a:extLst>
                </p:cNvPr>
                <p:cNvGrpSpPr/>
                <p:nvPr/>
              </p:nvGrpSpPr>
              <p:grpSpPr>
                <a:xfrm>
                  <a:off x="9266905" y="5391027"/>
                  <a:ext cx="1467450" cy="182880"/>
                  <a:chOff x="9270105" y="5391027"/>
                  <a:chExt cx="1467450" cy="182880"/>
                </a:xfrm>
              </p:grpSpPr>
              <p:pic>
                <p:nvPicPr>
                  <p:cNvPr id="24" name="Graphic 23">
                    <a:extLst>
                      <a:ext uri="{FF2B5EF4-FFF2-40B4-BE49-F238E27FC236}">
                        <a16:creationId xmlns:a16="http://schemas.microsoft.com/office/drawing/2014/main" id="{24010A9C-DDA8-6BF9-2299-CC58EFF8011F}"/>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9270105" y="5441069"/>
                    <a:ext cx="637532" cy="82797"/>
                  </a:xfrm>
                  <a:prstGeom prst="rect">
                    <a:avLst/>
                  </a:prstGeom>
                </p:spPr>
              </p:pic>
              <p:pic>
                <p:nvPicPr>
                  <p:cNvPr id="1409" name="Picture 1408" descr="A cartoon penguin with yellow feet&#10;&#10;AI-generated content may be incorrect.">
                    <a:extLst>
                      <a:ext uri="{FF2B5EF4-FFF2-40B4-BE49-F238E27FC236}">
                        <a16:creationId xmlns:a16="http://schemas.microsoft.com/office/drawing/2014/main" id="{80454E51-9F1E-7140-9346-7CCDF126CA7E}"/>
                      </a:ext>
                    </a:extLst>
                  </p:cNvPr>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10059474" y="5391027"/>
                    <a:ext cx="154329" cy="182880"/>
                  </a:xfrm>
                  <a:prstGeom prst="rect">
                    <a:avLst/>
                  </a:prstGeom>
                </p:spPr>
              </p:pic>
              <p:pic>
                <p:nvPicPr>
                  <p:cNvPr id="1413" name="Graphic 1412">
                    <a:extLst>
                      <a:ext uri="{FF2B5EF4-FFF2-40B4-BE49-F238E27FC236}">
                        <a16:creationId xmlns:a16="http://schemas.microsoft.com/office/drawing/2014/main" id="{3FE6ED5E-3A78-6053-6FE6-C66CD8384FEF}"/>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10365639" y="5412690"/>
                    <a:ext cx="371916" cy="139554"/>
                  </a:xfrm>
                  <a:prstGeom prst="rect">
                    <a:avLst/>
                  </a:prstGeom>
                </p:spPr>
              </p:pic>
            </p:grpSp>
          </p:grpSp>
        </p:grpSp>
      </p:grpSp>
    </p:spTree>
    <p:extLst>
      <p:ext uri="{BB962C8B-B14F-4D97-AF65-F5344CB8AC3E}">
        <p14:creationId xmlns:p14="http://schemas.microsoft.com/office/powerpoint/2010/main" val="34605465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93"/>
                                        </p:tgtEl>
                                        <p:attrNameLst>
                                          <p:attrName>style.visibility</p:attrName>
                                        </p:attrNameLst>
                                      </p:cBhvr>
                                      <p:to>
                                        <p:strVal val="visible"/>
                                      </p:to>
                                    </p:set>
                                    <p:animEffect transition="in" filter="fade">
                                      <p:cBhvr>
                                        <p:cTn id="7" dur="500"/>
                                        <p:tgtEl>
                                          <p:spTgt spid="793"/>
                                        </p:tgtEl>
                                      </p:cBhvr>
                                    </p:animEffect>
                                  </p:childTnLst>
                                </p:cTn>
                              </p:par>
                              <p:par>
                                <p:cTn id="8" presetID="42" presetClass="path" presetSubtype="0" decel="100000" fill="hold" grpId="1" nodeType="withEffect">
                                  <p:stCondLst>
                                    <p:cond delay="0"/>
                                  </p:stCondLst>
                                  <p:childTnLst>
                                    <p:animMotion origin="layout" path="M 0 4.81481E-6 L 0 -0.03288 " pathEditMode="relative" rAng="0" ptsTypes="AA">
                                      <p:cBhvr>
                                        <p:cTn id="9" dur="700" spd="-100000" fill="hold"/>
                                        <p:tgtEl>
                                          <p:spTgt spid="793"/>
                                        </p:tgtEl>
                                        <p:attrNameLst>
                                          <p:attrName>ppt_x</p:attrName>
                                          <p:attrName>ppt_y</p:attrName>
                                        </p:attrNameLst>
                                      </p:cBhvr>
                                      <p:rCtr x="0" y="-1644"/>
                                    </p:animMotion>
                                  </p:childTnLst>
                                </p:cTn>
                              </p:par>
                              <p:par>
                                <p:cTn id="10" presetID="10" presetClass="entr" presetSubtype="0" fill="hold" grpId="0" nodeType="withEffect">
                                  <p:stCondLst>
                                    <p:cond delay="0"/>
                                  </p:stCondLst>
                                  <p:childTnLst>
                                    <p:set>
                                      <p:cBhvr>
                                        <p:cTn id="11" dur="1" fill="hold">
                                          <p:stCondLst>
                                            <p:cond delay="0"/>
                                          </p:stCondLst>
                                        </p:cTn>
                                        <p:tgtEl>
                                          <p:spTgt spid="794"/>
                                        </p:tgtEl>
                                        <p:attrNameLst>
                                          <p:attrName>style.visibility</p:attrName>
                                        </p:attrNameLst>
                                      </p:cBhvr>
                                      <p:to>
                                        <p:strVal val="visible"/>
                                      </p:to>
                                    </p:set>
                                    <p:animEffect transition="in" filter="fade">
                                      <p:cBhvr>
                                        <p:cTn id="12" dur="500"/>
                                        <p:tgtEl>
                                          <p:spTgt spid="794"/>
                                        </p:tgtEl>
                                      </p:cBhvr>
                                    </p:animEffect>
                                  </p:childTnLst>
                                </p:cTn>
                              </p:par>
                              <p:par>
                                <p:cTn id="13" presetID="42" presetClass="path" presetSubtype="0" decel="100000" fill="hold" grpId="1" nodeType="withEffect">
                                  <p:stCondLst>
                                    <p:cond delay="0"/>
                                  </p:stCondLst>
                                  <p:childTnLst>
                                    <p:animMotion origin="layout" path="M 0 3.7037E-6 L 0 -0.03287 " pathEditMode="relative" rAng="0" ptsTypes="AA">
                                      <p:cBhvr>
                                        <p:cTn id="14" dur="700" spd="-100000" fill="hold"/>
                                        <p:tgtEl>
                                          <p:spTgt spid="794"/>
                                        </p:tgtEl>
                                        <p:attrNameLst>
                                          <p:attrName>ppt_x</p:attrName>
                                          <p:attrName>ppt_y</p:attrName>
                                        </p:attrNameLst>
                                      </p:cBhvr>
                                      <p:rCtr x="0" y="-1644"/>
                                    </p:animMotion>
                                  </p:childTnLst>
                                </p:cTn>
                              </p:par>
                              <p:par>
                                <p:cTn id="15" presetID="10" presetClass="entr" presetSubtype="0" fill="hold" grpId="0" nodeType="withEffect">
                                  <p:stCondLst>
                                    <p:cond delay="0"/>
                                  </p:stCondLst>
                                  <p:childTnLst>
                                    <p:set>
                                      <p:cBhvr>
                                        <p:cTn id="16" dur="1" fill="hold">
                                          <p:stCondLst>
                                            <p:cond delay="0"/>
                                          </p:stCondLst>
                                        </p:cTn>
                                        <p:tgtEl>
                                          <p:spTgt spid="792"/>
                                        </p:tgtEl>
                                        <p:attrNameLst>
                                          <p:attrName>style.visibility</p:attrName>
                                        </p:attrNameLst>
                                      </p:cBhvr>
                                      <p:to>
                                        <p:strVal val="visible"/>
                                      </p:to>
                                    </p:set>
                                    <p:animEffect transition="in" filter="fade">
                                      <p:cBhvr>
                                        <p:cTn id="17" dur="500"/>
                                        <p:tgtEl>
                                          <p:spTgt spid="792"/>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27"/>
                                        </p:tgtEl>
                                        <p:attrNameLst>
                                          <p:attrName>style.visibility</p:attrName>
                                        </p:attrNameLst>
                                      </p:cBhvr>
                                      <p:to>
                                        <p:strVal val="visible"/>
                                      </p:to>
                                    </p:set>
                                    <p:animEffect transition="in" filter="fade">
                                      <p:cBhvr>
                                        <p:cTn id="20" dur="500"/>
                                        <p:tgtEl>
                                          <p:spTgt spid="27"/>
                                        </p:tgtEl>
                                      </p:cBhvr>
                                    </p:animEffect>
                                  </p:childTnLst>
                                </p:cTn>
                              </p:par>
                              <p:par>
                                <p:cTn id="21" presetID="10" presetClass="entr" presetSubtype="0" fill="hold" grpId="0" nodeType="withEffect">
                                  <p:stCondLst>
                                    <p:cond delay="750"/>
                                  </p:stCondLst>
                                  <p:childTnLst>
                                    <p:set>
                                      <p:cBhvr>
                                        <p:cTn id="22" dur="1" fill="hold">
                                          <p:stCondLst>
                                            <p:cond delay="0"/>
                                          </p:stCondLst>
                                        </p:cTn>
                                        <p:tgtEl>
                                          <p:spTgt spid="29"/>
                                        </p:tgtEl>
                                        <p:attrNameLst>
                                          <p:attrName>style.visibility</p:attrName>
                                        </p:attrNameLst>
                                      </p:cBhvr>
                                      <p:to>
                                        <p:strVal val="visible"/>
                                      </p:to>
                                    </p:set>
                                    <p:animEffect transition="in" filter="fade">
                                      <p:cBhvr>
                                        <p:cTn id="23" dur="500"/>
                                        <p:tgtEl>
                                          <p:spTgt spid="29"/>
                                        </p:tgtEl>
                                      </p:cBhvr>
                                    </p:animEffect>
                                  </p:childTnLst>
                                </p:cTn>
                              </p:par>
                              <p:par>
                                <p:cTn id="24" presetID="10" presetClass="entr" presetSubtype="0" fill="hold" grpId="0" nodeType="withEffect">
                                  <p:stCondLst>
                                    <p:cond delay="1000"/>
                                  </p:stCondLst>
                                  <p:childTnLst>
                                    <p:set>
                                      <p:cBhvr>
                                        <p:cTn id="25" dur="1" fill="hold">
                                          <p:stCondLst>
                                            <p:cond delay="0"/>
                                          </p:stCondLst>
                                        </p:cTn>
                                        <p:tgtEl>
                                          <p:spTgt spid="46"/>
                                        </p:tgtEl>
                                        <p:attrNameLst>
                                          <p:attrName>style.visibility</p:attrName>
                                        </p:attrNameLst>
                                      </p:cBhvr>
                                      <p:to>
                                        <p:strVal val="visible"/>
                                      </p:to>
                                    </p:set>
                                    <p:animEffect transition="in" filter="fade">
                                      <p:cBhvr>
                                        <p:cTn id="26" dur="500"/>
                                        <p:tgtEl>
                                          <p:spTgt spid="46"/>
                                        </p:tgtEl>
                                      </p:cBhvr>
                                    </p:animEffect>
                                  </p:childTnLst>
                                </p:cTn>
                              </p:par>
                              <p:par>
                                <p:cTn id="27" presetID="10" presetClass="entr" presetSubtype="0" fill="hold" grpId="0" nodeType="withEffect">
                                  <p:stCondLst>
                                    <p:cond delay="1250"/>
                                  </p:stCondLst>
                                  <p:childTnLst>
                                    <p:set>
                                      <p:cBhvr>
                                        <p:cTn id="28" dur="1" fill="hold">
                                          <p:stCondLst>
                                            <p:cond delay="0"/>
                                          </p:stCondLst>
                                        </p:cTn>
                                        <p:tgtEl>
                                          <p:spTgt spid="49"/>
                                        </p:tgtEl>
                                        <p:attrNameLst>
                                          <p:attrName>style.visibility</p:attrName>
                                        </p:attrNameLst>
                                      </p:cBhvr>
                                      <p:to>
                                        <p:strVal val="visible"/>
                                      </p:to>
                                    </p:set>
                                    <p:animEffect transition="in" filter="fade">
                                      <p:cBhvr>
                                        <p:cTn id="29"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2" grpId="0" animBg="1"/>
      <p:bldP spid="793" grpId="0"/>
      <p:bldP spid="793" grpId="1"/>
      <p:bldP spid="794" grpId="0"/>
      <p:bldP spid="794" grpId="1"/>
      <p:bldP spid="27" grpId="0"/>
      <p:bldP spid="29" grpId="0"/>
      <p:bldP spid="46" grpId="0"/>
      <p:bldP spid="49"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044F96-7923-0319-BB17-769D1A65E31F}"/>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0321F831-B2F7-8DCF-FCEB-2C0AEBADF872}"/>
              </a:ext>
            </a:extLst>
          </p:cNvPr>
          <p:cNvPicPr>
            <a:picLocks noChangeAspect="1"/>
          </p:cNvPicPr>
          <p:nvPr/>
        </p:nvPicPr>
        <p:blipFill>
          <a:blip r:embed="rId3"/>
          <a:stretch>
            <a:fillRect/>
          </a:stretch>
        </p:blipFill>
        <p:spPr>
          <a:xfrm>
            <a:off x="-19750" y="-14095"/>
            <a:ext cx="12211749" cy="6872095"/>
          </a:xfrm>
          <a:prstGeom prst="rect">
            <a:avLst/>
          </a:prstGeom>
        </p:spPr>
      </p:pic>
      <p:sp>
        <p:nvSpPr>
          <p:cNvPr id="4" name="Rectangle 3">
            <a:extLst>
              <a:ext uri="{FF2B5EF4-FFF2-40B4-BE49-F238E27FC236}">
                <a16:creationId xmlns:a16="http://schemas.microsoft.com/office/drawing/2014/main" id="{82343835-6431-56C6-7CA6-7DEFACA4F190}"/>
              </a:ext>
            </a:extLst>
          </p:cNvPr>
          <p:cNvSpPr/>
          <p:nvPr/>
        </p:nvSpPr>
        <p:spPr>
          <a:xfrm>
            <a:off x="0" y="0"/>
            <a:ext cx="12192000" cy="6858000"/>
          </a:xfrm>
          <a:prstGeom prst="rect">
            <a:avLst/>
          </a:prstGeom>
          <a:solidFill>
            <a:schemeClr val="bg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a:extLst>
              <a:ext uri="{FF2B5EF4-FFF2-40B4-BE49-F238E27FC236}">
                <a16:creationId xmlns:a16="http://schemas.microsoft.com/office/drawing/2014/main" id="{D78EDE0E-EB63-BBE4-CAD9-96F785A0CA06}"/>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2591868" y="-1835256"/>
            <a:ext cx="7008263" cy="6858000"/>
          </a:xfrm>
          <a:prstGeom prst="rect">
            <a:avLst/>
          </a:prstGeom>
        </p:spPr>
      </p:pic>
      <p:pic>
        <p:nvPicPr>
          <p:cNvPr id="1302" name="Picture 1301">
            <a:extLst>
              <a:ext uri="{FF2B5EF4-FFF2-40B4-BE49-F238E27FC236}">
                <a16:creationId xmlns:a16="http://schemas.microsoft.com/office/drawing/2014/main" id="{000B12C8-E5D9-81CD-D074-AF1953470F73}"/>
              </a:ext>
              <a:ext uri="{C183D7F6-B498-43B3-948B-1728B52AA6E4}">
                <adec:decorative xmlns:adec="http://schemas.microsoft.com/office/drawing/2017/decorative" val="1"/>
              </a:ext>
            </a:extLst>
          </p:cNvPr>
          <p:cNvPicPr>
            <a:picLocks noChangeAspect="1"/>
          </p:cNvPicPr>
          <p:nvPr/>
        </p:nvPicPr>
        <p:blipFill>
          <a:blip r:embed="rId5">
            <a:alphaModFix amt="0"/>
          </a:blip>
          <a:stretch>
            <a:fillRect/>
          </a:stretch>
        </p:blipFill>
        <p:spPr>
          <a:xfrm>
            <a:off x="5615925" y="1465366"/>
            <a:ext cx="873254" cy="873254"/>
          </a:xfrm>
          <a:prstGeom prst="rect">
            <a:avLst/>
          </a:prstGeom>
        </p:spPr>
      </p:pic>
      <p:grpSp>
        <p:nvGrpSpPr>
          <p:cNvPr id="1303" name="Group 1302">
            <a:extLst>
              <a:ext uri="{FF2B5EF4-FFF2-40B4-BE49-F238E27FC236}">
                <a16:creationId xmlns:a16="http://schemas.microsoft.com/office/drawing/2014/main" id="{C227D4DD-20C3-D273-4355-62B10D485333}"/>
              </a:ext>
              <a:ext uri="{C183D7F6-B498-43B3-948B-1728B52AA6E4}">
                <adec:decorative xmlns:adec="http://schemas.microsoft.com/office/drawing/2017/decorative" val="1"/>
              </a:ext>
            </a:extLst>
          </p:cNvPr>
          <p:cNvGrpSpPr/>
          <p:nvPr/>
        </p:nvGrpSpPr>
        <p:grpSpPr>
          <a:xfrm>
            <a:off x="2560657" y="452013"/>
            <a:ext cx="7070687" cy="5953975"/>
            <a:chOff x="5267489" y="902367"/>
            <a:chExt cx="6232486" cy="5248156"/>
          </a:xfrm>
          <a:scene3d>
            <a:camera prst="perspectiveRight" fov="0">
              <a:rot lat="0" lon="0" rev="0"/>
            </a:camera>
            <a:lightRig rig="flood" dir="t"/>
          </a:scene3d>
        </p:grpSpPr>
        <p:grpSp>
          <p:nvGrpSpPr>
            <p:cNvPr id="1304" name="Group 1303">
              <a:extLst>
                <a:ext uri="{FF2B5EF4-FFF2-40B4-BE49-F238E27FC236}">
                  <a16:creationId xmlns:a16="http://schemas.microsoft.com/office/drawing/2014/main" id="{350B0595-C71F-8246-BF16-512BF9A689E3}"/>
                </a:ext>
              </a:extLst>
            </p:cNvPr>
            <p:cNvGrpSpPr/>
            <p:nvPr/>
          </p:nvGrpSpPr>
          <p:grpSpPr>
            <a:xfrm>
              <a:off x="5756493" y="1145957"/>
              <a:ext cx="5207912" cy="4691749"/>
              <a:chOff x="5723133" y="1035454"/>
              <a:chExt cx="5411648" cy="4875298"/>
            </a:xfrm>
          </p:grpSpPr>
          <p:sp>
            <p:nvSpPr>
              <p:cNvPr id="1354" name="Oval 1353">
                <a:extLst>
                  <a:ext uri="{FF2B5EF4-FFF2-40B4-BE49-F238E27FC236}">
                    <a16:creationId xmlns:a16="http://schemas.microsoft.com/office/drawing/2014/main" id="{F6325774-8D69-A58F-E2DF-4F292291C494}"/>
                  </a:ext>
                </a:extLst>
              </p:cNvPr>
              <p:cNvSpPr>
                <a:spLocks/>
              </p:cNvSpPr>
              <p:nvPr/>
            </p:nvSpPr>
            <p:spPr bwMode="auto">
              <a:xfrm>
                <a:off x="6185168" y="4355605"/>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55" name="Oval 1354">
                <a:extLst>
                  <a:ext uri="{FF2B5EF4-FFF2-40B4-BE49-F238E27FC236}">
                    <a16:creationId xmlns:a16="http://schemas.microsoft.com/office/drawing/2014/main" id="{05520772-3835-0FD9-7A05-62AB0AB724A9}"/>
                  </a:ext>
                </a:extLst>
              </p:cNvPr>
              <p:cNvSpPr>
                <a:spLocks/>
              </p:cNvSpPr>
              <p:nvPr/>
            </p:nvSpPr>
            <p:spPr bwMode="auto">
              <a:xfrm>
                <a:off x="6299294" y="4993563"/>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56" name="Oval 1355">
                <a:extLst>
                  <a:ext uri="{FF2B5EF4-FFF2-40B4-BE49-F238E27FC236}">
                    <a16:creationId xmlns:a16="http://schemas.microsoft.com/office/drawing/2014/main" id="{F9B518A1-CC6A-F6FD-D694-FFBDF8385722}"/>
                  </a:ext>
                </a:extLst>
              </p:cNvPr>
              <p:cNvSpPr>
                <a:spLocks/>
              </p:cNvSpPr>
              <p:nvPr/>
            </p:nvSpPr>
            <p:spPr bwMode="auto">
              <a:xfrm>
                <a:off x="10419814" y="1882864"/>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57" name="Oval 1356">
                <a:extLst>
                  <a:ext uri="{FF2B5EF4-FFF2-40B4-BE49-F238E27FC236}">
                    <a16:creationId xmlns:a16="http://schemas.microsoft.com/office/drawing/2014/main" id="{D754E3CA-983E-6A47-E96F-ED7F215F9ACD}"/>
                  </a:ext>
                </a:extLst>
              </p:cNvPr>
              <p:cNvSpPr>
                <a:spLocks/>
              </p:cNvSpPr>
              <p:nvPr/>
            </p:nvSpPr>
            <p:spPr bwMode="auto">
              <a:xfrm>
                <a:off x="10636545" y="2489222"/>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58" name="Oval 1357">
                <a:extLst>
                  <a:ext uri="{FF2B5EF4-FFF2-40B4-BE49-F238E27FC236}">
                    <a16:creationId xmlns:a16="http://schemas.microsoft.com/office/drawing/2014/main" id="{F1A6F546-2E21-BDCF-0E5E-8876FADB3A0E}"/>
                  </a:ext>
                </a:extLst>
              </p:cNvPr>
              <p:cNvSpPr>
                <a:spLocks/>
              </p:cNvSpPr>
              <p:nvPr/>
            </p:nvSpPr>
            <p:spPr bwMode="auto">
              <a:xfrm>
                <a:off x="10850723" y="3024079"/>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59" name="Oval 1358">
                <a:extLst>
                  <a:ext uri="{FF2B5EF4-FFF2-40B4-BE49-F238E27FC236}">
                    <a16:creationId xmlns:a16="http://schemas.microsoft.com/office/drawing/2014/main" id="{7AA9D7C7-97CE-D5D5-3ACF-D87F7D060355}"/>
                  </a:ext>
                </a:extLst>
              </p:cNvPr>
              <p:cNvSpPr>
                <a:spLocks/>
              </p:cNvSpPr>
              <p:nvPr/>
            </p:nvSpPr>
            <p:spPr bwMode="auto">
              <a:xfrm>
                <a:off x="10961349" y="2702067"/>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60" name="Oval 1359">
                <a:extLst>
                  <a:ext uri="{FF2B5EF4-FFF2-40B4-BE49-F238E27FC236}">
                    <a16:creationId xmlns:a16="http://schemas.microsoft.com/office/drawing/2014/main" id="{D8A5EEFD-1D0B-55BA-D10C-F43FF40814C9}"/>
                  </a:ext>
                </a:extLst>
              </p:cNvPr>
              <p:cNvSpPr>
                <a:spLocks/>
              </p:cNvSpPr>
              <p:nvPr/>
            </p:nvSpPr>
            <p:spPr bwMode="auto">
              <a:xfrm>
                <a:off x="10759073" y="3612536"/>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61" name="Oval 1360">
                <a:extLst>
                  <a:ext uri="{FF2B5EF4-FFF2-40B4-BE49-F238E27FC236}">
                    <a16:creationId xmlns:a16="http://schemas.microsoft.com/office/drawing/2014/main" id="{8B69150D-E543-B54A-E408-FC44625D0DCC}"/>
                  </a:ext>
                </a:extLst>
              </p:cNvPr>
              <p:cNvSpPr>
                <a:spLocks/>
              </p:cNvSpPr>
              <p:nvPr/>
            </p:nvSpPr>
            <p:spPr bwMode="auto">
              <a:xfrm>
                <a:off x="10728195" y="4155168"/>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62" name="Oval 1361">
                <a:extLst>
                  <a:ext uri="{FF2B5EF4-FFF2-40B4-BE49-F238E27FC236}">
                    <a16:creationId xmlns:a16="http://schemas.microsoft.com/office/drawing/2014/main" id="{1B5DDFBB-2003-50EB-1B5F-520BABAE28AF}"/>
                  </a:ext>
                </a:extLst>
              </p:cNvPr>
              <p:cNvSpPr>
                <a:spLocks/>
              </p:cNvSpPr>
              <p:nvPr/>
            </p:nvSpPr>
            <p:spPr bwMode="auto">
              <a:xfrm>
                <a:off x="10282339" y="5254325"/>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63" name="Oval 1362">
                <a:extLst>
                  <a:ext uri="{FF2B5EF4-FFF2-40B4-BE49-F238E27FC236}">
                    <a16:creationId xmlns:a16="http://schemas.microsoft.com/office/drawing/2014/main" id="{23E832D5-8906-CE4B-48EB-50F425D438AA}"/>
                  </a:ext>
                </a:extLst>
              </p:cNvPr>
              <p:cNvSpPr>
                <a:spLocks/>
              </p:cNvSpPr>
              <p:nvPr/>
            </p:nvSpPr>
            <p:spPr bwMode="auto">
              <a:xfrm>
                <a:off x="10392628" y="4851254"/>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64" name="Oval 1363">
                <a:extLst>
                  <a:ext uri="{FF2B5EF4-FFF2-40B4-BE49-F238E27FC236}">
                    <a16:creationId xmlns:a16="http://schemas.microsoft.com/office/drawing/2014/main" id="{132FFEB1-4986-E4C9-7BEB-9B1E54C380F0}"/>
                  </a:ext>
                </a:extLst>
              </p:cNvPr>
              <p:cNvSpPr>
                <a:spLocks/>
              </p:cNvSpPr>
              <p:nvPr/>
            </p:nvSpPr>
            <p:spPr bwMode="auto">
              <a:xfrm>
                <a:off x="9705568" y="5346176"/>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65" name="Oval 1364">
                <a:extLst>
                  <a:ext uri="{FF2B5EF4-FFF2-40B4-BE49-F238E27FC236}">
                    <a16:creationId xmlns:a16="http://schemas.microsoft.com/office/drawing/2014/main" id="{B292E141-CF4B-D062-959A-9717E6AB1949}"/>
                  </a:ext>
                </a:extLst>
              </p:cNvPr>
              <p:cNvSpPr>
                <a:spLocks/>
              </p:cNvSpPr>
              <p:nvPr/>
            </p:nvSpPr>
            <p:spPr bwMode="auto">
              <a:xfrm>
                <a:off x="5931001" y="3966240"/>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66" name="Oval 1365">
                <a:extLst>
                  <a:ext uri="{FF2B5EF4-FFF2-40B4-BE49-F238E27FC236}">
                    <a16:creationId xmlns:a16="http://schemas.microsoft.com/office/drawing/2014/main" id="{D7442B82-1A12-5852-E6CE-3E5206051E19}"/>
                  </a:ext>
                </a:extLst>
              </p:cNvPr>
              <p:cNvSpPr>
                <a:spLocks/>
              </p:cNvSpPr>
              <p:nvPr/>
            </p:nvSpPr>
            <p:spPr bwMode="auto">
              <a:xfrm>
                <a:off x="5976826" y="3062164"/>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67" name="Oval 1366">
                <a:extLst>
                  <a:ext uri="{FF2B5EF4-FFF2-40B4-BE49-F238E27FC236}">
                    <a16:creationId xmlns:a16="http://schemas.microsoft.com/office/drawing/2014/main" id="{3E992260-C433-3D85-8B82-351013C519B1}"/>
                  </a:ext>
                </a:extLst>
              </p:cNvPr>
              <p:cNvSpPr>
                <a:spLocks/>
              </p:cNvSpPr>
              <p:nvPr/>
            </p:nvSpPr>
            <p:spPr bwMode="auto">
              <a:xfrm>
                <a:off x="5893817" y="3450748"/>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68" name="Oval 1367">
                <a:extLst>
                  <a:ext uri="{FF2B5EF4-FFF2-40B4-BE49-F238E27FC236}">
                    <a16:creationId xmlns:a16="http://schemas.microsoft.com/office/drawing/2014/main" id="{59B2652A-8537-144D-D188-9FF76FAC40FC}"/>
                  </a:ext>
                </a:extLst>
              </p:cNvPr>
              <p:cNvSpPr>
                <a:spLocks/>
              </p:cNvSpPr>
              <p:nvPr/>
            </p:nvSpPr>
            <p:spPr bwMode="auto">
              <a:xfrm>
                <a:off x="6612604" y="5176272"/>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69" name="Oval 1368">
                <a:extLst>
                  <a:ext uri="{FF2B5EF4-FFF2-40B4-BE49-F238E27FC236}">
                    <a16:creationId xmlns:a16="http://schemas.microsoft.com/office/drawing/2014/main" id="{DB33C5F2-25AB-1871-06AF-9B9ED42566EB}"/>
                  </a:ext>
                </a:extLst>
              </p:cNvPr>
              <p:cNvSpPr>
                <a:spLocks/>
              </p:cNvSpPr>
              <p:nvPr/>
            </p:nvSpPr>
            <p:spPr bwMode="auto">
              <a:xfrm>
                <a:off x="6958994" y="5513753"/>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70" name="Oval 1369">
                <a:extLst>
                  <a:ext uri="{FF2B5EF4-FFF2-40B4-BE49-F238E27FC236}">
                    <a16:creationId xmlns:a16="http://schemas.microsoft.com/office/drawing/2014/main" id="{83808DF6-6248-F671-EC87-532B9328A7AC}"/>
                  </a:ext>
                </a:extLst>
              </p:cNvPr>
              <p:cNvSpPr>
                <a:spLocks/>
              </p:cNvSpPr>
              <p:nvPr/>
            </p:nvSpPr>
            <p:spPr bwMode="auto">
              <a:xfrm>
                <a:off x="11070317" y="3358397"/>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71" name="Oval 1370">
                <a:extLst>
                  <a:ext uri="{FF2B5EF4-FFF2-40B4-BE49-F238E27FC236}">
                    <a16:creationId xmlns:a16="http://schemas.microsoft.com/office/drawing/2014/main" id="{2079944A-F0A9-3135-B115-0A93F03BF7AD}"/>
                  </a:ext>
                </a:extLst>
              </p:cNvPr>
              <p:cNvSpPr>
                <a:spLocks/>
              </p:cNvSpPr>
              <p:nvPr/>
            </p:nvSpPr>
            <p:spPr bwMode="auto">
              <a:xfrm>
                <a:off x="10942681" y="3877187"/>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72" name="Oval 1371">
                <a:extLst>
                  <a:ext uri="{FF2B5EF4-FFF2-40B4-BE49-F238E27FC236}">
                    <a16:creationId xmlns:a16="http://schemas.microsoft.com/office/drawing/2014/main" id="{D9E3EDC8-3EF5-C57C-A78B-319380913C62}"/>
                  </a:ext>
                </a:extLst>
              </p:cNvPr>
              <p:cNvSpPr>
                <a:spLocks/>
              </p:cNvSpPr>
              <p:nvPr/>
            </p:nvSpPr>
            <p:spPr bwMode="auto">
              <a:xfrm>
                <a:off x="10663731" y="4581463"/>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73" name="Oval 1372">
                <a:extLst>
                  <a:ext uri="{FF2B5EF4-FFF2-40B4-BE49-F238E27FC236}">
                    <a16:creationId xmlns:a16="http://schemas.microsoft.com/office/drawing/2014/main" id="{3158685B-6679-60E6-761F-136B24F36D0D}"/>
                  </a:ext>
                </a:extLst>
              </p:cNvPr>
              <p:cNvSpPr>
                <a:spLocks/>
              </p:cNvSpPr>
              <p:nvPr/>
            </p:nvSpPr>
            <p:spPr bwMode="auto">
              <a:xfrm>
                <a:off x="9288951" y="5606212"/>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74" name="Oval 1373">
                <a:extLst>
                  <a:ext uri="{FF2B5EF4-FFF2-40B4-BE49-F238E27FC236}">
                    <a16:creationId xmlns:a16="http://schemas.microsoft.com/office/drawing/2014/main" id="{D8034177-9464-37ED-6D28-D52E23178C89}"/>
                  </a:ext>
                </a:extLst>
              </p:cNvPr>
              <p:cNvSpPr>
                <a:spLocks/>
              </p:cNvSpPr>
              <p:nvPr/>
            </p:nvSpPr>
            <p:spPr bwMode="auto">
              <a:xfrm>
                <a:off x="6275504" y="4678715"/>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75" name="Oval 1374">
                <a:extLst>
                  <a:ext uri="{FF2B5EF4-FFF2-40B4-BE49-F238E27FC236}">
                    <a16:creationId xmlns:a16="http://schemas.microsoft.com/office/drawing/2014/main" id="{3BF50F01-B8D4-9305-BA49-5DF6EDF4B87D}"/>
                  </a:ext>
                </a:extLst>
              </p:cNvPr>
              <p:cNvSpPr>
                <a:spLocks/>
              </p:cNvSpPr>
              <p:nvPr/>
            </p:nvSpPr>
            <p:spPr bwMode="auto">
              <a:xfrm>
                <a:off x="6032043" y="3758588"/>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76" name="Oval 1375">
                <a:extLst>
                  <a:ext uri="{FF2B5EF4-FFF2-40B4-BE49-F238E27FC236}">
                    <a16:creationId xmlns:a16="http://schemas.microsoft.com/office/drawing/2014/main" id="{C3D6A103-EE0D-8BBC-BC17-BC85130E6CFA}"/>
                  </a:ext>
                </a:extLst>
              </p:cNvPr>
              <p:cNvSpPr>
                <a:spLocks/>
              </p:cNvSpPr>
              <p:nvPr/>
            </p:nvSpPr>
            <p:spPr bwMode="auto">
              <a:xfrm>
                <a:off x="5999811" y="2669835"/>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77" name="Oval 1376">
                <a:extLst>
                  <a:ext uri="{FF2B5EF4-FFF2-40B4-BE49-F238E27FC236}">
                    <a16:creationId xmlns:a16="http://schemas.microsoft.com/office/drawing/2014/main" id="{7FEE9D8F-525E-FDDE-5499-40E8D624D4D7}"/>
                  </a:ext>
                </a:extLst>
              </p:cNvPr>
              <p:cNvSpPr>
                <a:spLocks/>
              </p:cNvSpPr>
              <p:nvPr/>
            </p:nvSpPr>
            <p:spPr bwMode="auto">
              <a:xfrm>
                <a:off x="6123308" y="2197470"/>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78" name="Oval 1377">
                <a:extLst>
                  <a:ext uri="{FF2B5EF4-FFF2-40B4-BE49-F238E27FC236}">
                    <a16:creationId xmlns:a16="http://schemas.microsoft.com/office/drawing/2014/main" id="{8DEDB2B0-C9E3-8F13-92AC-7C4A43145563}"/>
                  </a:ext>
                </a:extLst>
              </p:cNvPr>
              <p:cNvSpPr>
                <a:spLocks/>
              </p:cNvSpPr>
              <p:nvPr/>
            </p:nvSpPr>
            <p:spPr bwMode="auto">
              <a:xfrm>
                <a:off x="6623670" y="1814149"/>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79" name="Oval 1378">
                <a:extLst>
                  <a:ext uri="{FF2B5EF4-FFF2-40B4-BE49-F238E27FC236}">
                    <a16:creationId xmlns:a16="http://schemas.microsoft.com/office/drawing/2014/main" id="{06C8CDF4-C67E-EF34-B279-41E2C675DC38}"/>
                  </a:ext>
                </a:extLst>
              </p:cNvPr>
              <p:cNvSpPr>
                <a:spLocks/>
              </p:cNvSpPr>
              <p:nvPr/>
            </p:nvSpPr>
            <p:spPr bwMode="auto">
              <a:xfrm>
                <a:off x="7147878" y="1317393"/>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80" name="Oval 1379">
                <a:extLst>
                  <a:ext uri="{FF2B5EF4-FFF2-40B4-BE49-F238E27FC236}">
                    <a16:creationId xmlns:a16="http://schemas.microsoft.com/office/drawing/2014/main" id="{FDB89EE1-688F-554E-CDCE-620BFA877558}"/>
                  </a:ext>
                </a:extLst>
              </p:cNvPr>
              <p:cNvSpPr>
                <a:spLocks/>
              </p:cNvSpPr>
              <p:nvPr/>
            </p:nvSpPr>
            <p:spPr bwMode="auto">
              <a:xfrm>
                <a:off x="6365375" y="1943752"/>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81" name="Oval 1380">
                <a:extLst>
                  <a:ext uri="{FF2B5EF4-FFF2-40B4-BE49-F238E27FC236}">
                    <a16:creationId xmlns:a16="http://schemas.microsoft.com/office/drawing/2014/main" id="{F93F35CE-A6D5-CD98-4320-66CAE81757C0}"/>
                  </a:ext>
                </a:extLst>
              </p:cNvPr>
              <p:cNvSpPr>
                <a:spLocks/>
              </p:cNvSpPr>
              <p:nvPr/>
            </p:nvSpPr>
            <p:spPr bwMode="auto">
              <a:xfrm>
                <a:off x="6847142" y="1548806"/>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82" name="Oval 1381">
                <a:extLst>
                  <a:ext uri="{FF2B5EF4-FFF2-40B4-BE49-F238E27FC236}">
                    <a16:creationId xmlns:a16="http://schemas.microsoft.com/office/drawing/2014/main" id="{E7A47515-84A1-409F-EB9B-E63A00EAF87A}"/>
                  </a:ext>
                </a:extLst>
              </p:cNvPr>
              <p:cNvSpPr>
                <a:spLocks/>
              </p:cNvSpPr>
              <p:nvPr/>
            </p:nvSpPr>
            <p:spPr bwMode="auto">
              <a:xfrm>
                <a:off x="5723133" y="2832839"/>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83" name="Oval 1382">
                <a:extLst>
                  <a:ext uri="{FF2B5EF4-FFF2-40B4-BE49-F238E27FC236}">
                    <a16:creationId xmlns:a16="http://schemas.microsoft.com/office/drawing/2014/main" id="{AF898DB3-1C53-3E32-407F-CD2FFF23ECFC}"/>
                  </a:ext>
                </a:extLst>
              </p:cNvPr>
              <p:cNvSpPr>
                <a:spLocks/>
              </p:cNvSpPr>
              <p:nvPr/>
            </p:nvSpPr>
            <p:spPr bwMode="auto">
              <a:xfrm>
                <a:off x="7412507" y="5680814"/>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84" name="Oval 1383">
                <a:extLst>
                  <a:ext uri="{FF2B5EF4-FFF2-40B4-BE49-F238E27FC236}">
                    <a16:creationId xmlns:a16="http://schemas.microsoft.com/office/drawing/2014/main" id="{E92D19F0-323B-25BF-7F62-91CB8CC61513}"/>
                  </a:ext>
                </a:extLst>
              </p:cNvPr>
              <p:cNvSpPr>
                <a:spLocks/>
              </p:cNvSpPr>
              <p:nvPr/>
            </p:nvSpPr>
            <p:spPr bwMode="auto">
              <a:xfrm>
                <a:off x="6437197" y="1605773"/>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85" name="Oval 1384">
                <a:extLst>
                  <a:ext uri="{FF2B5EF4-FFF2-40B4-BE49-F238E27FC236}">
                    <a16:creationId xmlns:a16="http://schemas.microsoft.com/office/drawing/2014/main" id="{02AE60F4-F722-A6DF-35E2-EA23F63314F5}"/>
                  </a:ext>
                </a:extLst>
              </p:cNvPr>
              <p:cNvSpPr>
                <a:spLocks/>
              </p:cNvSpPr>
              <p:nvPr/>
            </p:nvSpPr>
            <p:spPr bwMode="auto">
              <a:xfrm>
                <a:off x="7468778" y="1251180"/>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86" name="Oval 1385">
                <a:extLst>
                  <a:ext uri="{FF2B5EF4-FFF2-40B4-BE49-F238E27FC236}">
                    <a16:creationId xmlns:a16="http://schemas.microsoft.com/office/drawing/2014/main" id="{7DC5F3B5-ACD5-266E-B665-81B9870903C5}"/>
                  </a:ext>
                </a:extLst>
              </p:cNvPr>
              <p:cNvSpPr>
                <a:spLocks/>
              </p:cNvSpPr>
              <p:nvPr/>
            </p:nvSpPr>
            <p:spPr bwMode="auto">
              <a:xfrm>
                <a:off x="7733447" y="5762442"/>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87" name="Oval 1386">
                <a:extLst>
                  <a:ext uri="{FF2B5EF4-FFF2-40B4-BE49-F238E27FC236}">
                    <a16:creationId xmlns:a16="http://schemas.microsoft.com/office/drawing/2014/main" id="{B9857554-14D0-F9C6-F15A-AF27481AB6D6}"/>
                  </a:ext>
                </a:extLst>
              </p:cNvPr>
              <p:cNvSpPr>
                <a:spLocks/>
              </p:cNvSpPr>
              <p:nvPr/>
            </p:nvSpPr>
            <p:spPr bwMode="auto">
              <a:xfrm>
                <a:off x="5750735" y="3694124"/>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88" name="Oval 1387">
                <a:extLst>
                  <a:ext uri="{FF2B5EF4-FFF2-40B4-BE49-F238E27FC236}">
                    <a16:creationId xmlns:a16="http://schemas.microsoft.com/office/drawing/2014/main" id="{B4A33626-659D-A20D-FCB4-C480117DFD7F}"/>
                  </a:ext>
                </a:extLst>
              </p:cNvPr>
              <p:cNvSpPr>
                <a:spLocks/>
              </p:cNvSpPr>
              <p:nvPr/>
            </p:nvSpPr>
            <p:spPr bwMode="auto">
              <a:xfrm>
                <a:off x="6637263" y="5462812"/>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89" name="Oval 1388">
                <a:extLst>
                  <a:ext uri="{FF2B5EF4-FFF2-40B4-BE49-F238E27FC236}">
                    <a16:creationId xmlns:a16="http://schemas.microsoft.com/office/drawing/2014/main" id="{7CC5A833-C412-6AEE-0DFD-32B63520B064}"/>
                  </a:ext>
                </a:extLst>
              </p:cNvPr>
              <p:cNvSpPr>
                <a:spLocks/>
              </p:cNvSpPr>
              <p:nvPr/>
            </p:nvSpPr>
            <p:spPr bwMode="auto">
              <a:xfrm>
                <a:off x="8504616" y="5846288"/>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90" name="Oval 1389">
                <a:extLst>
                  <a:ext uri="{FF2B5EF4-FFF2-40B4-BE49-F238E27FC236}">
                    <a16:creationId xmlns:a16="http://schemas.microsoft.com/office/drawing/2014/main" id="{4226D47A-3043-4768-7BBD-1C74D28EF3D0}"/>
                  </a:ext>
                </a:extLst>
              </p:cNvPr>
              <p:cNvSpPr>
                <a:spLocks/>
              </p:cNvSpPr>
              <p:nvPr/>
            </p:nvSpPr>
            <p:spPr bwMode="auto">
              <a:xfrm>
                <a:off x="10469630" y="2133006"/>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91" name="Oval 1390">
                <a:extLst>
                  <a:ext uri="{FF2B5EF4-FFF2-40B4-BE49-F238E27FC236}">
                    <a16:creationId xmlns:a16="http://schemas.microsoft.com/office/drawing/2014/main" id="{B2560751-A702-514A-D742-AECF264D362E}"/>
                  </a:ext>
                </a:extLst>
              </p:cNvPr>
              <p:cNvSpPr>
                <a:spLocks/>
              </p:cNvSpPr>
              <p:nvPr/>
            </p:nvSpPr>
            <p:spPr bwMode="auto">
              <a:xfrm>
                <a:off x="9865472" y="1457705"/>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92" name="Oval 1391">
                <a:extLst>
                  <a:ext uri="{FF2B5EF4-FFF2-40B4-BE49-F238E27FC236}">
                    <a16:creationId xmlns:a16="http://schemas.microsoft.com/office/drawing/2014/main" id="{F4E7A6C4-1E8E-3639-5D74-8FDCCA4B1213}"/>
                  </a:ext>
                </a:extLst>
              </p:cNvPr>
              <p:cNvSpPr>
                <a:spLocks/>
              </p:cNvSpPr>
              <p:nvPr/>
            </p:nvSpPr>
            <p:spPr bwMode="auto">
              <a:xfrm>
                <a:off x="9395902" y="1206772"/>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93" name="Oval 1392">
                <a:extLst>
                  <a:ext uri="{FF2B5EF4-FFF2-40B4-BE49-F238E27FC236}">
                    <a16:creationId xmlns:a16="http://schemas.microsoft.com/office/drawing/2014/main" id="{5A0AE8EC-26FB-4157-5827-5B494E049A4A}"/>
                  </a:ext>
                </a:extLst>
              </p:cNvPr>
              <p:cNvSpPr>
                <a:spLocks/>
              </p:cNvSpPr>
              <p:nvPr/>
            </p:nvSpPr>
            <p:spPr bwMode="auto">
              <a:xfrm>
                <a:off x="7843688" y="1035454"/>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94" name="Oval 1393">
                <a:extLst>
                  <a:ext uri="{FF2B5EF4-FFF2-40B4-BE49-F238E27FC236}">
                    <a16:creationId xmlns:a16="http://schemas.microsoft.com/office/drawing/2014/main" id="{36DF3AA3-2A46-033E-40C4-B445CCF964D7}"/>
                  </a:ext>
                </a:extLst>
              </p:cNvPr>
              <p:cNvSpPr>
                <a:spLocks/>
              </p:cNvSpPr>
              <p:nvPr/>
            </p:nvSpPr>
            <p:spPr bwMode="auto">
              <a:xfrm>
                <a:off x="8472984" y="1080400"/>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95" name="Oval 1394">
                <a:extLst>
                  <a:ext uri="{FF2B5EF4-FFF2-40B4-BE49-F238E27FC236}">
                    <a16:creationId xmlns:a16="http://schemas.microsoft.com/office/drawing/2014/main" id="{C379EAA2-3712-32E0-CD28-0720D8EEF8ED}"/>
                  </a:ext>
                </a:extLst>
              </p:cNvPr>
              <p:cNvSpPr>
                <a:spLocks/>
              </p:cNvSpPr>
              <p:nvPr/>
            </p:nvSpPr>
            <p:spPr bwMode="auto">
              <a:xfrm>
                <a:off x="8984512" y="1047407"/>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96" name="Oval 1395">
                <a:extLst>
                  <a:ext uri="{FF2B5EF4-FFF2-40B4-BE49-F238E27FC236}">
                    <a16:creationId xmlns:a16="http://schemas.microsoft.com/office/drawing/2014/main" id="{12861B83-5142-4668-01E6-6D306DF3828A}"/>
                  </a:ext>
                </a:extLst>
              </p:cNvPr>
              <p:cNvSpPr>
                <a:spLocks/>
              </p:cNvSpPr>
              <p:nvPr/>
            </p:nvSpPr>
            <p:spPr bwMode="auto">
              <a:xfrm>
                <a:off x="5897593" y="4508918"/>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97" name="Oval 1396">
                <a:extLst>
                  <a:ext uri="{FF2B5EF4-FFF2-40B4-BE49-F238E27FC236}">
                    <a16:creationId xmlns:a16="http://schemas.microsoft.com/office/drawing/2014/main" id="{3D67AD96-7FFE-B845-BFB6-D098940E57C3}"/>
                  </a:ext>
                </a:extLst>
              </p:cNvPr>
              <p:cNvSpPr>
                <a:spLocks/>
              </p:cNvSpPr>
              <p:nvPr/>
            </p:nvSpPr>
            <p:spPr bwMode="auto">
              <a:xfrm>
                <a:off x="10636545" y="4866149"/>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98" name="Oval 1397">
                <a:extLst>
                  <a:ext uri="{FF2B5EF4-FFF2-40B4-BE49-F238E27FC236}">
                    <a16:creationId xmlns:a16="http://schemas.microsoft.com/office/drawing/2014/main" id="{899B37E6-0F23-6461-9022-4067C14D85E2}"/>
                  </a:ext>
                </a:extLst>
              </p:cNvPr>
              <p:cNvSpPr>
                <a:spLocks/>
              </p:cNvSpPr>
              <p:nvPr/>
            </p:nvSpPr>
            <p:spPr bwMode="auto">
              <a:xfrm>
                <a:off x="11070317" y="4304723"/>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99" name="Oval 1398">
                <a:extLst>
                  <a:ext uri="{FF2B5EF4-FFF2-40B4-BE49-F238E27FC236}">
                    <a16:creationId xmlns:a16="http://schemas.microsoft.com/office/drawing/2014/main" id="{DFB657E9-98F0-63F9-6BB6-A10F9C7A1F90}"/>
                  </a:ext>
                </a:extLst>
              </p:cNvPr>
              <p:cNvSpPr>
                <a:spLocks/>
              </p:cNvSpPr>
              <p:nvPr/>
            </p:nvSpPr>
            <p:spPr bwMode="auto">
              <a:xfrm>
                <a:off x="9780906" y="1170912"/>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400" name="Oval 1399">
                <a:extLst>
                  <a:ext uri="{FF2B5EF4-FFF2-40B4-BE49-F238E27FC236}">
                    <a16:creationId xmlns:a16="http://schemas.microsoft.com/office/drawing/2014/main" id="{BC9BB2F0-7F74-16FC-F408-D43DC4B0F00B}"/>
                  </a:ext>
                </a:extLst>
              </p:cNvPr>
              <p:cNvSpPr>
                <a:spLocks/>
              </p:cNvSpPr>
              <p:nvPr/>
            </p:nvSpPr>
            <p:spPr bwMode="auto">
              <a:xfrm>
                <a:off x="10263700" y="1505315"/>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grpSp>
        <p:grpSp>
          <p:nvGrpSpPr>
            <p:cNvPr id="1305" name="Group 1304">
              <a:extLst>
                <a:ext uri="{FF2B5EF4-FFF2-40B4-BE49-F238E27FC236}">
                  <a16:creationId xmlns:a16="http://schemas.microsoft.com/office/drawing/2014/main" id="{B4630916-FE3D-A874-3DF0-B33915098FE3}"/>
                </a:ext>
              </a:extLst>
            </p:cNvPr>
            <p:cNvGrpSpPr/>
            <p:nvPr/>
          </p:nvGrpSpPr>
          <p:grpSpPr>
            <a:xfrm>
              <a:off x="5267489" y="902367"/>
              <a:ext cx="6232486" cy="5248156"/>
              <a:chOff x="5267489" y="902367"/>
              <a:chExt cx="6232486" cy="5248156"/>
            </a:xfrm>
          </p:grpSpPr>
          <p:sp>
            <p:nvSpPr>
              <p:cNvPr id="1306" name="Oval 1305">
                <a:extLst>
                  <a:ext uri="{FF2B5EF4-FFF2-40B4-BE49-F238E27FC236}">
                    <a16:creationId xmlns:a16="http://schemas.microsoft.com/office/drawing/2014/main" id="{A5CC42B8-162A-E82E-EA0B-760145FDC5FC}"/>
                  </a:ext>
                </a:extLst>
              </p:cNvPr>
              <p:cNvSpPr>
                <a:spLocks/>
              </p:cNvSpPr>
              <p:nvPr/>
            </p:nvSpPr>
            <p:spPr bwMode="auto">
              <a:xfrm rot="467850" flipV="1">
                <a:off x="6011949" y="2062864"/>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07" name="Oval 1306">
                <a:extLst>
                  <a:ext uri="{FF2B5EF4-FFF2-40B4-BE49-F238E27FC236}">
                    <a16:creationId xmlns:a16="http://schemas.microsoft.com/office/drawing/2014/main" id="{88F7172F-EE11-4759-E8EB-9FAD357728EC}"/>
                  </a:ext>
                </a:extLst>
              </p:cNvPr>
              <p:cNvSpPr>
                <a:spLocks/>
              </p:cNvSpPr>
              <p:nvPr/>
            </p:nvSpPr>
            <p:spPr bwMode="auto">
              <a:xfrm rot="467850" flipV="1">
                <a:off x="6237568" y="1343693"/>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08" name="Oval 1307">
                <a:extLst>
                  <a:ext uri="{FF2B5EF4-FFF2-40B4-BE49-F238E27FC236}">
                    <a16:creationId xmlns:a16="http://schemas.microsoft.com/office/drawing/2014/main" id="{00590FE4-41AC-CB77-25BF-7C1FCAFE4D65}"/>
                  </a:ext>
                </a:extLst>
              </p:cNvPr>
              <p:cNvSpPr>
                <a:spLocks/>
              </p:cNvSpPr>
              <p:nvPr/>
            </p:nvSpPr>
            <p:spPr bwMode="auto">
              <a:xfrm rot="467850" flipV="1">
                <a:off x="10337351" y="5451911"/>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09" name="Oval 1308">
                <a:extLst>
                  <a:ext uri="{FF2B5EF4-FFF2-40B4-BE49-F238E27FC236}">
                    <a16:creationId xmlns:a16="http://schemas.microsoft.com/office/drawing/2014/main" id="{7988B71F-9A17-FDC0-3A09-A44526C277F9}"/>
                  </a:ext>
                </a:extLst>
              </p:cNvPr>
              <p:cNvSpPr>
                <a:spLocks/>
              </p:cNvSpPr>
              <p:nvPr/>
            </p:nvSpPr>
            <p:spPr bwMode="auto">
              <a:xfrm rot="467850" flipV="1">
                <a:off x="10672077" y="4783422"/>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10" name="Oval 1309">
                <a:extLst>
                  <a:ext uri="{FF2B5EF4-FFF2-40B4-BE49-F238E27FC236}">
                    <a16:creationId xmlns:a16="http://schemas.microsoft.com/office/drawing/2014/main" id="{CFB9B33A-C629-CE11-37D1-349076593070}"/>
                  </a:ext>
                </a:extLst>
              </p:cNvPr>
              <p:cNvSpPr>
                <a:spLocks/>
              </p:cNvSpPr>
              <p:nvPr/>
            </p:nvSpPr>
            <p:spPr bwMode="auto">
              <a:xfrm rot="467850" flipV="1">
                <a:off x="11075840" y="4101895"/>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11" name="Oval 1310">
                <a:extLst>
                  <a:ext uri="{FF2B5EF4-FFF2-40B4-BE49-F238E27FC236}">
                    <a16:creationId xmlns:a16="http://schemas.microsoft.com/office/drawing/2014/main" id="{CEBBD956-819D-ECC4-B757-28FDFE302ECA}"/>
                  </a:ext>
                </a:extLst>
              </p:cNvPr>
              <p:cNvSpPr>
                <a:spLocks/>
              </p:cNvSpPr>
              <p:nvPr/>
            </p:nvSpPr>
            <p:spPr bwMode="auto">
              <a:xfrm rot="467850" flipV="1">
                <a:off x="11063111" y="4624756"/>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12" name="Oval 1311">
                <a:extLst>
                  <a:ext uri="{FF2B5EF4-FFF2-40B4-BE49-F238E27FC236}">
                    <a16:creationId xmlns:a16="http://schemas.microsoft.com/office/drawing/2014/main" id="{78E89260-5876-F207-83C7-22C8303FE474}"/>
                  </a:ext>
                </a:extLst>
              </p:cNvPr>
              <p:cNvSpPr>
                <a:spLocks/>
              </p:cNvSpPr>
              <p:nvPr/>
            </p:nvSpPr>
            <p:spPr bwMode="auto">
              <a:xfrm rot="467850" flipV="1">
                <a:off x="10978887" y="3554938"/>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13" name="Oval 1312">
                <a:extLst>
                  <a:ext uri="{FF2B5EF4-FFF2-40B4-BE49-F238E27FC236}">
                    <a16:creationId xmlns:a16="http://schemas.microsoft.com/office/drawing/2014/main" id="{3B1ABDDD-F48C-5493-A08B-27DD131C2A4B}"/>
                  </a:ext>
                </a:extLst>
              </p:cNvPr>
              <p:cNvSpPr>
                <a:spLocks/>
              </p:cNvSpPr>
              <p:nvPr/>
            </p:nvSpPr>
            <p:spPr bwMode="auto">
              <a:xfrm rot="467850" flipV="1">
                <a:off x="11027101" y="2947810"/>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14" name="Oval 1313">
                <a:extLst>
                  <a:ext uri="{FF2B5EF4-FFF2-40B4-BE49-F238E27FC236}">
                    <a16:creationId xmlns:a16="http://schemas.microsoft.com/office/drawing/2014/main" id="{CDC7757C-DEF6-E763-3771-C90CF7D2FC6C}"/>
                  </a:ext>
                </a:extLst>
              </p:cNvPr>
              <p:cNvSpPr>
                <a:spLocks/>
              </p:cNvSpPr>
              <p:nvPr/>
            </p:nvSpPr>
            <p:spPr bwMode="auto">
              <a:xfrm rot="467850" flipV="1">
                <a:off x="10699215" y="1659735"/>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15" name="Oval 1314">
                <a:extLst>
                  <a:ext uri="{FF2B5EF4-FFF2-40B4-BE49-F238E27FC236}">
                    <a16:creationId xmlns:a16="http://schemas.microsoft.com/office/drawing/2014/main" id="{53CF780C-50F4-254B-B80F-D7BF0F244A7C}"/>
                  </a:ext>
                </a:extLst>
              </p:cNvPr>
              <p:cNvSpPr>
                <a:spLocks/>
              </p:cNvSpPr>
              <p:nvPr/>
            </p:nvSpPr>
            <p:spPr bwMode="auto">
              <a:xfrm rot="467850" flipV="1">
                <a:off x="10760379" y="2123995"/>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16" name="Oval 1315">
                <a:extLst>
                  <a:ext uri="{FF2B5EF4-FFF2-40B4-BE49-F238E27FC236}">
                    <a16:creationId xmlns:a16="http://schemas.microsoft.com/office/drawing/2014/main" id="{B37E9249-B332-AF63-53A1-23A579341018}"/>
                  </a:ext>
                </a:extLst>
              </p:cNvPr>
              <p:cNvSpPr>
                <a:spLocks/>
              </p:cNvSpPr>
              <p:nvPr/>
            </p:nvSpPr>
            <p:spPr bwMode="auto">
              <a:xfrm rot="467850" flipV="1">
                <a:off x="10318090" y="1314125"/>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17" name="Oval 1316">
                <a:extLst>
                  <a:ext uri="{FF2B5EF4-FFF2-40B4-BE49-F238E27FC236}">
                    <a16:creationId xmlns:a16="http://schemas.microsoft.com/office/drawing/2014/main" id="{F56EB33E-9C80-D069-4EB1-172B98F8654E}"/>
                  </a:ext>
                </a:extLst>
              </p:cNvPr>
              <p:cNvSpPr>
                <a:spLocks/>
              </p:cNvSpPr>
              <p:nvPr/>
            </p:nvSpPr>
            <p:spPr bwMode="auto">
              <a:xfrm rot="467850" flipV="1">
                <a:off x="5672503" y="2428242"/>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18" name="Oval 1317">
                <a:extLst>
                  <a:ext uri="{FF2B5EF4-FFF2-40B4-BE49-F238E27FC236}">
                    <a16:creationId xmlns:a16="http://schemas.microsoft.com/office/drawing/2014/main" id="{3B26418D-4A2C-EA06-DFFD-121C279CCBF0}"/>
                  </a:ext>
                </a:extLst>
              </p:cNvPr>
              <p:cNvSpPr>
                <a:spLocks/>
              </p:cNvSpPr>
              <p:nvPr/>
            </p:nvSpPr>
            <p:spPr bwMode="auto">
              <a:xfrm rot="467850" flipV="1">
                <a:off x="5585931" y="3438921"/>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19" name="Oval 1318">
                <a:extLst>
                  <a:ext uri="{FF2B5EF4-FFF2-40B4-BE49-F238E27FC236}">
                    <a16:creationId xmlns:a16="http://schemas.microsoft.com/office/drawing/2014/main" id="{633E2B0B-FD92-5E14-E698-64ECF858847B}"/>
                  </a:ext>
                </a:extLst>
              </p:cNvPr>
              <p:cNvSpPr>
                <a:spLocks/>
              </p:cNvSpPr>
              <p:nvPr/>
            </p:nvSpPr>
            <p:spPr bwMode="auto">
              <a:xfrm rot="467850" flipV="1">
                <a:off x="5550925" y="3023149"/>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20" name="Oval 1319">
                <a:extLst>
                  <a:ext uri="{FF2B5EF4-FFF2-40B4-BE49-F238E27FC236}">
                    <a16:creationId xmlns:a16="http://schemas.microsoft.com/office/drawing/2014/main" id="{57BFC592-EDAA-893A-3B2C-B0BB3FE8CFF2}"/>
                  </a:ext>
                </a:extLst>
              </p:cNvPr>
              <p:cNvSpPr>
                <a:spLocks/>
              </p:cNvSpPr>
              <p:nvPr/>
            </p:nvSpPr>
            <p:spPr bwMode="auto">
              <a:xfrm rot="467850" flipV="1">
                <a:off x="6611258" y="1216737"/>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21" name="Oval 1320">
                <a:extLst>
                  <a:ext uri="{FF2B5EF4-FFF2-40B4-BE49-F238E27FC236}">
                    <a16:creationId xmlns:a16="http://schemas.microsoft.com/office/drawing/2014/main" id="{7DA07206-CA06-4EBE-672C-8CC8F26ECE7B}"/>
                  </a:ext>
                </a:extLst>
              </p:cNvPr>
              <p:cNvSpPr>
                <a:spLocks/>
              </p:cNvSpPr>
              <p:nvPr/>
            </p:nvSpPr>
            <p:spPr bwMode="auto">
              <a:xfrm rot="467850" flipV="1">
                <a:off x="7095623" y="1053899"/>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22" name="Oval 1321">
                <a:extLst>
                  <a:ext uri="{FF2B5EF4-FFF2-40B4-BE49-F238E27FC236}">
                    <a16:creationId xmlns:a16="http://schemas.microsoft.com/office/drawing/2014/main" id="{69CAA2A7-706A-BF96-6FD6-5F499B6C0A73}"/>
                  </a:ext>
                </a:extLst>
              </p:cNvPr>
              <p:cNvSpPr>
                <a:spLocks/>
              </p:cNvSpPr>
              <p:nvPr/>
            </p:nvSpPr>
            <p:spPr bwMode="auto">
              <a:xfrm rot="467850" flipV="1">
                <a:off x="11283869" y="3912661"/>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23" name="Oval 1322">
                <a:extLst>
                  <a:ext uri="{FF2B5EF4-FFF2-40B4-BE49-F238E27FC236}">
                    <a16:creationId xmlns:a16="http://schemas.microsoft.com/office/drawing/2014/main" id="{51FA723C-AC6C-234C-BD4F-3BAD4DE02D84}"/>
                  </a:ext>
                </a:extLst>
              </p:cNvPr>
              <p:cNvSpPr>
                <a:spLocks/>
              </p:cNvSpPr>
              <p:nvPr/>
            </p:nvSpPr>
            <p:spPr bwMode="auto">
              <a:xfrm rot="467850" flipV="1">
                <a:off x="11221038" y="3317292"/>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24" name="Oval 1323">
                <a:extLst>
                  <a:ext uri="{FF2B5EF4-FFF2-40B4-BE49-F238E27FC236}">
                    <a16:creationId xmlns:a16="http://schemas.microsoft.com/office/drawing/2014/main" id="{E8F3CA30-2444-52AE-B1DF-0E41B0EAAEBC}"/>
                  </a:ext>
                </a:extLst>
              </p:cNvPr>
              <p:cNvSpPr>
                <a:spLocks/>
              </p:cNvSpPr>
              <p:nvPr/>
            </p:nvSpPr>
            <p:spPr bwMode="auto">
              <a:xfrm rot="467850" flipV="1">
                <a:off x="11018417" y="2492991"/>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25" name="Oval 1324">
                <a:extLst>
                  <a:ext uri="{FF2B5EF4-FFF2-40B4-BE49-F238E27FC236}">
                    <a16:creationId xmlns:a16="http://schemas.microsoft.com/office/drawing/2014/main" id="{9BD133BD-CCBB-3F8B-BBA5-8B8FF47FB374}"/>
                  </a:ext>
                </a:extLst>
              </p:cNvPr>
              <p:cNvSpPr>
                <a:spLocks/>
              </p:cNvSpPr>
              <p:nvPr/>
            </p:nvSpPr>
            <p:spPr bwMode="auto">
              <a:xfrm rot="467850" flipV="1">
                <a:off x="9903579" y="1023309"/>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26" name="Oval 1325">
                <a:extLst>
                  <a:ext uri="{FF2B5EF4-FFF2-40B4-BE49-F238E27FC236}">
                    <a16:creationId xmlns:a16="http://schemas.microsoft.com/office/drawing/2014/main" id="{3A8346A9-808B-0555-6773-DB3DD169586B}"/>
                  </a:ext>
                </a:extLst>
              </p:cNvPr>
              <p:cNvSpPr>
                <a:spLocks/>
              </p:cNvSpPr>
              <p:nvPr/>
            </p:nvSpPr>
            <p:spPr bwMode="auto">
              <a:xfrm rot="467850" flipV="1">
                <a:off x="6161364" y="1717879"/>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27" name="Oval 1326">
                <a:extLst>
                  <a:ext uri="{FF2B5EF4-FFF2-40B4-BE49-F238E27FC236}">
                    <a16:creationId xmlns:a16="http://schemas.microsoft.com/office/drawing/2014/main" id="{CBD31891-B720-B20A-F954-52E9D93A8179}"/>
                  </a:ext>
                </a:extLst>
              </p:cNvPr>
              <p:cNvSpPr>
                <a:spLocks/>
              </p:cNvSpPr>
              <p:nvPr/>
            </p:nvSpPr>
            <p:spPr bwMode="auto">
              <a:xfrm rot="467850" flipV="1">
                <a:off x="5751185" y="2702396"/>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28" name="Oval 1327">
                <a:extLst>
                  <a:ext uri="{FF2B5EF4-FFF2-40B4-BE49-F238E27FC236}">
                    <a16:creationId xmlns:a16="http://schemas.microsoft.com/office/drawing/2014/main" id="{C5D48A70-C3A3-48B2-D830-A58471CCD76F}"/>
                  </a:ext>
                </a:extLst>
              </p:cNvPr>
              <p:cNvSpPr>
                <a:spLocks/>
              </p:cNvSpPr>
              <p:nvPr/>
            </p:nvSpPr>
            <p:spPr bwMode="auto">
              <a:xfrm rot="467850" flipV="1">
                <a:off x="5549877" y="3906237"/>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29" name="Oval 1328">
                <a:extLst>
                  <a:ext uri="{FF2B5EF4-FFF2-40B4-BE49-F238E27FC236}">
                    <a16:creationId xmlns:a16="http://schemas.microsoft.com/office/drawing/2014/main" id="{5A3E4127-B956-D2C4-6CEC-8F2050C05ABC}"/>
                  </a:ext>
                </a:extLst>
              </p:cNvPr>
              <p:cNvSpPr>
                <a:spLocks/>
              </p:cNvSpPr>
              <p:nvPr/>
            </p:nvSpPr>
            <p:spPr bwMode="auto">
              <a:xfrm rot="467850" flipV="1">
                <a:off x="5617097" y="4421179"/>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30" name="Oval 1329">
                <a:extLst>
                  <a:ext uri="{FF2B5EF4-FFF2-40B4-BE49-F238E27FC236}">
                    <a16:creationId xmlns:a16="http://schemas.microsoft.com/office/drawing/2014/main" id="{AA6495D2-F1D9-A2F9-ED02-15B16F82090D}"/>
                  </a:ext>
                </a:extLst>
              </p:cNvPr>
              <p:cNvSpPr>
                <a:spLocks/>
              </p:cNvSpPr>
              <p:nvPr/>
            </p:nvSpPr>
            <p:spPr bwMode="auto">
              <a:xfrm rot="467850" flipV="1">
                <a:off x="6114325" y="4922814"/>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31" name="Oval 1330">
                <a:extLst>
                  <a:ext uri="{FF2B5EF4-FFF2-40B4-BE49-F238E27FC236}">
                    <a16:creationId xmlns:a16="http://schemas.microsoft.com/office/drawing/2014/main" id="{62A71BCA-A3EC-2F5D-117C-FED471E40B2A}"/>
                  </a:ext>
                </a:extLst>
              </p:cNvPr>
              <p:cNvSpPr>
                <a:spLocks/>
              </p:cNvSpPr>
              <p:nvPr/>
            </p:nvSpPr>
            <p:spPr bwMode="auto">
              <a:xfrm rot="467850" flipV="1">
                <a:off x="6674064" y="5775719"/>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32" name="Oval 1331">
                <a:extLst>
                  <a:ext uri="{FF2B5EF4-FFF2-40B4-BE49-F238E27FC236}">
                    <a16:creationId xmlns:a16="http://schemas.microsoft.com/office/drawing/2014/main" id="{FCC042FA-74F5-6FBA-D35E-07AE171EF63D}"/>
                  </a:ext>
                </a:extLst>
              </p:cNvPr>
              <p:cNvSpPr>
                <a:spLocks/>
              </p:cNvSpPr>
              <p:nvPr/>
            </p:nvSpPr>
            <p:spPr bwMode="auto">
              <a:xfrm rot="467850" flipV="1">
                <a:off x="5845343" y="4767916"/>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33" name="Oval 1332">
                <a:extLst>
                  <a:ext uri="{FF2B5EF4-FFF2-40B4-BE49-F238E27FC236}">
                    <a16:creationId xmlns:a16="http://schemas.microsoft.com/office/drawing/2014/main" id="{0DD8AF49-EF1B-E07F-96D0-2AD46FE2DA14}"/>
                  </a:ext>
                </a:extLst>
              </p:cNvPr>
              <p:cNvSpPr>
                <a:spLocks/>
              </p:cNvSpPr>
              <p:nvPr/>
            </p:nvSpPr>
            <p:spPr bwMode="auto">
              <a:xfrm rot="467850" flipV="1">
                <a:off x="6320160" y="5279631"/>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34" name="Oval 1333">
                <a:extLst>
                  <a:ext uri="{FF2B5EF4-FFF2-40B4-BE49-F238E27FC236}">
                    <a16:creationId xmlns:a16="http://schemas.microsoft.com/office/drawing/2014/main" id="{A5DC5E33-834A-952F-AFB6-470197DF8150}"/>
                  </a:ext>
                </a:extLst>
              </p:cNvPr>
              <p:cNvSpPr>
                <a:spLocks/>
              </p:cNvSpPr>
              <p:nvPr/>
            </p:nvSpPr>
            <p:spPr bwMode="auto">
              <a:xfrm rot="467850" flipV="1">
                <a:off x="5267489" y="3683206"/>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35" name="Oval 1334">
                <a:extLst>
                  <a:ext uri="{FF2B5EF4-FFF2-40B4-BE49-F238E27FC236}">
                    <a16:creationId xmlns:a16="http://schemas.microsoft.com/office/drawing/2014/main" id="{B262134B-3195-766D-D66B-3533057493D0}"/>
                  </a:ext>
                </a:extLst>
              </p:cNvPr>
              <p:cNvSpPr>
                <a:spLocks/>
              </p:cNvSpPr>
              <p:nvPr/>
            </p:nvSpPr>
            <p:spPr bwMode="auto">
              <a:xfrm rot="467850" flipV="1">
                <a:off x="7588721" y="1100385"/>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36" name="Oval 1335">
                <a:extLst>
                  <a:ext uri="{FF2B5EF4-FFF2-40B4-BE49-F238E27FC236}">
                    <a16:creationId xmlns:a16="http://schemas.microsoft.com/office/drawing/2014/main" id="{14279C95-A111-D987-24B0-393FA9CFC7A2}"/>
                  </a:ext>
                </a:extLst>
              </p:cNvPr>
              <p:cNvSpPr>
                <a:spLocks/>
              </p:cNvSpPr>
              <p:nvPr/>
            </p:nvSpPr>
            <p:spPr bwMode="auto">
              <a:xfrm rot="467850" flipV="1">
                <a:off x="5873696" y="5154062"/>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37" name="Oval 1336">
                <a:extLst>
                  <a:ext uri="{FF2B5EF4-FFF2-40B4-BE49-F238E27FC236}">
                    <a16:creationId xmlns:a16="http://schemas.microsoft.com/office/drawing/2014/main" id="{94B413FA-A240-ED42-B661-D45885C78987}"/>
                  </a:ext>
                </a:extLst>
              </p:cNvPr>
              <p:cNvSpPr>
                <a:spLocks/>
              </p:cNvSpPr>
              <p:nvPr/>
            </p:nvSpPr>
            <p:spPr bwMode="auto">
              <a:xfrm rot="467850" flipV="1">
                <a:off x="6965056" y="5704565"/>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38" name="Oval 1337">
                <a:extLst>
                  <a:ext uri="{FF2B5EF4-FFF2-40B4-BE49-F238E27FC236}">
                    <a16:creationId xmlns:a16="http://schemas.microsoft.com/office/drawing/2014/main" id="{978625B8-A3EF-7711-24B9-72A3A4AA73C7}"/>
                  </a:ext>
                </a:extLst>
              </p:cNvPr>
              <p:cNvSpPr>
                <a:spLocks/>
              </p:cNvSpPr>
              <p:nvPr/>
            </p:nvSpPr>
            <p:spPr bwMode="auto">
              <a:xfrm rot="467850" flipV="1">
                <a:off x="8028706" y="938215"/>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39" name="Oval 1338">
                <a:extLst>
                  <a:ext uri="{FF2B5EF4-FFF2-40B4-BE49-F238E27FC236}">
                    <a16:creationId xmlns:a16="http://schemas.microsoft.com/office/drawing/2014/main" id="{EB4DA4B4-3FDF-2EEA-B937-1D6E5CA92230}"/>
                  </a:ext>
                </a:extLst>
              </p:cNvPr>
              <p:cNvSpPr>
                <a:spLocks/>
              </p:cNvSpPr>
              <p:nvPr/>
            </p:nvSpPr>
            <p:spPr bwMode="auto">
              <a:xfrm rot="467850" flipV="1">
                <a:off x="5429074" y="2731198"/>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40" name="Oval 1339">
                <a:extLst>
                  <a:ext uri="{FF2B5EF4-FFF2-40B4-BE49-F238E27FC236}">
                    <a16:creationId xmlns:a16="http://schemas.microsoft.com/office/drawing/2014/main" id="{A6919708-91D4-5992-B01E-09E7EE50EA26}"/>
                  </a:ext>
                </a:extLst>
              </p:cNvPr>
              <p:cNvSpPr>
                <a:spLocks/>
              </p:cNvSpPr>
              <p:nvPr/>
            </p:nvSpPr>
            <p:spPr bwMode="auto">
              <a:xfrm rot="467850" flipV="1">
                <a:off x="6682197" y="902367"/>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41" name="Oval 1340">
                <a:extLst>
                  <a:ext uri="{FF2B5EF4-FFF2-40B4-BE49-F238E27FC236}">
                    <a16:creationId xmlns:a16="http://schemas.microsoft.com/office/drawing/2014/main" id="{D157EA76-E9E9-FD86-DFFD-087FC49B5AA0}"/>
                  </a:ext>
                </a:extLst>
              </p:cNvPr>
              <p:cNvSpPr>
                <a:spLocks/>
              </p:cNvSpPr>
              <p:nvPr/>
            </p:nvSpPr>
            <p:spPr bwMode="auto">
              <a:xfrm rot="467850" flipV="1">
                <a:off x="8585041" y="904456"/>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42" name="Oval 1341">
                <a:extLst>
                  <a:ext uri="{FF2B5EF4-FFF2-40B4-BE49-F238E27FC236}">
                    <a16:creationId xmlns:a16="http://schemas.microsoft.com/office/drawing/2014/main" id="{7D5945E6-C3F7-0915-D546-5CD6D9B325C4}"/>
                  </a:ext>
                </a:extLst>
              </p:cNvPr>
              <p:cNvSpPr>
                <a:spLocks/>
              </p:cNvSpPr>
              <p:nvPr/>
            </p:nvSpPr>
            <p:spPr bwMode="auto">
              <a:xfrm rot="467850" flipV="1">
                <a:off x="10430686" y="5181776"/>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43" name="Oval 1342">
                <a:extLst>
                  <a:ext uri="{FF2B5EF4-FFF2-40B4-BE49-F238E27FC236}">
                    <a16:creationId xmlns:a16="http://schemas.microsoft.com/office/drawing/2014/main" id="{B24EC392-35E4-25B2-036A-377BF9E9E8BB}"/>
                  </a:ext>
                </a:extLst>
              </p:cNvPr>
              <p:cNvSpPr>
                <a:spLocks/>
              </p:cNvSpPr>
              <p:nvPr/>
            </p:nvSpPr>
            <p:spPr bwMode="auto">
              <a:xfrm rot="467850" flipV="1">
                <a:off x="9623414" y="5733108"/>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44" name="Oval 1343">
                <a:extLst>
                  <a:ext uri="{FF2B5EF4-FFF2-40B4-BE49-F238E27FC236}">
                    <a16:creationId xmlns:a16="http://schemas.microsoft.com/office/drawing/2014/main" id="{71A1A257-144C-E10E-636C-6621F8CF22C5}"/>
                  </a:ext>
                </a:extLst>
              </p:cNvPr>
              <p:cNvSpPr>
                <a:spLocks/>
              </p:cNvSpPr>
              <p:nvPr/>
            </p:nvSpPr>
            <p:spPr bwMode="auto">
              <a:xfrm rot="467850" flipV="1">
                <a:off x="8933162" y="5775719"/>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45" name="Oval 1344">
                <a:extLst>
                  <a:ext uri="{FF2B5EF4-FFF2-40B4-BE49-F238E27FC236}">
                    <a16:creationId xmlns:a16="http://schemas.microsoft.com/office/drawing/2014/main" id="{ADF8810E-7630-1043-435F-B7CEA875BDCC}"/>
                  </a:ext>
                </a:extLst>
              </p:cNvPr>
              <p:cNvSpPr>
                <a:spLocks/>
              </p:cNvSpPr>
              <p:nvPr/>
            </p:nvSpPr>
            <p:spPr bwMode="auto">
              <a:xfrm rot="467850" flipV="1">
                <a:off x="7464714" y="5958019"/>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46" name="Oval 1345">
                <a:extLst>
                  <a:ext uri="{FF2B5EF4-FFF2-40B4-BE49-F238E27FC236}">
                    <a16:creationId xmlns:a16="http://schemas.microsoft.com/office/drawing/2014/main" id="{F6692193-F9A9-AEFB-3B26-35E36C0BCBB5}"/>
                  </a:ext>
                </a:extLst>
              </p:cNvPr>
              <p:cNvSpPr>
                <a:spLocks/>
              </p:cNvSpPr>
              <p:nvPr/>
            </p:nvSpPr>
            <p:spPr bwMode="auto">
              <a:xfrm rot="467850" flipV="1">
                <a:off x="8084623" y="5830936"/>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47" name="Oval 1346">
                <a:extLst>
                  <a:ext uri="{FF2B5EF4-FFF2-40B4-BE49-F238E27FC236}">
                    <a16:creationId xmlns:a16="http://schemas.microsoft.com/office/drawing/2014/main" id="{BD8CE7B8-3D2F-6A12-5D73-9527CCDC247D}"/>
                  </a:ext>
                </a:extLst>
              </p:cNvPr>
              <p:cNvSpPr>
                <a:spLocks/>
              </p:cNvSpPr>
              <p:nvPr/>
            </p:nvSpPr>
            <p:spPr bwMode="auto">
              <a:xfrm rot="467850" flipV="1">
                <a:off x="8467386" y="6078287"/>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48" name="Oval 1347">
                <a:extLst>
                  <a:ext uri="{FF2B5EF4-FFF2-40B4-BE49-F238E27FC236}">
                    <a16:creationId xmlns:a16="http://schemas.microsoft.com/office/drawing/2014/main" id="{22C90FAD-B90D-2DA0-C2C6-53189D0A7FCD}"/>
                  </a:ext>
                </a:extLst>
              </p:cNvPr>
              <p:cNvSpPr>
                <a:spLocks/>
              </p:cNvSpPr>
              <p:nvPr/>
            </p:nvSpPr>
            <p:spPr bwMode="auto">
              <a:xfrm rot="467850" flipV="1">
                <a:off x="5717916" y="1820678"/>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49" name="Oval 1348">
                <a:extLst>
                  <a:ext uri="{FF2B5EF4-FFF2-40B4-BE49-F238E27FC236}">
                    <a16:creationId xmlns:a16="http://schemas.microsoft.com/office/drawing/2014/main" id="{A451FB38-6969-A8FC-BFEB-D52D893F432B}"/>
                  </a:ext>
                </a:extLst>
              </p:cNvPr>
              <p:cNvSpPr>
                <a:spLocks/>
              </p:cNvSpPr>
              <p:nvPr/>
            </p:nvSpPr>
            <p:spPr bwMode="auto">
              <a:xfrm rot="467850" flipV="1">
                <a:off x="11033442" y="2144541"/>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50" name="Oval 1349">
                <a:extLst>
                  <a:ext uri="{FF2B5EF4-FFF2-40B4-BE49-F238E27FC236}">
                    <a16:creationId xmlns:a16="http://schemas.microsoft.com/office/drawing/2014/main" id="{1158CBA1-7958-FEA5-19A2-5EEA0F441D9A}"/>
                  </a:ext>
                </a:extLst>
              </p:cNvPr>
              <p:cNvSpPr>
                <a:spLocks/>
              </p:cNvSpPr>
              <p:nvPr/>
            </p:nvSpPr>
            <p:spPr bwMode="auto">
              <a:xfrm rot="467850" flipV="1">
                <a:off x="11427739" y="2862043"/>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51" name="Oval 1350">
                <a:extLst>
                  <a:ext uri="{FF2B5EF4-FFF2-40B4-BE49-F238E27FC236}">
                    <a16:creationId xmlns:a16="http://schemas.microsoft.com/office/drawing/2014/main" id="{C0110527-C496-8B86-AE10-C1C8BDCACBF0}"/>
                  </a:ext>
                </a:extLst>
              </p:cNvPr>
              <p:cNvSpPr>
                <a:spLocks/>
              </p:cNvSpPr>
              <p:nvPr/>
            </p:nvSpPr>
            <p:spPr bwMode="auto">
              <a:xfrm rot="467850" flipV="1">
                <a:off x="9176894" y="6078287"/>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52" name="Oval 1351">
                <a:extLst>
                  <a:ext uri="{FF2B5EF4-FFF2-40B4-BE49-F238E27FC236}">
                    <a16:creationId xmlns:a16="http://schemas.microsoft.com/office/drawing/2014/main" id="{7F52B212-861A-E705-DAF0-24A51D7C5120}"/>
                  </a:ext>
                </a:extLst>
              </p:cNvPr>
              <p:cNvSpPr>
                <a:spLocks/>
              </p:cNvSpPr>
              <p:nvPr/>
            </p:nvSpPr>
            <p:spPr bwMode="auto">
              <a:xfrm rot="467850" flipV="1">
                <a:off x="9947691" y="5660034"/>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53" name="Oval 1352">
                <a:extLst>
                  <a:ext uri="{FF2B5EF4-FFF2-40B4-BE49-F238E27FC236}">
                    <a16:creationId xmlns:a16="http://schemas.microsoft.com/office/drawing/2014/main" id="{BBE17228-2411-BA18-3EEA-31D57D994A91}"/>
                  </a:ext>
                </a:extLst>
              </p:cNvPr>
              <p:cNvSpPr>
                <a:spLocks/>
              </p:cNvSpPr>
              <p:nvPr/>
            </p:nvSpPr>
            <p:spPr bwMode="auto">
              <a:xfrm rot="4295831" flipV="1">
                <a:off x="9268579" y="1011289"/>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a:ea typeface="+mn-ea"/>
                  <a:cs typeface="Segoe UI" pitchFamily="34" charset="0"/>
                </a:endParaRPr>
              </a:p>
            </p:txBody>
          </p:sp>
        </p:grpSp>
      </p:grpSp>
      <p:sp>
        <p:nvSpPr>
          <p:cNvPr id="1401" name="Oval 1400">
            <a:extLst>
              <a:ext uri="{FF2B5EF4-FFF2-40B4-BE49-F238E27FC236}">
                <a16:creationId xmlns:a16="http://schemas.microsoft.com/office/drawing/2014/main" id="{463EAAA4-F16D-ED38-8571-12416A977037}"/>
              </a:ext>
              <a:ext uri="{C183D7F6-B498-43B3-948B-1728B52AA6E4}">
                <adec:decorative xmlns:adec="http://schemas.microsoft.com/office/drawing/2017/decorative" val="1"/>
              </a:ext>
            </a:extLst>
          </p:cNvPr>
          <p:cNvSpPr/>
          <p:nvPr/>
        </p:nvSpPr>
        <p:spPr bwMode="auto">
          <a:xfrm>
            <a:off x="3994596" y="174687"/>
            <a:ext cx="3952498" cy="3952498"/>
          </a:xfrm>
          <a:prstGeom prst="ellipse">
            <a:avLst/>
          </a:prstGeom>
          <a:gradFill flip="none" rotWithShape="1">
            <a:gsLst>
              <a:gs pos="93000">
                <a:schemeClr val="bg1">
                  <a:alpha val="0"/>
                </a:schemeClr>
              </a:gs>
              <a:gs pos="55000">
                <a:schemeClr val="bg1"/>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Sans Display"/>
              <a:ea typeface="+mn-ea"/>
              <a:cs typeface="Segoe UI" pitchFamily="34" charset="0"/>
            </a:endParaRPr>
          </a:p>
        </p:txBody>
      </p:sp>
      <p:sp>
        <p:nvSpPr>
          <p:cNvPr id="1402" name="Rectangle 1401">
            <a:extLst>
              <a:ext uri="{FF2B5EF4-FFF2-40B4-BE49-F238E27FC236}">
                <a16:creationId xmlns:a16="http://schemas.microsoft.com/office/drawing/2014/main" id="{D35CA391-3EE8-8C55-3DB5-E1BCA3F16049}"/>
              </a:ext>
              <a:ext uri="{C183D7F6-B498-43B3-948B-1728B52AA6E4}">
                <adec:decorative xmlns:adec="http://schemas.microsoft.com/office/drawing/2017/decorative" val="1"/>
              </a:ext>
            </a:extLst>
          </p:cNvPr>
          <p:cNvSpPr/>
          <p:nvPr/>
        </p:nvSpPr>
        <p:spPr bwMode="auto">
          <a:xfrm>
            <a:off x="586740" y="3830310"/>
            <a:ext cx="1966876" cy="787908"/>
          </a:xfrm>
          <a:prstGeom prst="rect">
            <a:avLst/>
          </a:prstGeom>
          <a:solidFill>
            <a:schemeClr val="bg1"/>
          </a:solidFill>
          <a:ln w="9525" cap="flat" cmpd="sng" algn="ctr">
            <a:noFill/>
            <a:prstDash val="solid"/>
            <a:headEnd type="none" w="med" len="med"/>
            <a:tailEnd type="none" w="med" len="med"/>
          </a:ln>
          <a:effectLst>
            <a:softEdge rad="127000"/>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ts val="1200"/>
              </a:spcBef>
              <a:spcAft>
                <a:spcPct val="0"/>
              </a:spcAft>
              <a:buClrTx/>
              <a:buSzTx/>
              <a:buFontTx/>
              <a:buNone/>
              <a:tabLst/>
              <a:defRPr/>
            </a:pPr>
            <a:r>
              <a:rPr kumimoji="0" lang="en-US" sz="1600" b="1" i="0" u="none" strike="noStrike" kern="0" cap="none" spc="-50" normalizeH="0" baseline="0" noProof="0">
                <a:ln>
                  <a:noFill/>
                </a:ln>
                <a:solidFill>
                  <a:srgbClr val="000000"/>
                </a:solidFill>
                <a:effectLst/>
                <a:uLnTx/>
                <a:uFillTx/>
                <a:latin typeface="Segoe Sans Display Semibold"/>
                <a:ea typeface="+mn-ea"/>
                <a:cs typeface="Segoe UI"/>
              </a:rPr>
              <a:t>Microsoft Entra Private Access</a:t>
            </a:r>
          </a:p>
        </p:txBody>
      </p:sp>
      <p:sp>
        <p:nvSpPr>
          <p:cNvPr id="1403" name="Rectangle 1402">
            <a:extLst>
              <a:ext uri="{FF2B5EF4-FFF2-40B4-BE49-F238E27FC236}">
                <a16:creationId xmlns:a16="http://schemas.microsoft.com/office/drawing/2014/main" id="{1BD63271-57C1-BEFA-904E-D81C8E391F3E}"/>
              </a:ext>
              <a:ext uri="{C183D7F6-B498-43B3-948B-1728B52AA6E4}">
                <adec:decorative xmlns:adec="http://schemas.microsoft.com/office/drawing/2017/decorative" val="1"/>
              </a:ext>
            </a:extLst>
          </p:cNvPr>
          <p:cNvSpPr/>
          <p:nvPr/>
        </p:nvSpPr>
        <p:spPr bwMode="auto">
          <a:xfrm>
            <a:off x="2667458" y="4978297"/>
            <a:ext cx="1966876" cy="787908"/>
          </a:xfrm>
          <a:prstGeom prst="rect">
            <a:avLst/>
          </a:prstGeom>
          <a:solidFill>
            <a:schemeClr val="bg1"/>
          </a:solidFill>
          <a:ln w="9525" cap="flat" cmpd="sng" algn="ctr">
            <a:noFill/>
            <a:prstDash val="solid"/>
            <a:headEnd type="none" w="med" len="med"/>
            <a:tailEnd type="none" w="med" len="med"/>
          </a:ln>
          <a:effectLst>
            <a:softEdge rad="127000"/>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ts val="1200"/>
              </a:spcBef>
              <a:spcAft>
                <a:spcPct val="0"/>
              </a:spcAft>
              <a:buClrTx/>
              <a:buSzTx/>
              <a:buFontTx/>
              <a:buNone/>
              <a:tabLst/>
              <a:defRPr/>
            </a:pPr>
            <a:r>
              <a:rPr kumimoji="0" lang="en-US" sz="1600" b="1" i="0" u="none" strike="noStrike" kern="0" cap="none" spc="-50" normalizeH="0" baseline="0" noProof="0">
                <a:ln>
                  <a:noFill/>
                </a:ln>
                <a:solidFill>
                  <a:srgbClr val="000000"/>
                </a:solidFill>
                <a:effectLst/>
                <a:uLnTx/>
                <a:uFillTx/>
                <a:latin typeface="Segoe Sans Display Semibold"/>
                <a:ea typeface="+mn-ea"/>
                <a:cs typeface="Segoe UI"/>
              </a:rPr>
              <a:t>Microsoft Entra Internet Access</a:t>
            </a:r>
          </a:p>
        </p:txBody>
      </p:sp>
      <p:sp>
        <p:nvSpPr>
          <p:cNvPr id="1404" name="Rectangle 1403">
            <a:extLst>
              <a:ext uri="{FF2B5EF4-FFF2-40B4-BE49-F238E27FC236}">
                <a16:creationId xmlns:a16="http://schemas.microsoft.com/office/drawing/2014/main" id="{74F1212B-67E0-176B-3DA7-09EF749D44DF}"/>
              </a:ext>
              <a:ext uri="{C183D7F6-B498-43B3-948B-1728B52AA6E4}">
                <adec:decorative xmlns:adec="http://schemas.microsoft.com/office/drawing/2017/decorative" val="1"/>
              </a:ext>
            </a:extLst>
          </p:cNvPr>
          <p:cNvSpPr/>
          <p:nvPr/>
        </p:nvSpPr>
        <p:spPr bwMode="auto">
          <a:xfrm>
            <a:off x="5113936" y="5448300"/>
            <a:ext cx="1965960" cy="787908"/>
          </a:xfrm>
          <a:prstGeom prst="rect">
            <a:avLst/>
          </a:prstGeom>
          <a:solidFill>
            <a:schemeClr val="bg1"/>
          </a:solidFill>
          <a:ln w="9525" cap="flat" cmpd="sng" algn="ctr">
            <a:noFill/>
            <a:prstDash val="solid"/>
            <a:headEnd type="none" w="med" len="med"/>
            <a:tailEnd type="none" w="med" len="med"/>
          </a:ln>
          <a:effectLst>
            <a:softEdge rad="127000"/>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ts val="1200"/>
              </a:spcBef>
              <a:spcAft>
                <a:spcPct val="0"/>
              </a:spcAft>
              <a:buClrTx/>
              <a:buSzTx/>
              <a:buFontTx/>
              <a:buNone/>
              <a:tabLst/>
              <a:defRPr/>
            </a:pPr>
            <a:r>
              <a:rPr kumimoji="0" lang="en-US" sz="1600" b="1" i="0" u="none" strike="noStrike" kern="0" cap="none" spc="-50" normalizeH="0" baseline="0" noProof="0">
                <a:ln>
                  <a:noFill/>
                </a:ln>
                <a:solidFill>
                  <a:srgbClr val="000000"/>
                </a:solidFill>
                <a:effectLst/>
                <a:uLnTx/>
                <a:uFillTx/>
                <a:latin typeface="Segoe Sans Display Semibold"/>
                <a:ea typeface="+mn-ea"/>
                <a:cs typeface="Segoe UI"/>
              </a:rPr>
              <a:t>Microsoft Entra </a:t>
            </a:r>
            <a:br>
              <a:rPr kumimoji="0" lang="en-US" sz="1600" b="1" i="0" u="none" strike="noStrike" kern="0" cap="none" spc="-50" normalizeH="0" baseline="0" noProof="0">
                <a:ln>
                  <a:noFill/>
                </a:ln>
                <a:solidFill>
                  <a:srgbClr val="000000"/>
                </a:solidFill>
                <a:effectLst/>
                <a:uLnTx/>
                <a:uFillTx/>
                <a:latin typeface="Segoe Sans Display Semibold"/>
                <a:ea typeface="+mn-ea"/>
                <a:cs typeface="Segoe UI"/>
              </a:rPr>
            </a:br>
            <a:r>
              <a:rPr kumimoji="0" lang="en-US" sz="1600" b="1" i="0" u="none" strike="noStrike" kern="0" cap="none" spc="-50" normalizeH="0" baseline="0" noProof="0">
                <a:ln>
                  <a:noFill/>
                </a:ln>
                <a:solidFill>
                  <a:srgbClr val="000000"/>
                </a:solidFill>
                <a:effectLst/>
                <a:uLnTx/>
                <a:uFillTx/>
                <a:latin typeface="Segoe Sans Display Semibold"/>
                <a:ea typeface="+mn-ea"/>
                <a:cs typeface="Segoe UI"/>
              </a:rPr>
              <a:t>ID Governance</a:t>
            </a:r>
          </a:p>
        </p:txBody>
      </p:sp>
      <p:sp>
        <p:nvSpPr>
          <p:cNvPr id="1405" name="Rectangle 1404">
            <a:extLst>
              <a:ext uri="{FF2B5EF4-FFF2-40B4-BE49-F238E27FC236}">
                <a16:creationId xmlns:a16="http://schemas.microsoft.com/office/drawing/2014/main" id="{D8B4CA39-8718-4390-94C4-7ADEB92233FF}"/>
              </a:ext>
              <a:ext uri="{C183D7F6-B498-43B3-948B-1728B52AA6E4}">
                <adec:decorative xmlns:adec="http://schemas.microsoft.com/office/drawing/2017/decorative" val="1"/>
              </a:ext>
            </a:extLst>
          </p:cNvPr>
          <p:cNvSpPr/>
          <p:nvPr/>
        </p:nvSpPr>
        <p:spPr bwMode="auto">
          <a:xfrm>
            <a:off x="7559498" y="4978297"/>
            <a:ext cx="1965960" cy="787908"/>
          </a:xfrm>
          <a:prstGeom prst="rect">
            <a:avLst/>
          </a:prstGeom>
          <a:solidFill>
            <a:schemeClr val="bg1"/>
          </a:solidFill>
          <a:ln w="9525" cap="flat" cmpd="sng" algn="ctr">
            <a:noFill/>
            <a:prstDash val="solid"/>
            <a:headEnd type="none" w="med" len="med"/>
            <a:tailEnd type="none" w="med" len="med"/>
          </a:ln>
          <a:effectLst>
            <a:softEdge rad="127000"/>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ts val="0"/>
              </a:spcBef>
              <a:spcAft>
                <a:spcPct val="0"/>
              </a:spcAft>
              <a:buClrTx/>
              <a:buSzTx/>
              <a:buFontTx/>
              <a:buNone/>
              <a:tabLst/>
              <a:defRPr/>
            </a:pPr>
            <a:r>
              <a:rPr kumimoji="0" lang="en-US" sz="1600" b="1" i="0" u="none" strike="noStrike" kern="0" cap="none" spc="-50" normalizeH="0" baseline="0" noProof="0">
                <a:ln>
                  <a:noFill/>
                </a:ln>
                <a:solidFill>
                  <a:srgbClr val="000000"/>
                </a:solidFill>
                <a:effectLst/>
                <a:uLnTx/>
                <a:uFillTx/>
                <a:latin typeface="Segoe Sans Display Semibold"/>
                <a:ea typeface="+mn-ea"/>
                <a:cs typeface="Segoe UI"/>
              </a:rPr>
              <a:t>Microsoft Entra</a:t>
            </a:r>
            <a:br>
              <a:rPr kumimoji="0" lang="en-US" sz="1600" b="0" i="0" u="none" strike="noStrike" kern="0" cap="none" spc="-50" normalizeH="0" baseline="0" noProof="0">
                <a:ln>
                  <a:noFill/>
                </a:ln>
                <a:solidFill>
                  <a:srgbClr val="000000"/>
                </a:solidFill>
                <a:effectLst/>
                <a:uLnTx/>
                <a:uFillTx/>
                <a:latin typeface="Segoe Sans Display Semibold"/>
                <a:ea typeface="+mn-ea"/>
                <a:cs typeface="Segoe UI" pitchFamily="34" charset="0"/>
              </a:rPr>
            </a:br>
            <a:r>
              <a:rPr kumimoji="0" lang="en-US" sz="1600" b="1" i="0" u="none" strike="noStrike" kern="0" cap="none" spc="-50" normalizeH="0" baseline="0" noProof="0">
                <a:ln>
                  <a:noFill/>
                </a:ln>
                <a:solidFill>
                  <a:srgbClr val="000000"/>
                </a:solidFill>
                <a:effectLst/>
                <a:uLnTx/>
                <a:uFillTx/>
                <a:latin typeface="Segoe Sans Display Semibold"/>
                <a:ea typeface="+mn-ea"/>
                <a:cs typeface="Segoe UI"/>
              </a:rPr>
              <a:t>ID Protection</a:t>
            </a:r>
          </a:p>
        </p:txBody>
      </p:sp>
      <p:sp>
        <p:nvSpPr>
          <p:cNvPr id="1406" name="Rectangle 1405">
            <a:extLst>
              <a:ext uri="{FF2B5EF4-FFF2-40B4-BE49-F238E27FC236}">
                <a16:creationId xmlns:a16="http://schemas.microsoft.com/office/drawing/2014/main" id="{5A43F02B-23F4-A226-9613-1BF4171F1BB2}"/>
              </a:ext>
              <a:ext uri="{C183D7F6-B498-43B3-948B-1728B52AA6E4}">
                <adec:decorative xmlns:adec="http://schemas.microsoft.com/office/drawing/2017/decorative" val="1"/>
              </a:ext>
            </a:extLst>
          </p:cNvPr>
          <p:cNvSpPr/>
          <p:nvPr/>
        </p:nvSpPr>
        <p:spPr bwMode="auto">
          <a:xfrm>
            <a:off x="9639300" y="3737977"/>
            <a:ext cx="1965960" cy="972574"/>
          </a:xfrm>
          <a:prstGeom prst="rect">
            <a:avLst/>
          </a:prstGeom>
          <a:solidFill>
            <a:schemeClr val="bg1"/>
          </a:solidFill>
          <a:ln w="9525" cap="flat" cmpd="sng" algn="ctr">
            <a:noFill/>
            <a:prstDash val="solid"/>
            <a:headEnd type="none" w="med" len="med"/>
            <a:tailEnd type="none" w="med" len="med"/>
          </a:ln>
          <a:effectLst>
            <a:softEdge rad="127000"/>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ts val="0"/>
              </a:spcBef>
              <a:spcAft>
                <a:spcPct val="0"/>
              </a:spcAft>
              <a:buClrTx/>
              <a:buSzTx/>
              <a:buFontTx/>
              <a:buNone/>
              <a:tabLst/>
              <a:defRPr/>
            </a:pPr>
            <a:r>
              <a:rPr kumimoji="0" lang="en-US" sz="1600" b="1" i="0" u="none" strike="noStrike" kern="0" cap="none" spc="-50" normalizeH="0" baseline="0" noProof="0">
                <a:ln>
                  <a:noFill/>
                </a:ln>
                <a:solidFill>
                  <a:srgbClr val="000000"/>
                </a:solidFill>
                <a:effectLst/>
                <a:uLnTx/>
                <a:uFillTx/>
                <a:latin typeface="Segoe Sans Display Semibold"/>
                <a:ea typeface="+mn-ea"/>
                <a:cs typeface="Segoe UI"/>
              </a:rPr>
              <a:t>Microsoft Entra </a:t>
            </a:r>
            <a:br>
              <a:rPr kumimoji="0" lang="en-US" sz="1600" b="1" i="0" u="none" strike="noStrike" kern="0" cap="none" spc="-50" normalizeH="0" baseline="0" noProof="0">
                <a:ln>
                  <a:noFill/>
                </a:ln>
                <a:solidFill>
                  <a:srgbClr val="000000"/>
                </a:solidFill>
                <a:effectLst/>
                <a:uLnTx/>
                <a:uFillTx/>
                <a:latin typeface="Segoe Sans Display Semibold"/>
                <a:ea typeface="+mn-ea"/>
                <a:cs typeface="Segoe UI"/>
              </a:rPr>
            </a:br>
            <a:r>
              <a:rPr kumimoji="0" lang="en-US" sz="1600" b="1" i="0" u="none" strike="noStrike" kern="0" cap="none" spc="-50" normalizeH="0" baseline="0" noProof="0">
                <a:ln>
                  <a:noFill/>
                </a:ln>
                <a:solidFill>
                  <a:srgbClr val="000000"/>
                </a:solidFill>
                <a:effectLst/>
                <a:uLnTx/>
                <a:uFillTx/>
                <a:latin typeface="Segoe Sans Display Semibold"/>
                <a:ea typeface="+mn-ea"/>
                <a:cs typeface="Segoe UI"/>
              </a:rPr>
              <a:t>Verified ID </a:t>
            </a:r>
            <a:br>
              <a:rPr kumimoji="0" lang="en-US" sz="1600" b="0" i="0" u="none" strike="noStrike" kern="0" cap="none" spc="-50" normalizeH="0" baseline="0" noProof="0">
                <a:ln>
                  <a:noFill/>
                </a:ln>
                <a:solidFill>
                  <a:srgbClr val="000000"/>
                </a:solidFill>
                <a:effectLst/>
                <a:uLnTx/>
                <a:uFillTx/>
                <a:latin typeface="Segoe Sans Display Semibold"/>
                <a:ea typeface="+mn-ea"/>
                <a:cs typeface="Segoe UI" pitchFamily="34" charset="0"/>
              </a:rPr>
            </a:br>
            <a:r>
              <a:rPr kumimoji="0" lang="en-US" sz="1200" b="0" i="0" u="none" strike="noStrike" kern="0" cap="none" spc="-50" normalizeH="0" baseline="0" noProof="0">
                <a:ln>
                  <a:noFill/>
                </a:ln>
                <a:solidFill>
                  <a:srgbClr val="000000"/>
                </a:solidFill>
                <a:effectLst/>
                <a:uLnTx/>
                <a:uFillTx/>
                <a:latin typeface="Segoe Sans Display"/>
                <a:ea typeface="+mn-ea"/>
                <a:cs typeface="Segoe UI" pitchFamily="34" charset="0"/>
              </a:rPr>
              <a:t>Premium</a:t>
            </a:r>
          </a:p>
        </p:txBody>
      </p:sp>
      <p:grpSp>
        <p:nvGrpSpPr>
          <p:cNvPr id="1407" name="Group 1406">
            <a:extLst>
              <a:ext uri="{FF2B5EF4-FFF2-40B4-BE49-F238E27FC236}">
                <a16:creationId xmlns:a16="http://schemas.microsoft.com/office/drawing/2014/main" id="{4832A381-C22B-3B04-2D80-E53FB4B03811}"/>
              </a:ext>
              <a:ext uri="{C183D7F6-B498-43B3-948B-1728B52AA6E4}">
                <adec:decorative xmlns:adec="http://schemas.microsoft.com/office/drawing/2017/decorative" val="1"/>
              </a:ext>
            </a:extLst>
          </p:cNvPr>
          <p:cNvGrpSpPr>
            <a:grpSpLocks noChangeAspect="1"/>
          </p:cNvGrpSpPr>
          <p:nvPr/>
        </p:nvGrpSpPr>
        <p:grpSpPr>
          <a:xfrm>
            <a:off x="10275708" y="3112438"/>
            <a:ext cx="693145" cy="693145"/>
            <a:chOff x="3268798" y="4446735"/>
            <a:chExt cx="358666" cy="358666"/>
          </a:xfrm>
        </p:grpSpPr>
        <p:sp>
          <p:nvSpPr>
            <p:cNvPr id="1408" name="Oval 1407">
              <a:extLst>
                <a:ext uri="{FF2B5EF4-FFF2-40B4-BE49-F238E27FC236}">
                  <a16:creationId xmlns:a16="http://schemas.microsoft.com/office/drawing/2014/main" id="{B42B823E-814A-686F-BF03-2C208A28962B}"/>
                </a:ext>
                <a:ext uri="{C183D7F6-B498-43B3-948B-1728B52AA6E4}">
                  <adec:decorative xmlns:adec="http://schemas.microsoft.com/office/drawing/2017/decorative" val="1"/>
                </a:ext>
              </a:extLst>
            </p:cNvPr>
            <p:cNvSpPr/>
            <p:nvPr/>
          </p:nvSpPr>
          <p:spPr>
            <a:xfrm flipH="1">
              <a:off x="3268798" y="4446735"/>
              <a:ext cx="358666" cy="358666"/>
            </a:xfrm>
            <a:prstGeom prst="ellipse">
              <a:avLst/>
            </a:prstGeom>
            <a:solidFill>
              <a:srgbClr val="FFFFFF"/>
            </a:solidFill>
            <a:ln w="19050" cap="flat" cmpd="sng" algn="ctr">
              <a:gradFill>
                <a:gsLst>
                  <a:gs pos="0">
                    <a:srgbClr val="599FFD"/>
                  </a:gs>
                  <a:gs pos="100000">
                    <a:srgbClr val="FADC14"/>
                  </a:gs>
                </a:gsLst>
                <a:lin ang="5400000" scaled="1"/>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Variable Display"/>
                <a:ea typeface="+mn-ea"/>
                <a:cs typeface="Segoe UI" pitchFamily="34" charset="0"/>
              </a:endParaRPr>
            </a:p>
          </p:txBody>
        </p:sp>
        <p:pic>
          <p:nvPicPr>
            <p:cNvPr id="1409" name="Graphic 1408">
              <a:extLst>
                <a:ext uri="{FF2B5EF4-FFF2-40B4-BE49-F238E27FC236}">
                  <a16:creationId xmlns:a16="http://schemas.microsoft.com/office/drawing/2014/main" id="{84BCB492-94D9-F355-0CBC-89E9319E06C5}"/>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23912" y="4501849"/>
              <a:ext cx="248438" cy="248438"/>
            </a:xfrm>
            <a:prstGeom prst="rect">
              <a:avLst/>
            </a:prstGeom>
            <a:effectLst>
              <a:outerShdw blurRad="127000" algn="ctr" rotWithShape="0">
                <a:prstClr val="black">
                  <a:alpha val="20000"/>
                </a:prstClr>
              </a:outerShdw>
            </a:effectLst>
          </p:spPr>
        </p:pic>
      </p:grpSp>
      <p:grpSp>
        <p:nvGrpSpPr>
          <p:cNvPr id="1410" name="Group 1409">
            <a:extLst>
              <a:ext uri="{FF2B5EF4-FFF2-40B4-BE49-F238E27FC236}">
                <a16:creationId xmlns:a16="http://schemas.microsoft.com/office/drawing/2014/main" id="{014FA5D0-A386-4002-A81D-19A74FBA515D}"/>
              </a:ext>
              <a:ext uri="{C183D7F6-B498-43B3-948B-1728B52AA6E4}">
                <adec:decorative xmlns:adec="http://schemas.microsoft.com/office/drawing/2017/decorative" val="1"/>
              </a:ext>
            </a:extLst>
          </p:cNvPr>
          <p:cNvGrpSpPr>
            <a:grpSpLocks noChangeAspect="1"/>
          </p:cNvGrpSpPr>
          <p:nvPr/>
        </p:nvGrpSpPr>
        <p:grpSpPr>
          <a:xfrm>
            <a:off x="1223606" y="3112438"/>
            <a:ext cx="693145" cy="693145"/>
            <a:chOff x="3268798" y="2040215"/>
            <a:chExt cx="358666" cy="358666"/>
          </a:xfrm>
        </p:grpSpPr>
        <p:sp>
          <p:nvSpPr>
            <p:cNvPr id="1411" name="Oval 1410">
              <a:extLst>
                <a:ext uri="{FF2B5EF4-FFF2-40B4-BE49-F238E27FC236}">
                  <a16:creationId xmlns:a16="http://schemas.microsoft.com/office/drawing/2014/main" id="{2BF483CD-0768-38E7-7694-2FAFBB6FC5E0}"/>
                </a:ext>
                <a:ext uri="{C183D7F6-B498-43B3-948B-1728B52AA6E4}">
                  <adec:decorative xmlns:adec="http://schemas.microsoft.com/office/drawing/2017/decorative" val="1"/>
                </a:ext>
              </a:extLst>
            </p:cNvPr>
            <p:cNvSpPr/>
            <p:nvPr/>
          </p:nvSpPr>
          <p:spPr>
            <a:xfrm flipH="1">
              <a:off x="3268798" y="2040215"/>
              <a:ext cx="358666" cy="358666"/>
            </a:xfrm>
            <a:prstGeom prst="ellipse">
              <a:avLst/>
            </a:prstGeom>
            <a:solidFill>
              <a:srgbClr val="FFFFFF"/>
            </a:solidFill>
            <a:ln w="19050" cap="flat" cmpd="sng" algn="ctr">
              <a:gradFill>
                <a:gsLst>
                  <a:gs pos="0">
                    <a:srgbClr val="599FFD"/>
                  </a:gs>
                  <a:gs pos="100000">
                    <a:srgbClr val="FADC14"/>
                  </a:gs>
                </a:gsLst>
                <a:lin ang="5400000" scaled="1"/>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Variable Display"/>
                <a:ea typeface="+mn-ea"/>
                <a:cs typeface="Segoe UI" pitchFamily="34" charset="0"/>
              </a:endParaRPr>
            </a:p>
          </p:txBody>
        </p:sp>
        <p:pic>
          <p:nvPicPr>
            <p:cNvPr id="1412" name="Graphic 1411">
              <a:extLst>
                <a:ext uri="{FF2B5EF4-FFF2-40B4-BE49-F238E27FC236}">
                  <a16:creationId xmlns:a16="http://schemas.microsoft.com/office/drawing/2014/main" id="{9D6BDE2D-7EA5-2D90-4AAC-620C192A009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46897" y="2118314"/>
              <a:ext cx="202468" cy="202468"/>
            </a:xfrm>
            <a:prstGeom prst="rect">
              <a:avLst/>
            </a:prstGeom>
            <a:effectLst>
              <a:outerShdw blurRad="127000" algn="ctr" rotWithShape="0">
                <a:prstClr val="black">
                  <a:alpha val="20000"/>
                </a:prstClr>
              </a:outerShdw>
            </a:effectLst>
          </p:spPr>
        </p:pic>
      </p:grpSp>
      <p:grpSp>
        <p:nvGrpSpPr>
          <p:cNvPr id="1413" name="Group 1412">
            <a:extLst>
              <a:ext uri="{FF2B5EF4-FFF2-40B4-BE49-F238E27FC236}">
                <a16:creationId xmlns:a16="http://schemas.microsoft.com/office/drawing/2014/main" id="{1A6D0C54-88F4-2606-5D3F-06E649657A82}"/>
              </a:ext>
              <a:ext uri="{C183D7F6-B498-43B3-948B-1728B52AA6E4}">
                <adec:decorative xmlns:adec="http://schemas.microsoft.com/office/drawing/2017/decorative" val="1"/>
              </a:ext>
            </a:extLst>
          </p:cNvPr>
          <p:cNvGrpSpPr>
            <a:grpSpLocks noChangeAspect="1"/>
          </p:cNvGrpSpPr>
          <p:nvPr/>
        </p:nvGrpSpPr>
        <p:grpSpPr>
          <a:xfrm>
            <a:off x="3304324" y="4260425"/>
            <a:ext cx="693145" cy="693145"/>
            <a:chOff x="3268798" y="2639773"/>
            <a:chExt cx="358666" cy="358666"/>
          </a:xfrm>
        </p:grpSpPr>
        <p:sp>
          <p:nvSpPr>
            <p:cNvPr id="1414" name="Oval 1413">
              <a:extLst>
                <a:ext uri="{FF2B5EF4-FFF2-40B4-BE49-F238E27FC236}">
                  <a16:creationId xmlns:a16="http://schemas.microsoft.com/office/drawing/2014/main" id="{A40273EB-DF89-876C-22EA-37F9206C03A0}"/>
                </a:ext>
                <a:ext uri="{C183D7F6-B498-43B3-948B-1728B52AA6E4}">
                  <adec:decorative xmlns:adec="http://schemas.microsoft.com/office/drawing/2017/decorative" val="1"/>
                </a:ext>
              </a:extLst>
            </p:cNvPr>
            <p:cNvSpPr/>
            <p:nvPr/>
          </p:nvSpPr>
          <p:spPr>
            <a:xfrm flipH="1">
              <a:off x="3268798" y="2639773"/>
              <a:ext cx="358666" cy="358666"/>
            </a:xfrm>
            <a:prstGeom prst="ellipse">
              <a:avLst/>
            </a:prstGeom>
            <a:solidFill>
              <a:srgbClr val="FFFFFF"/>
            </a:solidFill>
            <a:ln w="19050" cap="flat" cmpd="sng" algn="ctr">
              <a:gradFill>
                <a:gsLst>
                  <a:gs pos="0">
                    <a:srgbClr val="599FFD"/>
                  </a:gs>
                  <a:gs pos="100000">
                    <a:srgbClr val="FADC14"/>
                  </a:gs>
                </a:gsLst>
                <a:lin ang="5400000" scaled="1"/>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Variable Display"/>
                <a:ea typeface="+mn-ea"/>
                <a:cs typeface="Segoe UI" pitchFamily="34" charset="0"/>
              </a:endParaRPr>
            </a:p>
          </p:txBody>
        </p:sp>
        <p:pic>
          <p:nvPicPr>
            <p:cNvPr id="1415" name="Graphic 1414">
              <a:extLst>
                <a:ext uri="{FF2B5EF4-FFF2-40B4-BE49-F238E27FC236}">
                  <a16:creationId xmlns:a16="http://schemas.microsoft.com/office/drawing/2014/main" id="{928B1A5A-DAE8-C6AD-B877-7380A311810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349166" y="2720141"/>
              <a:ext cx="197931" cy="197931"/>
            </a:xfrm>
            <a:prstGeom prst="rect">
              <a:avLst/>
            </a:prstGeom>
            <a:effectLst>
              <a:outerShdw blurRad="127000" algn="ctr" rotWithShape="0">
                <a:prstClr val="black">
                  <a:alpha val="20000"/>
                </a:prstClr>
              </a:outerShdw>
            </a:effectLst>
          </p:spPr>
        </p:pic>
      </p:grpSp>
      <p:grpSp>
        <p:nvGrpSpPr>
          <p:cNvPr id="1416" name="Group 1415">
            <a:extLst>
              <a:ext uri="{FF2B5EF4-FFF2-40B4-BE49-F238E27FC236}">
                <a16:creationId xmlns:a16="http://schemas.microsoft.com/office/drawing/2014/main" id="{722D6204-FC55-2B57-353B-32A8D579FEDC}"/>
              </a:ext>
              <a:ext uri="{C183D7F6-B498-43B3-948B-1728B52AA6E4}">
                <adec:decorative xmlns:adec="http://schemas.microsoft.com/office/drawing/2017/decorative" val="1"/>
              </a:ext>
            </a:extLst>
          </p:cNvPr>
          <p:cNvGrpSpPr>
            <a:grpSpLocks noChangeAspect="1"/>
          </p:cNvGrpSpPr>
          <p:nvPr/>
        </p:nvGrpSpPr>
        <p:grpSpPr>
          <a:xfrm>
            <a:off x="5750344" y="4730428"/>
            <a:ext cx="693145" cy="693145"/>
            <a:chOff x="3268798" y="3240944"/>
            <a:chExt cx="358666" cy="358666"/>
          </a:xfrm>
          <a:solidFill>
            <a:srgbClr val="FFFFFF"/>
          </a:solidFill>
        </p:grpSpPr>
        <p:sp>
          <p:nvSpPr>
            <p:cNvPr id="1417" name="Oval 1416">
              <a:extLst>
                <a:ext uri="{FF2B5EF4-FFF2-40B4-BE49-F238E27FC236}">
                  <a16:creationId xmlns:a16="http://schemas.microsoft.com/office/drawing/2014/main" id="{DAE3A687-81C5-EDB4-5F51-EDEB89E35561}"/>
                </a:ext>
                <a:ext uri="{C183D7F6-B498-43B3-948B-1728B52AA6E4}">
                  <adec:decorative xmlns:adec="http://schemas.microsoft.com/office/drawing/2017/decorative" val="1"/>
                </a:ext>
              </a:extLst>
            </p:cNvPr>
            <p:cNvSpPr/>
            <p:nvPr/>
          </p:nvSpPr>
          <p:spPr>
            <a:xfrm flipH="1">
              <a:off x="3268798" y="3240944"/>
              <a:ext cx="358666" cy="358666"/>
            </a:xfrm>
            <a:prstGeom prst="ellipse">
              <a:avLst/>
            </a:prstGeom>
            <a:solidFill>
              <a:srgbClr val="FFFFFF"/>
            </a:solidFill>
            <a:ln w="19050" cap="flat" cmpd="sng" algn="ctr">
              <a:gradFill>
                <a:gsLst>
                  <a:gs pos="0">
                    <a:srgbClr val="599FFD"/>
                  </a:gs>
                  <a:gs pos="100000">
                    <a:srgbClr val="FADC14"/>
                  </a:gs>
                </a:gsLst>
                <a:lin ang="5400000" scaled="1"/>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Variable Display"/>
                <a:ea typeface="+mn-ea"/>
                <a:cs typeface="Segoe UI" pitchFamily="34" charset="0"/>
              </a:endParaRPr>
            </a:p>
          </p:txBody>
        </p:sp>
        <p:grpSp>
          <p:nvGrpSpPr>
            <p:cNvPr id="1418" name="Graphic 5">
              <a:extLst>
                <a:ext uri="{FF2B5EF4-FFF2-40B4-BE49-F238E27FC236}">
                  <a16:creationId xmlns:a16="http://schemas.microsoft.com/office/drawing/2014/main" id="{FC659FF4-3034-55A7-F0E4-72B980937C33}"/>
                </a:ext>
                <a:ext uri="{C183D7F6-B498-43B3-948B-1728B52AA6E4}">
                  <adec:decorative xmlns:adec="http://schemas.microsoft.com/office/drawing/2017/decorative" val="1"/>
                </a:ext>
              </a:extLst>
            </p:cNvPr>
            <p:cNvGrpSpPr/>
            <p:nvPr/>
          </p:nvGrpSpPr>
          <p:grpSpPr>
            <a:xfrm>
              <a:off x="3340914" y="3313060"/>
              <a:ext cx="214435" cy="214434"/>
              <a:chOff x="943606" y="3823446"/>
              <a:chExt cx="325983" cy="325982"/>
            </a:xfrm>
            <a:grpFill/>
          </p:grpSpPr>
          <p:sp>
            <p:nvSpPr>
              <p:cNvPr id="1419" name="Freeform: Shape 1418">
                <a:extLst>
                  <a:ext uri="{FF2B5EF4-FFF2-40B4-BE49-F238E27FC236}">
                    <a16:creationId xmlns:a16="http://schemas.microsoft.com/office/drawing/2014/main" id="{C7989A0C-0A50-44BB-62A0-10A59E43BE09}"/>
                  </a:ext>
                </a:extLst>
              </p:cNvPr>
              <p:cNvSpPr/>
              <p:nvPr/>
            </p:nvSpPr>
            <p:spPr>
              <a:xfrm>
                <a:off x="943606" y="3823446"/>
                <a:ext cx="325983" cy="325982"/>
              </a:xfrm>
              <a:custGeom>
                <a:avLst/>
                <a:gdLst>
                  <a:gd name="connsiteX0" fmla="*/ 325966 w 325983"/>
                  <a:gd name="connsiteY0" fmla="*/ 162991 h 325982"/>
                  <a:gd name="connsiteX1" fmla="*/ 305737 w 325983"/>
                  <a:gd name="connsiteY1" fmla="*/ 84393 h 325982"/>
                  <a:gd name="connsiteX2" fmla="*/ 317128 w 325983"/>
                  <a:gd name="connsiteY2" fmla="*/ 54638 h 325982"/>
                  <a:gd name="connsiteX3" fmla="*/ 271853 w 325983"/>
                  <a:gd name="connsiteY3" fmla="*/ 9363 h 325982"/>
                  <a:gd name="connsiteX4" fmla="*/ 242242 w 325983"/>
                  <a:gd name="connsiteY4" fmla="*/ 20646 h 325982"/>
                  <a:gd name="connsiteX5" fmla="*/ 162956 w 325983"/>
                  <a:gd name="connsiteY5" fmla="*/ 0 h 325982"/>
                  <a:gd name="connsiteX6" fmla="*/ 83669 w 325983"/>
                  <a:gd name="connsiteY6" fmla="*/ 20646 h 325982"/>
                  <a:gd name="connsiteX7" fmla="*/ 54059 w 325983"/>
                  <a:gd name="connsiteY7" fmla="*/ 9363 h 325982"/>
                  <a:gd name="connsiteX8" fmla="*/ 8802 w 325983"/>
                  <a:gd name="connsiteY8" fmla="*/ 54638 h 325982"/>
                  <a:gd name="connsiteX9" fmla="*/ 20211 w 325983"/>
                  <a:gd name="connsiteY9" fmla="*/ 84393 h 325982"/>
                  <a:gd name="connsiteX10" fmla="*/ 0 w 325983"/>
                  <a:gd name="connsiteY10" fmla="*/ 162991 h 325982"/>
                  <a:gd name="connsiteX11" fmla="*/ 20754 w 325983"/>
                  <a:gd name="connsiteY11" fmla="*/ 242458 h 325982"/>
                  <a:gd name="connsiteX12" fmla="*/ 8820 w 325983"/>
                  <a:gd name="connsiteY12" fmla="*/ 272865 h 325982"/>
                  <a:gd name="connsiteX13" fmla="*/ 54095 w 325983"/>
                  <a:gd name="connsiteY13" fmla="*/ 318140 h 325982"/>
                  <a:gd name="connsiteX14" fmla="*/ 84756 w 325983"/>
                  <a:gd name="connsiteY14" fmla="*/ 305988 h 325982"/>
                  <a:gd name="connsiteX15" fmla="*/ 162992 w 325983"/>
                  <a:gd name="connsiteY15" fmla="*/ 325982 h 325982"/>
                  <a:gd name="connsiteX16" fmla="*/ 241228 w 325983"/>
                  <a:gd name="connsiteY16" fmla="*/ 305988 h 325982"/>
                  <a:gd name="connsiteX17" fmla="*/ 271889 w 325983"/>
                  <a:gd name="connsiteY17" fmla="*/ 318140 h 325982"/>
                  <a:gd name="connsiteX18" fmla="*/ 317164 w 325983"/>
                  <a:gd name="connsiteY18" fmla="*/ 272865 h 325982"/>
                  <a:gd name="connsiteX19" fmla="*/ 305230 w 325983"/>
                  <a:gd name="connsiteY19" fmla="*/ 242476 h 325982"/>
                  <a:gd name="connsiteX20" fmla="*/ 325984 w 325983"/>
                  <a:gd name="connsiteY20" fmla="*/ 163009 h 325982"/>
                  <a:gd name="connsiteX21" fmla="*/ 246589 w 325983"/>
                  <a:gd name="connsiteY21" fmla="*/ 44877 h 325982"/>
                  <a:gd name="connsiteX22" fmla="*/ 258505 w 325983"/>
                  <a:gd name="connsiteY22" fmla="*/ 31131 h 325982"/>
                  <a:gd name="connsiteX23" fmla="*/ 271871 w 325983"/>
                  <a:gd name="connsiteY23" fmla="*/ 27473 h 325982"/>
                  <a:gd name="connsiteX24" fmla="*/ 299036 w 325983"/>
                  <a:gd name="connsiteY24" fmla="*/ 54638 h 325982"/>
                  <a:gd name="connsiteX25" fmla="*/ 295323 w 325983"/>
                  <a:gd name="connsiteY25" fmla="*/ 68094 h 325982"/>
                  <a:gd name="connsiteX26" fmla="*/ 281523 w 325983"/>
                  <a:gd name="connsiteY26" fmla="*/ 79938 h 325982"/>
                  <a:gd name="connsiteX27" fmla="*/ 271871 w 325983"/>
                  <a:gd name="connsiteY27" fmla="*/ 81785 h 325982"/>
                  <a:gd name="connsiteX28" fmla="*/ 244705 w 325983"/>
                  <a:gd name="connsiteY28" fmla="*/ 54620 h 325982"/>
                  <a:gd name="connsiteX29" fmla="*/ 246589 w 325983"/>
                  <a:gd name="connsiteY29" fmla="*/ 44859 h 325982"/>
                  <a:gd name="connsiteX30" fmla="*/ 54077 w 325983"/>
                  <a:gd name="connsiteY30" fmla="*/ 27473 h 325982"/>
                  <a:gd name="connsiteX31" fmla="*/ 67442 w 325983"/>
                  <a:gd name="connsiteY31" fmla="*/ 31131 h 325982"/>
                  <a:gd name="connsiteX32" fmla="*/ 79359 w 325983"/>
                  <a:gd name="connsiteY32" fmla="*/ 44877 h 325982"/>
                  <a:gd name="connsiteX33" fmla="*/ 81242 w 325983"/>
                  <a:gd name="connsiteY33" fmla="*/ 54638 h 325982"/>
                  <a:gd name="connsiteX34" fmla="*/ 54077 w 325983"/>
                  <a:gd name="connsiteY34" fmla="*/ 81803 h 325982"/>
                  <a:gd name="connsiteX35" fmla="*/ 44442 w 325983"/>
                  <a:gd name="connsiteY35" fmla="*/ 79956 h 325982"/>
                  <a:gd name="connsiteX36" fmla="*/ 30642 w 325983"/>
                  <a:gd name="connsiteY36" fmla="*/ 68112 h 325982"/>
                  <a:gd name="connsiteX37" fmla="*/ 26930 w 325983"/>
                  <a:gd name="connsiteY37" fmla="*/ 54638 h 325982"/>
                  <a:gd name="connsiteX38" fmla="*/ 54095 w 325983"/>
                  <a:gd name="connsiteY38" fmla="*/ 27473 h 325982"/>
                  <a:gd name="connsiteX39" fmla="*/ 79739 w 325983"/>
                  <a:gd name="connsiteY39" fmla="*/ 281377 h 325982"/>
                  <a:gd name="connsiteX40" fmla="*/ 68602 w 325983"/>
                  <a:gd name="connsiteY40" fmla="*/ 295720 h 325982"/>
                  <a:gd name="connsiteX41" fmla="*/ 54077 w 325983"/>
                  <a:gd name="connsiteY41" fmla="*/ 300012 h 325982"/>
                  <a:gd name="connsiteX42" fmla="*/ 26912 w 325983"/>
                  <a:gd name="connsiteY42" fmla="*/ 272847 h 325982"/>
                  <a:gd name="connsiteX43" fmla="*/ 31095 w 325983"/>
                  <a:gd name="connsiteY43" fmla="*/ 258504 h 325982"/>
                  <a:gd name="connsiteX44" fmla="*/ 45348 w 325983"/>
                  <a:gd name="connsiteY44" fmla="*/ 247239 h 325982"/>
                  <a:gd name="connsiteX45" fmla="*/ 54077 w 325983"/>
                  <a:gd name="connsiteY45" fmla="*/ 245682 h 325982"/>
                  <a:gd name="connsiteX46" fmla="*/ 81242 w 325983"/>
                  <a:gd name="connsiteY46" fmla="*/ 272847 h 325982"/>
                  <a:gd name="connsiteX47" fmla="*/ 79739 w 325983"/>
                  <a:gd name="connsiteY47" fmla="*/ 281377 h 325982"/>
                  <a:gd name="connsiteX48" fmla="*/ 271871 w 325983"/>
                  <a:gd name="connsiteY48" fmla="*/ 300012 h 325982"/>
                  <a:gd name="connsiteX49" fmla="*/ 257346 w 325983"/>
                  <a:gd name="connsiteY49" fmla="*/ 295720 h 325982"/>
                  <a:gd name="connsiteX50" fmla="*/ 246208 w 325983"/>
                  <a:gd name="connsiteY50" fmla="*/ 281377 h 325982"/>
                  <a:gd name="connsiteX51" fmla="*/ 244705 w 325983"/>
                  <a:gd name="connsiteY51" fmla="*/ 272847 h 325982"/>
                  <a:gd name="connsiteX52" fmla="*/ 271871 w 325983"/>
                  <a:gd name="connsiteY52" fmla="*/ 245682 h 325982"/>
                  <a:gd name="connsiteX53" fmla="*/ 280600 w 325983"/>
                  <a:gd name="connsiteY53" fmla="*/ 247257 h 325982"/>
                  <a:gd name="connsiteX54" fmla="*/ 294853 w 325983"/>
                  <a:gd name="connsiteY54" fmla="*/ 258522 h 325982"/>
                  <a:gd name="connsiteX55" fmla="*/ 299036 w 325983"/>
                  <a:gd name="connsiteY55" fmla="*/ 272865 h 325982"/>
                  <a:gd name="connsiteX56" fmla="*/ 271871 w 325983"/>
                  <a:gd name="connsiteY56" fmla="*/ 300030 h 325982"/>
                  <a:gd name="connsiteX57" fmla="*/ 271871 w 325983"/>
                  <a:gd name="connsiteY57" fmla="*/ 227572 h 325982"/>
                  <a:gd name="connsiteX58" fmla="*/ 226595 w 325983"/>
                  <a:gd name="connsiteY58" fmla="*/ 272847 h 325982"/>
                  <a:gd name="connsiteX59" fmla="*/ 230489 w 325983"/>
                  <a:gd name="connsiteY59" fmla="*/ 291084 h 325982"/>
                  <a:gd name="connsiteX60" fmla="*/ 162974 w 325983"/>
                  <a:gd name="connsiteY60" fmla="*/ 307872 h 325982"/>
                  <a:gd name="connsiteX61" fmla="*/ 95459 w 325983"/>
                  <a:gd name="connsiteY61" fmla="*/ 291084 h 325982"/>
                  <a:gd name="connsiteX62" fmla="*/ 99353 w 325983"/>
                  <a:gd name="connsiteY62" fmla="*/ 272865 h 325982"/>
                  <a:gd name="connsiteX63" fmla="*/ 54077 w 325983"/>
                  <a:gd name="connsiteY63" fmla="*/ 227590 h 325982"/>
                  <a:gd name="connsiteX64" fmla="*/ 35460 w 325983"/>
                  <a:gd name="connsiteY64" fmla="*/ 231683 h 325982"/>
                  <a:gd name="connsiteX65" fmla="*/ 18092 w 325983"/>
                  <a:gd name="connsiteY65" fmla="*/ 162991 h 325982"/>
                  <a:gd name="connsiteX66" fmla="*/ 34880 w 325983"/>
                  <a:gd name="connsiteY66" fmla="*/ 95495 h 325982"/>
                  <a:gd name="connsiteX67" fmla="*/ 54077 w 325983"/>
                  <a:gd name="connsiteY67" fmla="*/ 99913 h 325982"/>
                  <a:gd name="connsiteX68" fmla="*/ 99353 w 325983"/>
                  <a:gd name="connsiteY68" fmla="*/ 54638 h 325982"/>
                  <a:gd name="connsiteX69" fmla="*/ 94825 w 325983"/>
                  <a:gd name="connsiteY69" fmla="*/ 35206 h 325982"/>
                  <a:gd name="connsiteX70" fmla="*/ 162992 w 325983"/>
                  <a:gd name="connsiteY70" fmla="*/ 18092 h 325982"/>
                  <a:gd name="connsiteX71" fmla="*/ 231141 w 325983"/>
                  <a:gd name="connsiteY71" fmla="*/ 35188 h 325982"/>
                  <a:gd name="connsiteX72" fmla="*/ 226613 w 325983"/>
                  <a:gd name="connsiteY72" fmla="*/ 54620 h 325982"/>
                  <a:gd name="connsiteX73" fmla="*/ 271889 w 325983"/>
                  <a:gd name="connsiteY73" fmla="*/ 99895 h 325982"/>
                  <a:gd name="connsiteX74" fmla="*/ 291086 w 325983"/>
                  <a:gd name="connsiteY74" fmla="*/ 95477 h 325982"/>
                  <a:gd name="connsiteX75" fmla="*/ 307874 w 325983"/>
                  <a:gd name="connsiteY75" fmla="*/ 162973 h 325982"/>
                  <a:gd name="connsiteX76" fmla="*/ 290506 w 325983"/>
                  <a:gd name="connsiteY76" fmla="*/ 231665 h 325982"/>
                  <a:gd name="connsiteX77" fmla="*/ 271871 w 325983"/>
                  <a:gd name="connsiteY77" fmla="*/ 227554 h 3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325983" h="325982">
                    <a:moveTo>
                      <a:pt x="325966" y="162991"/>
                    </a:moveTo>
                    <a:cubicBezTo>
                      <a:pt x="325966" y="134486"/>
                      <a:pt x="318613" y="107719"/>
                      <a:pt x="305737" y="84393"/>
                    </a:cubicBezTo>
                    <a:cubicBezTo>
                      <a:pt x="312745" y="76425"/>
                      <a:pt x="317128" y="66084"/>
                      <a:pt x="317128" y="54638"/>
                    </a:cubicBezTo>
                    <a:cubicBezTo>
                      <a:pt x="317128" y="29628"/>
                      <a:pt x="296863" y="9363"/>
                      <a:pt x="271853" y="9363"/>
                    </a:cubicBezTo>
                    <a:cubicBezTo>
                      <a:pt x="260479" y="9363"/>
                      <a:pt x="250193" y="13709"/>
                      <a:pt x="242242" y="20646"/>
                    </a:cubicBezTo>
                    <a:cubicBezTo>
                      <a:pt x="218771" y="7534"/>
                      <a:pt x="191751" y="0"/>
                      <a:pt x="162956" y="0"/>
                    </a:cubicBezTo>
                    <a:cubicBezTo>
                      <a:pt x="134161" y="0"/>
                      <a:pt x="107140" y="7534"/>
                      <a:pt x="83669" y="20646"/>
                    </a:cubicBezTo>
                    <a:cubicBezTo>
                      <a:pt x="75719" y="13709"/>
                      <a:pt x="65432" y="9363"/>
                      <a:pt x="54059" y="9363"/>
                    </a:cubicBezTo>
                    <a:cubicBezTo>
                      <a:pt x="29067" y="9363"/>
                      <a:pt x="8802" y="29628"/>
                      <a:pt x="8802" y="54638"/>
                    </a:cubicBezTo>
                    <a:cubicBezTo>
                      <a:pt x="8802" y="66084"/>
                      <a:pt x="13184" y="76425"/>
                      <a:pt x="20211" y="84393"/>
                    </a:cubicBezTo>
                    <a:cubicBezTo>
                      <a:pt x="7353" y="107701"/>
                      <a:pt x="0" y="134486"/>
                      <a:pt x="0" y="162991"/>
                    </a:cubicBezTo>
                    <a:cubicBezTo>
                      <a:pt x="0" y="191859"/>
                      <a:pt x="7570" y="218933"/>
                      <a:pt x="20754" y="242458"/>
                    </a:cubicBezTo>
                    <a:cubicBezTo>
                      <a:pt x="13420" y="250499"/>
                      <a:pt x="8820" y="261112"/>
                      <a:pt x="8820" y="272865"/>
                    </a:cubicBezTo>
                    <a:cubicBezTo>
                      <a:pt x="8820" y="297875"/>
                      <a:pt x="29085" y="318140"/>
                      <a:pt x="54095" y="318140"/>
                    </a:cubicBezTo>
                    <a:cubicBezTo>
                      <a:pt x="65976" y="318140"/>
                      <a:pt x="76679" y="313468"/>
                      <a:pt x="84756" y="305988"/>
                    </a:cubicBezTo>
                    <a:cubicBezTo>
                      <a:pt x="107973" y="318720"/>
                      <a:pt x="134631" y="325982"/>
                      <a:pt x="162992" y="325982"/>
                    </a:cubicBezTo>
                    <a:cubicBezTo>
                      <a:pt x="191353" y="325982"/>
                      <a:pt x="217993" y="318720"/>
                      <a:pt x="241228" y="305988"/>
                    </a:cubicBezTo>
                    <a:cubicBezTo>
                      <a:pt x="249305" y="313468"/>
                      <a:pt x="260027" y="318140"/>
                      <a:pt x="271889" y="318140"/>
                    </a:cubicBezTo>
                    <a:cubicBezTo>
                      <a:pt x="296899" y="318140"/>
                      <a:pt x="317164" y="297875"/>
                      <a:pt x="317164" y="272865"/>
                    </a:cubicBezTo>
                    <a:cubicBezTo>
                      <a:pt x="317164" y="261112"/>
                      <a:pt x="312582" y="250517"/>
                      <a:pt x="305230" y="242476"/>
                    </a:cubicBezTo>
                    <a:cubicBezTo>
                      <a:pt x="318396" y="218951"/>
                      <a:pt x="325984" y="191877"/>
                      <a:pt x="325984" y="163009"/>
                    </a:cubicBezTo>
                    <a:close/>
                    <a:moveTo>
                      <a:pt x="246589" y="44877"/>
                    </a:moveTo>
                    <a:cubicBezTo>
                      <a:pt x="248853" y="39009"/>
                      <a:pt x="253108" y="34210"/>
                      <a:pt x="258505" y="31131"/>
                    </a:cubicBezTo>
                    <a:cubicBezTo>
                      <a:pt x="262471" y="28868"/>
                      <a:pt x="266981" y="27473"/>
                      <a:pt x="271871" y="27473"/>
                    </a:cubicBezTo>
                    <a:cubicBezTo>
                      <a:pt x="286848" y="27473"/>
                      <a:pt x="299036" y="39661"/>
                      <a:pt x="299036" y="54638"/>
                    </a:cubicBezTo>
                    <a:cubicBezTo>
                      <a:pt x="299036" y="59564"/>
                      <a:pt x="297623" y="64110"/>
                      <a:pt x="295323" y="68094"/>
                    </a:cubicBezTo>
                    <a:cubicBezTo>
                      <a:pt x="292208" y="73473"/>
                      <a:pt x="287391" y="77692"/>
                      <a:pt x="281523" y="79938"/>
                    </a:cubicBezTo>
                    <a:cubicBezTo>
                      <a:pt x="278517" y="81097"/>
                      <a:pt x="275293" y="81785"/>
                      <a:pt x="271871" y="81785"/>
                    </a:cubicBezTo>
                    <a:cubicBezTo>
                      <a:pt x="256894" y="81785"/>
                      <a:pt x="244705" y="69597"/>
                      <a:pt x="244705" y="54620"/>
                    </a:cubicBezTo>
                    <a:cubicBezTo>
                      <a:pt x="244705" y="51179"/>
                      <a:pt x="245412" y="47901"/>
                      <a:pt x="246589" y="44859"/>
                    </a:cubicBezTo>
                    <a:close/>
                    <a:moveTo>
                      <a:pt x="54077" y="27473"/>
                    </a:moveTo>
                    <a:cubicBezTo>
                      <a:pt x="58949" y="27473"/>
                      <a:pt x="63476" y="28868"/>
                      <a:pt x="67442" y="31131"/>
                    </a:cubicBezTo>
                    <a:cubicBezTo>
                      <a:pt x="72839" y="34210"/>
                      <a:pt x="77095" y="39027"/>
                      <a:pt x="79359" y="44877"/>
                    </a:cubicBezTo>
                    <a:cubicBezTo>
                      <a:pt x="80536" y="47919"/>
                      <a:pt x="81242" y="51179"/>
                      <a:pt x="81242" y="54638"/>
                    </a:cubicBezTo>
                    <a:cubicBezTo>
                      <a:pt x="81242" y="69615"/>
                      <a:pt x="69054" y="81803"/>
                      <a:pt x="54077" y="81803"/>
                    </a:cubicBezTo>
                    <a:cubicBezTo>
                      <a:pt x="50672" y="81803"/>
                      <a:pt x="47449" y="81097"/>
                      <a:pt x="44442" y="79956"/>
                    </a:cubicBezTo>
                    <a:cubicBezTo>
                      <a:pt x="38575" y="77710"/>
                      <a:pt x="33739" y="73491"/>
                      <a:pt x="30642" y="68112"/>
                    </a:cubicBezTo>
                    <a:cubicBezTo>
                      <a:pt x="28342" y="64128"/>
                      <a:pt x="26930" y="59564"/>
                      <a:pt x="26930" y="54638"/>
                    </a:cubicBezTo>
                    <a:cubicBezTo>
                      <a:pt x="26930" y="39661"/>
                      <a:pt x="39118" y="27473"/>
                      <a:pt x="54095" y="27473"/>
                    </a:cubicBezTo>
                    <a:close/>
                    <a:moveTo>
                      <a:pt x="79739" y="281377"/>
                    </a:moveTo>
                    <a:cubicBezTo>
                      <a:pt x="77747" y="287353"/>
                      <a:pt x="73817" y="292388"/>
                      <a:pt x="68602" y="295720"/>
                    </a:cubicBezTo>
                    <a:cubicBezTo>
                      <a:pt x="64382" y="298400"/>
                      <a:pt x="59420" y="300012"/>
                      <a:pt x="54077" y="300012"/>
                    </a:cubicBezTo>
                    <a:cubicBezTo>
                      <a:pt x="39100" y="300012"/>
                      <a:pt x="26912" y="287824"/>
                      <a:pt x="26912" y="272847"/>
                    </a:cubicBezTo>
                    <a:cubicBezTo>
                      <a:pt x="26912" y="267577"/>
                      <a:pt x="28487" y="262687"/>
                      <a:pt x="31095" y="258504"/>
                    </a:cubicBezTo>
                    <a:cubicBezTo>
                      <a:pt x="34373" y="253252"/>
                      <a:pt x="39390" y="249286"/>
                      <a:pt x="45348" y="247239"/>
                    </a:cubicBezTo>
                    <a:cubicBezTo>
                      <a:pt x="48101" y="246298"/>
                      <a:pt x="50998" y="245682"/>
                      <a:pt x="54077" y="245682"/>
                    </a:cubicBezTo>
                    <a:cubicBezTo>
                      <a:pt x="69054" y="245682"/>
                      <a:pt x="81242" y="257870"/>
                      <a:pt x="81242" y="272847"/>
                    </a:cubicBezTo>
                    <a:cubicBezTo>
                      <a:pt x="81242" y="275835"/>
                      <a:pt x="80645" y="278678"/>
                      <a:pt x="79739" y="281377"/>
                    </a:cubicBezTo>
                    <a:close/>
                    <a:moveTo>
                      <a:pt x="271871" y="300012"/>
                    </a:moveTo>
                    <a:cubicBezTo>
                      <a:pt x="266510" y="300012"/>
                      <a:pt x="261548" y="298400"/>
                      <a:pt x="257346" y="295720"/>
                    </a:cubicBezTo>
                    <a:cubicBezTo>
                      <a:pt x="252131" y="292388"/>
                      <a:pt x="248201" y="287353"/>
                      <a:pt x="246208" y="281377"/>
                    </a:cubicBezTo>
                    <a:cubicBezTo>
                      <a:pt x="245303" y="278678"/>
                      <a:pt x="244705" y="275835"/>
                      <a:pt x="244705" y="272847"/>
                    </a:cubicBezTo>
                    <a:cubicBezTo>
                      <a:pt x="244705" y="257870"/>
                      <a:pt x="256894" y="245682"/>
                      <a:pt x="271871" y="245682"/>
                    </a:cubicBezTo>
                    <a:cubicBezTo>
                      <a:pt x="274949" y="245682"/>
                      <a:pt x="277847" y="246298"/>
                      <a:pt x="280600" y="247257"/>
                    </a:cubicBezTo>
                    <a:cubicBezTo>
                      <a:pt x="286540" y="249304"/>
                      <a:pt x="291556" y="253270"/>
                      <a:pt x="294853" y="258522"/>
                    </a:cubicBezTo>
                    <a:cubicBezTo>
                      <a:pt x="297460" y="262687"/>
                      <a:pt x="299036" y="267577"/>
                      <a:pt x="299036" y="272865"/>
                    </a:cubicBezTo>
                    <a:cubicBezTo>
                      <a:pt x="299036" y="287842"/>
                      <a:pt x="286848" y="300030"/>
                      <a:pt x="271871" y="300030"/>
                    </a:cubicBezTo>
                    <a:close/>
                    <a:moveTo>
                      <a:pt x="271871" y="227572"/>
                    </a:moveTo>
                    <a:cubicBezTo>
                      <a:pt x="246860" y="227572"/>
                      <a:pt x="226595" y="247837"/>
                      <a:pt x="226595" y="272847"/>
                    </a:cubicBezTo>
                    <a:cubicBezTo>
                      <a:pt x="226595" y="279348"/>
                      <a:pt x="228026" y="285488"/>
                      <a:pt x="230489" y="291084"/>
                    </a:cubicBezTo>
                    <a:cubicBezTo>
                      <a:pt x="210314" y="301769"/>
                      <a:pt x="187350" y="307872"/>
                      <a:pt x="162974" y="307872"/>
                    </a:cubicBezTo>
                    <a:cubicBezTo>
                      <a:pt x="138598" y="307872"/>
                      <a:pt x="115652" y="301751"/>
                      <a:pt x="95459" y="291084"/>
                    </a:cubicBezTo>
                    <a:cubicBezTo>
                      <a:pt x="97922" y="285506"/>
                      <a:pt x="99353" y="279348"/>
                      <a:pt x="99353" y="272865"/>
                    </a:cubicBezTo>
                    <a:cubicBezTo>
                      <a:pt x="99353" y="247855"/>
                      <a:pt x="79087" y="227590"/>
                      <a:pt x="54077" y="227590"/>
                    </a:cubicBezTo>
                    <a:cubicBezTo>
                      <a:pt x="47413" y="227590"/>
                      <a:pt x="41146" y="229111"/>
                      <a:pt x="35460" y="231683"/>
                    </a:cubicBezTo>
                    <a:cubicBezTo>
                      <a:pt x="24394" y="211236"/>
                      <a:pt x="18092" y="187838"/>
                      <a:pt x="18092" y="162991"/>
                    </a:cubicBezTo>
                    <a:cubicBezTo>
                      <a:pt x="18092" y="138615"/>
                      <a:pt x="24195" y="115669"/>
                      <a:pt x="34880" y="95495"/>
                    </a:cubicBezTo>
                    <a:cubicBezTo>
                      <a:pt x="40730" y="98247"/>
                      <a:pt x="47195" y="99913"/>
                      <a:pt x="54077" y="99913"/>
                    </a:cubicBezTo>
                    <a:cubicBezTo>
                      <a:pt x="79087" y="99913"/>
                      <a:pt x="99353" y="79648"/>
                      <a:pt x="99353" y="54638"/>
                    </a:cubicBezTo>
                    <a:cubicBezTo>
                      <a:pt x="99353" y="47648"/>
                      <a:pt x="97632" y="41128"/>
                      <a:pt x="94825" y="35206"/>
                    </a:cubicBezTo>
                    <a:cubicBezTo>
                      <a:pt x="115163" y="24322"/>
                      <a:pt x="138344" y="18092"/>
                      <a:pt x="162992" y="18092"/>
                    </a:cubicBezTo>
                    <a:cubicBezTo>
                      <a:pt x="187640" y="18092"/>
                      <a:pt x="210821" y="24304"/>
                      <a:pt x="231141" y="35188"/>
                    </a:cubicBezTo>
                    <a:cubicBezTo>
                      <a:pt x="228316" y="41092"/>
                      <a:pt x="226613" y="47630"/>
                      <a:pt x="226613" y="54620"/>
                    </a:cubicBezTo>
                    <a:cubicBezTo>
                      <a:pt x="226613" y="79630"/>
                      <a:pt x="246879" y="99895"/>
                      <a:pt x="271889" y="99895"/>
                    </a:cubicBezTo>
                    <a:cubicBezTo>
                      <a:pt x="278789" y="99895"/>
                      <a:pt x="285236" y="98229"/>
                      <a:pt x="291086" y="95477"/>
                    </a:cubicBezTo>
                    <a:cubicBezTo>
                      <a:pt x="301753" y="115651"/>
                      <a:pt x="307874" y="138597"/>
                      <a:pt x="307874" y="162973"/>
                    </a:cubicBezTo>
                    <a:cubicBezTo>
                      <a:pt x="307874" y="187820"/>
                      <a:pt x="301571" y="211200"/>
                      <a:pt x="290506" y="231665"/>
                    </a:cubicBezTo>
                    <a:cubicBezTo>
                      <a:pt x="284819" y="229075"/>
                      <a:pt x="278535" y="227554"/>
                      <a:pt x="271871" y="227554"/>
                    </a:cubicBezTo>
                    <a:close/>
                  </a:path>
                </a:pathLst>
              </a:custGeom>
              <a:solidFill>
                <a:schemeClr val="tx1"/>
              </a:solidFill>
              <a:ln w="179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a:ea typeface="+mn-ea"/>
                  <a:cs typeface="+mn-cs"/>
                </a:endParaRPr>
              </a:p>
            </p:txBody>
          </p:sp>
          <p:grpSp>
            <p:nvGrpSpPr>
              <p:cNvPr id="1420" name="Graphic 5">
                <a:extLst>
                  <a:ext uri="{FF2B5EF4-FFF2-40B4-BE49-F238E27FC236}">
                    <a16:creationId xmlns:a16="http://schemas.microsoft.com/office/drawing/2014/main" id="{96040AB6-665E-EF61-5528-8C51EAE60FB2}"/>
                  </a:ext>
                </a:extLst>
              </p:cNvPr>
              <p:cNvGrpSpPr/>
              <p:nvPr/>
            </p:nvGrpSpPr>
            <p:grpSpPr>
              <a:xfrm>
                <a:off x="1034157" y="3896647"/>
                <a:ext cx="144827" cy="180992"/>
                <a:chOff x="1034157" y="3896647"/>
                <a:chExt cx="144827" cy="180992"/>
              </a:xfrm>
              <a:grpFill/>
            </p:grpSpPr>
            <p:sp>
              <p:nvSpPr>
                <p:cNvPr id="1421" name="Freeform: Shape 1420">
                  <a:extLst>
                    <a:ext uri="{FF2B5EF4-FFF2-40B4-BE49-F238E27FC236}">
                      <a16:creationId xmlns:a16="http://schemas.microsoft.com/office/drawing/2014/main" id="{2EC6D8CD-1215-E32F-7E2C-50149F192AE2}"/>
                    </a:ext>
                  </a:extLst>
                </p:cNvPr>
                <p:cNvSpPr/>
                <p:nvPr/>
              </p:nvSpPr>
              <p:spPr>
                <a:xfrm>
                  <a:off x="1034157" y="4005199"/>
                  <a:ext cx="144827" cy="72440"/>
                </a:xfrm>
                <a:custGeom>
                  <a:avLst/>
                  <a:gdLst>
                    <a:gd name="connsiteX0" fmla="*/ 124472 w 144827"/>
                    <a:gd name="connsiteY0" fmla="*/ 18 h 72440"/>
                    <a:gd name="connsiteX1" fmla="*/ 20356 w 144827"/>
                    <a:gd name="connsiteY1" fmla="*/ 18 h 72440"/>
                    <a:gd name="connsiteX2" fmla="*/ 0 w 144827"/>
                    <a:gd name="connsiteY2" fmla="*/ 20374 h 72440"/>
                    <a:gd name="connsiteX3" fmla="*/ 0 w 144827"/>
                    <a:gd name="connsiteY3" fmla="*/ 25608 h 72440"/>
                    <a:gd name="connsiteX4" fmla="*/ 8131 w 144827"/>
                    <a:gd name="connsiteY4" fmla="*/ 47648 h 72440"/>
                    <a:gd name="connsiteX5" fmla="*/ 72387 w 144827"/>
                    <a:gd name="connsiteY5" fmla="*/ 72440 h 72440"/>
                    <a:gd name="connsiteX6" fmla="*/ 136678 w 144827"/>
                    <a:gd name="connsiteY6" fmla="*/ 47648 h 72440"/>
                    <a:gd name="connsiteX7" fmla="*/ 144827 w 144827"/>
                    <a:gd name="connsiteY7" fmla="*/ 25571 h 72440"/>
                    <a:gd name="connsiteX8" fmla="*/ 144827 w 144827"/>
                    <a:gd name="connsiteY8" fmla="*/ 20356 h 72440"/>
                    <a:gd name="connsiteX9" fmla="*/ 124472 w 144827"/>
                    <a:gd name="connsiteY9" fmla="*/ 0 h 72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827" h="72440">
                      <a:moveTo>
                        <a:pt x="124472" y="18"/>
                      </a:moveTo>
                      <a:lnTo>
                        <a:pt x="20356" y="18"/>
                      </a:lnTo>
                      <a:cubicBezTo>
                        <a:pt x="9109" y="18"/>
                        <a:pt x="0" y="9127"/>
                        <a:pt x="0" y="20374"/>
                      </a:cubicBezTo>
                      <a:lnTo>
                        <a:pt x="0" y="25608"/>
                      </a:lnTo>
                      <a:cubicBezTo>
                        <a:pt x="0" y="33685"/>
                        <a:pt x="2880" y="41508"/>
                        <a:pt x="8131" y="47648"/>
                      </a:cubicBezTo>
                      <a:cubicBezTo>
                        <a:pt x="22312" y="64255"/>
                        <a:pt x="43917" y="72440"/>
                        <a:pt x="72387" y="72440"/>
                      </a:cubicBezTo>
                      <a:cubicBezTo>
                        <a:pt x="100856" y="72440"/>
                        <a:pt x="122461" y="64255"/>
                        <a:pt x="136678" y="47648"/>
                      </a:cubicBezTo>
                      <a:cubicBezTo>
                        <a:pt x="141948" y="41490"/>
                        <a:pt x="144827" y="33667"/>
                        <a:pt x="144827" y="25571"/>
                      </a:cubicBezTo>
                      <a:lnTo>
                        <a:pt x="144827" y="20356"/>
                      </a:lnTo>
                      <a:cubicBezTo>
                        <a:pt x="144827" y="9109"/>
                        <a:pt x="135718" y="0"/>
                        <a:pt x="124472" y="0"/>
                      </a:cubicBezTo>
                      <a:close/>
                    </a:path>
                  </a:pathLst>
                </a:custGeom>
                <a:solidFill>
                  <a:schemeClr val="tx1"/>
                </a:solidFill>
                <a:ln w="179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a:ea typeface="+mn-ea"/>
                    <a:cs typeface="+mn-cs"/>
                  </a:endParaRPr>
                </a:p>
              </p:txBody>
            </p:sp>
            <p:sp>
              <p:nvSpPr>
                <p:cNvPr id="1422" name="Freeform: Shape 1421">
                  <a:extLst>
                    <a:ext uri="{FF2B5EF4-FFF2-40B4-BE49-F238E27FC236}">
                      <a16:creationId xmlns:a16="http://schemas.microsoft.com/office/drawing/2014/main" id="{78FA61C2-EF1F-28C0-11D3-978009BD1D40}"/>
                    </a:ext>
                  </a:extLst>
                </p:cNvPr>
                <p:cNvSpPr/>
                <p:nvPr/>
              </p:nvSpPr>
              <p:spPr>
                <a:xfrm>
                  <a:off x="1061286" y="3896647"/>
                  <a:ext cx="90514" cy="90514"/>
                </a:xfrm>
                <a:custGeom>
                  <a:avLst/>
                  <a:gdLst>
                    <a:gd name="connsiteX0" fmla="*/ 45257 w 90514"/>
                    <a:gd name="connsiteY0" fmla="*/ 90514 h 90514"/>
                    <a:gd name="connsiteX1" fmla="*/ 90515 w 90514"/>
                    <a:gd name="connsiteY1" fmla="*/ 45257 h 90514"/>
                    <a:gd name="connsiteX2" fmla="*/ 45257 w 90514"/>
                    <a:gd name="connsiteY2" fmla="*/ 0 h 90514"/>
                    <a:gd name="connsiteX3" fmla="*/ 0 w 90514"/>
                    <a:gd name="connsiteY3" fmla="*/ 45257 h 90514"/>
                    <a:gd name="connsiteX4" fmla="*/ 45257 w 90514"/>
                    <a:gd name="connsiteY4" fmla="*/ 90514 h 90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514" h="90514">
                      <a:moveTo>
                        <a:pt x="45257" y="90514"/>
                      </a:moveTo>
                      <a:cubicBezTo>
                        <a:pt x="70250" y="90514"/>
                        <a:pt x="90515" y="70249"/>
                        <a:pt x="90515" y="45257"/>
                      </a:cubicBezTo>
                      <a:cubicBezTo>
                        <a:pt x="90515" y="20265"/>
                        <a:pt x="70250" y="0"/>
                        <a:pt x="45257" y="0"/>
                      </a:cubicBezTo>
                      <a:cubicBezTo>
                        <a:pt x="20265" y="0"/>
                        <a:pt x="0" y="20265"/>
                        <a:pt x="0" y="45257"/>
                      </a:cubicBezTo>
                      <a:cubicBezTo>
                        <a:pt x="0" y="70249"/>
                        <a:pt x="20265" y="90514"/>
                        <a:pt x="45257" y="90514"/>
                      </a:cubicBezTo>
                      <a:close/>
                    </a:path>
                  </a:pathLst>
                </a:custGeom>
                <a:solidFill>
                  <a:schemeClr val="tx1"/>
                </a:solidFill>
                <a:ln w="179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a:ea typeface="+mn-ea"/>
                    <a:cs typeface="+mn-cs"/>
                  </a:endParaRPr>
                </a:p>
              </p:txBody>
            </p:sp>
          </p:grpSp>
        </p:grpSp>
      </p:grpSp>
      <p:grpSp>
        <p:nvGrpSpPr>
          <p:cNvPr id="1423" name="Group 1422">
            <a:extLst>
              <a:ext uri="{FF2B5EF4-FFF2-40B4-BE49-F238E27FC236}">
                <a16:creationId xmlns:a16="http://schemas.microsoft.com/office/drawing/2014/main" id="{63FE4811-FB1A-CDAD-8997-01C76F62428F}"/>
              </a:ext>
              <a:ext uri="{C183D7F6-B498-43B3-948B-1728B52AA6E4}">
                <adec:decorative xmlns:adec="http://schemas.microsoft.com/office/drawing/2017/decorative" val="1"/>
              </a:ext>
            </a:extLst>
          </p:cNvPr>
          <p:cNvGrpSpPr>
            <a:grpSpLocks noChangeAspect="1"/>
          </p:cNvGrpSpPr>
          <p:nvPr/>
        </p:nvGrpSpPr>
        <p:grpSpPr>
          <a:xfrm>
            <a:off x="8195906" y="4260425"/>
            <a:ext cx="693145" cy="693145"/>
            <a:chOff x="3268798" y="3839375"/>
            <a:chExt cx="358666" cy="358666"/>
          </a:xfrm>
        </p:grpSpPr>
        <p:sp>
          <p:nvSpPr>
            <p:cNvPr id="1424" name="Oval 1423">
              <a:extLst>
                <a:ext uri="{FF2B5EF4-FFF2-40B4-BE49-F238E27FC236}">
                  <a16:creationId xmlns:a16="http://schemas.microsoft.com/office/drawing/2014/main" id="{DC6D8F74-5F93-AE4E-2DAD-199633C3E0DC}"/>
                </a:ext>
                <a:ext uri="{C183D7F6-B498-43B3-948B-1728B52AA6E4}">
                  <adec:decorative xmlns:adec="http://schemas.microsoft.com/office/drawing/2017/decorative" val="1"/>
                </a:ext>
              </a:extLst>
            </p:cNvPr>
            <p:cNvSpPr/>
            <p:nvPr/>
          </p:nvSpPr>
          <p:spPr>
            <a:xfrm flipH="1">
              <a:off x="3268798" y="3839375"/>
              <a:ext cx="358666" cy="358666"/>
            </a:xfrm>
            <a:prstGeom prst="ellipse">
              <a:avLst/>
            </a:prstGeom>
            <a:solidFill>
              <a:srgbClr val="FFFFFF"/>
            </a:solidFill>
            <a:ln w="19050" cap="flat" cmpd="sng" algn="ctr">
              <a:gradFill>
                <a:gsLst>
                  <a:gs pos="0">
                    <a:srgbClr val="599FFD"/>
                  </a:gs>
                  <a:gs pos="100000">
                    <a:srgbClr val="FADC14"/>
                  </a:gs>
                </a:gsLst>
                <a:lin ang="5400000" scaled="1"/>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Variable Display"/>
                <a:ea typeface="+mn-ea"/>
                <a:cs typeface="Segoe UI" pitchFamily="34" charset="0"/>
              </a:endParaRPr>
            </a:p>
          </p:txBody>
        </p:sp>
        <p:sp>
          <p:nvSpPr>
            <p:cNvPr id="1425" name="Freeform: Shape 1424">
              <a:extLst>
                <a:ext uri="{FF2B5EF4-FFF2-40B4-BE49-F238E27FC236}">
                  <a16:creationId xmlns:a16="http://schemas.microsoft.com/office/drawing/2014/main" id="{149C1FCB-65DB-A01E-3BC1-FCBC90AE518D}"/>
                </a:ext>
                <a:ext uri="{C183D7F6-B498-43B3-948B-1728B52AA6E4}">
                  <adec:decorative xmlns:adec="http://schemas.microsoft.com/office/drawing/2017/decorative" val="1"/>
                </a:ext>
              </a:extLst>
            </p:cNvPr>
            <p:cNvSpPr/>
            <p:nvPr/>
          </p:nvSpPr>
          <p:spPr>
            <a:xfrm>
              <a:off x="3337217" y="3914541"/>
              <a:ext cx="221829" cy="208334"/>
            </a:xfrm>
            <a:custGeom>
              <a:avLst/>
              <a:gdLst>
                <a:gd name="connsiteX0" fmla="*/ 795954 w 1592289"/>
                <a:gd name="connsiteY0" fmla="*/ 0 h 1495425"/>
                <a:gd name="connsiteX1" fmla="*/ 988359 w 1592289"/>
                <a:gd name="connsiteY1" fmla="*/ 132398 h 1495425"/>
                <a:gd name="connsiteX2" fmla="*/ 1140759 w 1592289"/>
                <a:gd name="connsiteY2" fmla="*/ 314325 h 1495425"/>
                <a:gd name="connsiteX3" fmla="*/ 1482706 w 1592289"/>
                <a:gd name="connsiteY3" fmla="*/ 720090 h 1495425"/>
                <a:gd name="connsiteX4" fmla="*/ 1592244 w 1592289"/>
                <a:gd name="connsiteY4" fmla="*/ 921068 h 1495425"/>
                <a:gd name="connsiteX5" fmla="*/ 1286491 w 1592289"/>
                <a:gd name="connsiteY5" fmla="*/ 1208723 h 1495425"/>
                <a:gd name="connsiteX6" fmla="*/ 991216 w 1592289"/>
                <a:gd name="connsiteY6" fmla="*/ 1402080 h 1495425"/>
                <a:gd name="connsiteX7" fmla="*/ 860724 w 1592289"/>
                <a:gd name="connsiteY7" fmla="*/ 1484948 h 1495425"/>
                <a:gd name="connsiteX8" fmla="*/ 793096 w 1592289"/>
                <a:gd name="connsiteY8" fmla="*/ 1495425 h 1495425"/>
                <a:gd name="connsiteX9" fmla="*/ 609264 w 1592289"/>
                <a:gd name="connsiteY9" fmla="*/ 1406843 h 1495425"/>
                <a:gd name="connsiteX10" fmla="*/ 14904 w 1592289"/>
                <a:gd name="connsiteY10" fmla="*/ 990600 h 1495425"/>
                <a:gd name="connsiteX11" fmla="*/ 12999 w 1592289"/>
                <a:gd name="connsiteY11" fmla="*/ 847725 h 1495425"/>
                <a:gd name="connsiteX12" fmla="*/ 200641 w 1592289"/>
                <a:gd name="connsiteY12" fmla="*/ 609600 h 1495425"/>
                <a:gd name="connsiteX13" fmla="*/ 571164 w 1592289"/>
                <a:gd name="connsiteY13" fmla="*/ 170498 h 1495425"/>
                <a:gd name="connsiteX14" fmla="*/ 795954 w 1592289"/>
                <a:gd name="connsiteY14" fmla="*/ 0 h 1495425"/>
                <a:gd name="connsiteX15" fmla="*/ 793706 w 1592289"/>
                <a:gd name="connsiteY15" fmla="*/ 80932 h 1495425"/>
                <a:gd name="connsiteX16" fmla="*/ 703561 w 1592289"/>
                <a:gd name="connsiteY16" fmla="*/ 139065 h 1495425"/>
                <a:gd name="connsiteX17" fmla="*/ 395903 w 1592289"/>
                <a:gd name="connsiteY17" fmla="*/ 504825 h 1495425"/>
                <a:gd name="connsiteX18" fmla="*/ 97771 w 1592289"/>
                <a:gd name="connsiteY18" fmla="*/ 861060 h 1495425"/>
                <a:gd name="connsiteX19" fmla="*/ 91103 w 1592289"/>
                <a:gd name="connsiteY19" fmla="*/ 959167 h 1495425"/>
                <a:gd name="connsiteX20" fmla="*/ 424478 w 1592289"/>
                <a:gd name="connsiteY20" fmla="*/ 1182052 h 1495425"/>
                <a:gd name="connsiteX21" fmla="*/ 606406 w 1592289"/>
                <a:gd name="connsiteY21" fmla="*/ 1166812 h 1495425"/>
                <a:gd name="connsiteX22" fmla="*/ 714991 w 1592289"/>
                <a:gd name="connsiteY22" fmla="*/ 1092517 h 1495425"/>
                <a:gd name="connsiteX23" fmla="*/ 484486 w 1592289"/>
                <a:gd name="connsiteY23" fmla="*/ 939165 h 1495425"/>
                <a:gd name="connsiteX24" fmla="*/ 372091 w 1592289"/>
                <a:gd name="connsiteY24" fmla="*/ 861060 h 1495425"/>
                <a:gd name="connsiteX25" fmla="*/ 455911 w 1592289"/>
                <a:gd name="connsiteY25" fmla="*/ 758190 h 1495425"/>
                <a:gd name="connsiteX26" fmla="*/ 634028 w 1592289"/>
                <a:gd name="connsiteY26" fmla="*/ 547687 h 1495425"/>
                <a:gd name="connsiteX27" fmla="*/ 951211 w 1592289"/>
                <a:gd name="connsiteY27" fmla="*/ 280035 h 1495425"/>
                <a:gd name="connsiteX28" fmla="*/ 991216 w 1592289"/>
                <a:gd name="connsiteY28" fmla="*/ 266700 h 1495425"/>
                <a:gd name="connsiteX29" fmla="*/ 937876 w 1592289"/>
                <a:gd name="connsiteY29" fmla="*/ 199072 h 1495425"/>
                <a:gd name="connsiteX30" fmla="*/ 870248 w 1592289"/>
                <a:gd name="connsiteY30" fmla="*/ 117157 h 1495425"/>
                <a:gd name="connsiteX31" fmla="*/ 824528 w 1592289"/>
                <a:gd name="connsiteY31" fmla="*/ 85725 h 1495425"/>
                <a:gd name="connsiteX32" fmla="*/ 793706 w 1592289"/>
                <a:gd name="connsiteY32" fmla="*/ 80932 h 1495425"/>
                <a:gd name="connsiteX33" fmla="*/ 994192 w 1592289"/>
                <a:gd name="connsiteY33" fmla="*/ 359568 h 1495425"/>
                <a:gd name="connsiteX34" fmla="*/ 910253 w 1592289"/>
                <a:gd name="connsiteY34" fmla="*/ 377189 h 1495425"/>
                <a:gd name="connsiteX35" fmla="*/ 1025506 w 1592289"/>
                <a:gd name="connsiteY35" fmla="*/ 629602 h 1495425"/>
                <a:gd name="connsiteX36" fmla="*/ 1208386 w 1592289"/>
                <a:gd name="connsiteY36" fmla="*/ 849629 h 1495425"/>
                <a:gd name="connsiteX37" fmla="*/ 1113136 w 1592289"/>
                <a:gd name="connsiteY37" fmla="*/ 936307 h 1495425"/>
                <a:gd name="connsiteX38" fmla="*/ 634981 w 1592289"/>
                <a:gd name="connsiteY38" fmla="*/ 1247774 h 1495425"/>
                <a:gd name="connsiteX39" fmla="*/ 595928 w 1592289"/>
                <a:gd name="connsiteY39" fmla="*/ 1263014 h 1495425"/>
                <a:gd name="connsiteX40" fmla="*/ 559733 w 1592289"/>
                <a:gd name="connsiteY40" fmla="*/ 1277302 h 1495425"/>
                <a:gd name="connsiteX41" fmla="*/ 652126 w 1592289"/>
                <a:gd name="connsiteY41" fmla="*/ 1339214 h 1495425"/>
                <a:gd name="connsiteX42" fmla="*/ 765473 w 1592289"/>
                <a:gd name="connsiteY42" fmla="*/ 1409699 h 1495425"/>
                <a:gd name="connsiteX43" fmla="*/ 1030268 w 1592289"/>
                <a:gd name="connsiteY43" fmla="*/ 1280159 h 1495425"/>
                <a:gd name="connsiteX44" fmla="*/ 1350308 w 1592289"/>
                <a:gd name="connsiteY44" fmla="*/ 1069657 h 1495425"/>
                <a:gd name="connsiteX45" fmla="*/ 1501756 w 1592289"/>
                <a:gd name="connsiteY45" fmla="*/ 957262 h 1495425"/>
                <a:gd name="connsiteX46" fmla="*/ 1436033 w 1592289"/>
                <a:gd name="connsiteY46" fmla="*/ 789622 h 1495425"/>
                <a:gd name="connsiteX47" fmla="*/ 1272203 w 1592289"/>
                <a:gd name="connsiteY47" fmla="*/ 595312 h 1495425"/>
                <a:gd name="connsiteX48" fmla="*/ 1070273 w 1592289"/>
                <a:gd name="connsiteY48" fmla="*/ 367664 h 1495425"/>
                <a:gd name="connsiteX49" fmla="*/ 994192 w 1592289"/>
                <a:gd name="connsiteY49" fmla="*/ 359568 h 1495425"/>
                <a:gd name="connsiteX50" fmla="*/ 795953 w 1592289"/>
                <a:gd name="connsiteY50" fmla="*/ 485775 h 1495425"/>
                <a:gd name="connsiteX51" fmla="*/ 779760 w 1592289"/>
                <a:gd name="connsiteY51" fmla="*/ 494348 h 1495425"/>
                <a:gd name="connsiteX52" fmla="*/ 638790 w 1592289"/>
                <a:gd name="connsiteY52" fmla="*/ 666750 h 1495425"/>
                <a:gd name="connsiteX53" fmla="*/ 498773 w 1592289"/>
                <a:gd name="connsiteY53" fmla="*/ 841058 h 1495425"/>
                <a:gd name="connsiteX54" fmla="*/ 646410 w 1592289"/>
                <a:gd name="connsiteY54" fmla="*/ 949642 h 1495425"/>
                <a:gd name="connsiteX55" fmla="*/ 800715 w 1592289"/>
                <a:gd name="connsiteY55" fmla="*/ 1044893 h 1495425"/>
                <a:gd name="connsiteX56" fmla="*/ 1094085 w 1592289"/>
                <a:gd name="connsiteY56" fmla="*/ 841058 h 1495425"/>
                <a:gd name="connsiteX57" fmla="*/ 953115 w 1592289"/>
                <a:gd name="connsiteY57" fmla="*/ 666750 h 1495425"/>
                <a:gd name="connsiteX58" fmla="*/ 812145 w 1592289"/>
                <a:gd name="connsiteY58" fmla="*/ 494348 h 1495425"/>
                <a:gd name="connsiteX59" fmla="*/ 795953 w 1592289"/>
                <a:gd name="connsiteY59" fmla="*/ 485775 h 1495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592289" h="1495425">
                  <a:moveTo>
                    <a:pt x="795954" y="0"/>
                  </a:moveTo>
                  <a:cubicBezTo>
                    <a:pt x="860724" y="0"/>
                    <a:pt x="901681" y="27623"/>
                    <a:pt x="988359" y="132398"/>
                  </a:cubicBezTo>
                  <a:cubicBezTo>
                    <a:pt x="1025506" y="177165"/>
                    <a:pt x="1094086" y="259080"/>
                    <a:pt x="1140759" y="314325"/>
                  </a:cubicBezTo>
                  <a:cubicBezTo>
                    <a:pt x="1245534" y="438150"/>
                    <a:pt x="1366501" y="581978"/>
                    <a:pt x="1482706" y="720090"/>
                  </a:cubicBezTo>
                  <a:cubicBezTo>
                    <a:pt x="1579861" y="835343"/>
                    <a:pt x="1593196" y="861060"/>
                    <a:pt x="1592244" y="921068"/>
                  </a:cubicBezTo>
                  <a:cubicBezTo>
                    <a:pt x="1591291" y="1005840"/>
                    <a:pt x="1574146" y="1021080"/>
                    <a:pt x="1286491" y="1208723"/>
                  </a:cubicBezTo>
                  <a:cubicBezTo>
                    <a:pt x="1184574" y="1275398"/>
                    <a:pt x="1051224" y="1362075"/>
                    <a:pt x="991216" y="1402080"/>
                  </a:cubicBezTo>
                  <a:cubicBezTo>
                    <a:pt x="931209" y="1441133"/>
                    <a:pt x="872154" y="1478280"/>
                    <a:pt x="860724" y="1484948"/>
                  </a:cubicBezTo>
                  <a:cubicBezTo>
                    <a:pt x="849294" y="1490663"/>
                    <a:pt x="818814" y="1495425"/>
                    <a:pt x="793096" y="1495425"/>
                  </a:cubicBezTo>
                  <a:cubicBezTo>
                    <a:pt x="749281" y="1495425"/>
                    <a:pt x="734994" y="1487805"/>
                    <a:pt x="609264" y="1406843"/>
                  </a:cubicBezTo>
                  <a:cubicBezTo>
                    <a:pt x="62529" y="1053465"/>
                    <a:pt x="38716" y="1035368"/>
                    <a:pt x="14904" y="990600"/>
                  </a:cubicBezTo>
                  <a:cubicBezTo>
                    <a:pt x="-4146" y="953453"/>
                    <a:pt x="-5099" y="889635"/>
                    <a:pt x="12999" y="847725"/>
                  </a:cubicBezTo>
                  <a:cubicBezTo>
                    <a:pt x="20619" y="829628"/>
                    <a:pt x="105391" y="721995"/>
                    <a:pt x="200641" y="609600"/>
                  </a:cubicBezTo>
                  <a:cubicBezTo>
                    <a:pt x="401619" y="373380"/>
                    <a:pt x="435909" y="332423"/>
                    <a:pt x="571164" y="170498"/>
                  </a:cubicBezTo>
                  <a:cubicBezTo>
                    <a:pt x="690226" y="27623"/>
                    <a:pt x="727374" y="0"/>
                    <a:pt x="795954" y="0"/>
                  </a:cubicBezTo>
                  <a:close/>
                  <a:moveTo>
                    <a:pt x="793706" y="80932"/>
                  </a:moveTo>
                  <a:cubicBezTo>
                    <a:pt x="763390" y="82093"/>
                    <a:pt x="734279" y="101203"/>
                    <a:pt x="703561" y="139065"/>
                  </a:cubicBezTo>
                  <a:cubicBezTo>
                    <a:pt x="660698" y="192405"/>
                    <a:pt x="490201" y="395287"/>
                    <a:pt x="395903" y="504825"/>
                  </a:cubicBezTo>
                  <a:cubicBezTo>
                    <a:pt x="297796" y="620077"/>
                    <a:pt x="126346" y="824865"/>
                    <a:pt x="97771" y="861060"/>
                  </a:cubicBezTo>
                  <a:cubicBezTo>
                    <a:pt x="73006" y="892492"/>
                    <a:pt x="71101" y="929640"/>
                    <a:pt x="91103" y="959167"/>
                  </a:cubicBezTo>
                  <a:cubicBezTo>
                    <a:pt x="108248" y="982980"/>
                    <a:pt x="367328" y="1156335"/>
                    <a:pt x="424478" y="1182052"/>
                  </a:cubicBezTo>
                  <a:cubicBezTo>
                    <a:pt x="484486" y="1208722"/>
                    <a:pt x="532111" y="1204912"/>
                    <a:pt x="606406" y="1166812"/>
                  </a:cubicBezTo>
                  <a:cubicBezTo>
                    <a:pt x="674986" y="1132522"/>
                    <a:pt x="722611" y="1099185"/>
                    <a:pt x="714991" y="1092517"/>
                  </a:cubicBezTo>
                  <a:cubicBezTo>
                    <a:pt x="703561" y="1083945"/>
                    <a:pt x="586403" y="1005840"/>
                    <a:pt x="484486" y="939165"/>
                  </a:cubicBezTo>
                  <a:cubicBezTo>
                    <a:pt x="422573" y="899160"/>
                    <a:pt x="372091" y="863917"/>
                    <a:pt x="372091" y="861060"/>
                  </a:cubicBezTo>
                  <a:cubicBezTo>
                    <a:pt x="372091" y="858202"/>
                    <a:pt x="409238" y="811530"/>
                    <a:pt x="455911" y="758190"/>
                  </a:cubicBezTo>
                  <a:cubicBezTo>
                    <a:pt x="501631" y="704850"/>
                    <a:pt x="581641" y="610552"/>
                    <a:pt x="634028" y="547687"/>
                  </a:cubicBezTo>
                  <a:cubicBezTo>
                    <a:pt x="817861" y="327660"/>
                    <a:pt x="856913" y="295275"/>
                    <a:pt x="951211" y="280035"/>
                  </a:cubicBezTo>
                  <a:cubicBezTo>
                    <a:pt x="973118" y="276225"/>
                    <a:pt x="991216" y="270510"/>
                    <a:pt x="991216" y="266700"/>
                  </a:cubicBezTo>
                  <a:cubicBezTo>
                    <a:pt x="991216" y="263842"/>
                    <a:pt x="967403" y="233362"/>
                    <a:pt x="937876" y="199072"/>
                  </a:cubicBezTo>
                  <a:cubicBezTo>
                    <a:pt x="908348" y="165735"/>
                    <a:pt x="877868" y="128587"/>
                    <a:pt x="870248" y="117157"/>
                  </a:cubicBezTo>
                  <a:cubicBezTo>
                    <a:pt x="862628" y="105727"/>
                    <a:pt x="841673" y="91440"/>
                    <a:pt x="824528" y="85725"/>
                  </a:cubicBezTo>
                  <a:cubicBezTo>
                    <a:pt x="814051" y="82153"/>
                    <a:pt x="803811" y="80545"/>
                    <a:pt x="793706" y="80932"/>
                  </a:cubicBezTo>
                  <a:close/>
                  <a:moveTo>
                    <a:pt x="994192" y="359568"/>
                  </a:moveTo>
                  <a:cubicBezTo>
                    <a:pt x="962403" y="361473"/>
                    <a:pt x="929303" y="367664"/>
                    <a:pt x="910253" y="377189"/>
                  </a:cubicBezTo>
                  <a:cubicBezTo>
                    <a:pt x="840721" y="411479"/>
                    <a:pt x="838816" y="406717"/>
                    <a:pt x="1025506" y="629602"/>
                  </a:cubicBezTo>
                  <a:cubicBezTo>
                    <a:pt x="1118851" y="741997"/>
                    <a:pt x="1201718" y="841057"/>
                    <a:pt x="1208386" y="849629"/>
                  </a:cubicBezTo>
                  <a:cubicBezTo>
                    <a:pt x="1219816" y="863917"/>
                    <a:pt x="1208386" y="873442"/>
                    <a:pt x="1113136" y="936307"/>
                  </a:cubicBezTo>
                  <a:cubicBezTo>
                    <a:pt x="718801" y="1195387"/>
                    <a:pt x="637838" y="1247774"/>
                    <a:pt x="634981" y="1247774"/>
                  </a:cubicBezTo>
                  <a:cubicBezTo>
                    <a:pt x="633076" y="1247774"/>
                    <a:pt x="615931" y="1254442"/>
                    <a:pt x="595928" y="1263014"/>
                  </a:cubicBezTo>
                  <a:lnTo>
                    <a:pt x="559733" y="1277302"/>
                  </a:lnTo>
                  <a:lnTo>
                    <a:pt x="652126" y="1339214"/>
                  </a:lnTo>
                  <a:cubicBezTo>
                    <a:pt x="703561" y="1373504"/>
                    <a:pt x="754043" y="1404937"/>
                    <a:pt x="765473" y="1409699"/>
                  </a:cubicBezTo>
                  <a:cubicBezTo>
                    <a:pt x="806431" y="1425892"/>
                    <a:pt x="813098" y="1423034"/>
                    <a:pt x="1030268" y="1280159"/>
                  </a:cubicBezTo>
                  <a:cubicBezTo>
                    <a:pt x="1132186" y="1213484"/>
                    <a:pt x="1276013" y="1119187"/>
                    <a:pt x="1350308" y="1069657"/>
                  </a:cubicBezTo>
                  <a:cubicBezTo>
                    <a:pt x="1425556" y="1021079"/>
                    <a:pt x="1493183" y="970597"/>
                    <a:pt x="1501756" y="957262"/>
                  </a:cubicBezTo>
                  <a:cubicBezTo>
                    <a:pt x="1527473" y="917257"/>
                    <a:pt x="1512233" y="879157"/>
                    <a:pt x="1436033" y="789622"/>
                  </a:cubicBezTo>
                  <a:cubicBezTo>
                    <a:pt x="1398886" y="744854"/>
                    <a:pt x="1324591" y="657224"/>
                    <a:pt x="1272203" y="595312"/>
                  </a:cubicBezTo>
                  <a:cubicBezTo>
                    <a:pt x="1126471" y="421957"/>
                    <a:pt x="1086466" y="377189"/>
                    <a:pt x="1070273" y="367664"/>
                  </a:cubicBezTo>
                  <a:cubicBezTo>
                    <a:pt x="1056462" y="360044"/>
                    <a:pt x="1025982" y="357663"/>
                    <a:pt x="994192" y="359568"/>
                  </a:cubicBezTo>
                  <a:close/>
                  <a:moveTo>
                    <a:pt x="795953" y="485775"/>
                  </a:moveTo>
                  <a:cubicBezTo>
                    <a:pt x="789285" y="485775"/>
                    <a:pt x="781665" y="489585"/>
                    <a:pt x="779760" y="494348"/>
                  </a:cubicBezTo>
                  <a:cubicBezTo>
                    <a:pt x="778808" y="499110"/>
                    <a:pt x="714990" y="576263"/>
                    <a:pt x="638790" y="666750"/>
                  </a:cubicBezTo>
                  <a:cubicBezTo>
                    <a:pt x="562590" y="756285"/>
                    <a:pt x="499725" y="835342"/>
                    <a:pt x="498773" y="841058"/>
                  </a:cubicBezTo>
                  <a:cubicBezTo>
                    <a:pt x="496868" y="847725"/>
                    <a:pt x="563543" y="896303"/>
                    <a:pt x="646410" y="949642"/>
                  </a:cubicBezTo>
                  <a:cubicBezTo>
                    <a:pt x="728325" y="1003935"/>
                    <a:pt x="797858" y="1046797"/>
                    <a:pt x="800715" y="1044893"/>
                  </a:cubicBezTo>
                  <a:cubicBezTo>
                    <a:pt x="852150" y="1019175"/>
                    <a:pt x="1095038" y="849630"/>
                    <a:pt x="1094085" y="841058"/>
                  </a:cubicBezTo>
                  <a:cubicBezTo>
                    <a:pt x="1092180" y="835342"/>
                    <a:pt x="1029315" y="756285"/>
                    <a:pt x="953115" y="666750"/>
                  </a:cubicBezTo>
                  <a:cubicBezTo>
                    <a:pt x="876915" y="576263"/>
                    <a:pt x="814050" y="499110"/>
                    <a:pt x="812145" y="494348"/>
                  </a:cubicBezTo>
                  <a:cubicBezTo>
                    <a:pt x="810240" y="489585"/>
                    <a:pt x="802620" y="485775"/>
                    <a:pt x="795953" y="485775"/>
                  </a:cubicBezTo>
                  <a:close/>
                </a:path>
              </a:pathLst>
            </a:custGeom>
            <a:solidFill>
              <a:schemeClr val="tx1"/>
            </a:solidFill>
            <a:ln w="309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a:ea typeface="+mn-ea"/>
                <a:cs typeface="+mn-cs"/>
              </a:endParaRPr>
            </a:p>
          </p:txBody>
        </p:sp>
      </p:grpSp>
      <p:sp>
        <p:nvSpPr>
          <p:cNvPr id="1426" name="!!Title: Microsoft Entra Suite">
            <a:extLst>
              <a:ext uri="{FF2B5EF4-FFF2-40B4-BE49-F238E27FC236}">
                <a16:creationId xmlns:a16="http://schemas.microsoft.com/office/drawing/2014/main" id="{7A728793-4DAF-8A4E-BFAB-C9A26B4C1558}"/>
              </a:ext>
            </a:extLst>
          </p:cNvPr>
          <p:cNvSpPr txBox="1">
            <a:spLocks noGrp="1"/>
          </p:cNvSpPr>
          <p:nvPr>
            <p:ph type="title" idx="4294967295"/>
          </p:nvPr>
        </p:nvSpPr>
        <p:spPr>
          <a:xfrm>
            <a:off x="4724400" y="1419225"/>
            <a:ext cx="2743200" cy="858838"/>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ctr" defTabSz="932742" rtl="0" eaLnBrk="1" latinLnBrk="0" hangingPunct="1">
              <a:lnSpc>
                <a:spcPct val="100000"/>
              </a:lnSpc>
              <a:spcBef>
                <a:spcPct val="0"/>
              </a:spcBef>
              <a:buNone/>
              <a:defRPr lang="en-US" sz="3200" b="0" i="0" kern="1200" cap="none" spc="-50" baseline="0" dirty="0" smtClean="0">
                <a:ln w="3175">
                  <a:noFill/>
                </a:ln>
                <a:solidFill>
                  <a:schemeClr val="bg1"/>
                </a:solidFill>
                <a:effectLst/>
                <a:latin typeface="+mj-lt"/>
                <a:ea typeface="+mn-ea"/>
                <a:cs typeface="Segoe UI" pitchFamily="34" charset="0"/>
              </a:defRPr>
            </a:lvl1pPr>
          </a:lstStyle>
          <a:p>
            <a:pPr marL="0" marR="0" lvl="0" indent="0" algn="ctr" defTabSz="932472" rtl="0" eaLnBrk="1" fontAlgn="base" latinLnBrk="0" hangingPunct="1">
              <a:lnSpc>
                <a:spcPct val="76518"/>
              </a:lnSpc>
              <a:spcBef>
                <a:spcPts val="1200"/>
              </a:spcBef>
              <a:spcAft>
                <a:spcPct val="0"/>
              </a:spcAft>
              <a:buClrTx/>
              <a:buSzTx/>
              <a:buFontTx/>
              <a:buNone/>
              <a:tabLst/>
              <a:defRPr/>
            </a:pPr>
            <a:r>
              <a:rPr kumimoji="0" lang="en-US" sz="3600" b="0" i="0" u="none" strike="noStrike" kern="1200" cap="none" spc="-50" normalizeH="0" baseline="0" noProof="0">
                <a:ln w="3175">
                  <a:noFill/>
                </a:ln>
                <a:solidFill>
                  <a:schemeClr val="tx1"/>
                </a:solidFill>
                <a:effectLst/>
                <a:uLnTx/>
                <a:uFillTx/>
                <a:latin typeface="Segoe Sans Display Semibold"/>
                <a:ea typeface="+mn-ea"/>
                <a:cs typeface="Segoe UI" pitchFamily="34" charset="0"/>
              </a:rPr>
              <a:t>Microsoft </a:t>
            </a:r>
            <a:br>
              <a:rPr kumimoji="0" lang="en-US" sz="3600" b="0" i="0" u="none" strike="noStrike" kern="1200" cap="none" spc="-50" normalizeH="0" baseline="0" noProof="0">
                <a:ln w="3175">
                  <a:noFill/>
                </a:ln>
                <a:solidFill>
                  <a:schemeClr val="tx1"/>
                </a:solidFill>
                <a:effectLst/>
                <a:uLnTx/>
                <a:uFillTx/>
                <a:latin typeface="Segoe Sans Display Semibold"/>
                <a:ea typeface="+mn-ea"/>
                <a:cs typeface="Segoe UI" pitchFamily="34" charset="0"/>
              </a:rPr>
            </a:br>
            <a:r>
              <a:rPr kumimoji="0" lang="en-US" sz="3600" b="0" i="0" u="none" strike="noStrike" kern="1200" cap="none" spc="-50" normalizeH="0" baseline="0" noProof="0">
                <a:ln w="3175">
                  <a:noFill/>
                </a:ln>
                <a:solidFill>
                  <a:schemeClr val="tx1"/>
                </a:solidFill>
                <a:effectLst/>
                <a:uLnTx/>
                <a:uFillTx/>
                <a:latin typeface="Segoe Sans Display Semibold"/>
                <a:ea typeface="+mn-ea"/>
                <a:cs typeface="Segoe UI" pitchFamily="34" charset="0"/>
              </a:rPr>
              <a:t>Entra Suite     </a:t>
            </a:r>
          </a:p>
        </p:txBody>
      </p:sp>
      <p:sp>
        <p:nvSpPr>
          <p:cNvPr id="1427" name="TextBox 1426">
            <a:extLst>
              <a:ext uri="{FF2B5EF4-FFF2-40B4-BE49-F238E27FC236}">
                <a16:creationId xmlns:a16="http://schemas.microsoft.com/office/drawing/2014/main" id="{F6890FF3-2F45-9127-D556-74AA2844CF52}"/>
              </a:ext>
              <a:ext uri="{C183D7F6-B498-43B3-948B-1728B52AA6E4}">
                <adec:decorative xmlns:adec="http://schemas.microsoft.com/office/drawing/2017/decorative" val="1"/>
              </a:ext>
            </a:extLst>
          </p:cNvPr>
          <p:cNvSpPr txBox="1"/>
          <p:nvPr/>
        </p:nvSpPr>
        <p:spPr>
          <a:xfrm>
            <a:off x="4415251" y="2347442"/>
            <a:ext cx="3361498" cy="73866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50" normalizeH="0" baseline="0" noProof="0">
                <a:ln w="3175">
                  <a:noFill/>
                </a:ln>
                <a:gradFill>
                  <a:gsLst>
                    <a:gs pos="0">
                      <a:srgbClr val="0360DB"/>
                    </a:gs>
                    <a:gs pos="100000">
                      <a:srgbClr val="207EFC"/>
                    </a:gs>
                  </a:gsLst>
                  <a:path path="circle">
                    <a:fillToRect t="100000" r="100000"/>
                  </a:path>
                </a:gradFill>
                <a:effectLst/>
                <a:uLnTx/>
                <a:uFillTx/>
                <a:latin typeface="Segoe Sans Display Semibold"/>
                <a:ea typeface="+mn-ea"/>
                <a:cs typeface="Segoe Sans Display" pitchFamily="2" charset="0"/>
              </a:rPr>
              <a:t>Secure Zero Trust acces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50" normalizeH="0" baseline="0" noProof="0">
                <a:ln w="3175">
                  <a:noFill/>
                </a:ln>
                <a:gradFill>
                  <a:gsLst>
                    <a:gs pos="0">
                      <a:srgbClr val="0360DB"/>
                    </a:gs>
                    <a:gs pos="100000">
                      <a:srgbClr val="207EFC"/>
                    </a:gs>
                  </a:gsLst>
                  <a:path path="circle">
                    <a:fillToRect t="100000" r="100000"/>
                  </a:path>
                </a:gradFill>
                <a:effectLst/>
                <a:uLnTx/>
                <a:uFillTx/>
                <a:latin typeface="Segoe Sans Display Semibold"/>
                <a:ea typeface="+mn-ea"/>
                <a:cs typeface="Segoe Sans Display" pitchFamily="2" charset="0"/>
              </a:rPr>
              <a:t>for your workforce</a:t>
            </a:r>
          </a:p>
        </p:txBody>
      </p:sp>
    </p:spTree>
    <p:extLst>
      <p:ext uri="{BB962C8B-B14F-4D97-AF65-F5344CB8AC3E}">
        <p14:creationId xmlns:p14="http://schemas.microsoft.com/office/powerpoint/2010/main" val="231043426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B5508C-6CC7-A543-D464-258C3B9785E1}"/>
            </a:ext>
          </a:extLst>
        </p:cNvPr>
        <p:cNvGrpSpPr/>
        <p:nvPr/>
      </p:nvGrpSpPr>
      <p:grpSpPr>
        <a:xfrm>
          <a:off x="0" y="0"/>
          <a:ext cx="0" cy="0"/>
          <a:chOff x="0" y="0"/>
          <a:chExt cx="0" cy="0"/>
        </a:xfrm>
      </p:grpSpPr>
      <p:pic>
        <p:nvPicPr>
          <p:cNvPr id="11" name="Picture 10">
            <a:extLst>
              <a:ext uri="{FF2B5EF4-FFF2-40B4-BE49-F238E27FC236}">
                <a16:creationId xmlns:a16="http://schemas.microsoft.com/office/drawing/2014/main" id="{511C9732-3E57-0F88-BE63-95247E74635B}"/>
              </a:ext>
            </a:extLst>
          </p:cNvPr>
          <p:cNvPicPr>
            <a:picLocks noChangeAspect="1"/>
          </p:cNvPicPr>
          <p:nvPr/>
        </p:nvPicPr>
        <p:blipFill>
          <a:blip r:embed="rId4"/>
          <a:stretch>
            <a:fillRect/>
          </a:stretch>
        </p:blipFill>
        <p:spPr>
          <a:xfrm>
            <a:off x="-19750" y="-14095"/>
            <a:ext cx="12211749" cy="6872095"/>
          </a:xfrm>
          <a:prstGeom prst="rect">
            <a:avLst/>
          </a:prstGeom>
        </p:spPr>
      </p:pic>
      <p:sp>
        <p:nvSpPr>
          <p:cNvPr id="10" name="Rectangle 9">
            <a:extLst>
              <a:ext uri="{FF2B5EF4-FFF2-40B4-BE49-F238E27FC236}">
                <a16:creationId xmlns:a16="http://schemas.microsoft.com/office/drawing/2014/main" id="{258D1F89-104F-8DEB-69D7-8F395122DA09}"/>
              </a:ext>
            </a:extLst>
          </p:cNvPr>
          <p:cNvSpPr/>
          <p:nvPr/>
        </p:nvSpPr>
        <p:spPr>
          <a:xfrm>
            <a:off x="0" y="0"/>
            <a:ext cx="12192000" cy="6858000"/>
          </a:xfrm>
          <a:prstGeom prst="rect">
            <a:avLst/>
          </a:prstGeom>
          <a:solidFill>
            <a:schemeClr val="bg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 name="Group 6">
            <a:extLst>
              <a:ext uri="{FF2B5EF4-FFF2-40B4-BE49-F238E27FC236}">
                <a16:creationId xmlns:a16="http://schemas.microsoft.com/office/drawing/2014/main" id="{FCB97B42-69C0-A6AB-9568-F15C5B21E90E}"/>
              </a:ext>
              <a:ext uri="{C183D7F6-B498-43B3-948B-1728B52AA6E4}">
                <adec:decorative xmlns:adec="http://schemas.microsoft.com/office/drawing/2017/decorative" val="1"/>
              </a:ext>
            </a:extLst>
          </p:cNvPr>
          <p:cNvGrpSpPr/>
          <p:nvPr/>
        </p:nvGrpSpPr>
        <p:grpSpPr>
          <a:xfrm>
            <a:off x="-846275" y="452013"/>
            <a:ext cx="7070687" cy="5953975"/>
            <a:chOff x="5267489" y="902367"/>
            <a:chExt cx="6232486" cy="5248156"/>
          </a:xfrm>
          <a:scene3d>
            <a:camera prst="perspectiveRight" fov="0">
              <a:rot lat="0" lon="0" rev="0"/>
            </a:camera>
            <a:lightRig rig="flood" dir="t"/>
          </a:scene3d>
        </p:grpSpPr>
        <p:grpSp>
          <p:nvGrpSpPr>
            <p:cNvPr id="59" name="Group 58">
              <a:extLst>
                <a:ext uri="{FF2B5EF4-FFF2-40B4-BE49-F238E27FC236}">
                  <a16:creationId xmlns:a16="http://schemas.microsoft.com/office/drawing/2014/main" id="{DD4170C2-BFAC-02E0-B516-30E12ECBF5B9}"/>
                </a:ext>
              </a:extLst>
            </p:cNvPr>
            <p:cNvGrpSpPr/>
            <p:nvPr/>
          </p:nvGrpSpPr>
          <p:grpSpPr>
            <a:xfrm>
              <a:off x="5756493" y="1145957"/>
              <a:ext cx="5207912" cy="4691749"/>
              <a:chOff x="5723133" y="1035454"/>
              <a:chExt cx="5411648" cy="4875298"/>
            </a:xfrm>
          </p:grpSpPr>
          <p:sp>
            <p:nvSpPr>
              <p:cNvPr id="991" name="Oval 990">
                <a:extLst>
                  <a:ext uri="{FF2B5EF4-FFF2-40B4-BE49-F238E27FC236}">
                    <a16:creationId xmlns:a16="http://schemas.microsoft.com/office/drawing/2014/main" id="{0E86458F-0468-05BF-E8BE-1B13A664A9DC}"/>
                  </a:ext>
                </a:extLst>
              </p:cNvPr>
              <p:cNvSpPr>
                <a:spLocks/>
              </p:cNvSpPr>
              <p:nvPr/>
            </p:nvSpPr>
            <p:spPr bwMode="auto">
              <a:xfrm>
                <a:off x="6185168" y="4355605"/>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992" name="Oval 991">
                <a:extLst>
                  <a:ext uri="{FF2B5EF4-FFF2-40B4-BE49-F238E27FC236}">
                    <a16:creationId xmlns:a16="http://schemas.microsoft.com/office/drawing/2014/main" id="{59322E6C-EB04-08A5-9AAE-5ADD0C61DFCB}"/>
                  </a:ext>
                </a:extLst>
              </p:cNvPr>
              <p:cNvSpPr>
                <a:spLocks/>
              </p:cNvSpPr>
              <p:nvPr/>
            </p:nvSpPr>
            <p:spPr bwMode="auto">
              <a:xfrm>
                <a:off x="6299294" y="4993563"/>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993" name="Oval 992">
                <a:extLst>
                  <a:ext uri="{FF2B5EF4-FFF2-40B4-BE49-F238E27FC236}">
                    <a16:creationId xmlns:a16="http://schemas.microsoft.com/office/drawing/2014/main" id="{4A106876-0941-156A-A17C-B61B2A7B9F72}"/>
                  </a:ext>
                </a:extLst>
              </p:cNvPr>
              <p:cNvSpPr>
                <a:spLocks/>
              </p:cNvSpPr>
              <p:nvPr/>
            </p:nvSpPr>
            <p:spPr bwMode="auto">
              <a:xfrm>
                <a:off x="10419814" y="1882864"/>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994" name="Oval 993">
                <a:extLst>
                  <a:ext uri="{FF2B5EF4-FFF2-40B4-BE49-F238E27FC236}">
                    <a16:creationId xmlns:a16="http://schemas.microsoft.com/office/drawing/2014/main" id="{AD0DFA48-1097-5BE9-2AD8-BA344655BD64}"/>
                  </a:ext>
                </a:extLst>
              </p:cNvPr>
              <p:cNvSpPr>
                <a:spLocks/>
              </p:cNvSpPr>
              <p:nvPr/>
            </p:nvSpPr>
            <p:spPr bwMode="auto">
              <a:xfrm>
                <a:off x="10636545" y="2489222"/>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995" name="Oval 994">
                <a:extLst>
                  <a:ext uri="{FF2B5EF4-FFF2-40B4-BE49-F238E27FC236}">
                    <a16:creationId xmlns:a16="http://schemas.microsoft.com/office/drawing/2014/main" id="{42FE4B87-6DFD-DD08-20C5-4594519B69B3}"/>
                  </a:ext>
                </a:extLst>
              </p:cNvPr>
              <p:cNvSpPr>
                <a:spLocks/>
              </p:cNvSpPr>
              <p:nvPr/>
            </p:nvSpPr>
            <p:spPr bwMode="auto">
              <a:xfrm>
                <a:off x="10850723" y="3024079"/>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996" name="Oval 995">
                <a:extLst>
                  <a:ext uri="{FF2B5EF4-FFF2-40B4-BE49-F238E27FC236}">
                    <a16:creationId xmlns:a16="http://schemas.microsoft.com/office/drawing/2014/main" id="{BBD51377-BE1D-BB74-1CDA-780E3E862F08}"/>
                  </a:ext>
                </a:extLst>
              </p:cNvPr>
              <p:cNvSpPr>
                <a:spLocks/>
              </p:cNvSpPr>
              <p:nvPr/>
            </p:nvSpPr>
            <p:spPr bwMode="auto">
              <a:xfrm>
                <a:off x="10961349" y="2702067"/>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997" name="Oval 996">
                <a:extLst>
                  <a:ext uri="{FF2B5EF4-FFF2-40B4-BE49-F238E27FC236}">
                    <a16:creationId xmlns:a16="http://schemas.microsoft.com/office/drawing/2014/main" id="{9145993F-4E90-CC4B-02B9-E02C4E174ED9}"/>
                  </a:ext>
                </a:extLst>
              </p:cNvPr>
              <p:cNvSpPr>
                <a:spLocks/>
              </p:cNvSpPr>
              <p:nvPr/>
            </p:nvSpPr>
            <p:spPr bwMode="auto">
              <a:xfrm>
                <a:off x="10759073" y="3612536"/>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998" name="Oval 997">
                <a:extLst>
                  <a:ext uri="{FF2B5EF4-FFF2-40B4-BE49-F238E27FC236}">
                    <a16:creationId xmlns:a16="http://schemas.microsoft.com/office/drawing/2014/main" id="{20AFE62D-059A-BC7F-BA3B-D113DF17D476}"/>
                  </a:ext>
                </a:extLst>
              </p:cNvPr>
              <p:cNvSpPr>
                <a:spLocks/>
              </p:cNvSpPr>
              <p:nvPr/>
            </p:nvSpPr>
            <p:spPr bwMode="auto">
              <a:xfrm>
                <a:off x="10728195" y="4155168"/>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999" name="Oval 998">
                <a:extLst>
                  <a:ext uri="{FF2B5EF4-FFF2-40B4-BE49-F238E27FC236}">
                    <a16:creationId xmlns:a16="http://schemas.microsoft.com/office/drawing/2014/main" id="{F16A3822-9EAC-1003-CF6B-54FB43BA40A6}"/>
                  </a:ext>
                </a:extLst>
              </p:cNvPr>
              <p:cNvSpPr>
                <a:spLocks/>
              </p:cNvSpPr>
              <p:nvPr/>
            </p:nvSpPr>
            <p:spPr bwMode="auto">
              <a:xfrm>
                <a:off x="10282339" y="5254325"/>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000" name="Oval 999">
                <a:extLst>
                  <a:ext uri="{FF2B5EF4-FFF2-40B4-BE49-F238E27FC236}">
                    <a16:creationId xmlns:a16="http://schemas.microsoft.com/office/drawing/2014/main" id="{41F9AF5C-E82D-4C1B-EE1B-911CE4EF58D1}"/>
                  </a:ext>
                </a:extLst>
              </p:cNvPr>
              <p:cNvSpPr>
                <a:spLocks/>
              </p:cNvSpPr>
              <p:nvPr/>
            </p:nvSpPr>
            <p:spPr bwMode="auto">
              <a:xfrm>
                <a:off x="10392628" y="4851254"/>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001" name="Oval 1000">
                <a:extLst>
                  <a:ext uri="{FF2B5EF4-FFF2-40B4-BE49-F238E27FC236}">
                    <a16:creationId xmlns:a16="http://schemas.microsoft.com/office/drawing/2014/main" id="{EBCA8230-ED12-84B8-F4AC-A070A311229A}"/>
                  </a:ext>
                </a:extLst>
              </p:cNvPr>
              <p:cNvSpPr>
                <a:spLocks/>
              </p:cNvSpPr>
              <p:nvPr/>
            </p:nvSpPr>
            <p:spPr bwMode="auto">
              <a:xfrm>
                <a:off x="9705568" y="5346176"/>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002" name="Oval 1001">
                <a:extLst>
                  <a:ext uri="{FF2B5EF4-FFF2-40B4-BE49-F238E27FC236}">
                    <a16:creationId xmlns:a16="http://schemas.microsoft.com/office/drawing/2014/main" id="{2CB18B4B-6492-87AB-6438-F9D3FCC24715}"/>
                  </a:ext>
                </a:extLst>
              </p:cNvPr>
              <p:cNvSpPr>
                <a:spLocks/>
              </p:cNvSpPr>
              <p:nvPr/>
            </p:nvSpPr>
            <p:spPr bwMode="auto">
              <a:xfrm>
                <a:off x="5931001" y="3966240"/>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003" name="Oval 1002">
                <a:extLst>
                  <a:ext uri="{FF2B5EF4-FFF2-40B4-BE49-F238E27FC236}">
                    <a16:creationId xmlns:a16="http://schemas.microsoft.com/office/drawing/2014/main" id="{E3039906-D651-5659-9567-C0E1CCFD01C4}"/>
                  </a:ext>
                </a:extLst>
              </p:cNvPr>
              <p:cNvSpPr>
                <a:spLocks/>
              </p:cNvSpPr>
              <p:nvPr/>
            </p:nvSpPr>
            <p:spPr bwMode="auto">
              <a:xfrm>
                <a:off x="5976826" y="3062164"/>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004" name="Oval 1003">
                <a:extLst>
                  <a:ext uri="{FF2B5EF4-FFF2-40B4-BE49-F238E27FC236}">
                    <a16:creationId xmlns:a16="http://schemas.microsoft.com/office/drawing/2014/main" id="{D6955F1F-63C8-3F99-D18C-CFFB6864DBD2}"/>
                  </a:ext>
                </a:extLst>
              </p:cNvPr>
              <p:cNvSpPr>
                <a:spLocks/>
              </p:cNvSpPr>
              <p:nvPr/>
            </p:nvSpPr>
            <p:spPr bwMode="auto">
              <a:xfrm>
                <a:off x="5893817" y="3450748"/>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005" name="Oval 1004">
                <a:extLst>
                  <a:ext uri="{FF2B5EF4-FFF2-40B4-BE49-F238E27FC236}">
                    <a16:creationId xmlns:a16="http://schemas.microsoft.com/office/drawing/2014/main" id="{772BF714-CD85-E243-CFF5-68E67B469E8A}"/>
                  </a:ext>
                </a:extLst>
              </p:cNvPr>
              <p:cNvSpPr>
                <a:spLocks/>
              </p:cNvSpPr>
              <p:nvPr/>
            </p:nvSpPr>
            <p:spPr bwMode="auto">
              <a:xfrm>
                <a:off x="6612604" y="5176272"/>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006" name="Oval 1005">
                <a:extLst>
                  <a:ext uri="{FF2B5EF4-FFF2-40B4-BE49-F238E27FC236}">
                    <a16:creationId xmlns:a16="http://schemas.microsoft.com/office/drawing/2014/main" id="{7C23D2DD-1B00-FBCD-53AC-F826D2C088EA}"/>
                  </a:ext>
                </a:extLst>
              </p:cNvPr>
              <p:cNvSpPr>
                <a:spLocks/>
              </p:cNvSpPr>
              <p:nvPr/>
            </p:nvSpPr>
            <p:spPr bwMode="auto">
              <a:xfrm>
                <a:off x="6958994" y="5513753"/>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007" name="Oval 1006">
                <a:extLst>
                  <a:ext uri="{FF2B5EF4-FFF2-40B4-BE49-F238E27FC236}">
                    <a16:creationId xmlns:a16="http://schemas.microsoft.com/office/drawing/2014/main" id="{732ADA67-F635-251B-74F0-E6E9E917ABFF}"/>
                  </a:ext>
                </a:extLst>
              </p:cNvPr>
              <p:cNvSpPr>
                <a:spLocks/>
              </p:cNvSpPr>
              <p:nvPr/>
            </p:nvSpPr>
            <p:spPr bwMode="auto">
              <a:xfrm>
                <a:off x="11070317" y="3358397"/>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008" name="Oval 1007">
                <a:extLst>
                  <a:ext uri="{FF2B5EF4-FFF2-40B4-BE49-F238E27FC236}">
                    <a16:creationId xmlns:a16="http://schemas.microsoft.com/office/drawing/2014/main" id="{3A48CE1E-B1BC-0912-6D43-CA45405E3605}"/>
                  </a:ext>
                </a:extLst>
              </p:cNvPr>
              <p:cNvSpPr>
                <a:spLocks/>
              </p:cNvSpPr>
              <p:nvPr/>
            </p:nvSpPr>
            <p:spPr bwMode="auto">
              <a:xfrm>
                <a:off x="10942681" y="3877187"/>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009" name="Oval 1008">
                <a:extLst>
                  <a:ext uri="{FF2B5EF4-FFF2-40B4-BE49-F238E27FC236}">
                    <a16:creationId xmlns:a16="http://schemas.microsoft.com/office/drawing/2014/main" id="{F9B41291-97FA-91C1-15F2-0127E76E048B}"/>
                  </a:ext>
                </a:extLst>
              </p:cNvPr>
              <p:cNvSpPr>
                <a:spLocks/>
              </p:cNvSpPr>
              <p:nvPr/>
            </p:nvSpPr>
            <p:spPr bwMode="auto">
              <a:xfrm>
                <a:off x="10663731" y="4581463"/>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010" name="Oval 1009">
                <a:extLst>
                  <a:ext uri="{FF2B5EF4-FFF2-40B4-BE49-F238E27FC236}">
                    <a16:creationId xmlns:a16="http://schemas.microsoft.com/office/drawing/2014/main" id="{F831D25F-AC3A-FA28-3C75-4A55EEEF10D4}"/>
                  </a:ext>
                </a:extLst>
              </p:cNvPr>
              <p:cNvSpPr>
                <a:spLocks/>
              </p:cNvSpPr>
              <p:nvPr/>
            </p:nvSpPr>
            <p:spPr bwMode="auto">
              <a:xfrm>
                <a:off x="9288951" y="5606212"/>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011" name="Oval 1010">
                <a:extLst>
                  <a:ext uri="{FF2B5EF4-FFF2-40B4-BE49-F238E27FC236}">
                    <a16:creationId xmlns:a16="http://schemas.microsoft.com/office/drawing/2014/main" id="{50C921AE-F18B-F6B1-2C65-5BF298355A0B}"/>
                  </a:ext>
                </a:extLst>
              </p:cNvPr>
              <p:cNvSpPr>
                <a:spLocks/>
              </p:cNvSpPr>
              <p:nvPr/>
            </p:nvSpPr>
            <p:spPr bwMode="auto">
              <a:xfrm>
                <a:off x="6275504" y="4678715"/>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012" name="Oval 1011">
                <a:extLst>
                  <a:ext uri="{FF2B5EF4-FFF2-40B4-BE49-F238E27FC236}">
                    <a16:creationId xmlns:a16="http://schemas.microsoft.com/office/drawing/2014/main" id="{4F72839B-643F-B886-1643-E1182623F8B9}"/>
                  </a:ext>
                </a:extLst>
              </p:cNvPr>
              <p:cNvSpPr>
                <a:spLocks/>
              </p:cNvSpPr>
              <p:nvPr/>
            </p:nvSpPr>
            <p:spPr bwMode="auto">
              <a:xfrm>
                <a:off x="6032043" y="3758588"/>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013" name="Oval 1012">
                <a:extLst>
                  <a:ext uri="{FF2B5EF4-FFF2-40B4-BE49-F238E27FC236}">
                    <a16:creationId xmlns:a16="http://schemas.microsoft.com/office/drawing/2014/main" id="{A694FEF4-82EC-FEFB-5C34-A5A7B5B6FBD8}"/>
                  </a:ext>
                </a:extLst>
              </p:cNvPr>
              <p:cNvSpPr>
                <a:spLocks/>
              </p:cNvSpPr>
              <p:nvPr/>
            </p:nvSpPr>
            <p:spPr bwMode="auto">
              <a:xfrm>
                <a:off x="5999811" y="2669835"/>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014" name="Oval 1013">
                <a:extLst>
                  <a:ext uri="{FF2B5EF4-FFF2-40B4-BE49-F238E27FC236}">
                    <a16:creationId xmlns:a16="http://schemas.microsoft.com/office/drawing/2014/main" id="{FC01FE38-FE31-A262-4C7C-00EB4E98A881}"/>
                  </a:ext>
                </a:extLst>
              </p:cNvPr>
              <p:cNvSpPr>
                <a:spLocks/>
              </p:cNvSpPr>
              <p:nvPr/>
            </p:nvSpPr>
            <p:spPr bwMode="auto">
              <a:xfrm>
                <a:off x="6123308" y="2197470"/>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015" name="Oval 1014">
                <a:extLst>
                  <a:ext uri="{FF2B5EF4-FFF2-40B4-BE49-F238E27FC236}">
                    <a16:creationId xmlns:a16="http://schemas.microsoft.com/office/drawing/2014/main" id="{AFFBBDF9-8D1F-B3EC-F3C7-E38042FF3C96}"/>
                  </a:ext>
                </a:extLst>
              </p:cNvPr>
              <p:cNvSpPr>
                <a:spLocks/>
              </p:cNvSpPr>
              <p:nvPr/>
            </p:nvSpPr>
            <p:spPr bwMode="auto">
              <a:xfrm>
                <a:off x="6623670" y="1814149"/>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016" name="Oval 1015">
                <a:extLst>
                  <a:ext uri="{FF2B5EF4-FFF2-40B4-BE49-F238E27FC236}">
                    <a16:creationId xmlns:a16="http://schemas.microsoft.com/office/drawing/2014/main" id="{F4A7C1D4-CEF1-2DF5-0339-49DE90BAB41D}"/>
                  </a:ext>
                </a:extLst>
              </p:cNvPr>
              <p:cNvSpPr>
                <a:spLocks/>
              </p:cNvSpPr>
              <p:nvPr/>
            </p:nvSpPr>
            <p:spPr bwMode="auto">
              <a:xfrm>
                <a:off x="7147878" y="1317393"/>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017" name="Oval 1016">
                <a:extLst>
                  <a:ext uri="{FF2B5EF4-FFF2-40B4-BE49-F238E27FC236}">
                    <a16:creationId xmlns:a16="http://schemas.microsoft.com/office/drawing/2014/main" id="{538EBB2B-0E9E-CD60-56E3-F11DF955C2C0}"/>
                  </a:ext>
                </a:extLst>
              </p:cNvPr>
              <p:cNvSpPr>
                <a:spLocks/>
              </p:cNvSpPr>
              <p:nvPr/>
            </p:nvSpPr>
            <p:spPr bwMode="auto">
              <a:xfrm>
                <a:off x="6365375" y="1943752"/>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018" name="Oval 1017">
                <a:extLst>
                  <a:ext uri="{FF2B5EF4-FFF2-40B4-BE49-F238E27FC236}">
                    <a16:creationId xmlns:a16="http://schemas.microsoft.com/office/drawing/2014/main" id="{0F9669DC-7FBF-D118-344D-0F06CEE8C037}"/>
                  </a:ext>
                </a:extLst>
              </p:cNvPr>
              <p:cNvSpPr>
                <a:spLocks/>
              </p:cNvSpPr>
              <p:nvPr/>
            </p:nvSpPr>
            <p:spPr bwMode="auto">
              <a:xfrm>
                <a:off x="6847142" y="1548806"/>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019" name="Oval 1018">
                <a:extLst>
                  <a:ext uri="{FF2B5EF4-FFF2-40B4-BE49-F238E27FC236}">
                    <a16:creationId xmlns:a16="http://schemas.microsoft.com/office/drawing/2014/main" id="{E24CAE41-88E6-2E69-2901-86F8E3EEF71F}"/>
                  </a:ext>
                </a:extLst>
              </p:cNvPr>
              <p:cNvSpPr>
                <a:spLocks/>
              </p:cNvSpPr>
              <p:nvPr/>
            </p:nvSpPr>
            <p:spPr bwMode="auto">
              <a:xfrm>
                <a:off x="5723133" y="2832839"/>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020" name="Oval 1019">
                <a:extLst>
                  <a:ext uri="{FF2B5EF4-FFF2-40B4-BE49-F238E27FC236}">
                    <a16:creationId xmlns:a16="http://schemas.microsoft.com/office/drawing/2014/main" id="{BEE69A85-F672-DA22-7C1D-98B48F619F14}"/>
                  </a:ext>
                </a:extLst>
              </p:cNvPr>
              <p:cNvSpPr>
                <a:spLocks/>
              </p:cNvSpPr>
              <p:nvPr/>
            </p:nvSpPr>
            <p:spPr bwMode="auto">
              <a:xfrm>
                <a:off x="7412507" y="5680814"/>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021" name="Oval 1020">
                <a:extLst>
                  <a:ext uri="{FF2B5EF4-FFF2-40B4-BE49-F238E27FC236}">
                    <a16:creationId xmlns:a16="http://schemas.microsoft.com/office/drawing/2014/main" id="{386878DF-1863-DD02-938B-DFB4D61C3155}"/>
                  </a:ext>
                </a:extLst>
              </p:cNvPr>
              <p:cNvSpPr>
                <a:spLocks/>
              </p:cNvSpPr>
              <p:nvPr/>
            </p:nvSpPr>
            <p:spPr bwMode="auto">
              <a:xfrm>
                <a:off x="6437197" y="1605773"/>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022" name="Oval 1021">
                <a:extLst>
                  <a:ext uri="{FF2B5EF4-FFF2-40B4-BE49-F238E27FC236}">
                    <a16:creationId xmlns:a16="http://schemas.microsoft.com/office/drawing/2014/main" id="{0B258315-3267-689A-5F90-562EB9D5ADB3}"/>
                  </a:ext>
                </a:extLst>
              </p:cNvPr>
              <p:cNvSpPr>
                <a:spLocks/>
              </p:cNvSpPr>
              <p:nvPr/>
            </p:nvSpPr>
            <p:spPr bwMode="auto">
              <a:xfrm>
                <a:off x="7468778" y="1251180"/>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023" name="Oval 1022">
                <a:extLst>
                  <a:ext uri="{FF2B5EF4-FFF2-40B4-BE49-F238E27FC236}">
                    <a16:creationId xmlns:a16="http://schemas.microsoft.com/office/drawing/2014/main" id="{D1300C94-CFA5-0BA5-1DEC-AE5A71D3523D}"/>
                  </a:ext>
                </a:extLst>
              </p:cNvPr>
              <p:cNvSpPr>
                <a:spLocks/>
              </p:cNvSpPr>
              <p:nvPr/>
            </p:nvSpPr>
            <p:spPr bwMode="auto">
              <a:xfrm>
                <a:off x="7733447" y="5762442"/>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088" name="Oval 1087">
                <a:extLst>
                  <a:ext uri="{FF2B5EF4-FFF2-40B4-BE49-F238E27FC236}">
                    <a16:creationId xmlns:a16="http://schemas.microsoft.com/office/drawing/2014/main" id="{E98CABBB-0FA0-B273-86DB-12C7EC32D751}"/>
                  </a:ext>
                </a:extLst>
              </p:cNvPr>
              <p:cNvSpPr>
                <a:spLocks/>
              </p:cNvSpPr>
              <p:nvPr/>
            </p:nvSpPr>
            <p:spPr bwMode="auto">
              <a:xfrm>
                <a:off x="5750735" y="3694124"/>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089" name="Oval 1088">
                <a:extLst>
                  <a:ext uri="{FF2B5EF4-FFF2-40B4-BE49-F238E27FC236}">
                    <a16:creationId xmlns:a16="http://schemas.microsoft.com/office/drawing/2014/main" id="{2CBB6276-13D1-393D-B655-943AB03DB0F6}"/>
                  </a:ext>
                </a:extLst>
              </p:cNvPr>
              <p:cNvSpPr>
                <a:spLocks/>
              </p:cNvSpPr>
              <p:nvPr/>
            </p:nvSpPr>
            <p:spPr bwMode="auto">
              <a:xfrm>
                <a:off x="6637263" y="5462812"/>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090" name="Oval 1089">
                <a:extLst>
                  <a:ext uri="{FF2B5EF4-FFF2-40B4-BE49-F238E27FC236}">
                    <a16:creationId xmlns:a16="http://schemas.microsoft.com/office/drawing/2014/main" id="{C8654CD3-AF88-F00B-004F-4A5E04E20413}"/>
                  </a:ext>
                </a:extLst>
              </p:cNvPr>
              <p:cNvSpPr>
                <a:spLocks/>
              </p:cNvSpPr>
              <p:nvPr/>
            </p:nvSpPr>
            <p:spPr bwMode="auto">
              <a:xfrm>
                <a:off x="8504616" y="5846288"/>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091" name="Oval 1090">
                <a:extLst>
                  <a:ext uri="{FF2B5EF4-FFF2-40B4-BE49-F238E27FC236}">
                    <a16:creationId xmlns:a16="http://schemas.microsoft.com/office/drawing/2014/main" id="{3357640E-67DD-D1FC-7C0B-A30E8D143D11}"/>
                  </a:ext>
                </a:extLst>
              </p:cNvPr>
              <p:cNvSpPr>
                <a:spLocks/>
              </p:cNvSpPr>
              <p:nvPr/>
            </p:nvSpPr>
            <p:spPr bwMode="auto">
              <a:xfrm>
                <a:off x="10469630" y="2133006"/>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092" name="Oval 1091">
                <a:extLst>
                  <a:ext uri="{FF2B5EF4-FFF2-40B4-BE49-F238E27FC236}">
                    <a16:creationId xmlns:a16="http://schemas.microsoft.com/office/drawing/2014/main" id="{BE369C49-CAEB-CC8A-63BC-72597EB53351}"/>
                  </a:ext>
                </a:extLst>
              </p:cNvPr>
              <p:cNvSpPr>
                <a:spLocks/>
              </p:cNvSpPr>
              <p:nvPr/>
            </p:nvSpPr>
            <p:spPr bwMode="auto">
              <a:xfrm>
                <a:off x="9865472" y="1457705"/>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093" name="Oval 1092">
                <a:extLst>
                  <a:ext uri="{FF2B5EF4-FFF2-40B4-BE49-F238E27FC236}">
                    <a16:creationId xmlns:a16="http://schemas.microsoft.com/office/drawing/2014/main" id="{B7C1E9F5-7E50-3A09-E225-7B43B77BB973}"/>
                  </a:ext>
                </a:extLst>
              </p:cNvPr>
              <p:cNvSpPr>
                <a:spLocks/>
              </p:cNvSpPr>
              <p:nvPr/>
            </p:nvSpPr>
            <p:spPr bwMode="auto">
              <a:xfrm>
                <a:off x="9395902" y="1206772"/>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094" name="Oval 1093">
                <a:extLst>
                  <a:ext uri="{FF2B5EF4-FFF2-40B4-BE49-F238E27FC236}">
                    <a16:creationId xmlns:a16="http://schemas.microsoft.com/office/drawing/2014/main" id="{B3A55881-EF7A-AB9A-9613-9F362CBD5CEA}"/>
                  </a:ext>
                </a:extLst>
              </p:cNvPr>
              <p:cNvSpPr>
                <a:spLocks/>
              </p:cNvSpPr>
              <p:nvPr/>
            </p:nvSpPr>
            <p:spPr bwMode="auto">
              <a:xfrm>
                <a:off x="7843688" y="1035454"/>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095" name="Oval 1094">
                <a:extLst>
                  <a:ext uri="{FF2B5EF4-FFF2-40B4-BE49-F238E27FC236}">
                    <a16:creationId xmlns:a16="http://schemas.microsoft.com/office/drawing/2014/main" id="{608B8039-CA6F-3807-FEC1-BFA6EBB51E1E}"/>
                  </a:ext>
                </a:extLst>
              </p:cNvPr>
              <p:cNvSpPr>
                <a:spLocks/>
              </p:cNvSpPr>
              <p:nvPr/>
            </p:nvSpPr>
            <p:spPr bwMode="auto">
              <a:xfrm>
                <a:off x="8472984" y="1080400"/>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096" name="Oval 1095">
                <a:extLst>
                  <a:ext uri="{FF2B5EF4-FFF2-40B4-BE49-F238E27FC236}">
                    <a16:creationId xmlns:a16="http://schemas.microsoft.com/office/drawing/2014/main" id="{D4C6F172-3BE8-DB99-5EAF-EFD7CFBF92FA}"/>
                  </a:ext>
                </a:extLst>
              </p:cNvPr>
              <p:cNvSpPr>
                <a:spLocks/>
              </p:cNvSpPr>
              <p:nvPr/>
            </p:nvSpPr>
            <p:spPr bwMode="auto">
              <a:xfrm>
                <a:off x="8984512" y="1047407"/>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097" name="Oval 1096">
                <a:extLst>
                  <a:ext uri="{FF2B5EF4-FFF2-40B4-BE49-F238E27FC236}">
                    <a16:creationId xmlns:a16="http://schemas.microsoft.com/office/drawing/2014/main" id="{B23144E9-3170-9936-8F5E-53CF9B374855}"/>
                  </a:ext>
                </a:extLst>
              </p:cNvPr>
              <p:cNvSpPr>
                <a:spLocks/>
              </p:cNvSpPr>
              <p:nvPr/>
            </p:nvSpPr>
            <p:spPr bwMode="auto">
              <a:xfrm>
                <a:off x="5897593" y="4508918"/>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098" name="Oval 1097">
                <a:extLst>
                  <a:ext uri="{FF2B5EF4-FFF2-40B4-BE49-F238E27FC236}">
                    <a16:creationId xmlns:a16="http://schemas.microsoft.com/office/drawing/2014/main" id="{F139AB8C-611D-1136-1A85-D4586C6C5CB3}"/>
                  </a:ext>
                </a:extLst>
              </p:cNvPr>
              <p:cNvSpPr>
                <a:spLocks/>
              </p:cNvSpPr>
              <p:nvPr/>
            </p:nvSpPr>
            <p:spPr bwMode="auto">
              <a:xfrm>
                <a:off x="10636545" y="4866149"/>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099" name="Oval 1098">
                <a:extLst>
                  <a:ext uri="{FF2B5EF4-FFF2-40B4-BE49-F238E27FC236}">
                    <a16:creationId xmlns:a16="http://schemas.microsoft.com/office/drawing/2014/main" id="{50394838-C18E-9630-F898-51F83D5C580B}"/>
                  </a:ext>
                </a:extLst>
              </p:cNvPr>
              <p:cNvSpPr>
                <a:spLocks/>
              </p:cNvSpPr>
              <p:nvPr/>
            </p:nvSpPr>
            <p:spPr bwMode="auto">
              <a:xfrm>
                <a:off x="11070317" y="4304723"/>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100" name="Oval 1099">
                <a:extLst>
                  <a:ext uri="{FF2B5EF4-FFF2-40B4-BE49-F238E27FC236}">
                    <a16:creationId xmlns:a16="http://schemas.microsoft.com/office/drawing/2014/main" id="{EAE7B3CC-860B-9BB1-1DB7-AD24341371D1}"/>
                  </a:ext>
                </a:extLst>
              </p:cNvPr>
              <p:cNvSpPr>
                <a:spLocks/>
              </p:cNvSpPr>
              <p:nvPr/>
            </p:nvSpPr>
            <p:spPr bwMode="auto">
              <a:xfrm>
                <a:off x="9780906" y="1170912"/>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101" name="Oval 1100">
                <a:extLst>
                  <a:ext uri="{FF2B5EF4-FFF2-40B4-BE49-F238E27FC236}">
                    <a16:creationId xmlns:a16="http://schemas.microsoft.com/office/drawing/2014/main" id="{5FC00F6C-0FBD-F2CB-3353-0326ED847EE2}"/>
                  </a:ext>
                </a:extLst>
              </p:cNvPr>
              <p:cNvSpPr>
                <a:spLocks/>
              </p:cNvSpPr>
              <p:nvPr/>
            </p:nvSpPr>
            <p:spPr bwMode="auto">
              <a:xfrm>
                <a:off x="10263700" y="1505315"/>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grpSp>
        <p:grpSp>
          <p:nvGrpSpPr>
            <p:cNvPr id="60" name="Group 59">
              <a:extLst>
                <a:ext uri="{FF2B5EF4-FFF2-40B4-BE49-F238E27FC236}">
                  <a16:creationId xmlns:a16="http://schemas.microsoft.com/office/drawing/2014/main" id="{F7A8575E-F51B-B630-7C4D-4DEFF18E381E}"/>
                </a:ext>
              </a:extLst>
            </p:cNvPr>
            <p:cNvGrpSpPr/>
            <p:nvPr/>
          </p:nvGrpSpPr>
          <p:grpSpPr>
            <a:xfrm>
              <a:off x="5267489" y="902367"/>
              <a:ext cx="6232486" cy="5248156"/>
              <a:chOff x="5267489" y="902367"/>
              <a:chExt cx="6232486" cy="5248156"/>
            </a:xfrm>
          </p:grpSpPr>
          <p:sp>
            <p:nvSpPr>
              <p:cNvPr id="61" name="Oval 60">
                <a:extLst>
                  <a:ext uri="{FF2B5EF4-FFF2-40B4-BE49-F238E27FC236}">
                    <a16:creationId xmlns:a16="http://schemas.microsoft.com/office/drawing/2014/main" id="{08A93E74-953A-8044-ADC5-AFE86DC4A27B}"/>
                  </a:ext>
                </a:extLst>
              </p:cNvPr>
              <p:cNvSpPr>
                <a:spLocks/>
              </p:cNvSpPr>
              <p:nvPr/>
            </p:nvSpPr>
            <p:spPr bwMode="auto">
              <a:xfrm rot="467850" flipV="1">
                <a:off x="6011949" y="2062864"/>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62" name="Oval 61">
                <a:extLst>
                  <a:ext uri="{FF2B5EF4-FFF2-40B4-BE49-F238E27FC236}">
                    <a16:creationId xmlns:a16="http://schemas.microsoft.com/office/drawing/2014/main" id="{E105B25C-E9E2-A48C-D178-C84CA13595BA}"/>
                  </a:ext>
                </a:extLst>
              </p:cNvPr>
              <p:cNvSpPr>
                <a:spLocks/>
              </p:cNvSpPr>
              <p:nvPr/>
            </p:nvSpPr>
            <p:spPr bwMode="auto">
              <a:xfrm rot="467850" flipV="1">
                <a:off x="6237568" y="1343693"/>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63" name="Oval 62">
                <a:extLst>
                  <a:ext uri="{FF2B5EF4-FFF2-40B4-BE49-F238E27FC236}">
                    <a16:creationId xmlns:a16="http://schemas.microsoft.com/office/drawing/2014/main" id="{9B5D7E55-DFE6-DF59-DD7E-E979C8CE5FDD}"/>
                  </a:ext>
                </a:extLst>
              </p:cNvPr>
              <p:cNvSpPr>
                <a:spLocks/>
              </p:cNvSpPr>
              <p:nvPr/>
            </p:nvSpPr>
            <p:spPr bwMode="auto">
              <a:xfrm rot="467850" flipV="1">
                <a:off x="10337351" y="5451911"/>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378" name="Oval 1377">
                <a:extLst>
                  <a:ext uri="{FF2B5EF4-FFF2-40B4-BE49-F238E27FC236}">
                    <a16:creationId xmlns:a16="http://schemas.microsoft.com/office/drawing/2014/main" id="{00CB450A-F46B-319D-A290-29912222C47D}"/>
                  </a:ext>
                </a:extLst>
              </p:cNvPr>
              <p:cNvSpPr>
                <a:spLocks/>
              </p:cNvSpPr>
              <p:nvPr/>
            </p:nvSpPr>
            <p:spPr bwMode="auto">
              <a:xfrm rot="467850" flipV="1">
                <a:off x="10672077" y="4783422"/>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379" name="Oval 1378">
                <a:extLst>
                  <a:ext uri="{FF2B5EF4-FFF2-40B4-BE49-F238E27FC236}">
                    <a16:creationId xmlns:a16="http://schemas.microsoft.com/office/drawing/2014/main" id="{A9811F8F-EDE8-ECBD-255B-E08DD9C5D48C}"/>
                  </a:ext>
                </a:extLst>
              </p:cNvPr>
              <p:cNvSpPr>
                <a:spLocks/>
              </p:cNvSpPr>
              <p:nvPr/>
            </p:nvSpPr>
            <p:spPr bwMode="auto">
              <a:xfrm rot="467850" flipV="1">
                <a:off x="11075840" y="4101895"/>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380" name="Oval 1379">
                <a:extLst>
                  <a:ext uri="{FF2B5EF4-FFF2-40B4-BE49-F238E27FC236}">
                    <a16:creationId xmlns:a16="http://schemas.microsoft.com/office/drawing/2014/main" id="{A5D50FEF-6BA6-6469-3005-2DCF843B0D5A}"/>
                  </a:ext>
                </a:extLst>
              </p:cNvPr>
              <p:cNvSpPr>
                <a:spLocks/>
              </p:cNvSpPr>
              <p:nvPr/>
            </p:nvSpPr>
            <p:spPr bwMode="auto">
              <a:xfrm rot="467850" flipV="1">
                <a:off x="11063111" y="4624756"/>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381" name="Oval 1380">
                <a:extLst>
                  <a:ext uri="{FF2B5EF4-FFF2-40B4-BE49-F238E27FC236}">
                    <a16:creationId xmlns:a16="http://schemas.microsoft.com/office/drawing/2014/main" id="{18E9BD11-C6A9-14C3-4A4D-B9826C8D3D5A}"/>
                  </a:ext>
                </a:extLst>
              </p:cNvPr>
              <p:cNvSpPr>
                <a:spLocks/>
              </p:cNvSpPr>
              <p:nvPr/>
            </p:nvSpPr>
            <p:spPr bwMode="auto">
              <a:xfrm rot="467850" flipV="1">
                <a:off x="10978887" y="3554938"/>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382" name="Oval 1381">
                <a:extLst>
                  <a:ext uri="{FF2B5EF4-FFF2-40B4-BE49-F238E27FC236}">
                    <a16:creationId xmlns:a16="http://schemas.microsoft.com/office/drawing/2014/main" id="{2446EC1B-A2F5-C6F4-1322-BA79446E3000}"/>
                  </a:ext>
                </a:extLst>
              </p:cNvPr>
              <p:cNvSpPr>
                <a:spLocks/>
              </p:cNvSpPr>
              <p:nvPr/>
            </p:nvSpPr>
            <p:spPr bwMode="auto">
              <a:xfrm rot="467850" flipV="1">
                <a:off x="11027101" y="2947810"/>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383" name="Oval 1382">
                <a:extLst>
                  <a:ext uri="{FF2B5EF4-FFF2-40B4-BE49-F238E27FC236}">
                    <a16:creationId xmlns:a16="http://schemas.microsoft.com/office/drawing/2014/main" id="{DDA01CF4-9598-77B2-E6E6-A580E6361A0A}"/>
                  </a:ext>
                </a:extLst>
              </p:cNvPr>
              <p:cNvSpPr>
                <a:spLocks/>
              </p:cNvSpPr>
              <p:nvPr/>
            </p:nvSpPr>
            <p:spPr bwMode="auto">
              <a:xfrm rot="467850" flipV="1">
                <a:off x="10699215" y="1659735"/>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384" name="Oval 1383">
                <a:extLst>
                  <a:ext uri="{FF2B5EF4-FFF2-40B4-BE49-F238E27FC236}">
                    <a16:creationId xmlns:a16="http://schemas.microsoft.com/office/drawing/2014/main" id="{FE31C316-F372-F7D3-46FB-AD2E9099A4C1}"/>
                  </a:ext>
                </a:extLst>
              </p:cNvPr>
              <p:cNvSpPr>
                <a:spLocks/>
              </p:cNvSpPr>
              <p:nvPr/>
            </p:nvSpPr>
            <p:spPr bwMode="auto">
              <a:xfrm rot="467850" flipV="1">
                <a:off x="10760379" y="2123995"/>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385" name="Oval 1384">
                <a:extLst>
                  <a:ext uri="{FF2B5EF4-FFF2-40B4-BE49-F238E27FC236}">
                    <a16:creationId xmlns:a16="http://schemas.microsoft.com/office/drawing/2014/main" id="{3BDD16C3-12A3-7710-F7DC-9E42D8831367}"/>
                  </a:ext>
                </a:extLst>
              </p:cNvPr>
              <p:cNvSpPr>
                <a:spLocks/>
              </p:cNvSpPr>
              <p:nvPr/>
            </p:nvSpPr>
            <p:spPr bwMode="auto">
              <a:xfrm rot="467850" flipV="1">
                <a:off x="10318090" y="1314125"/>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386" name="Oval 1385">
                <a:extLst>
                  <a:ext uri="{FF2B5EF4-FFF2-40B4-BE49-F238E27FC236}">
                    <a16:creationId xmlns:a16="http://schemas.microsoft.com/office/drawing/2014/main" id="{FF0E0475-F8DF-C51F-EB62-201391FF51FE}"/>
                  </a:ext>
                </a:extLst>
              </p:cNvPr>
              <p:cNvSpPr>
                <a:spLocks/>
              </p:cNvSpPr>
              <p:nvPr/>
            </p:nvSpPr>
            <p:spPr bwMode="auto">
              <a:xfrm rot="467850" flipV="1">
                <a:off x="5672503" y="2428242"/>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387" name="Oval 1386">
                <a:extLst>
                  <a:ext uri="{FF2B5EF4-FFF2-40B4-BE49-F238E27FC236}">
                    <a16:creationId xmlns:a16="http://schemas.microsoft.com/office/drawing/2014/main" id="{9E35246B-C069-44A3-CB00-7B45DF6042CB}"/>
                  </a:ext>
                </a:extLst>
              </p:cNvPr>
              <p:cNvSpPr>
                <a:spLocks/>
              </p:cNvSpPr>
              <p:nvPr/>
            </p:nvSpPr>
            <p:spPr bwMode="auto">
              <a:xfrm rot="467850" flipV="1">
                <a:off x="5585931" y="3438921"/>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388" name="Oval 1387">
                <a:extLst>
                  <a:ext uri="{FF2B5EF4-FFF2-40B4-BE49-F238E27FC236}">
                    <a16:creationId xmlns:a16="http://schemas.microsoft.com/office/drawing/2014/main" id="{CC28A512-AA1E-7AF3-7EB4-96A83F329145}"/>
                  </a:ext>
                </a:extLst>
              </p:cNvPr>
              <p:cNvSpPr>
                <a:spLocks/>
              </p:cNvSpPr>
              <p:nvPr/>
            </p:nvSpPr>
            <p:spPr bwMode="auto">
              <a:xfrm rot="467850" flipV="1">
                <a:off x="5550925" y="3023149"/>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389" name="Oval 1388">
                <a:extLst>
                  <a:ext uri="{FF2B5EF4-FFF2-40B4-BE49-F238E27FC236}">
                    <a16:creationId xmlns:a16="http://schemas.microsoft.com/office/drawing/2014/main" id="{411F415C-1367-8C1B-DC1F-CBA3F6C61A56}"/>
                  </a:ext>
                </a:extLst>
              </p:cNvPr>
              <p:cNvSpPr>
                <a:spLocks/>
              </p:cNvSpPr>
              <p:nvPr/>
            </p:nvSpPr>
            <p:spPr bwMode="auto">
              <a:xfrm rot="467850" flipV="1">
                <a:off x="6611258" y="1216737"/>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390" name="Oval 1389">
                <a:extLst>
                  <a:ext uri="{FF2B5EF4-FFF2-40B4-BE49-F238E27FC236}">
                    <a16:creationId xmlns:a16="http://schemas.microsoft.com/office/drawing/2014/main" id="{EAF2AE93-C261-9AA8-8067-C94E0192DE11}"/>
                  </a:ext>
                </a:extLst>
              </p:cNvPr>
              <p:cNvSpPr>
                <a:spLocks/>
              </p:cNvSpPr>
              <p:nvPr/>
            </p:nvSpPr>
            <p:spPr bwMode="auto">
              <a:xfrm rot="467850" flipV="1">
                <a:off x="7095623" y="1053899"/>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391" name="Oval 1390">
                <a:extLst>
                  <a:ext uri="{FF2B5EF4-FFF2-40B4-BE49-F238E27FC236}">
                    <a16:creationId xmlns:a16="http://schemas.microsoft.com/office/drawing/2014/main" id="{940CBB75-A364-91AE-5951-C549AF4D27AD}"/>
                  </a:ext>
                </a:extLst>
              </p:cNvPr>
              <p:cNvSpPr>
                <a:spLocks/>
              </p:cNvSpPr>
              <p:nvPr/>
            </p:nvSpPr>
            <p:spPr bwMode="auto">
              <a:xfrm rot="467850" flipV="1">
                <a:off x="11283869" y="3912661"/>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392" name="Oval 1391">
                <a:extLst>
                  <a:ext uri="{FF2B5EF4-FFF2-40B4-BE49-F238E27FC236}">
                    <a16:creationId xmlns:a16="http://schemas.microsoft.com/office/drawing/2014/main" id="{0B306311-84E5-4C9C-C1D1-EF7503EF8ED4}"/>
                  </a:ext>
                </a:extLst>
              </p:cNvPr>
              <p:cNvSpPr>
                <a:spLocks/>
              </p:cNvSpPr>
              <p:nvPr/>
            </p:nvSpPr>
            <p:spPr bwMode="auto">
              <a:xfrm rot="467850" flipV="1">
                <a:off x="11221038" y="3317292"/>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393" name="Oval 1392">
                <a:extLst>
                  <a:ext uri="{FF2B5EF4-FFF2-40B4-BE49-F238E27FC236}">
                    <a16:creationId xmlns:a16="http://schemas.microsoft.com/office/drawing/2014/main" id="{F6FA5840-9600-4052-04AE-7EAAA46B09D7}"/>
                  </a:ext>
                </a:extLst>
              </p:cNvPr>
              <p:cNvSpPr>
                <a:spLocks/>
              </p:cNvSpPr>
              <p:nvPr/>
            </p:nvSpPr>
            <p:spPr bwMode="auto">
              <a:xfrm rot="467850" flipV="1">
                <a:off x="11018417" y="2492991"/>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394" name="Oval 1393">
                <a:extLst>
                  <a:ext uri="{FF2B5EF4-FFF2-40B4-BE49-F238E27FC236}">
                    <a16:creationId xmlns:a16="http://schemas.microsoft.com/office/drawing/2014/main" id="{1967BF52-FA1A-1E76-C675-1B6581520014}"/>
                  </a:ext>
                </a:extLst>
              </p:cNvPr>
              <p:cNvSpPr>
                <a:spLocks/>
              </p:cNvSpPr>
              <p:nvPr/>
            </p:nvSpPr>
            <p:spPr bwMode="auto">
              <a:xfrm rot="467850" flipV="1">
                <a:off x="9903579" y="1023309"/>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395" name="Oval 1394">
                <a:extLst>
                  <a:ext uri="{FF2B5EF4-FFF2-40B4-BE49-F238E27FC236}">
                    <a16:creationId xmlns:a16="http://schemas.microsoft.com/office/drawing/2014/main" id="{F1C8DAE5-7C79-EBFF-6207-981F1DD09EA9}"/>
                  </a:ext>
                </a:extLst>
              </p:cNvPr>
              <p:cNvSpPr>
                <a:spLocks/>
              </p:cNvSpPr>
              <p:nvPr/>
            </p:nvSpPr>
            <p:spPr bwMode="auto">
              <a:xfrm rot="467850" flipV="1">
                <a:off x="6161364" y="1717879"/>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396" name="Oval 1395">
                <a:extLst>
                  <a:ext uri="{FF2B5EF4-FFF2-40B4-BE49-F238E27FC236}">
                    <a16:creationId xmlns:a16="http://schemas.microsoft.com/office/drawing/2014/main" id="{8E475ED7-2EFA-DBB0-1360-24238DC49E3B}"/>
                  </a:ext>
                </a:extLst>
              </p:cNvPr>
              <p:cNvSpPr>
                <a:spLocks/>
              </p:cNvSpPr>
              <p:nvPr/>
            </p:nvSpPr>
            <p:spPr bwMode="auto">
              <a:xfrm rot="467850" flipV="1">
                <a:off x="5751185" y="2702396"/>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397" name="Oval 1396">
                <a:extLst>
                  <a:ext uri="{FF2B5EF4-FFF2-40B4-BE49-F238E27FC236}">
                    <a16:creationId xmlns:a16="http://schemas.microsoft.com/office/drawing/2014/main" id="{9B74230C-AB63-6F20-736A-88272FD1DA8A}"/>
                  </a:ext>
                </a:extLst>
              </p:cNvPr>
              <p:cNvSpPr>
                <a:spLocks/>
              </p:cNvSpPr>
              <p:nvPr/>
            </p:nvSpPr>
            <p:spPr bwMode="auto">
              <a:xfrm rot="467850" flipV="1">
                <a:off x="5549877" y="3906237"/>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398" name="Oval 1397">
                <a:extLst>
                  <a:ext uri="{FF2B5EF4-FFF2-40B4-BE49-F238E27FC236}">
                    <a16:creationId xmlns:a16="http://schemas.microsoft.com/office/drawing/2014/main" id="{6DCD1241-2456-C02D-3494-F3B8EB9CF1AE}"/>
                  </a:ext>
                </a:extLst>
              </p:cNvPr>
              <p:cNvSpPr>
                <a:spLocks/>
              </p:cNvSpPr>
              <p:nvPr/>
            </p:nvSpPr>
            <p:spPr bwMode="auto">
              <a:xfrm rot="467850" flipV="1">
                <a:off x="5617097" y="4421179"/>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399" name="Oval 1398">
                <a:extLst>
                  <a:ext uri="{FF2B5EF4-FFF2-40B4-BE49-F238E27FC236}">
                    <a16:creationId xmlns:a16="http://schemas.microsoft.com/office/drawing/2014/main" id="{69222FDE-071B-3A91-F044-F333FAE2BAA2}"/>
                  </a:ext>
                </a:extLst>
              </p:cNvPr>
              <p:cNvSpPr>
                <a:spLocks/>
              </p:cNvSpPr>
              <p:nvPr/>
            </p:nvSpPr>
            <p:spPr bwMode="auto">
              <a:xfrm rot="467850" flipV="1">
                <a:off x="6114325" y="4922814"/>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400" name="Oval 1399">
                <a:extLst>
                  <a:ext uri="{FF2B5EF4-FFF2-40B4-BE49-F238E27FC236}">
                    <a16:creationId xmlns:a16="http://schemas.microsoft.com/office/drawing/2014/main" id="{92AA0D8B-649E-569A-0D32-BBB5460A41F2}"/>
                  </a:ext>
                </a:extLst>
              </p:cNvPr>
              <p:cNvSpPr>
                <a:spLocks/>
              </p:cNvSpPr>
              <p:nvPr/>
            </p:nvSpPr>
            <p:spPr bwMode="auto">
              <a:xfrm rot="467850" flipV="1">
                <a:off x="6674064" y="5775719"/>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401" name="Oval 1400">
                <a:extLst>
                  <a:ext uri="{FF2B5EF4-FFF2-40B4-BE49-F238E27FC236}">
                    <a16:creationId xmlns:a16="http://schemas.microsoft.com/office/drawing/2014/main" id="{AE9AF501-30C3-CAC2-260E-92BBB6C5B65E}"/>
                  </a:ext>
                </a:extLst>
              </p:cNvPr>
              <p:cNvSpPr>
                <a:spLocks/>
              </p:cNvSpPr>
              <p:nvPr/>
            </p:nvSpPr>
            <p:spPr bwMode="auto">
              <a:xfrm rot="467850" flipV="1">
                <a:off x="5845343" y="4767916"/>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402" name="Oval 1401">
                <a:extLst>
                  <a:ext uri="{FF2B5EF4-FFF2-40B4-BE49-F238E27FC236}">
                    <a16:creationId xmlns:a16="http://schemas.microsoft.com/office/drawing/2014/main" id="{FD8A44DB-5C48-CD50-1293-207051928AE0}"/>
                  </a:ext>
                </a:extLst>
              </p:cNvPr>
              <p:cNvSpPr>
                <a:spLocks/>
              </p:cNvSpPr>
              <p:nvPr/>
            </p:nvSpPr>
            <p:spPr bwMode="auto">
              <a:xfrm rot="467850" flipV="1">
                <a:off x="6320160" y="5279631"/>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403" name="Oval 1402">
                <a:extLst>
                  <a:ext uri="{FF2B5EF4-FFF2-40B4-BE49-F238E27FC236}">
                    <a16:creationId xmlns:a16="http://schemas.microsoft.com/office/drawing/2014/main" id="{75802052-2231-F0BC-3351-FD4A86DD560E}"/>
                  </a:ext>
                </a:extLst>
              </p:cNvPr>
              <p:cNvSpPr>
                <a:spLocks/>
              </p:cNvSpPr>
              <p:nvPr/>
            </p:nvSpPr>
            <p:spPr bwMode="auto">
              <a:xfrm rot="467850" flipV="1">
                <a:off x="5267489" y="3683206"/>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404" name="Oval 1403">
                <a:extLst>
                  <a:ext uri="{FF2B5EF4-FFF2-40B4-BE49-F238E27FC236}">
                    <a16:creationId xmlns:a16="http://schemas.microsoft.com/office/drawing/2014/main" id="{02C4B4BD-FEB9-9C5D-7ED6-20E8C7E24836}"/>
                  </a:ext>
                </a:extLst>
              </p:cNvPr>
              <p:cNvSpPr>
                <a:spLocks/>
              </p:cNvSpPr>
              <p:nvPr/>
            </p:nvSpPr>
            <p:spPr bwMode="auto">
              <a:xfrm rot="467850" flipV="1">
                <a:off x="7588721" y="1100385"/>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405" name="Oval 1404">
                <a:extLst>
                  <a:ext uri="{FF2B5EF4-FFF2-40B4-BE49-F238E27FC236}">
                    <a16:creationId xmlns:a16="http://schemas.microsoft.com/office/drawing/2014/main" id="{130DED48-C93D-30E6-DB19-B01CE3940431}"/>
                  </a:ext>
                </a:extLst>
              </p:cNvPr>
              <p:cNvSpPr>
                <a:spLocks/>
              </p:cNvSpPr>
              <p:nvPr/>
            </p:nvSpPr>
            <p:spPr bwMode="auto">
              <a:xfrm rot="467850" flipV="1">
                <a:off x="5873696" y="5154062"/>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406" name="Oval 1405">
                <a:extLst>
                  <a:ext uri="{FF2B5EF4-FFF2-40B4-BE49-F238E27FC236}">
                    <a16:creationId xmlns:a16="http://schemas.microsoft.com/office/drawing/2014/main" id="{158A42B0-BD92-02E4-39CF-EED4A43330BA}"/>
                  </a:ext>
                </a:extLst>
              </p:cNvPr>
              <p:cNvSpPr>
                <a:spLocks/>
              </p:cNvSpPr>
              <p:nvPr/>
            </p:nvSpPr>
            <p:spPr bwMode="auto">
              <a:xfrm rot="467850" flipV="1">
                <a:off x="6965056" y="5704565"/>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407" name="Oval 1406">
                <a:extLst>
                  <a:ext uri="{FF2B5EF4-FFF2-40B4-BE49-F238E27FC236}">
                    <a16:creationId xmlns:a16="http://schemas.microsoft.com/office/drawing/2014/main" id="{5D719CE6-D5E9-CEE2-AE32-A9E19C504C76}"/>
                  </a:ext>
                </a:extLst>
              </p:cNvPr>
              <p:cNvSpPr>
                <a:spLocks/>
              </p:cNvSpPr>
              <p:nvPr/>
            </p:nvSpPr>
            <p:spPr bwMode="auto">
              <a:xfrm rot="467850" flipV="1">
                <a:off x="8028706" y="938215"/>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974" name="Oval 973">
                <a:extLst>
                  <a:ext uri="{FF2B5EF4-FFF2-40B4-BE49-F238E27FC236}">
                    <a16:creationId xmlns:a16="http://schemas.microsoft.com/office/drawing/2014/main" id="{0373B4C0-43B8-BC9D-A7E2-86E7C376BEB7}"/>
                  </a:ext>
                </a:extLst>
              </p:cNvPr>
              <p:cNvSpPr>
                <a:spLocks/>
              </p:cNvSpPr>
              <p:nvPr/>
            </p:nvSpPr>
            <p:spPr bwMode="auto">
              <a:xfrm rot="467850" flipV="1">
                <a:off x="5429074" y="2731198"/>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977" name="Oval 976">
                <a:extLst>
                  <a:ext uri="{FF2B5EF4-FFF2-40B4-BE49-F238E27FC236}">
                    <a16:creationId xmlns:a16="http://schemas.microsoft.com/office/drawing/2014/main" id="{5389C0B4-3391-A236-CCDF-B31719346E31}"/>
                  </a:ext>
                </a:extLst>
              </p:cNvPr>
              <p:cNvSpPr>
                <a:spLocks/>
              </p:cNvSpPr>
              <p:nvPr/>
            </p:nvSpPr>
            <p:spPr bwMode="auto">
              <a:xfrm rot="467850" flipV="1">
                <a:off x="6682197" y="902367"/>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978" name="Oval 977">
                <a:extLst>
                  <a:ext uri="{FF2B5EF4-FFF2-40B4-BE49-F238E27FC236}">
                    <a16:creationId xmlns:a16="http://schemas.microsoft.com/office/drawing/2014/main" id="{9631FD48-EB66-0149-0BD5-112CF0008647}"/>
                  </a:ext>
                </a:extLst>
              </p:cNvPr>
              <p:cNvSpPr>
                <a:spLocks/>
              </p:cNvSpPr>
              <p:nvPr/>
            </p:nvSpPr>
            <p:spPr bwMode="auto">
              <a:xfrm rot="467850" flipV="1">
                <a:off x="8585041" y="904456"/>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979" name="Oval 978">
                <a:extLst>
                  <a:ext uri="{FF2B5EF4-FFF2-40B4-BE49-F238E27FC236}">
                    <a16:creationId xmlns:a16="http://schemas.microsoft.com/office/drawing/2014/main" id="{424F3465-4471-0E7C-72A3-694F51528CD8}"/>
                  </a:ext>
                </a:extLst>
              </p:cNvPr>
              <p:cNvSpPr>
                <a:spLocks/>
              </p:cNvSpPr>
              <p:nvPr/>
            </p:nvSpPr>
            <p:spPr bwMode="auto">
              <a:xfrm rot="467850" flipV="1">
                <a:off x="10430686" y="5181776"/>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980" name="Oval 979">
                <a:extLst>
                  <a:ext uri="{FF2B5EF4-FFF2-40B4-BE49-F238E27FC236}">
                    <a16:creationId xmlns:a16="http://schemas.microsoft.com/office/drawing/2014/main" id="{6A31D363-6529-CB2E-478F-F12BD0768E8F}"/>
                  </a:ext>
                </a:extLst>
              </p:cNvPr>
              <p:cNvSpPr>
                <a:spLocks/>
              </p:cNvSpPr>
              <p:nvPr/>
            </p:nvSpPr>
            <p:spPr bwMode="auto">
              <a:xfrm rot="467850" flipV="1">
                <a:off x="9623414" y="5733108"/>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981" name="Oval 980">
                <a:extLst>
                  <a:ext uri="{FF2B5EF4-FFF2-40B4-BE49-F238E27FC236}">
                    <a16:creationId xmlns:a16="http://schemas.microsoft.com/office/drawing/2014/main" id="{36A9AAAA-2CB5-17D0-FD67-A6643D58B48A}"/>
                  </a:ext>
                </a:extLst>
              </p:cNvPr>
              <p:cNvSpPr>
                <a:spLocks/>
              </p:cNvSpPr>
              <p:nvPr/>
            </p:nvSpPr>
            <p:spPr bwMode="auto">
              <a:xfrm rot="467850" flipV="1">
                <a:off x="8933162" y="5775719"/>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982" name="Oval 981">
                <a:extLst>
                  <a:ext uri="{FF2B5EF4-FFF2-40B4-BE49-F238E27FC236}">
                    <a16:creationId xmlns:a16="http://schemas.microsoft.com/office/drawing/2014/main" id="{7F062A09-1A82-C455-177C-C54E2D4352D2}"/>
                  </a:ext>
                </a:extLst>
              </p:cNvPr>
              <p:cNvSpPr>
                <a:spLocks/>
              </p:cNvSpPr>
              <p:nvPr/>
            </p:nvSpPr>
            <p:spPr bwMode="auto">
              <a:xfrm rot="467850" flipV="1">
                <a:off x="7464714" y="5958019"/>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983" name="Oval 982">
                <a:extLst>
                  <a:ext uri="{FF2B5EF4-FFF2-40B4-BE49-F238E27FC236}">
                    <a16:creationId xmlns:a16="http://schemas.microsoft.com/office/drawing/2014/main" id="{74A8DFDB-93C1-0954-1882-47745A5E83AD}"/>
                  </a:ext>
                </a:extLst>
              </p:cNvPr>
              <p:cNvSpPr>
                <a:spLocks/>
              </p:cNvSpPr>
              <p:nvPr/>
            </p:nvSpPr>
            <p:spPr bwMode="auto">
              <a:xfrm rot="467850" flipV="1">
                <a:off x="8084623" y="5830936"/>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984" name="Oval 983">
                <a:extLst>
                  <a:ext uri="{FF2B5EF4-FFF2-40B4-BE49-F238E27FC236}">
                    <a16:creationId xmlns:a16="http://schemas.microsoft.com/office/drawing/2014/main" id="{C407CAC8-9F2D-A9B9-201A-2FE646B42AE6}"/>
                  </a:ext>
                </a:extLst>
              </p:cNvPr>
              <p:cNvSpPr>
                <a:spLocks/>
              </p:cNvSpPr>
              <p:nvPr/>
            </p:nvSpPr>
            <p:spPr bwMode="auto">
              <a:xfrm rot="467850" flipV="1">
                <a:off x="8467386" y="6078287"/>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985" name="Oval 984">
                <a:extLst>
                  <a:ext uri="{FF2B5EF4-FFF2-40B4-BE49-F238E27FC236}">
                    <a16:creationId xmlns:a16="http://schemas.microsoft.com/office/drawing/2014/main" id="{8E4C98DD-6362-1527-0231-FFA039FAE35A}"/>
                  </a:ext>
                </a:extLst>
              </p:cNvPr>
              <p:cNvSpPr>
                <a:spLocks/>
              </p:cNvSpPr>
              <p:nvPr/>
            </p:nvSpPr>
            <p:spPr bwMode="auto">
              <a:xfrm rot="467850" flipV="1">
                <a:off x="5717916" y="1820678"/>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986" name="Oval 985">
                <a:extLst>
                  <a:ext uri="{FF2B5EF4-FFF2-40B4-BE49-F238E27FC236}">
                    <a16:creationId xmlns:a16="http://schemas.microsoft.com/office/drawing/2014/main" id="{9039D241-1A97-648A-1342-8A6DF471FC57}"/>
                  </a:ext>
                </a:extLst>
              </p:cNvPr>
              <p:cNvSpPr>
                <a:spLocks/>
              </p:cNvSpPr>
              <p:nvPr/>
            </p:nvSpPr>
            <p:spPr bwMode="auto">
              <a:xfrm rot="467850" flipV="1">
                <a:off x="11033442" y="2144541"/>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987" name="Oval 986">
                <a:extLst>
                  <a:ext uri="{FF2B5EF4-FFF2-40B4-BE49-F238E27FC236}">
                    <a16:creationId xmlns:a16="http://schemas.microsoft.com/office/drawing/2014/main" id="{90C90F6D-0A06-82C8-26DF-2B5CE79B8AE3}"/>
                  </a:ext>
                </a:extLst>
              </p:cNvPr>
              <p:cNvSpPr>
                <a:spLocks/>
              </p:cNvSpPr>
              <p:nvPr/>
            </p:nvSpPr>
            <p:spPr bwMode="auto">
              <a:xfrm rot="467850" flipV="1">
                <a:off x="11427739" y="2862043"/>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988" name="Oval 987">
                <a:extLst>
                  <a:ext uri="{FF2B5EF4-FFF2-40B4-BE49-F238E27FC236}">
                    <a16:creationId xmlns:a16="http://schemas.microsoft.com/office/drawing/2014/main" id="{9EAA5D8E-0143-0F5D-0DF4-51611EE3577C}"/>
                  </a:ext>
                </a:extLst>
              </p:cNvPr>
              <p:cNvSpPr>
                <a:spLocks/>
              </p:cNvSpPr>
              <p:nvPr/>
            </p:nvSpPr>
            <p:spPr bwMode="auto">
              <a:xfrm rot="467850" flipV="1">
                <a:off x="9176894" y="6078287"/>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989" name="Oval 988">
                <a:extLst>
                  <a:ext uri="{FF2B5EF4-FFF2-40B4-BE49-F238E27FC236}">
                    <a16:creationId xmlns:a16="http://schemas.microsoft.com/office/drawing/2014/main" id="{663D9B50-7D9E-84ED-5FC1-8A5A0BBA451B}"/>
                  </a:ext>
                </a:extLst>
              </p:cNvPr>
              <p:cNvSpPr>
                <a:spLocks/>
              </p:cNvSpPr>
              <p:nvPr/>
            </p:nvSpPr>
            <p:spPr bwMode="auto">
              <a:xfrm rot="467850" flipV="1">
                <a:off x="9947691" y="5660034"/>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990" name="Oval 989">
                <a:extLst>
                  <a:ext uri="{FF2B5EF4-FFF2-40B4-BE49-F238E27FC236}">
                    <a16:creationId xmlns:a16="http://schemas.microsoft.com/office/drawing/2014/main" id="{9A874957-5733-BFCA-8FDE-172BC4FF2438}"/>
                  </a:ext>
                </a:extLst>
              </p:cNvPr>
              <p:cNvSpPr>
                <a:spLocks/>
              </p:cNvSpPr>
              <p:nvPr/>
            </p:nvSpPr>
            <p:spPr bwMode="auto">
              <a:xfrm rot="4295831" flipV="1">
                <a:off x="9268579" y="1011289"/>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grpSp>
      </p:grpSp>
      <p:grpSp>
        <p:nvGrpSpPr>
          <p:cNvPr id="1827" name="Group 1826">
            <a:extLst>
              <a:ext uri="{FF2B5EF4-FFF2-40B4-BE49-F238E27FC236}">
                <a16:creationId xmlns:a16="http://schemas.microsoft.com/office/drawing/2014/main" id="{19CEE764-18F2-B730-9C1D-4619BAD40276}"/>
              </a:ext>
              <a:ext uri="{C183D7F6-B498-43B3-948B-1728B52AA6E4}">
                <adec:decorative xmlns:adec="http://schemas.microsoft.com/office/drawing/2017/decorative" val="1"/>
              </a:ext>
            </a:extLst>
          </p:cNvPr>
          <p:cNvGrpSpPr/>
          <p:nvPr/>
        </p:nvGrpSpPr>
        <p:grpSpPr>
          <a:xfrm>
            <a:off x="-950097" y="452013"/>
            <a:ext cx="7070687" cy="5953975"/>
            <a:chOff x="5267489" y="902367"/>
            <a:chExt cx="6232486" cy="5248156"/>
          </a:xfrm>
          <a:scene3d>
            <a:camera prst="perspectiveRight" fov="0">
              <a:rot lat="0" lon="0" rev="0"/>
            </a:camera>
            <a:lightRig rig="flood" dir="t"/>
          </a:scene3d>
        </p:grpSpPr>
        <p:grpSp>
          <p:nvGrpSpPr>
            <p:cNvPr id="1828" name="Group 1827">
              <a:extLst>
                <a:ext uri="{FF2B5EF4-FFF2-40B4-BE49-F238E27FC236}">
                  <a16:creationId xmlns:a16="http://schemas.microsoft.com/office/drawing/2014/main" id="{29E240E6-8CD0-0C14-8342-823EDE5BB64E}"/>
                </a:ext>
              </a:extLst>
            </p:cNvPr>
            <p:cNvGrpSpPr/>
            <p:nvPr/>
          </p:nvGrpSpPr>
          <p:grpSpPr>
            <a:xfrm>
              <a:off x="5756493" y="1145957"/>
              <a:ext cx="5207912" cy="4691749"/>
              <a:chOff x="5723133" y="1035454"/>
              <a:chExt cx="5411648" cy="4875298"/>
            </a:xfrm>
          </p:grpSpPr>
          <p:sp>
            <p:nvSpPr>
              <p:cNvPr id="1878" name="Oval 1877">
                <a:extLst>
                  <a:ext uri="{FF2B5EF4-FFF2-40B4-BE49-F238E27FC236}">
                    <a16:creationId xmlns:a16="http://schemas.microsoft.com/office/drawing/2014/main" id="{9CCDE426-2672-93AF-2929-A9758E195996}"/>
                  </a:ext>
                </a:extLst>
              </p:cNvPr>
              <p:cNvSpPr>
                <a:spLocks/>
              </p:cNvSpPr>
              <p:nvPr/>
            </p:nvSpPr>
            <p:spPr bwMode="auto">
              <a:xfrm>
                <a:off x="6185168" y="4355605"/>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79" name="Oval 1878">
                <a:extLst>
                  <a:ext uri="{FF2B5EF4-FFF2-40B4-BE49-F238E27FC236}">
                    <a16:creationId xmlns:a16="http://schemas.microsoft.com/office/drawing/2014/main" id="{43B3AD26-85C0-68DF-B1C5-692E7BAB9247}"/>
                  </a:ext>
                </a:extLst>
              </p:cNvPr>
              <p:cNvSpPr>
                <a:spLocks/>
              </p:cNvSpPr>
              <p:nvPr/>
            </p:nvSpPr>
            <p:spPr bwMode="auto">
              <a:xfrm>
                <a:off x="6299294" y="4993563"/>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80" name="Oval 1879">
                <a:extLst>
                  <a:ext uri="{FF2B5EF4-FFF2-40B4-BE49-F238E27FC236}">
                    <a16:creationId xmlns:a16="http://schemas.microsoft.com/office/drawing/2014/main" id="{AEC8DF79-4AF9-F9FC-9D3D-51BC2FC294AE}"/>
                  </a:ext>
                </a:extLst>
              </p:cNvPr>
              <p:cNvSpPr>
                <a:spLocks/>
              </p:cNvSpPr>
              <p:nvPr/>
            </p:nvSpPr>
            <p:spPr bwMode="auto">
              <a:xfrm>
                <a:off x="10419814" y="1882864"/>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81" name="Oval 1880">
                <a:extLst>
                  <a:ext uri="{FF2B5EF4-FFF2-40B4-BE49-F238E27FC236}">
                    <a16:creationId xmlns:a16="http://schemas.microsoft.com/office/drawing/2014/main" id="{E8457167-31B0-81E1-E561-D3FC8CE20A9B}"/>
                  </a:ext>
                </a:extLst>
              </p:cNvPr>
              <p:cNvSpPr>
                <a:spLocks/>
              </p:cNvSpPr>
              <p:nvPr/>
            </p:nvSpPr>
            <p:spPr bwMode="auto">
              <a:xfrm>
                <a:off x="10636545" y="2489222"/>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82" name="Oval 1881">
                <a:extLst>
                  <a:ext uri="{FF2B5EF4-FFF2-40B4-BE49-F238E27FC236}">
                    <a16:creationId xmlns:a16="http://schemas.microsoft.com/office/drawing/2014/main" id="{88745D36-C5AB-4799-A039-E5821AC82D80}"/>
                  </a:ext>
                </a:extLst>
              </p:cNvPr>
              <p:cNvSpPr>
                <a:spLocks/>
              </p:cNvSpPr>
              <p:nvPr/>
            </p:nvSpPr>
            <p:spPr bwMode="auto">
              <a:xfrm>
                <a:off x="10850723" y="3024079"/>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83" name="Oval 1882">
                <a:extLst>
                  <a:ext uri="{FF2B5EF4-FFF2-40B4-BE49-F238E27FC236}">
                    <a16:creationId xmlns:a16="http://schemas.microsoft.com/office/drawing/2014/main" id="{7B639576-EDEB-F75A-55AD-26DAA5554321}"/>
                  </a:ext>
                </a:extLst>
              </p:cNvPr>
              <p:cNvSpPr>
                <a:spLocks/>
              </p:cNvSpPr>
              <p:nvPr/>
            </p:nvSpPr>
            <p:spPr bwMode="auto">
              <a:xfrm>
                <a:off x="10961349" y="2702067"/>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84" name="Oval 1883">
                <a:extLst>
                  <a:ext uri="{FF2B5EF4-FFF2-40B4-BE49-F238E27FC236}">
                    <a16:creationId xmlns:a16="http://schemas.microsoft.com/office/drawing/2014/main" id="{E85C3BAE-430E-1C7C-B57D-3C6355542408}"/>
                  </a:ext>
                </a:extLst>
              </p:cNvPr>
              <p:cNvSpPr>
                <a:spLocks/>
              </p:cNvSpPr>
              <p:nvPr/>
            </p:nvSpPr>
            <p:spPr bwMode="auto">
              <a:xfrm>
                <a:off x="10759073" y="3612536"/>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85" name="Oval 1884">
                <a:extLst>
                  <a:ext uri="{FF2B5EF4-FFF2-40B4-BE49-F238E27FC236}">
                    <a16:creationId xmlns:a16="http://schemas.microsoft.com/office/drawing/2014/main" id="{9ED3AA50-3AC5-1E35-90B3-050388250486}"/>
                  </a:ext>
                </a:extLst>
              </p:cNvPr>
              <p:cNvSpPr>
                <a:spLocks/>
              </p:cNvSpPr>
              <p:nvPr/>
            </p:nvSpPr>
            <p:spPr bwMode="auto">
              <a:xfrm>
                <a:off x="10728195" y="4155168"/>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86" name="Oval 1885">
                <a:extLst>
                  <a:ext uri="{FF2B5EF4-FFF2-40B4-BE49-F238E27FC236}">
                    <a16:creationId xmlns:a16="http://schemas.microsoft.com/office/drawing/2014/main" id="{AD3A2E05-35D4-F6EC-84DD-3F0BFA91031C}"/>
                  </a:ext>
                </a:extLst>
              </p:cNvPr>
              <p:cNvSpPr>
                <a:spLocks/>
              </p:cNvSpPr>
              <p:nvPr/>
            </p:nvSpPr>
            <p:spPr bwMode="auto">
              <a:xfrm>
                <a:off x="10282339" y="5254325"/>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87" name="Oval 1886">
                <a:extLst>
                  <a:ext uri="{FF2B5EF4-FFF2-40B4-BE49-F238E27FC236}">
                    <a16:creationId xmlns:a16="http://schemas.microsoft.com/office/drawing/2014/main" id="{F87DBA9B-C1C3-674E-1FF5-CE994EF326AB}"/>
                  </a:ext>
                </a:extLst>
              </p:cNvPr>
              <p:cNvSpPr>
                <a:spLocks/>
              </p:cNvSpPr>
              <p:nvPr/>
            </p:nvSpPr>
            <p:spPr bwMode="auto">
              <a:xfrm>
                <a:off x="10392628" y="4851254"/>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88" name="Oval 1887">
                <a:extLst>
                  <a:ext uri="{FF2B5EF4-FFF2-40B4-BE49-F238E27FC236}">
                    <a16:creationId xmlns:a16="http://schemas.microsoft.com/office/drawing/2014/main" id="{7496864E-5F93-3B15-8594-75760784130B}"/>
                  </a:ext>
                </a:extLst>
              </p:cNvPr>
              <p:cNvSpPr>
                <a:spLocks/>
              </p:cNvSpPr>
              <p:nvPr/>
            </p:nvSpPr>
            <p:spPr bwMode="auto">
              <a:xfrm>
                <a:off x="9705568" y="5346176"/>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89" name="Oval 1888">
                <a:extLst>
                  <a:ext uri="{FF2B5EF4-FFF2-40B4-BE49-F238E27FC236}">
                    <a16:creationId xmlns:a16="http://schemas.microsoft.com/office/drawing/2014/main" id="{F062543A-F5B1-05E7-26AB-9847A40588C7}"/>
                  </a:ext>
                </a:extLst>
              </p:cNvPr>
              <p:cNvSpPr>
                <a:spLocks/>
              </p:cNvSpPr>
              <p:nvPr/>
            </p:nvSpPr>
            <p:spPr bwMode="auto">
              <a:xfrm>
                <a:off x="5931001" y="3966240"/>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90" name="Oval 1889">
                <a:extLst>
                  <a:ext uri="{FF2B5EF4-FFF2-40B4-BE49-F238E27FC236}">
                    <a16:creationId xmlns:a16="http://schemas.microsoft.com/office/drawing/2014/main" id="{74069D7F-4E27-D71B-7364-93A71C4F1747}"/>
                  </a:ext>
                </a:extLst>
              </p:cNvPr>
              <p:cNvSpPr>
                <a:spLocks/>
              </p:cNvSpPr>
              <p:nvPr/>
            </p:nvSpPr>
            <p:spPr bwMode="auto">
              <a:xfrm>
                <a:off x="5976826" y="3062164"/>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91" name="Oval 1890">
                <a:extLst>
                  <a:ext uri="{FF2B5EF4-FFF2-40B4-BE49-F238E27FC236}">
                    <a16:creationId xmlns:a16="http://schemas.microsoft.com/office/drawing/2014/main" id="{E961844C-C109-C456-A2A5-B6D67D65E5E4}"/>
                  </a:ext>
                </a:extLst>
              </p:cNvPr>
              <p:cNvSpPr>
                <a:spLocks/>
              </p:cNvSpPr>
              <p:nvPr/>
            </p:nvSpPr>
            <p:spPr bwMode="auto">
              <a:xfrm>
                <a:off x="5893817" y="3450748"/>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92" name="Oval 1891">
                <a:extLst>
                  <a:ext uri="{FF2B5EF4-FFF2-40B4-BE49-F238E27FC236}">
                    <a16:creationId xmlns:a16="http://schemas.microsoft.com/office/drawing/2014/main" id="{7FBF8809-9C30-6DCC-078C-35DEB9940ADA}"/>
                  </a:ext>
                </a:extLst>
              </p:cNvPr>
              <p:cNvSpPr>
                <a:spLocks/>
              </p:cNvSpPr>
              <p:nvPr/>
            </p:nvSpPr>
            <p:spPr bwMode="auto">
              <a:xfrm>
                <a:off x="6612604" y="5176272"/>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93" name="Oval 1892">
                <a:extLst>
                  <a:ext uri="{FF2B5EF4-FFF2-40B4-BE49-F238E27FC236}">
                    <a16:creationId xmlns:a16="http://schemas.microsoft.com/office/drawing/2014/main" id="{6B63A2D7-4CA4-F565-14A9-089397FE2C70}"/>
                  </a:ext>
                </a:extLst>
              </p:cNvPr>
              <p:cNvSpPr>
                <a:spLocks/>
              </p:cNvSpPr>
              <p:nvPr/>
            </p:nvSpPr>
            <p:spPr bwMode="auto">
              <a:xfrm>
                <a:off x="6958994" y="5513753"/>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94" name="Oval 1893">
                <a:extLst>
                  <a:ext uri="{FF2B5EF4-FFF2-40B4-BE49-F238E27FC236}">
                    <a16:creationId xmlns:a16="http://schemas.microsoft.com/office/drawing/2014/main" id="{1A9FBEC6-5BE7-EFDF-F869-09A3E2C02FFC}"/>
                  </a:ext>
                </a:extLst>
              </p:cNvPr>
              <p:cNvSpPr>
                <a:spLocks/>
              </p:cNvSpPr>
              <p:nvPr/>
            </p:nvSpPr>
            <p:spPr bwMode="auto">
              <a:xfrm>
                <a:off x="11070317" y="3358397"/>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95" name="Oval 1894">
                <a:extLst>
                  <a:ext uri="{FF2B5EF4-FFF2-40B4-BE49-F238E27FC236}">
                    <a16:creationId xmlns:a16="http://schemas.microsoft.com/office/drawing/2014/main" id="{6DC247D9-C183-FDD3-7F72-13D27FC2BFD0}"/>
                  </a:ext>
                </a:extLst>
              </p:cNvPr>
              <p:cNvSpPr>
                <a:spLocks/>
              </p:cNvSpPr>
              <p:nvPr/>
            </p:nvSpPr>
            <p:spPr bwMode="auto">
              <a:xfrm>
                <a:off x="10942681" y="3877187"/>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96" name="Oval 1895">
                <a:extLst>
                  <a:ext uri="{FF2B5EF4-FFF2-40B4-BE49-F238E27FC236}">
                    <a16:creationId xmlns:a16="http://schemas.microsoft.com/office/drawing/2014/main" id="{80919A4E-22DE-045E-7181-5DBD929FB977}"/>
                  </a:ext>
                </a:extLst>
              </p:cNvPr>
              <p:cNvSpPr>
                <a:spLocks/>
              </p:cNvSpPr>
              <p:nvPr/>
            </p:nvSpPr>
            <p:spPr bwMode="auto">
              <a:xfrm>
                <a:off x="10663731" y="4581463"/>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97" name="Oval 1896">
                <a:extLst>
                  <a:ext uri="{FF2B5EF4-FFF2-40B4-BE49-F238E27FC236}">
                    <a16:creationId xmlns:a16="http://schemas.microsoft.com/office/drawing/2014/main" id="{81372C8C-FA99-64FD-2BB2-A8176EECE4F7}"/>
                  </a:ext>
                </a:extLst>
              </p:cNvPr>
              <p:cNvSpPr>
                <a:spLocks/>
              </p:cNvSpPr>
              <p:nvPr/>
            </p:nvSpPr>
            <p:spPr bwMode="auto">
              <a:xfrm>
                <a:off x="9288951" y="5606212"/>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98" name="Oval 1897">
                <a:extLst>
                  <a:ext uri="{FF2B5EF4-FFF2-40B4-BE49-F238E27FC236}">
                    <a16:creationId xmlns:a16="http://schemas.microsoft.com/office/drawing/2014/main" id="{278DC09F-6D30-89AA-5EF9-436D76D2CD9B}"/>
                  </a:ext>
                </a:extLst>
              </p:cNvPr>
              <p:cNvSpPr>
                <a:spLocks/>
              </p:cNvSpPr>
              <p:nvPr/>
            </p:nvSpPr>
            <p:spPr bwMode="auto">
              <a:xfrm>
                <a:off x="6275504" y="4678715"/>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99" name="Oval 1898">
                <a:extLst>
                  <a:ext uri="{FF2B5EF4-FFF2-40B4-BE49-F238E27FC236}">
                    <a16:creationId xmlns:a16="http://schemas.microsoft.com/office/drawing/2014/main" id="{1B16E771-29CB-A93C-AE83-0D2A31E070B0}"/>
                  </a:ext>
                </a:extLst>
              </p:cNvPr>
              <p:cNvSpPr>
                <a:spLocks/>
              </p:cNvSpPr>
              <p:nvPr/>
            </p:nvSpPr>
            <p:spPr bwMode="auto">
              <a:xfrm>
                <a:off x="6032043" y="3758588"/>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900" name="Oval 1899">
                <a:extLst>
                  <a:ext uri="{FF2B5EF4-FFF2-40B4-BE49-F238E27FC236}">
                    <a16:creationId xmlns:a16="http://schemas.microsoft.com/office/drawing/2014/main" id="{554CCC3A-8F6F-751C-1A75-59DAFDA9898E}"/>
                  </a:ext>
                </a:extLst>
              </p:cNvPr>
              <p:cNvSpPr>
                <a:spLocks/>
              </p:cNvSpPr>
              <p:nvPr/>
            </p:nvSpPr>
            <p:spPr bwMode="auto">
              <a:xfrm>
                <a:off x="5999811" y="2669835"/>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901" name="Oval 1900">
                <a:extLst>
                  <a:ext uri="{FF2B5EF4-FFF2-40B4-BE49-F238E27FC236}">
                    <a16:creationId xmlns:a16="http://schemas.microsoft.com/office/drawing/2014/main" id="{3CE34D39-E3BD-33F7-3F44-37A1F949F420}"/>
                  </a:ext>
                </a:extLst>
              </p:cNvPr>
              <p:cNvSpPr>
                <a:spLocks/>
              </p:cNvSpPr>
              <p:nvPr/>
            </p:nvSpPr>
            <p:spPr bwMode="auto">
              <a:xfrm>
                <a:off x="6123308" y="2197470"/>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902" name="Oval 1901">
                <a:extLst>
                  <a:ext uri="{FF2B5EF4-FFF2-40B4-BE49-F238E27FC236}">
                    <a16:creationId xmlns:a16="http://schemas.microsoft.com/office/drawing/2014/main" id="{9E779D8A-FDA0-9FF3-FBDA-F121121F65E5}"/>
                  </a:ext>
                </a:extLst>
              </p:cNvPr>
              <p:cNvSpPr>
                <a:spLocks/>
              </p:cNvSpPr>
              <p:nvPr/>
            </p:nvSpPr>
            <p:spPr bwMode="auto">
              <a:xfrm>
                <a:off x="6623670" y="1814149"/>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903" name="Oval 1902">
                <a:extLst>
                  <a:ext uri="{FF2B5EF4-FFF2-40B4-BE49-F238E27FC236}">
                    <a16:creationId xmlns:a16="http://schemas.microsoft.com/office/drawing/2014/main" id="{37492F24-E9B9-B068-4C9E-F9F3DDE568FA}"/>
                  </a:ext>
                </a:extLst>
              </p:cNvPr>
              <p:cNvSpPr>
                <a:spLocks/>
              </p:cNvSpPr>
              <p:nvPr/>
            </p:nvSpPr>
            <p:spPr bwMode="auto">
              <a:xfrm>
                <a:off x="7147878" y="1317393"/>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904" name="Oval 1903">
                <a:extLst>
                  <a:ext uri="{FF2B5EF4-FFF2-40B4-BE49-F238E27FC236}">
                    <a16:creationId xmlns:a16="http://schemas.microsoft.com/office/drawing/2014/main" id="{5418D8BC-D2D6-02C8-AA2C-F95D70A6137B}"/>
                  </a:ext>
                </a:extLst>
              </p:cNvPr>
              <p:cNvSpPr>
                <a:spLocks/>
              </p:cNvSpPr>
              <p:nvPr/>
            </p:nvSpPr>
            <p:spPr bwMode="auto">
              <a:xfrm>
                <a:off x="6365375" y="1943752"/>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905" name="Oval 1904">
                <a:extLst>
                  <a:ext uri="{FF2B5EF4-FFF2-40B4-BE49-F238E27FC236}">
                    <a16:creationId xmlns:a16="http://schemas.microsoft.com/office/drawing/2014/main" id="{DE8D04C7-8768-09F3-657F-2DA8A33A4870}"/>
                  </a:ext>
                </a:extLst>
              </p:cNvPr>
              <p:cNvSpPr>
                <a:spLocks/>
              </p:cNvSpPr>
              <p:nvPr/>
            </p:nvSpPr>
            <p:spPr bwMode="auto">
              <a:xfrm>
                <a:off x="6847142" y="1548806"/>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906" name="Oval 1905">
                <a:extLst>
                  <a:ext uri="{FF2B5EF4-FFF2-40B4-BE49-F238E27FC236}">
                    <a16:creationId xmlns:a16="http://schemas.microsoft.com/office/drawing/2014/main" id="{9F50E5D5-4E57-102F-D01B-3DD43FC4B469}"/>
                  </a:ext>
                </a:extLst>
              </p:cNvPr>
              <p:cNvSpPr>
                <a:spLocks/>
              </p:cNvSpPr>
              <p:nvPr/>
            </p:nvSpPr>
            <p:spPr bwMode="auto">
              <a:xfrm>
                <a:off x="5723133" y="2832839"/>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907" name="Oval 1906">
                <a:extLst>
                  <a:ext uri="{FF2B5EF4-FFF2-40B4-BE49-F238E27FC236}">
                    <a16:creationId xmlns:a16="http://schemas.microsoft.com/office/drawing/2014/main" id="{278CB91F-6630-50F4-7D57-ACDE8239D2D2}"/>
                  </a:ext>
                </a:extLst>
              </p:cNvPr>
              <p:cNvSpPr>
                <a:spLocks/>
              </p:cNvSpPr>
              <p:nvPr/>
            </p:nvSpPr>
            <p:spPr bwMode="auto">
              <a:xfrm>
                <a:off x="7412507" y="5680814"/>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908" name="Oval 1907">
                <a:extLst>
                  <a:ext uri="{FF2B5EF4-FFF2-40B4-BE49-F238E27FC236}">
                    <a16:creationId xmlns:a16="http://schemas.microsoft.com/office/drawing/2014/main" id="{AE0340A0-E15D-2D6F-770D-9217790CBB63}"/>
                  </a:ext>
                </a:extLst>
              </p:cNvPr>
              <p:cNvSpPr>
                <a:spLocks/>
              </p:cNvSpPr>
              <p:nvPr/>
            </p:nvSpPr>
            <p:spPr bwMode="auto">
              <a:xfrm>
                <a:off x="6437197" y="1605773"/>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909" name="Oval 1908">
                <a:extLst>
                  <a:ext uri="{FF2B5EF4-FFF2-40B4-BE49-F238E27FC236}">
                    <a16:creationId xmlns:a16="http://schemas.microsoft.com/office/drawing/2014/main" id="{38F70879-6E84-0B51-B1B7-8FC661A597E2}"/>
                  </a:ext>
                </a:extLst>
              </p:cNvPr>
              <p:cNvSpPr>
                <a:spLocks/>
              </p:cNvSpPr>
              <p:nvPr/>
            </p:nvSpPr>
            <p:spPr bwMode="auto">
              <a:xfrm>
                <a:off x="7468778" y="1251180"/>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910" name="Oval 1909">
                <a:extLst>
                  <a:ext uri="{FF2B5EF4-FFF2-40B4-BE49-F238E27FC236}">
                    <a16:creationId xmlns:a16="http://schemas.microsoft.com/office/drawing/2014/main" id="{E0E89F86-54C4-0AD4-8663-8F6AFA72BD6E}"/>
                  </a:ext>
                </a:extLst>
              </p:cNvPr>
              <p:cNvSpPr>
                <a:spLocks/>
              </p:cNvSpPr>
              <p:nvPr/>
            </p:nvSpPr>
            <p:spPr bwMode="auto">
              <a:xfrm>
                <a:off x="7733447" y="5762442"/>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911" name="Oval 1910">
                <a:extLst>
                  <a:ext uri="{FF2B5EF4-FFF2-40B4-BE49-F238E27FC236}">
                    <a16:creationId xmlns:a16="http://schemas.microsoft.com/office/drawing/2014/main" id="{7844558F-811C-AB7B-20C3-D07358896D20}"/>
                  </a:ext>
                </a:extLst>
              </p:cNvPr>
              <p:cNvSpPr>
                <a:spLocks/>
              </p:cNvSpPr>
              <p:nvPr/>
            </p:nvSpPr>
            <p:spPr bwMode="auto">
              <a:xfrm>
                <a:off x="5750735" y="3694124"/>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912" name="Oval 1911">
                <a:extLst>
                  <a:ext uri="{FF2B5EF4-FFF2-40B4-BE49-F238E27FC236}">
                    <a16:creationId xmlns:a16="http://schemas.microsoft.com/office/drawing/2014/main" id="{3EE6DAAE-E40C-12A2-1954-5C81E79383E2}"/>
                  </a:ext>
                </a:extLst>
              </p:cNvPr>
              <p:cNvSpPr>
                <a:spLocks/>
              </p:cNvSpPr>
              <p:nvPr/>
            </p:nvSpPr>
            <p:spPr bwMode="auto">
              <a:xfrm>
                <a:off x="6637263" y="5462812"/>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913" name="Oval 1912">
                <a:extLst>
                  <a:ext uri="{FF2B5EF4-FFF2-40B4-BE49-F238E27FC236}">
                    <a16:creationId xmlns:a16="http://schemas.microsoft.com/office/drawing/2014/main" id="{D0DC116A-F9CD-5649-5852-E406123A6D8F}"/>
                  </a:ext>
                </a:extLst>
              </p:cNvPr>
              <p:cNvSpPr>
                <a:spLocks/>
              </p:cNvSpPr>
              <p:nvPr/>
            </p:nvSpPr>
            <p:spPr bwMode="auto">
              <a:xfrm>
                <a:off x="8504616" y="5846288"/>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914" name="Oval 1913">
                <a:extLst>
                  <a:ext uri="{FF2B5EF4-FFF2-40B4-BE49-F238E27FC236}">
                    <a16:creationId xmlns:a16="http://schemas.microsoft.com/office/drawing/2014/main" id="{FA491461-4CD1-039E-87CA-7FF31A5E4E09}"/>
                  </a:ext>
                </a:extLst>
              </p:cNvPr>
              <p:cNvSpPr>
                <a:spLocks/>
              </p:cNvSpPr>
              <p:nvPr/>
            </p:nvSpPr>
            <p:spPr bwMode="auto">
              <a:xfrm>
                <a:off x="10469630" y="2133006"/>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915" name="Oval 1914">
                <a:extLst>
                  <a:ext uri="{FF2B5EF4-FFF2-40B4-BE49-F238E27FC236}">
                    <a16:creationId xmlns:a16="http://schemas.microsoft.com/office/drawing/2014/main" id="{FEB1EE8B-ED1E-0BCA-9D0C-9A14DBA3599B}"/>
                  </a:ext>
                </a:extLst>
              </p:cNvPr>
              <p:cNvSpPr>
                <a:spLocks/>
              </p:cNvSpPr>
              <p:nvPr/>
            </p:nvSpPr>
            <p:spPr bwMode="auto">
              <a:xfrm>
                <a:off x="9865472" y="1457705"/>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916" name="Oval 1915">
                <a:extLst>
                  <a:ext uri="{FF2B5EF4-FFF2-40B4-BE49-F238E27FC236}">
                    <a16:creationId xmlns:a16="http://schemas.microsoft.com/office/drawing/2014/main" id="{463E5774-0FF6-0033-17EB-13F6B0E46B9E}"/>
                  </a:ext>
                </a:extLst>
              </p:cNvPr>
              <p:cNvSpPr>
                <a:spLocks/>
              </p:cNvSpPr>
              <p:nvPr/>
            </p:nvSpPr>
            <p:spPr bwMode="auto">
              <a:xfrm>
                <a:off x="9395902" y="1206772"/>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917" name="Oval 1916">
                <a:extLst>
                  <a:ext uri="{FF2B5EF4-FFF2-40B4-BE49-F238E27FC236}">
                    <a16:creationId xmlns:a16="http://schemas.microsoft.com/office/drawing/2014/main" id="{1D2EC9D1-276A-4D63-65E8-8D75E9DF2BE0}"/>
                  </a:ext>
                </a:extLst>
              </p:cNvPr>
              <p:cNvSpPr>
                <a:spLocks/>
              </p:cNvSpPr>
              <p:nvPr/>
            </p:nvSpPr>
            <p:spPr bwMode="auto">
              <a:xfrm>
                <a:off x="7843688" y="1035454"/>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918" name="Oval 1917">
                <a:extLst>
                  <a:ext uri="{FF2B5EF4-FFF2-40B4-BE49-F238E27FC236}">
                    <a16:creationId xmlns:a16="http://schemas.microsoft.com/office/drawing/2014/main" id="{967B0E34-935A-9F19-0482-838BB0AFE0FE}"/>
                  </a:ext>
                </a:extLst>
              </p:cNvPr>
              <p:cNvSpPr>
                <a:spLocks/>
              </p:cNvSpPr>
              <p:nvPr/>
            </p:nvSpPr>
            <p:spPr bwMode="auto">
              <a:xfrm>
                <a:off x="8472984" y="1080400"/>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919" name="Oval 1918">
                <a:extLst>
                  <a:ext uri="{FF2B5EF4-FFF2-40B4-BE49-F238E27FC236}">
                    <a16:creationId xmlns:a16="http://schemas.microsoft.com/office/drawing/2014/main" id="{672FE093-02E5-20D7-0E3D-A50A361C04CA}"/>
                  </a:ext>
                </a:extLst>
              </p:cNvPr>
              <p:cNvSpPr>
                <a:spLocks/>
              </p:cNvSpPr>
              <p:nvPr/>
            </p:nvSpPr>
            <p:spPr bwMode="auto">
              <a:xfrm>
                <a:off x="8984512" y="1047407"/>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920" name="Oval 1919">
                <a:extLst>
                  <a:ext uri="{FF2B5EF4-FFF2-40B4-BE49-F238E27FC236}">
                    <a16:creationId xmlns:a16="http://schemas.microsoft.com/office/drawing/2014/main" id="{67A9BE62-DD5E-2202-54C6-D12B7F06842C}"/>
                  </a:ext>
                </a:extLst>
              </p:cNvPr>
              <p:cNvSpPr>
                <a:spLocks/>
              </p:cNvSpPr>
              <p:nvPr/>
            </p:nvSpPr>
            <p:spPr bwMode="auto">
              <a:xfrm>
                <a:off x="5897593" y="4508918"/>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921" name="Oval 1920">
                <a:extLst>
                  <a:ext uri="{FF2B5EF4-FFF2-40B4-BE49-F238E27FC236}">
                    <a16:creationId xmlns:a16="http://schemas.microsoft.com/office/drawing/2014/main" id="{35286431-5344-892D-B2D1-FA1BB6AA8341}"/>
                  </a:ext>
                </a:extLst>
              </p:cNvPr>
              <p:cNvSpPr>
                <a:spLocks/>
              </p:cNvSpPr>
              <p:nvPr/>
            </p:nvSpPr>
            <p:spPr bwMode="auto">
              <a:xfrm>
                <a:off x="10636545" y="4866149"/>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922" name="Oval 1921">
                <a:extLst>
                  <a:ext uri="{FF2B5EF4-FFF2-40B4-BE49-F238E27FC236}">
                    <a16:creationId xmlns:a16="http://schemas.microsoft.com/office/drawing/2014/main" id="{838B5019-E3CC-5C61-17AB-FEE494AB2A1D}"/>
                  </a:ext>
                </a:extLst>
              </p:cNvPr>
              <p:cNvSpPr>
                <a:spLocks/>
              </p:cNvSpPr>
              <p:nvPr/>
            </p:nvSpPr>
            <p:spPr bwMode="auto">
              <a:xfrm>
                <a:off x="11070317" y="4304723"/>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923" name="Oval 1922">
                <a:extLst>
                  <a:ext uri="{FF2B5EF4-FFF2-40B4-BE49-F238E27FC236}">
                    <a16:creationId xmlns:a16="http://schemas.microsoft.com/office/drawing/2014/main" id="{C9AB3A29-9F42-DAC2-EEED-5E896A48BD64}"/>
                  </a:ext>
                </a:extLst>
              </p:cNvPr>
              <p:cNvSpPr>
                <a:spLocks/>
              </p:cNvSpPr>
              <p:nvPr/>
            </p:nvSpPr>
            <p:spPr bwMode="auto">
              <a:xfrm>
                <a:off x="9780906" y="1170912"/>
                <a:ext cx="64464" cy="64464"/>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924" name="Oval 1923">
                <a:extLst>
                  <a:ext uri="{FF2B5EF4-FFF2-40B4-BE49-F238E27FC236}">
                    <a16:creationId xmlns:a16="http://schemas.microsoft.com/office/drawing/2014/main" id="{44E7E3FE-1244-50B6-6505-695FBDB98EBF}"/>
                  </a:ext>
                </a:extLst>
              </p:cNvPr>
              <p:cNvSpPr>
                <a:spLocks/>
              </p:cNvSpPr>
              <p:nvPr/>
            </p:nvSpPr>
            <p:spPr bwMode="auto">
              <a:xfrm>
                <a:off x="10263700" y="1505315"/>
                <a:ext cx="91650" cy="91650"/>
              </a:xfrm>
              <a:prstGeom prst="ellipse">
                <a:avLst/>
              </a:prstGeom>
              <a:gradFill flip="none" rotWithShape="1">
                <a:gsLst>
                  <a:gs pos="100000">
                    <a:srgbClr val="FFFFFF">
                      <a:alpha val="25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grpSp>
        <p:grpSp>
          <p:nvGrpSpPr>
            <p:cNvPr id="1829" name="Group 1828">
              <a:extLst>
                <a:ext uri="{FF2B5EF4-FFF2-40B4-BE49-F238E27FC236}">
                  <a16:creationId xmlns:a16="http://schemas.microsoft.com/office/drawing/2014/main" id="{09744F19-140B-FFE1-0750-C7DB1A1C763E}"/>
                </a:ext>
              </a:extLst>
            </p:cNvPr>
            <p:cNvGrpSpPr/>
            <p:nvPr/>
          </p:nvGrpSpPr>
          <p:grpSpPr>
            <a:xfrm>
              <a:off x="5267489" y="902367"/>
              <a:ext cx="6232486" cy="5248156"/>
              <a:chOff x="5267489" y="902367"/>
              <a:chExt cx="6232486" cy="5248156"/>
            </a:xfrm>
          </p:grpSpPr>
          <p:sp>
            <p:nvSpPr>
              <p:cNvPr id="1830" name="Oval 1829">
                <a:extLst>
                  <a:ext uri="{FF2B5EF4-FFF2-40B4-BE49-F238E27FC236}">
                    <a16:creationId xmlns:a16="http://schemas.microsoft.com/office/drawing/2014/main" id="{35177FBE-EDC5-58CD-6C42-8259384AB136}"/>
                  </a:ext>
                </a:extLst>
              </p:cNvPr>
              <p:cNvSpPr>
                <a:spLocks/>
              </p:cNvSpPr>
              <p:nvPr/>
            </p:nvSpPr>
            <p:spPr bwMode="auto">
              <a:xfrm rot="467850" flipV="1">
                <a:off x="6011949" y="2062864"/>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31" name="Oval 1830">
                <a:extLst>
                  <a:ext uri="{FF2B5EF4-FFF2-40B4-BE49-F238E27FC236}">
                    <a16:creationId xmlns:a16="http://schemas.microsoft.com/office/drawing/2014/main" id="{3799F2CE-C3D6-D9C8-E265-69C435215FFF}"/>
                  </a:ext>
                </a:extLst>
              </p:cNvPr>
              <p:cNvSpPr>
                <a:spLocks/>
              </p:cNvSpPr>
              <p:nvPr/>
            </p:nvSpPr>
            <p:spPr bwMode="auto">
              <a:xfrm rot="467850" flipV="1">
                <a:off x="6237568" y="1343693"/>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32" name="Oval 1831">
                <a:extLst>
                  <a:ext uri="{FF2B5EF4-FFF2-40B4-BE49-F238E27FC236}">
                    <a16:creationId xmlns:a16="http://schemas.microsoft.com/office/drawing/2014/main" id="{C3B99410-6743-1953-10B3-43209D5C4439}"/>
                  </a:ext>
                </a:extLst>
              </p:cNvPr>
              <p:cNvSpPr>
                <a:spLocks/>
              </p:cNvSpPr>
              <p:nvPr/>
            </p:nvSpPr>
            <p:spPr bwMode="auto">
              <a:xfrm rot="467850" flipV="1">
                <a:off x="10337351" y="5451911"/>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33" name="Oval 1832">
                <a:extLst>
                  <a:ext uri="{FF2B5EF4-FFF2-40B4-BE49-F238E27FC236}">
                    <a16:creationId xmlns:a16="http://schemas.microsoft.com/office/drawing/2014/main" id="{A2052259-D772-6A09-F107-79AC86355C2C}"/>
                  </a:ext>
                </a:extLst>
              </p:cNvPr>
              <p:cNvSpPr>
                <a:spLocks/>
              </p:cNvSpPr>
              <p:nvPr/>
            </p:nvSpPr>
            <p:spPr bwMode="auto">
              <a:xfrm rot="467850" flipV="1">
                <a:off x="10672077" y="4783422"/>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34" name="Oval 1833">
                <a:extLst>
                  <a:ext uri="{FF2B5EF4-FFF2-40B4-BE49-F238E27FC236}">
                    <a16:creationId xmlns:a16="http://schemas.microsoft.com/office/drawing/2014/main" id="{594D9411-3B5C-68C0-FBC7-D4301CF46223}"/>
                  </a:ext>
                </a:extLst>
              </p:cNvPr>
              <p:cNvSpPr>
                <a:spLocks/>
              </p:cNvSpPr>
              <p:nvPr/>
            </p:nvSpPr>
            <p:spPr bwMode="auto">
              <a:xfrm rot="467850" flipV="1">
                <a:off x="11075840" y="4101895"/>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35" name="Oval 1834">
                <a:extLst>
                  <a:ext uri="{FF2B5EF4-FFF2-40B4-BE49-F238E27FC236}">
                    <a16:creationId xmlns:a16="http://schemas.microsoft.com/office/drawing/2014/main" id="{B96661F6-A98B-A345-3DB5-0C0BB1038A0D}"/>
                  </a:ext>
                </a:extLst>
              </p:cNvPr>
              <p:cNvSpPr>
                <a:spLocks/>
              </p:cNvSpPr>
              <p:nvPr/>
            </p:nvSpPr>
            <p:spPr bwMode="auto">
              <a:xfrm rot="467850" flipV="1">
                <a:off x="11063111" y="4624756"/>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36" name="Oval 1835">
                <a:extLst>
                  <a:ext uri="{FF2B5EF4-FFF2-40B4-BE49-F238E27FC236}">
                    <a16:creationId xmlns:a16="http://schemas.microsoft.com/office/drawing/2014/main" id="{87B99DF7-4F7E-D975-D559-DC588371CA5F}"/>
                  </a:ext>
                </a:extLst>
              </p:cNvPr>
              <p:cNvSpPr>
                <a:spLocks/>
              </p:cNvSpPr>
              <p:nvPr/>
            </p:nvSpPr>
            <p:spPr bwMode="auto">
              <a:xfrm rot="467850" flipV="1">
                <a:off x="10978887" y="3554938"/>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37" name="Oval 1836">
                <a:extLst>
                  <a:ext uri="{FF2B5EF4-FFF2-40B4-BE49-F238E27FC236}">
                    <a16:creationId xmlns:a16="http://schemas.microsoft.com/office/drawing/2014/main" id="{1FC2AAAC-D909-75CC-D049-12C16AEC22E7}"/>
                  </a:ext>
                </a:extLst>
              </p:cNvPr>
              <p:cNvSpPr>
                <a:spLocks/>
              </p:cNvSpPr>
              <p:nvPr/>
            </p:nvSpPr>
            <p:spPr bwMode="auto">
              <a:xfrm rot="467850" flipV="1">
                <a:off x="11027101" y="2947810"/>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38" name="Oval 1837">
                <a:extLst>
                  <a:ext uri="{FF2B5EF4-FFF2-40B4-BE49-F238E27FC236}">
                    <a16:creationId xmlns:a16="http://schemas.microsoft.com/office/drawing/2014/main" id="{CB42177E-5295-63D6-FC39-65D09EBBEDDD}"/>
                  </a:ext>
                </a:extLst>
              </p:cNvPr>
              <p:cNvSpPr>
                <a:spLocks/>
              </p:cNvSpPr>
              <p:nvPr/>
            </p:nvSpPr>
            <p:spPr bwMode="auto">
              <a:xfrm rot="467850" flipV="1">
                <a:off x="10699215" y="1659735"/>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39" name="Oval 1838">
                <a:extLst>
                  <a:ext uri="{FF2B5EF4-FFF2-40B4-BE49-F238E27FC236}">
                    <a16:creationId xmlns:a16="http://schemas.microsoft.com/office/drawing/2014/main" id="{957A066D-0A32-29A8-4CAD-A0239C558DE5}"/>
                  </a:ext>
                </a:extLst>
              </p:cNvPr>
              <p:cNvSpPr>
                <a:spLocks/>
              </p:cNvSpPr>
              <p:nvPr/>
            </p:nvSpPr>
            <p:spPr bwMode="auto">
              <a:xfrm rot="467850" flipV="1">
                <a:off x="10760379" y="2123995"/>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40" name="Oval 1839">
                <a:extLst>
                  <a:ext uri="{FF2B5EF4-FFF2-40B4-BE49-F238E27FC236}">
                    <a16:creationId xmlns:a16="http://schemas.microsoft.com/office/drawing/2014/main" id="{D8AFA2CD-014E-1EBF-BCCC-24F517DAC0E9}"/>
                  </a:ext>
                </a:extLst>
              </p:cNvPr>
              <p:cNvSpPr>
                <a:spLocks/>
              </p:cNvSpPr>
              <p:nvPr/>
            </p:nvSpPr>
            <p:spPr bwMode="auto">
              <a:xfrm rot="467850" flipV="1">
                <a:off x="10318090" y="1314125"/>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41" name="Oval 1840">
                <a:extLst>
                  <a:ext uri="{FF2B5EF4-FFF2-40B4-BE49-F238E27FC236}">
                    <a16:creationId xmlns:a16="http://schemas.microsoft.com/office/drawing/2014/main" id="{CD0E58B9-0F02-8868-6A26-C1A765BDC13A}"/>
                  </a:ext>
                </a:extLst>
              </p:cNvPr>
              <p:cNvSpPr>
                <a:spLocks/>
              </p:cNvSpPr>
              <p:nvPr/>
            </p:nvSpPr>
            <p:spPr bwMode="auto">
              <a:xfrm rot="467850" flipV="1">
                <a:off x="5672503" y="2428242"/>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42" name="Oval 1841">
                <a:extLst>
                  <a:ext uri="{FF2B5EF4-FFF2-40B4-BE49-F238E27FC236}">
                    <a16:creationId xmlns:a16="http://schemas.microsoft.com/office/drawing/2014/main" id="{56F0D19D-7C89-7BAC-05CC-126360C134EC}"/>
                  </a:ext>
                </a:extLst>
              </p:cNvPr>
              <p:cNvSpPr>
                <a:spLocks/>
              </p:cNvSpPr>
              <p:nvPr/>
            </p:nvSpPr>
            <p:spPr bwMode="auto">
              <a:xfrm rot="467850" flipV="1">
                <a:off x="5585931" y="3438921"/>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43" name="Oval 1842">
                <a:extLst>
                  <a:ext uri="{FF2B5EF4-FFF2-40B4-BE49-F238E27FC236}">
                    <a16:creationId xmlns:a16="http://schemas.microsoft.com/office/drawing/2014/main" id="{B6FC1310-536B-2E2B-B28A-9E767234A477}"/>
                  </a:ext>
                </a:extLst>
              </p:cNvPr>
              <p:cNvSpPr>
                <a:spLocks/>
              </p:cNvSpPr>
              <p:nvPr/>
            </p:nvSpPr>
            <p:spPr bwMode="auto">
              <a:xfrm rot="467850" flipV="1">
                <a:off x="5550925" y="3023149"/>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44" name="Oval 1843">
                <a:extLst>
                  <a:ext uri="{FF2B5EF4-FFF2-40B4-BE49-F238E27FC236}">
                    <a16:creationId xmlns:a16="http://schemas.microsoft.com/office/drawing/2014/main" id="{2F9513E6-9F8B-688D-E3DE-F20B1AF0E3C3}"/>
                  </a:ext>
                </a:extLst>
              </p:cNvPr>
              <p:cNvSpPr>
                <a:spLocks/>
              </p:cNvSpPr>
              <p:nvPr/>
            </p:nvSpPr>
            <p:spPr bwMode="auto">
              <a:xfrm rot="467850" flipV="1">
                <a:off x="6611258" y="1216737"/>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45" name="Oval 1844">
                <a:extLst>
                  <a:ext uri="{FF2B5EF4-FFF2-40B4-BE49-F238E27FC236}">
                    <a16:creationId xmlns:a16="http://schemas.microsoft.com/office/drawing/2014/main" id="{36690253-FBEE-1896-AD8A-E6A310A13B8C}"/>
                  </a:ext>
                </a:extLst>
              </p:cNvPr>
              <p:cNvSpPr>
                <a:spLocks/>
              </p:cNvSpPr>
              <p:nvPr/>
            </p:nvSpPr>
            <p:spPr bwMode="auto">
              <a:xfrm rot="467850" flipV="1">
                <a:off x="7095623" y="1053899"/>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46" name="Oval 1845">
                <a:extLst>
                  <a:ext uri="{FF2B5EF4-FFF2-40B4-BE49-F238E27FC236}">
                    <a16:creationId xmlns:a16="http://schemas.microsoft.com/office/drawing/2014/main" id="{EB82839F-1F4C-C051-F7D6-F15248FF673D}"/>
                  </a:ext>
                </a:extLst>
              </p:cNvPr>
              <p:cNvSpPr>
                <a:spLocks/>
              </p:cNvSpPr>
              <p:nvPr/>
            </p:nvSpPr>
            <p:spPr bwMode="auto">
              <a:xfrm rot="467850" flipV="1">
                <a:off x="11283869" y="3912661"/>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47" name="Oval 1846">
                <a:extLst>
                  <a:ext uri="{FF2B5EF4-FFF2-40B4-BE49-F238E27FC236}">
                    <a16:creationId xmlns:a16="http://schemas.microsoft.com/office/drawing/2014/main" id="{158019AE-45C1-0B33-EEF8-B6DC430388D4}"/>
                  </a:ext>
                </a:extLst>
              </p:cNvPr>
              <p:cNvSpPr>
                <a:spLocks/>
              </p:cNvSpPr>
              <p:nvPr/>
            </p:nvSpPr>
            <p:spPr bwMode="auto">
              <a:xfrm rot="467850" flipV="1">
                <a:off x="11221038" y="3317292"/>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48" name="Oval 1847">
                <a:extLst>
                  <a:ext uri="{FF2B5EF4-FFF2-40B4-BE49-F238E27FC236}">
                    <a16:creationId xmlns:a16="http://schemas.microsoft.com/office/drawing/2014/main" id="{81A48276-EACB-DDB1-5461-AA65CFBD04C6}"/>
                  </a:ext>
                </a:extLst>
              </p:cNvPr>
              <p:cNvSpPr>
                <a:spLocks/>
              </p:cNvSpPr>
              <p:nvPr/>
            </p:nvSpPr>
            <p:spPr bwMode="auto">
              <a:xfrm rot="467850" flipV="1">
                <a:off x="11018417" y="2492991"/>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49" name="Oval 1848">
                <a:extLst>
                  <a:ext uri="{FF2B5EF4-FFF2-40B4-BE49-F238E27FC236}">
                    <a16:creationId xmlns:a16="http://schemas.microsoft.com/office/drawing/2014/main" id="{BBEACF3C-CA41-8198-5865-DAB31F8C13BE}"/>
                  </a:ext>
                </a:extLst>
              </p:cNvPr>
              <p:cNvSpPr>
                <a:spLocks/>
              </p:cNvSpPr>
              <p:nvPr/>
            </p:nvSpPr>
            <p:spPr bwMode="auto">
              <a:xfrm rot="467850" flipV="1">
                <a:off x="9903579" y="1023309"/>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50" name="Oval 1849">
                <a:extLst>
                  <a:ext uri="{FF2B5EF4-FFF2-40B4-BE49-F238E27FC236}">
                    <a16:creationId xmlns:a16="http://schemas.microsoft.com/office/drawing/2014/main" id="{180F5C24-5EE7-3D36-BF04-AE814ED697A5}"/>
                  </a:ext>
                </a:extLst>
              </p:cNvPr>
              <p:cNvSpPr>
                <a:spLocks/>
              </p:cNvSpPr>
              <p:nvPr/>
            </p:nvSpPr>
            <p:spPr bwMode="auto">
              <a:xfrm rot="467850" flipV="1">
                <a:off x="6161364" y="1717879"/>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51" name="Oval 1850">
                <a:extLst>
                  <a:ext uri="{FF2B5EF4-FFF2-40B4-BE49-F238E27FC236}">
                    <a16:creationId xmlns:a16="http://schemas.microsoft.com/office/drawing/2014/main" id="{48FF5D44-DFDD-9156-AD03-E48D5E2E4F88}"/>
                  </a:ext>
                </a:extLst>
              </p:cNvPr>
              <p:cNvSpPr>
                <a:spLocks/>
              </p:cNvSpPr>
              <p:nvPr/>
            </p:nvSpPr>
            <p:spPr bwMode="auto">
              <a:xfrm rot="467850" flipV="1">
                <a:off x="5751185" y="2702396"/>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52" name="Oval 1851">
                <a:extLst>
                  <a:ext uri="{FF2B5EF4-FFF2-40B4-BE49-F238E27FC236}">
                    <a16:creationId xmlns:a16="http://schemas.microsoft.com/office/drawing/2014/main" id="{01CCEE5B-C893-A68A-0BBE-821596FACAEE}"/>
                  </a:ext>
                </a:extLst>
              </p:cNvPr>
              <p:cNvSpPr>
                <a:spLocks/>
              </p:cNvSpPr>
              <p:nvPr/>
            </p:nvSpPr>
            <p:spPr bwMode="auto">
              <a:xfrm rot="467850" flipV="1">
                <a:off x="5549877" y="3906237"/>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53" name="Oval 1852">
                <a:extLst>
                  <a:ext uri="{FF2B5EF4-FFF2-40B4-BE49-F238E27FC236}">
                    <a16:creationId xmlns:a16="http://schemas.microsoft.com/office/drawing/2014/main" id="{2833C692-08D2-287A-1A09-D23486C2F5A1}"/>
                  </a:ext>
                </a:extLst>
              </p:cNvPr>
              <p:cNvSpPr>
                <a:spLocks/>
              </p:cNvSpPr>
              <p:nvPr/>
            </p:nvSpPr>
            <p:spPr bwMode="auto">
              <a:xfrm rot="467850" flipV="1">
                <a:off x="5617097" y="4421179"/>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54" name="Oval 1853">
                <a:extLst>
                  <a:ext uri="{FF2B5EF4-FFF2-40B4-BE49-F238E27FC236}">
                    <a16:creationId xmlns:a16="http://schemas.microsoft.com/office/drawing/2014/main" id="{EF4C696E-5F83-F695-E74F-8FB4D7985493}"/>
                  </a:ext>
                </a:extLst>
              </p:cNvPr>
              <p:cNvSpPr>
                <a:spLocks/>
              </p:cNvSpPr>
              <p:nvPr/>
            </p:nvSpPr>
            <p:spPr bwMode="auto">
              <a:xfrm rot="467850" flipV="1">
                <a:off x="6114325" y="4922814"/>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55" name="Oval 1854">
                <a:extLst>
                  <a:ext uri="{FF2B5EF4-FFF2-40B4-BE49-F238E27FC236}">
                    <a16:creationId xmlns:a16="http://schemas.microsoft.com/office/drawing/2014/main" id="{BFF2A79F-C732-07FB-14E1-49557CAD3D7E}"/>
                  </a:ext>
                </a:extLst>
              </p:cNvPr>
              <p:cNvSpPr>
                <a:spLocks/>
              </p:cNvSpPr>
              <p:nvPr/>
            </p:nvSpPr>
            <p:spPr bwMode="auto">
              <a:xfrm rot="467850" flipV="1">
                <a:off x="6674064" y="5775719"/>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56" name="Oval 1855">
                <a:extLst>
                  <a:ext uri="{FF2B5EF4-FFF2-40B4-BE49-F238E27FC236}">
                    <a16:creationId xmlns:a16="http://schemas.microsoft.com/office/drawing/2014/main" id="{6BAD0150-FA13-1961-7228-29C8C7A99F6F}"/>
                  </a:ext>
                </a:extLst>
              </p:cNvPr>
              <p:cNvSpPr>
                <a:spLocks/>
              </p:cNvSpPr>
              <p:nvPr/>
            </p:nvSpPr>
            <p:spPr bwMode="auto">
              <a:xfrm rot="467850" flipV="1">
                <a:off x="5845343" y="4767916"/>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57" name="Oval 1856">
                <a:extLst>
                  <a:ext uri="{FF2B5EF4-FFF2-40B4-BE49-F238E27FC236}">
                    <a16:creationId xmlns:a16="http://schemas.microsoft.com/office/drawing/2014/main" id="{92F5108D-52CB-8D2B-0F14-4F2E08FE1D03}"/>
                  </a:ext>
                </a:extLst>
              </p:cNvPr>
              <p:cNvSpPr>
                <a:spLocks/>
              </p:cNvSpPr>
              <p:nvPr/>
            </p:nvSpPr>
            <p:spPr bwMode="auto">
              <a:xfrm rot="467850" flipV="1">
                <a:off x="6320160" y="5279631"/>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58" name="Oval 1857">
                <a:extLst>
                  <a:ext uri="{FF2B5EF4-FFF2-40B4-BE49-F238E27FC236}">
                    <a16:creationId xmlns:a16="http://schemas.microsoft.com/office/drawing/2014/main" id="{C29E7A15-84A4-3C55-9496-56A9D01DE55B}"/>
                  </a:ext>
                </a:extLst>
              </p:cNvPr>
              <p:cNvSpPr>
                <a:spLocks/>
              </p:cNvSpPr>
              <p:nvPr/>
            </p:nvSpPr>
            <p:spPr bwMode="auto">
              <a:xfrm rot="467850" flipV="1">
                <a:off x="5267489" y="3683206"/>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59" name="Oval 1858">
                <a:extLst>
                  <a:ext uri="{FF2B5EF4-FFF2-40B4-BE49-F238E27FC236}">
                    <a16:creationId xmlns:a16="http://schemas.microsoft.com/office/drawing/2014/main" id="{FB555961-E824-9ED5-E8A5-ADA8E0A0D086}"/>
                  </a:ext>
                </a:extLst>
              </p:cNvPr>
              <p:cNvSpPr>
                <a:spLocks/>
              </p:cNvSpPr>
              <p:nvPr/>
            </p:nvSpPr>
            <p:spPr bwMode="auto">
              <a:xfrm rot="467850" flipV="1">
                <a:off x="7588721" y="1100385"/>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60" name="Oval 1859">
                <a:extLst>
                  <a:ext uri="{FF2B5EF4-FFF2-40B4-BE49-F238E27FC236}">
                    <a16:creationId xmlns:a16="http://schemas.microsoft.com/office/drawing/2014/main" id="{DB595308-3146-9EE7-9CE8-F0587EA34F6F}"/>
                  </a:ext>
                </a:extLst>
              </p:cNvPr>
              <p:cNvSpPr>
                <a:spLocks/>
              </p:cNvSpPr>
              <p:nvPr/>
            </p:nvSpPr>
            <p:spPr bwMode="auto">
              <a:xfrm rot="467850" flipV="1">
                <a:off x="5873696" y="5154062"/>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61" name="Oval 1860">
                <a:extLst>
                  <a:ext uri="{FF2B5EF4-FFF2-40B4-BE49-F238E27FC236}">
                    <a16:creationId xmlns:a16="http://schemas.microsoft.com/office/drawing/2014/main" id="{E5BAC875-C767-4678-7AC6-13CE4DC6E0F5}"/>
                  </a:ext>
                </a:extLst>
              </p:cNvPr>
              <p:cNvSpPr>
                <a:spLocks/>
              </p:cNvSpPr>
              <p:nvPr/>
            </p:nvSpPr>
            <p:spPr bwMode="auto">
              <a:xfrm rot="467850" flipV="1">
                <a:off x="6965056" y="5704565"/>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62" name="Oval 1861">
                <a:extLst>
                  <a:ext uri="{FF2B5EF4-FFF2-40B4-BE49-F238E27FC236}">
                    <a16:creationId xmlns:a16="http://schemas.microsoft.com/office/drawing/2014/main" id="{5BB3DBB4-90D5-82D5-4881-7EFF2A75EAE2}"/>
                  </a:ext>
                </a:extLst>
              </p:cNvPr>
              <p:cNvSpPr>
                <a:spLocks/>
              </p:cNvSpPr>
              <p:nvPr/>
            </p:nvSpPr>
            <p:spPr bwMode="auto">
              <a:xfrm rot="467850" flipV="1">
                <a:off x="8028706" y="938215"/>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63" name="Oval 1862">
                <a:extLst>
                  <a:ext uri="{FF2B5EF4-FFF2-40B4-BE49-F238E27FC236}">
                    <a16:creationId xmlns:a16="http://schemas.microsoft.com/office/drawing/2014/main" id="{65A13E01-3278-A765-9A90-811C2A34125C}"/>
                  </a:ext>
                </a:extLst>
              </p:cNvPr>
              <p:cNvSpPr>
                <a:spLocks/>
              </p:cNvSpPr>
              <p:nvPr/>
            </p:nvSpPr>
            <p:spPr bwMode="auto">
              <a:xfrm rot="467850" flipV="1">
                <a:off x="5429074" y="2731198"/>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64" name="Oval 1863">
                <a:extLst>
                  <a:ext uri="{FF2B5EF4-FFF2-40B4-BE49-F238E27FC236}">
                    <a16:creationId xmlns:a16="http://schemas.microsoft.com/office/drawing/2014/main" id="{13227D8F-A6B8-6A63-4CCC-FF47B0C3C1AA}"/>
                  </a:ext>
                </a:extLst>
              </p:cNvPr>
              <p:cNvSpPr>
                <a:spLocks/>
              </p:cNvSpPr>
              <p:nvPr/>
            </p:nvSpPr>
            <p:spPr bwMode="auto">
              <a:xfrm rot="467850" flipV="1">
                <a:off x="6682197" y="902367"/>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65" name="Oval 1864">
                <a:extLst>
                  <a:ext uri="{FF2B5EF4-FFF2-40B4-BE49-F238E27FC236}">
                    <a16:creationId xmlns:a16="http://schemas.microsoft.com/office/drawing/2014/main" id="{6FE9FFCE-705F-755F-EAA8-45124F551530}"/>
                  </a:ext>
                </a:extLst>
              </p:cNvPr>
              <p:cNvSpPr>
                <a:spLocks/>
              </p:cNvSpPr>
              <p:nvPr/>
            </p:nvSpPr>
            <p:spPr bwMode="auto">
              <a:xfrm rot="467850" flipV="1">
                <a:off x="8585041" y="904456"/>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66" name="Oval 1865">
                <a:extLst>
                  <a:ext uri="{FF2B5EF4-FFF2-40B4-BE49-F238E27FC236}">
                    <a16:creationId xmlns:a16="http://schemas.microsoft.com/office/drawing/2014/main" id="{799B11CB-52E6-F74A-BB8F-DB6D0D3F9464}"/>
                  </a:ext>
                </a:extLst>
              </p:cNvPr>
              <p:cNvSpPr>
                <a:spLocks/>
              </p:cNvSpPr>
              <p:nvPr/>
            </p:nvSpPr>
            <p:spPr bwMode="auto">
              <a:xfrm rot="467850" flipV="1">
                <a:off x="10430686" y="5181776"/>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67" name="Oval 1866">
                <a:extLst>
                  <a:ext uri="{FF2B5EF4-FFF2-40B4-BE49-F238E27FC236}">
                    <a16:creationId xmlns:a16="http://schemas.microsoft.com/office/drawing/2014/main" id="{8B9A1ABD-838C-D258-B8C7-4E9D5FA32470}"/>
                  </a:ext>
                </a:extLst>
              </p:cNvPr>
              <p:cNvSpPr>
                <a:spLocks/>
              </p:cNvSpPr>
              <p:nvPr/>
            </p:nvSpPr>
            <p:spPr bwMode="auto">
              <a:xfrm rot="467850" flipV="1">
                <a:off x="9623414" y="5733108"/>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68" name="Oval 1867">
                <a:extLst>
                  <a:ext uri="{FF2B5EF4-FFF2-40B4-BE49-F238E27FC236}">
                    <a16:creationId xmlns:a16="http://schemas.microsoft.com/office/drawing/2014/main" id="{CC09AEF0-BB54-9556-8C3D-D896BD94E230}"/>
                  </a:ext>
                </a:extLst>
              </p:cNvPr>
              <p:cNvSpPr>
                <a:spLocks/>
              </p:cNvSpPr>
              <p:nvPr/>
            </p:nvSpPr>
            <p:spPr bwMode="auto">
              <a:xfrm rot="467850" flipV="1">
                <a:off x="8933162" y="5775719"/>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69" name="Oval 1868">
                <a:extLst>
                  <a:ext uri="{FF2B5EF4-FFF2-40B4-BE49-F238E27FC236}">
                    <a16:creationId xmlns:a16="http://schemas.microsoft.com/office/drawing/2014/main" id="{0498512A-4700-67A8-9DDC-EDCBCBBD6A9A}"/>
                  </a:ext>
                </a:extLst>
              </p:cNvPr>
              <p:cNvSpPr>
                <a:spLocks/>
              </p:cNvSpPr>
              <p:nvPr/>
            </p:nvSpPr>
            <p:spPr bwMode="auto">
              <a:xfrm rot="467850" flipV="1">
                <a:off x="7464714" y="5958019"/>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70" name="Oval 1869">
                <a:extLst>
                  <a:ext uri="{FF2B5EF4-FFF2-40B4-BE49-F238E27FC236}">
                    <a16:creationId xmlns:a16="http://schemas.microsoft.com/office/drawing/2014/main" id="{FA82F6BE-898B-251C-C341-FEA09F4080A5}"/>
                  </a:ext>
                </a:extLst>
              </p:cNvPr>
              <p:cNvSpPr>
                <a:spLocks/>
              </p:cNvSpPr>
              <p:nvPr/>
            </p:nvSpPr>
            <p:spPr bwMode="auto">
              <a:xfrm rot="467850" flipV="1">
                <a:off x="8084623" y="5830936"/>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71" name="Oval 1870">
                <a:extLst>
                  <a:ext uri="{FF2B5EF4-FFF2-40B4-BE49-F238E27FC236}">
                    <a16:creationId xmlns:a16="http://schemas.microsoft.com/office/drawing/2014/main" id="{D90EAE22-B2C2-932A-5A49-562DBBD5CAC5}"/>
                  </a:ext>
                </a:extLst>
              </p:cNvPr>
              <p:cNvSpPr>
                <a:spLocks/>
              </p:cNvSpPr>
              <p:nvPr/>
            </p:nvSpPr>
            <p:spPr bwMode="auto">
              <a:xfrm rot="467850" flipV="1">
                <a:off x="8467386" y="6078287"/>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72" name="Oval 1871">
                <a:extLst>
                  <a:ext uri="{FF2B5EF4-FFF2-40B4-BE49-F238E27FC236}">
                    <a16:creationId xmlns:a16="http://schemas.microsoft.com/office/drawing/2014/main" id="{7EE8DEBE-0793-6C52-ABED-3D6555FAB583}"/>
                  </a:ext>
                </a:extLst>
              </p:cNvPr>
              <p:cNvSpPr>
                <a:spLocks/>
              </p:cNvSpPr>
              <p:nvPr/>
            </p:nvSpPr>
            <p:spPr bwMode="auto">
              <a:xfrm rot="467850" flipV="1">
                <a:off x="5717916" y="1820678"/>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73" name="Oval 1872">
                <a:extLst>
                  <a:ext uri="{FF2B5EF4-FFF2-40B4-BE49-F238E27FC236}">
                    <a16:creationId xmlns:a16="http://schemas.microsoft.com/office/drawing/2014/main" id="{675475A3-1278-74E2-4413-866E29A2EA76}"/>
                  </a:ext>
                </a:extLst>
              </p:cNvPr>
              <p:cNvSpPr>
                <a:spLocks/>
              </p:cNvSpPr>
              <p:nvPr/>
            </p:nvSpPr>
            <p:spPr bwMode="auto">
              <a:xfrm rot="467850" flipV="1">
                <a:off x="11033442" y="2144541"/>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74" name="Oval 1873">
                <a:extLst>
                  <a:ext uri="{FF2B5EF4-FFF2-40B4-BE49-F238E27FC236}">
                    <a16:creationId xmlns:a16="http://schemas.microsoft.com/office/drawing/2014/main" id="{4027B4E6-0224-2A54-94A0-DC63DBCFEE87}"/>
                  </a:ext>
                </a:extLst>
              </p:cNvPr>
              <p:cNvSpPr>
                <a:spLocks/>
              </p:cNvSpPr>
              <p:nvPr/>
            </p:nvSpPr>
            <p:spPr bwMode="auto">
              <a:xfrm rot="467850" flipV="1">
                <a:off x="11427739" y="2862043"/>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75" name="Oval 1874">
                <a:extLst>
                  <a:ext uri="{FF2B5EF4-FFF2-40B4-BE49-F238E27FC236}">
                    <a16:creationId xmlns:a16="http://schemas.microsoft.com/office/drawing/2014/main" id="{BD87262D-63A7-E6F9-A96D-2C2602F9E7FD}"/>
                  </a:ext>
                </a:extLst>
              </p:cNvPr>
              <p:cNvSpPr>
                <a:spLocks/>
              </p:cNvSpPr>
              <p:nvPr/>
            </p:nvSpPr>
            <p:spPr bwMode="auto">
              <a:xfrm rot="467850" flipV="1">
                <a:off x="9176894" y="6078287"/>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76" name="Oval 1875">
                <a:extLst>
                  <a:ext uri="{FF2B5EF4-FFF2-40B4-BE49-F238E27FC236}">
                    <a16:creationId xmlns:a16="http://schemas.microsoft.com/office/drawing/2014/main" id="{1D04417D-A8BA-F502-F741-C48114A998A9}"/>
                  </a:ext>
                </a:extLst>
              </p:cNvPr>
              <p:cNvSpPr>
                <a:spLocks/>
              </p:cNvSpPr>
              <p:nvPr/>
            </p:nvSpPr>
            <p:spPr bwMode="auto">
              <a:xfrm rot="467850" flipV="1">
                <a:off x="9947691" y="5660034"/>
                <a:ext cx="102700" cy="102700"/>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sp>
            <p:nvSpPr>
              <p:cNvPr id="1877" name="Oval 1876">
                <a:extLst>
                  <a:ext uri="{FF2B5EF4-FFF2-40B4-BE49-F238E27FC236}">
                    <a16:creationId xmlns:a16="http://schemas.microsoft.com/office/drawing/2014/main" id="{038B0CE8-1B8A-4FFD-4868-F3BAE3202DCD}"/>
                  </a:ext>
                </a:extLst>
              </p:cNvPr>
              <p:cNvSpPr>
                <a:spLocks/>
              </p:cNvSpPr>
              <p:nvPr/>
            </p:nvSpPr>
            <p:spPr bwMode="auto">
              <a:xfrm rot="4295831" flipV="1">
                <a:off x="9268579" y="1011289"/>
                <a:ext cx="72236" cy="72236"/>
              </a:xfrm>
              <a:prstGeom prst="ellipse">
                <a:avLst/>
              </a:prstGeom>
              <a:gradFill flip="none" rotWithShape="1">
                <a:gsLst>
                  <a:gs pos="100000">
                    <a:srgbClr val="FFFFFF">
                      <a:alpha val="10000"/>
                    </a:srgbClr>
                  </a:gs>
                  <a:gs pos="0">
                    <a:srgbClr val="FFFFFF">
                      <a:alpha val="5000"/>
                    </a:srgb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FFFFFF"/>
                  </a:solidFill>
                  <a:cs typeface="Segoe UI" pitchFamily="34" charset="0"/>
                </a:endParaRPr>
              </a:p>
            </p:txBody>
          </p:sp>
        </p:grpSp>
      </p:grpSp>
      <p:sp>
        <p:nvSpPr>
          <p:cNvPr id="1102" name="Rectangle 1101">
            <a:extLst>
              <a:ext uri="{FF2B5EF4-FFF2-40B4-BE49-F238E27FC236}">
                <a16:creationId xmlns:a16="http://schemas.microsoft.com/office/drawing/2014/main" id="{AD902E80-E2C5-E67B-97F6-1B833E3DCA4D}"/>
              </a:ext>
              <a:ext uri="{C183D7F6-B498-43B3-948B-1728B52AA6E4}">
                <adec:decorative xmlns:adec="http://schemas.microsoft.com/office/drawing/2017/decorative" val="1"/>
              </a:ext>
            </a:extLst>
          </p:cNvPr>
          <p:cNvSpPr/>
          <p:nvPr/>
        </p:nvSpPr>
        <p:spPr bwMode="auto">
          <a:xfrm>
            <a:off x="2364059" y="646623"/>
            <a:ext cx="8274204" cy="1234440"/>
          </a:xfrm>
          <a:prstGeom prst="rect">
            <a:avLst/>
          </a:prstGeom>
          <a:solidFill>
            <a:schemeClr val="bg1"/>
          </a:solidFill>
          <a:ln w="9525" cap="flat" cmpd="sng" algn="ctr">
            <a:solidFill>
              <a:srgbClr val="599FFD"/>
            </a:solidFill>
            <a:prstDash val="solid"/>
            <a:headEnd type="none" w="med" len="med"/>
            <a:tailEnd type="none" w="med" len="med"/>
          </a:ln>
          <a:effectLst>
            <a:innerShdw blurRad="1270000" dist="508000" dir="18600000">
              <a:srgbClr val="599FFD">
                <a:alpha val="20000"/>
              </a:srgbClr>
            </a:innerShdw>
          </a:effectLst>
        </p:spPr>
        <p:txBody>
          <a:bodyPr rot="0" spcFirstLastPara="0" vertOverflow="overflow" horzOverflow="overflow" vert="horz" wrap="square" lIns="182880" tIns="1737360" rIns="182880" bIns="548640" numCol="1" spcCol="0" rtlCol="0" fromWordArt="0" anchor="ctr" anchorCtr="0" forceAA="0" compatLnSpc="1">
            <a:prstTxWarp prst="textNoShape">
              <a:avLst/>
            </a:prstTxWarp>
            <a:noAutofit/>
          </a:bodyPr>
          <a:lstStyle/>
          <a:p>
            <a:pPr algn="ctr" defTabSz="1403951" fontAlgn="base">
              <a:spcBef>
                <a:spcPct val="0"/>
              </a:spcBef>
              <a:spcAft>
                <a:spcPts val="300"/>
              </a:spcAft>
            </a:pPr>
            <a:endParaRPr lang="en-US" sz="2400" kern="0" err="1">
              <a:solidFill>
                <a:srgbClr val="FFFFFF"/>
              </a:solidFill>
              <a:cs typeface="Segoe UI Semibold"/>
            </a:endParaRPr>
          </a:p>
        </p:txBody>
      </p:sp>
      <p:sp>
        <p:nvSpPr>
          <p:cNvPr id="1103" name="Rectangle 1102">
            <a:extLst>
              <a:ext uri="{FF2B5EF4-FFF2-40B4-BE49-F238E27FC236}">
                <a16:creationId xmlns:a16="http://schemas.microsoft.com/office/drawing/2014/main" id="{CFB23DFD-6D06-A7E4-4931-45E957385A90}"/>
              </a:ext>
              <a:ext uri="{C183D7F6-B498-43B3-948B-1728B52AA6E4}">
                <adec:decorative xmlns:adec="http://schemas.microsoft.com/office/drawing/2017/decorative" val="1"/>
              </a:ext>
            </a:extLst>
          </p:cNvPr>
          <p:cNvSpPr/>
          <p:nvPr/>
        </p:nvSpPr>
        <p:spPr bwMode="auto">
          <a:xfrm>
            <a:off x="2364059" y="2090061"/>
            <a:ext cx="9244584" cy="1234440"/>
          </a:xfrm>
          <a:prstGeom prst="rect">
            <a:avLst/>
          </a:prstGeom>
          <a:solidFill>
            <a:schemeClr val="bg1"/>
          </a:solidFill>
          <a:ln w="9525" cap="flat" cmpd="sng" algn="ctr">
            <a:solidFill>
              <a:srgbClr val="FADC14"/>
            </a:solidFill>
            <a:prstDash val="solid"/>
            <a:headEnd type="none" w="med" len="med"/>
            <a:tailEnd type="none" w="med" len="med"/>
          </a:ln>
          <a:effectLst>
            <a:innerShdw blurRad="1270000" dist="508000" dir="18600000">
              <a:srgbClr val="FADC14">
                <a:alpha val="20000"/>
              </a:srgbClr>
            </a:innerShdw>
          </a:effectLst>
        </p:spPr>
        <p:txBody>
          <a:bodyPr rot="0" spcFirstLastPara="0" vertOverflow="overflow" horzOverflow="overflow" vert="horz" wrap="square" lIns="182880" tIns="1737360" rIns="182880" bIns="548640" numCol="1" spcCol="0" rtlCol="0" fromWordArt="0" anchor="ctr" anchorCtr="0" forceAA="0" compatLnSpc="1">
            <a:prstTxWarp prst="textNoShape">
              <a:avLst/>
            </a:prstTxWarp>
            <a:noAutofit/>
          </a:bodyPr>
          <a:lstStyle/>
          <a:p>
            <a:pPr algn="ctr" defTabSz="1403951" fontAlgn="base">
              <a:spcBef>
                <a:spcPct val="0"/>
              </a:spcBef>
              <a:spcAft>
                <a:spcPts val="300"/>
              </a:spcAft>
            </a:pPr>
            <a:endParaRPr lang="en-US" sz="2400" kern="0" err="1">
              <a:solidFill>
                <a:srgbClr val="FFFFFF"/>
              </a:solidFill>
              <a:cs typeface="Segoe UI Semibold"/>
            </a:endParaRPr>
          </a:p>
        </p:txBody>
      </p:sp>
      <p:sp>
        <p:nvSpPr>
          <p:cNvPr id="1104" name="Rectangle 1103">
            <a:extLst>
              <a:ext uri="{FF2B5EF4-FFF2-40B4-BE49-F238E27FC236}">
                <a16:creationId xmlns:a16="http://schemas.microsoft.com/office/drawing/2014/main" id="{CFE63E1F-DE96-C3CF-C4B7-329CDD67D765}"/>
              </a:ext>
              <a:ext uri="{C183D7F6-B498-43B3-948B-1728B52AA6E4}">
                <adec:decorative xmlns:adec="http://schemas.microsoft.com/office/drawing/2017/decorative" val="1"/>
              </a:ext>
            </a:extLst>
          </p:cNvPr>
          <p:cNvSpPr/>
          <p:nvPr/>
        </p:nvSpPr>
        <p:spPr bwMode="auto">
          <a:xfrm>
            <a:off x="2364059" y="3533499"/>
            <a:ext cx="9244584" cy="1234440"/>
          </a:xfrm>
          <a:prstGeom prst="rect">
            <a:avLst/>
          </a:prstGeom>
          <a:solidFill>
            <a:schemeClr val="bg1"/>
          </a:solidFill>
          <a:ln w="9525" cap="flat" cmpd="sng" algn="ctr">
            <a:solidFill>
              <a:srgbClr val="A5B8EE"/>
            </a:solidFill>
            <a:prstDash val="solid"/>
            <a:headEnd type="none" w="med" len="med"/>
            <a:tailEnd type="none" w="med" len="med"/>
          </a:ln>
          <a:effectLst>
            <a:innerShdw blurRad="1270000" dist="508000" dir="18600000">
              <a:srgbClr val="A5B8EE">
                <a:alpha val="20000"/>
              </a:srgbClr>
            </a:innerShdw>
          </a:effectLst>
        </p:spPr>
        <p:txBody>
          <a:bodyPr rot="0" spcFirstLastPara="0" vertOverflow="overflow" horzOverflow="overflow" vert="horz" wrap="square" lIns="182880" tIns="1737360" rIns="182880" bIns="548640" numCol="1" spcCol="0" rtlCol="0" fromWordArt="0" anchor="ctr" anchorCtr="0" forceAA="0" compatLnSpc="1">
            <a:prstTxWarp prst="textNoShape">
              <a:avLst/>
            </a:prstTxWarp>
            <a:noAutofit/>
          </a:bodyPr>
          <a:lstStyle/>
          <a:p>
            <a:pPr algn="ctr" defTabSz="1403951" fontAlgn="base">
              <a:spcBef>
                <a:spcPct val="0"/>
              </a:spcBef>
              <a:spcAft>
                <a:spcPts val="300"/>
              </a:spcAft>
            </a:pPr>
            <a:endParaRPr lang="en-US" sz="2400" kern="0" err="1">
              <a:solidFill>
                <a:srgbClr val="FFFFFF"/>
              </a:solidFill>
              <a:cs typeface="Segoe UI Semibold"/>
            </a:endParaRPr>
          </a:p>
        </p:txBody>
      </p:sp>
      <p:sp>
        <p:nvSpPr>
          <p:cNvPr id="1105" name="Rectangle 1104">
            <a:extLst>
              <a:ext uri="{FF2B5EF4-FFF2-40B4-BE49-F238E27FC236}">
                <a16:creationId xmlns:a16="http://schemas.microsoft.com/office/drawing/2014/main" id="{4193441F-1784-9EC7-74A0-E1AF5A9C57B0}"/>
              </a:ext>
              <a:ext uri="{C183D7F6-B498-43B3-948B-1728B52AA6E4}">
                <adec:decorative xmlns:adec="http://schemas.microsoft.com/office/drawing/2017/decorative" val="1"/>
              </a:ext>
            </a:extLst>
          </p:cNvPr>
          <p:cNvSpPr/>
          <p:nvPr/>
        </p:nvSpPr>
        <p:spPr bwMode="auto">
          <a:xfrm>
            <a:off x="2364060" y="4976937"/>
            <a:ext cx="8271176" cy="1234440"/>
          </a:xfrm>
          <a:prstGeom prst="rect">
            <a:avLst/>
          </a:prstGeom>
          <a:solidFill>
            <a:schemeClr val="bg1"/>
          </a:solidFill>
          <a:ln w="12700" cap="flat" cmpd="sng" algn="ctr">
            <a:solidFill>
              <a:srgbClr val="A5EE8D"/>
            </a:solidFill>
            <a:prstDash val="solid"/>
            <a:headEnd type="none" w="med" len="med"/>
            <a:tailEnd type="none" w="med" len="med"/>
          </a:ln>
          <a:effectLst>
            <a:innerShdw blurRad="1270000" dist="508000" dir="18600000">
              <a:srgbClr val="A5EE8D">
                <a:alpha val="20000"/>
              </a:srgbClr>
            </a:innerShdw>
          </a:effectLst>
        </p:spPr>
        <p:txBody>
          <a:bodyPr rot="0" spcFirstLastPara="0" vertOverflow="overflow" horzOverflow="overflow" vert="horz" wrap="square" lIns="182880" tIns="1737360" rIns="182880" bIns="548640" numCol="1" spcCol="0" rtlCol="0" fromWordArt="0" anchor="ctr" anchorCtr="0" forceAA="0" compatLnSpc="1">
            <a:prstTxWarp prst="textNoShape">
              <a:avLst/>
            </a:prstTxWarp>
            <a:noAutofit/>
          </a:bodyPr>
          <a:lstStyle/>
          <a:p>
            <a:pPr algn="ctr" defTabSz="1403951" fontAlgn="base">
              <a:spcBef>
                <a:spcPct val="0"/>
              </a:spcBef>
              <a:spcAft>
                <a:spcPts val="300"/>
              </a:spcAft>
            </a:pPr>
            <a:endParaRPr lang="en-US" sz="2400" kern="0" err="1">
              <a:solidFill>
                <a:srgbClr val="FFFFFF"/>
              </a:solidFill>
              <a:latin typeface="Segoe Sans Display"/>
              <a:cs typeface="Segoe UI Semibold"/>
            </a:endParaRPr>
          </a:p>
        </p:txBody>
      </p:sp>
      <p:grpSp>
        <p:nvGrpSpPr>
          <p:cNvPr id="1533" name="Group 1532">
            <a:extLst>
              <a:ext uri="{FF2B5EF4-FFF2-40B4-BE49-F238E27FC236}">
                <a16:creationId xmlns:a16="http://schemas.microsoft.com/office/drawing/2014/main" id="{EE88E0C7-D928-D277-9275-8F602CF1FD7B}"/>
              </a:ext>
              <a:ext uri="{C183D7F6-B498-43B3-948B-1728B52AA6E4}">
                <adec:decorative xmlns:adec="http://schemas.microsoft.com/office/drawing/2017/decorative" val="1"/>
              </a:ext>
            </a:extLst>
          </p:cNvPr>
          <p:cNvGrpSpPr/>
          <p:nvPr/>
        </p:nvGrpSpPr>
        <p:grpSpPr>
          <a:xfrm>
            <a:off x="9522161" y="881687"/>
            <a:ext cx="764312" cy="764312"/>
            <a:chOff x="3644185" y="1579558"/>
            <a:chExt cx="764312" cy="764312"/>
          </a:xfrm>
        </p:grpSpPr>
        <p:grpSp>
          <p:nvGrpSpPr>
            <p:cNvPr id="1534" name="Group 1533">
              <a:extLst>
                <a:ext uri="{FF2B5EF4-FFF2-40B4-BE49-F238E27FC236}">
                  <a16:creationId xmlns:a16="http://schemas.microsoft.com/office/drawing/2014/main" id="{CDEFE798-4A23-532B-AE42-8CAF0D4A4DA5}"/>
                </a:ext>
              </a:extLst>
            </p:cNvPr>
            <p:cNvGrpSpPr/>
            <p:nvPr/>
          </p:nvGrpSpPr>
          <p:grpSpPr>
            <a:xfrm>
              <a:off x="3644185" y="1579558"/>
              <a:ext cx="764312" cy="764312"/>
              <a:chOff x="830145" y="2381374"/>
              <a:chExt cx="596753" cy="596753"/>
            </a:xfrm>
          </p:grpSpPr>
          <p:sp>
            <p:nvSpPr>
              <p:cNvPr id="1536" name="Oval 1535">
                <a:extLst>
                  <a:ext uri="{FF2B5EF4-FFF2-40B4-BE49-F238E27FC236}">
                    <a16:creationId xmlns:a16="http://schemas.microsoft.com/office/drawing/2014/main" id="{5B21998A-4902-5ABE-E5DC-3823682EF25E}"/>
                  </a:ext>
                </a:extLst>
              </p:cNvPr>
              <p:cNvSpPr/>
              <p:nvPr/>
            </p:nvSpPr>
            <p:spPr bwMode="auto">
              <a:xfrm>
                <a:off x="830145" y="2381374"/>
                <a:ext cx="596753" cy="596753"/>
              </a:xfrm>
              <a:prstGeom prst="ellipse">
                <a:avLst/>
              </a:prstGeom>
              <a:solidFill>
                <a:srgbClr val="599FFD">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defRPr/>
                </a:pPr>
                <a:endParaRPr lang="en-US" sz="2000" kern="0">
                  <a:solidFill>
                    <a:srgbClr val="091F2C"/>
                  </a:solidFill>
                  <a:latin typeface="Segoe UI Variable Display"/>
                  <a:cs typeface="Segoe UI" pitchFamily="34" charset="0"/>
                </a:endParaRPr>
              </a:p>
            </p:txBody>
          </p:sp>
          <p:sp>
            <p:nvSpPr>
              <p:cNvPr id="1537" name="Oval 1536">
                <a:extLst>
                  <a:ext uri="{FF2B5EF4-FFF2-40B4-BE49-F238E27FC236}">
                    <a16:creationId xmlns:a16="http://schemas.microsoft.com/office/drawing/2014/main" id="{BA99E682-1907-FB48-A703-C3F10BF9D3D3}"/>
                  </a:ext>
                </a:extLst>
              </p:cNvPr>
              <p:cNvSpPr/>
              <p:nvPr/>
            </p:nvSpPr>
            <p:spPr bwMode="auto">
              <a:xfrm>
                <a:off x="904621" y="2455850"/>
                <a:ext cx="447801" cy="447801"/>
              </a:xfrm>
              <a:prstGeom prst="ellipse">
                <a:avLst/>
              </a:prstGeom>
              <a:solidFill>
                <a:srgbClr val="599FFD"/>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defRPr/>
                </a:pPr>
                <a:endParaRPr lang="en-US" sz="2000" kern="0">
                  <a:solidFill>
                    <a:srgbClr val="091F2C"/>
                  </a:solidFill>
                  <a:latin typeface="Segoe UI Variable Display"/>
                  <a:cs typeface="Segoe UI" pitchFamily="34" charset="0"/>
                </a:endParaRPr>
              </a:p>
            </p:txBody>
          </p:sp>
        </p:grpSp>
        <p:pic>
          <p:nvPicPr>
            <p:cNvPr id="1535" name="Graphic 1534">
              <a:extLst>
                <a:ext uri="{FF2B5EF4-FFF2-40B4-BE49-F238E27FC236}">
                  <a16:creationId xmlns:a16="http://schemas.microsoft.com/office/drawing/2014/main" id="{5F9CDB7E-36CB-BC60-6E3E-C1CC7EA82ED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843461" y="1778834"/>
              <a:ext cx="365760" cy="365760"/>
            </a:xfrm>
            <a:prstGeom prst="rect">
              <a:avLst/>
            </a:prstGeom>
          </p:spPr>
        </p:pic>
      </p:grpSp>
      <p:grpSp>
        <p:nvGrpSpPr>
          <p:cNvPr id="1538" name="Group 1537">
            <a:extLst>
              <a:ext uri="{FF2B5EF4-FFF2-40B4-BE49-F238E27FC236}">
                <a16:creationId xmlns:a16="http://schemas.microsoft.com/office/drawing/2014/main" id="{7FA978EF-C402-9134-9159-11B8819D41BC}"/>
              </a:ext>
              <a:ext uri="{C183D7F6-B498-43B3-948B-1728B52AA6E4}">
                <adec:decorative xmlns:adec="http://schemas.microsoft.com/office/drawing/2017/decorative" val="1"/>
              </a:ext>
            </a:extLst>
          </p:cNvPr>
          <p:cNvGrpSpPr/>
          <p:nvPr/>
        </p:nvGrpSpPr>
        <p:grpSpPr>
          <a:xfrm>
            <a:off x="10495568" y="2325125"/>
            <a:ext cx="764312" cy="764312"/>
            <a:chOff x="7783503" y="1594742"/>
            <a:chExt cx="764312" cy="764312"/>
          </a:xfrm>
        </p:grpSpPr>
        <p:grpSp>
          <p:nvGrpSpPr>
            <p:cNvPr id="1539" name="Group 1538">
              <a:extLst>
                <a:ext uri="{FF2B5EF4-FFF2-40B4-BE49-F238E27FC236}">
                  <a16:creationId xmlns:a16="http://schemas.microsoft.com/office/drawing/2014/main" id="{0750FBF3-6556-B39D-4D3A-D8710DE7F948}"/>
                </a:ext>
              </a:extLst>
            </p:cNvPr>
            <p:cNvGrpSpPr/>
            <p:nvPr/>
          </p:nvGrpSpPr>
          <p:grpSpPr>
            <a:xfrm>
              <a:off x="7783503" y="1594742"/>
              <a:ext cx="764312" cy="764312"/>
              <a:chOff x="830145" y="2381374"/>
              <a:chExt cx="596753" cy="596753"/>
            </a:xfrm>
          </p:grpSpPr>
          <p:sp>
            <p:nvSpPr>
              <p:cNvPr id="1541" name="Oval 1540">
                <a:extLst>
                  <a:ext uri="{FF2B5EF4-FFF2-40B4-BE49-F238E27FC236}">
                    <a16:creationId xmlns:a16="http://schemas.microsoft.com/office/drawing/2014/main" id="{306F6DC0-9FE3-F945-82F3-BBA7F548AF86}"/>
                  </a:ext>
                </a:extLst>
              </p:cNvPr>
              <p:cNvSpPr/>
              <p:nvPr/>
            </p:nvSpPr>
            <p:spPr bwMode="auto">
              <a:xfrm>
                <a:off x="830145" y="2381374"/>
                <a:ext cx="596753" cy="596753"/>
              </a:xfrm>
              <a:prstGeom prst="ellipse">
                <a:avLst/>
              </a:prstGeom>
              <a:solidFill>
                <a:srgbClr val="FADC14">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a:gradFill>
                    <a:gsLst>
                      <a:gs pos="83000">
                        <a:srgbClr val="B9DCD2"/>
                      </a:gs>
                      <a:gs pos="100000">
                        <a:srgbClr val="B9DCD2"/>
                      </a:gs>
                    </a:gsLst>
                    <a:lin ang="5400000" scaled="1"/>
                  </a:gradFill>
                  <a:latin typeface="Segoe UI Variable Display"/>
                  <a:cs typeface="Segoe UI" pitchFamily="34" charset="0"/>
                </a:endParaRPr>
              </a:p>
            </p:txBody>
          </p:sp>
          <p:sp>
            <p:nvSpPr>
              <p:cNvPr id="1542" name="Oval 1541">
                <a:extLst>
                  <a:ext uri="{FF2B5EF4-FFF2-40B4-BE49-F238E27FC236}">
                    <a16:creationId xmlns:a16="http://schemas.microsoft.com/office/drawing/2014/main" id="{688D467E-DE75-68A7-DD01-A539F4B04E27}"/>
                  </a:ext>
                </a:extLst>
              </p:cNvPr>
              <p:cNvSpPr/>
              <p:nvPr/>
            </p:nvSpPr>
            <p:spPr bwMode="auto">
              <a:xfrm>
                <a:off x="904621" y="2455850"/>
                <a:ext cx="447801" cy="447801"/>
              </a:xfrm>
              <a:prstGeom prst="ellipse">
                <a:avLst/>
              </a:prstGeom>
              <a:solidFill>
                <a:srgbClr val="FADC1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a:solidFill>
                    <a:srgbClr val="091F2C"/>
                  </a:solidFill>
                  <a:latin typeface="Segoe UI Variable Display"/>
                  <a:cs typeface="Segoe UI" pitchFamily="34" charset="0"/>
                </a:endParaRPr>
              </a:p>
            </p:txBody>
          </p:sp>
        </p:grpSp>
        <p:pic>
          <p:nvPicPr>
            <p:cNvPr id="1540" name="Graphic 1539">
              <a:extLst>
                <a:ext uri="{FF2B5EF4-FFF2-40B4-BE49-F238E27FC236}">
                  <a16:creationId xmlns:a16="http://schemas.microsoft.com/office/drawing/2014/main" id="{FF7AE082-FE08-3CCF-20A3-6D4F8A49121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982779" y="1794018"/>
              <a:ext cx="365760" cy="365760"/>
            </a:xfrm>
            <a:prstGeom prst="rect">
              <a:avLst/>
            </a:prstGeom>
          </p:spPr>
        </p:pic>
      </p:grpSp>
      <p:grpSp>
        <p:nvGrpSpPr>
          <p:cNvPr id="1548" name="Group 1547">
            <a:extLst>
              <a:ext uri="{FF2B5EF4-FFF2-40B4-BE49-F238E27FC236}">
                <a16:creationId xmlns:a16="http://schemas.microsoft.com/office/drawing/2014/main" id="{756536C2-4862-0B79-EC9B-27CC0A549F0C}"/>
              </a:ext>
              <a:ext uri="{C183D7F6-B498-43B3-948B-1728B52AA6E4}">
                <adec:decorative xmlns:adec="http://schemas.microsoft.com/office/drawing/2017/decorative" val="1"/>
              </a:ext>
            </a:extLst>
          </p:cNvPr>
          <p:cNvGrpSpPr/>
          <p:nvPr/>
        </p:nvGrpSpPr>
        <p:grpSpPr>
          <a:xfrm>
            <a:off x="10495568" y="3768563"/>
            <a:ext cx="764312" cy="764312"/>
            <a:chOff x="3644185" y="4498946"/>
            <a:chExt cx="764312" cy="764312"/>
          </a:xfrm>
        </p:grpSpPr>
        <p:grpSp>
          <p:nvGrpSpPr>
            <p:cNvPr id="1549" name="Group 1548">
              <a:extLst>
                <a:ext uri="{FF2B5EF4-FFF2-40B4-BE49-F238E27FC236}">
                  <a16:creationId xmlns:a16="http://schemas.microsoft.com/office/drawing/2014/main" id="{367CB19B-0DAF-DAAB-930F-B2EAACF2B6B0}"/>
                </a:ext>
              </a:extLst>
            </p:cNvPr>
            <p:cNvGrpSpPr/>
            <p:nvPr/>
          </p:nvGrpSpPr>
          <p:grpSpPr>
            <a:xfrm>
              <a:off x="3644185" y="4498946"/>
              <a:ext cx="764312" cy="764312"/>
              <a:chOff x="830145" y="2381374"/>
              <a:chExt cx="596753" cy="596753"/>
            </a:xfrm>
          </p:grpSpPr>
          <p:sp>
            <p:nvSpPr>
              <p:cNvPr id="1551" name="Oval 1550">
                <a:extLst>
                  <a:ext uri="{FF2B5EF4-FFF2-40B4-BE49-F238E27FC236}">
                    <a16:creationId xmlns:a16="http://schemas.microsoft.com/office/drawing/2014/main" id="{D60F5E70-113F-EC50-56EB-C08B2455653D}"/>
                  </a:ext>
                </a:extLst>
              </p:cNvPr>
              <p:cNvSpPr/>
              <p:nvPr/>
            </p:nvSpPr>
            <p:spPr bwMode="auto">
              <a:xfrm>
                <a:off x="830145" y="2381374"/>
                <a:ext cx="596753" cy="596753"/>
              </a:xfrm>
              <a:prstGeom prst="ellipse">
                <a:avLst/>
              </a:prstGeom>
              <a:solidFill>
                <a:srgbClr val="A5B8EE">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a:solidFill>
                    <a:srgbClr val="091F2C"/>
                  </a:solidFill>
                  <a:latin typeface="Segoe UI Variable Display"/>
                  <a:cs typeface="Segoe UI" pitchFamily="34" charset="0"/>
                </a:endParaRPr>
              </a:p>
            </p:txBody>
          </p:sp>
          <p:sp>
            <p:nvSpPr>
              <p:cNvPr id="1552" name="Oval 1551">
                <a:extLst>
                  <a:ext uri="{FF2B5EF4-FFF2-40B4-BE49-F238E27FC236}">
                    <a16:creationId xmlns:a16="http://schemas.microsoft.com/office/drawing/2014/main" id="{E906F7DD-0CDE-993B-93B2-3606E6336CD6}"/>
                  </a:ext>
                </a:extLst>
              </p:cNvPr>
              <p:cNvSpPr/>
              <p:nvPr/>
            </p:nvSpPr>
            <p:spPr bwMode="auto">
              <a:xfrm>
                <a:off x="904621" y="2455850"/>
                <a:ext cx="447801" cy="447801"/>
              </a:xfrm>
              <a:prstGeom prst="ellipse">
                <a:avLst/>
              </a:prstGeom>
              <a:solidFill>
                <a:srgbClr val="A5B8E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a:solidFill>
                    <a:srgbClr val="091F2C"/>
                  </a:solidFill>
                  <a:latin typeface="Segoe UI Variable Display"/>
                  <a:cs typeface="Segoe UI" pitchFamily="34" charset="0"/>
                </a:endParaRPr>
              </a:p>
            </p:txBody>
          </p:sp>
        </p:grpSp>
        <p:pic>
          <p:nvPicPr>
            <p:cNvPr id="1550" name="Graphic 1549">
              <a:extLst>
                <a:ext uri="{FF2B5EF4-FFF2-40B4-BE49-F238E27FC236}">
                  <a16:creationId xmlns:a16="http://schemas.microsoft.com/office/drawing/2014/main" id="{EC4140E8-6518-3262-453B-F3A2B9E6C04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843461" y="4698222"/>
              <a:ext cx="365760" cy="365760"/>
            </a:xfrm>
            <a:prstGeom prst="rect">
              <a:avLst/>
            </a:prstGeom>
          </p:spPr>
        </p:pic>
      </p:grpSp>
      <p:sp>
        <p:nvSpPr>
          <p:cNvPr id="1106" name="Oval 1105">
            <a:extLst>
              <a:ext uri="{FF2B5EF4-FFF2-40B4-BE49-F238E27FC236}">
                <a16:creationId xmlns:a16="http://schemas.microsoft.com/office/drawing/2014/main" id="{99E8718B-1012-5E9E-BF76-545662774EB8}"/>
              </a:ext>
              <a:ext uri="{C183D7F6-B498-43B3-948B-1728B52AA6E4}">
                <adec:decorative xmlns:adec="http://schemas.microsoft.com/office/drawing/2017/decorative" val="1"/>
              </a:ext>
            </a:extLst>
          </p:cNvPr>
          <p:cNvSpPr/>
          <p:nvPr/>
        </p:nvSpPr>
        <p:spPr bwMode="auto">
          <a:xfrm>
            <a:off x="-149064" y="590868"/>
            <a:ext cx="5676264" cy="5676264"/>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605" name="Rectangle: Rounded Corners 1604">
            <a:extLst>
              <a:ext uri="{FF2B5EF4-FFF2-40B4-BE49-F238E27FC236}">
                <a16:creationId xmlns:a16="http://schemas.microsoft.com/office/drawing/2014/main" id="{5C5E4BF6-3655-FF7A-C554-409EC999C29C}"/>
              </a:ext>
              <a:ext uri="{C183D7F6-B498-43B3-948B-1728B52AA6E4}">
                <adec:decorative xmlns:adec="http://schemas.microsoft.com/office/drawing/2017/decorative" val="1"/>
              </a:ext>
            </a:extLst>
          </p:cNvPr>
          <p:cNvSpPr>
            <a:spLocks/>
          </p:cNvSpPr>
          <p:nvPr/>
        </p:nvSpPr>
        <p:spPr bwMode="auto">
          <a:xfrm rot="16200000">
            <a:off x="-4405778" y="2171374"/>
            <a:ext cx="5705522" cy="2534350"/>
          </a:xfrm>
          <a:prstGeom prst="roundRect">
            <a:avLst>
              <a:gd name="adj" fmla="val 0"/>
            </a:avLst>
          </a:prstGeom>
          <a:gradFill flip="none" rotWithShape="1">
            <a:gsLst>
              <a:gs pos="100000">
                <a:schemeClr val="bg1"/>
              </a:gs>
              <a:gs pos="42000">
                <a:schemeClr val="bg1">
                  <a:alpha val="90000"/>
                </a:schemeClr>
              </a:gs>
            </a:gsLst>
            <a:path path="circle">
              <a:fillToRect l="50000" t="50000" r="50000" b="50000"/>
            </a:path>
            <a:tileRect/>
          </a:gradFill>
          <a:ln w="19050" cap="flat" cmpd="sng" algn="ctr">
            <a:solidFill>
              <a:schemeClr val="bg2"/>
            </a:solidFill>
            <a:prstDash val="solid"/>
            <a:headEnd type="none" w="med" len="med"/>
            <a:tailEnd type="none" w="med" len="med"/>
          </a:ln>
          <a:effectLst>
            <a:outerShdw blurRad="254000" dist="190500" dir="3300000" algn="ctr" rotWithShape="0">
              <a:srgbClr val="000000">
                <a:alpha val="40000"/>
              </a:srgbClr>
            </a:outerShdw>
          </a:effectLst>
        </p:spPr>
        <p:txBody>
          <a:bodyPr rot="0" spcFirstLastPara="0" vertOverflow="overflow" horzOverflow="overflow" vert="horz" wrap="square" lIns="91440" tIns="320040" rIns="91440" bIns="91440" numCol="1" spcCol="0" rtlCol="0" fromWordArt="0" anchor="t" anchorCtr="0" forceAA="0" compatLnSpc="1">
            <a:prstTxWarp prst="textNoShape">
              <a:avLst/>
            </a:prstTxWarp>
            <a:noAutofit/>
          </a:bodyPr>
          <a:lstStyle/>
          <a:p>
            <a:pPr algn="ctr" defTabSz="932754">
              <a:spcAft>
                <a:spcPts val="300"/>
              </a:spcAft>
            </a:pPr>
            <a:endParaRPr lang="en-US" sz="1400" kern="0" spc="-10">
              <a:solidFill>
                <a:srgbClr val="8DC8E8"/>
              </a:solidFill>
              <a:latin typeface="Segoe Sans Display Semibold" pitchFamily="2" charset="0"/>
              <a:cs typeface="Segoe Sans Display Semibold" pitchFamily="2" charset="0"/>
            </a:endParaRPr>
          </a:p>
        </p:txBody>
      </p:sp>
      <p:sp>
        <p:nvSpPr>
          <p:cNvPr id="1606" name="Rectangle: Rounded Corners 1605">
            <a:extLst>
              <a:ext uri="{FF2B5EF4-FFF2-40B4-BE49-F238E27FC236}">
                <a16:creationId xmlns:a16="http://schemas.microsoft.com/office/drawing/2014/main" id="{6A294A13-13CF-71AA-306D-63BB84222767}"/>
              </a:ext>
              <a:ext uri="{C183D7F6-B498-43B3-948B-1728B52AA6E4}">
                <adec:decorative xmlns:adec="http://schemas.microsoft.com/office/drawing/2017/decorative" val="1"/>
              </a:ext>
            </a:extLst>
          </p:cNvPr>
          <p:cNvSpPr>
            <a:spLocks/>
          </p:cNvSpPr>
          <p:nvPr/>
        </p:nvSpPr>
        <p:spPr bwMode="auto">
          <a:xfrm rot="16200000">
            <a:off x="12849662" y="2170645"/>
            <a:ext cx="5705522" cy="2535808"/>
          </a:xfrm>
          <a:prstGeom prst="roundRect">
            <a:avLst>
              <a:gd name="adj" fmla="val 0"/>
            </a:avLst>
          </a:prstGeom>
          <a:gradFill flip="none" rotWithShape="1">
            <a:gsLst>
              <a:gs pos="100000">
                <a:schemeClr val="bg1"/>
              </a:gs>
              <a:gs pos="42000">
                <a:schemeClr val="bg1">
                  <a:alpha val="90000"/>
                </a:schemeClr>
              </a:gs>
            </a:gsLst>
            <a:path path="circle">
              <a:fillToRect l="50000" t="50000" r="50000" b="50000"/>
            </a:path>
            <a:tileRect/>
          </a:gradFill>
          <a:ln w="19050" cap="flat" cmpd="sng" algn="ctr">
            <a:solidFill>
              <a:schemeClr val="bg2"/>
            </a:solidFill>
            <a:prstDash val="solid"/>
            <a:headEnd type="none" w="med" len="med"/>
            <a:tailEnd type="none" w="med" len="med"/>
          </a:ln>
          <a:effectLst>
            <a:outerShdw blurRad="254000" dist="190500" dir="3300000" algn="ctr" rotWithShape="0">
              <a:srgbClr val="000000">
                <a:alpha val="40000"/>
              </a:srgbClr>
            </a:outerShdw>
          </a:effectLst>
        </p:spPr>
        <p:txBody>
          <a:bodyPr rot="0" spcFirstLastPara="0" vertOverflow="overflow" horzOverflow="overflow" vert="horz" wrap="square" lIns="91440" tIns="320040" rIns="91440" bIns="91440" numCol="1" spcCol="0" rtlCol="0" fromWordArt="0" anchor="t" anchorCtr="0" forceAA="0" compatLnSpc="1">
            <a:prstTxWarp prst="textNoShape">
              <a:avLst/>
            </a:prstTxWarp>
            <a:noAutofit/>
          </a:bodyPr>
          <a:lstStyle/>
          <a:p>
            <a:pPr algn="ctr" defTabSz="932754">
              <a:spcAft>
                <a:spcPts val="300"/>
              </a:spcAft>
            </a:pPr>
            <a:endParaRPr lang="en-US" sz="1400" kern="0" spc="-10">
              <a:solidFill>
                <a:srgbClr val="8DC8E8"/>
              </a:solidFill>
              <a:latin typeface="Segoe Sans Display Semibold" pitchFamily="2" charset="0"/>
              <a:cs typeface="Segoe Sans Display Semibold" pitchFamily="2" charset="0"/>
            </a:endParaRPr>
          </a:p>
        </p:txBody>
      </p:sp>
      <p:sp>
        <p:nvSpPr>
          <p:cNvPr id="1607" name="TextBox 1606">
            <a:extLst>
              <a:ext uri="{FF2B5EF4-FFF2-40B4-BE49-F238E27FC236}">
                <a16:creationId xmlns:a16="http://schemas.microsoft.com/office/drawing/2014/main" id="{425900F9-C12A-9BA8-A7B8-899864DA74D8}"/>
              </a:ext>
              <a:ext uri="{C183D7F6-B498-43B3-948B-1728B52AA6E4}">
                <adec:decorative xmlns:adec="http://schemas.microsoft.com/office/drawing/2017/decorative" val="1"/>
              </a:ext>
            </a:extLst>
          </p:cNvPr>
          <p:cNvSpPr txBox="1"/>
          <p:nvPr/>
        </p:nvSpPr>
        <p:spPr>
          <a:xfrm>
            <a:off x="-2397314" y="1453523"/>
            <a:ext cx="1688594" cy="215444"/>
          </a:xfrm>
          <a:prstGeom prst="rect">
            <a:avLst/>
          </a:prstGeom>
          <a:noFill/>
        </p:spPr>
        <p:txBody>
          <a:bodyPr wrap="square" lIns="0" tIns="0" rIns="0" bIns="0" rtlCol="0">
            <a:spAutoFit/>
          </a:bodyPr>
          <a:lstStyle/>
          <a:p>
            <a:pPr algn="ctr"/>
            <a:r>
              <a:rPr lang="en-US" sz="1400">
                <a:latin typeface="Segoe Sans Display Semibold"/>
              </a:rPr>
              <a:t>Any employee</a:t>
            </a:r>
          </a:p>
        </p:txBody>
      </p:sp>
      <p:sp>
        <p:nvSpPr>
          <p:cNvPr id="1608" name="TextBox 1607">
            <a:extLst>
              <a:ext uri="{FF2B5EF4-FFF2-40B4-BE49-F238E27FC236}">
                <a16:creationId xmlns:a16="http://schemas.microsoft.com/office/drawing/2014/main" id="{FC824761-FE1C-4041-8036-9367B1D4927C}"/>
              </a:ext>
              <a:ext uri="{C183D7F6-B498-43B3-948B-1728B52AA6E4}">
                <adec:decorative xmlns:adec="http://schemas.microsoft.com/office/drawing/2017/decorative" val="1"/>
              </a:ext>
            </a:extLst>
          </p:cNvPr>
          <p:cNvSpPr txBox="1"/>
          <p:nvPr/>
        </p:nvSpPr>
        <p:spPr>
          <a:xfrm>
            <a:off x="-2488404" y="1713873"/>
            <a:ext cx="1870774" cy="338554"/>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30" normalizeH="0" baseline="0" noProof="0" dirty="0">
                <a:ln>
                  <a:noFill/>
                </a:ln>
                <a:effectLst/>
                <a:uLnTx/>
                <a:uFillTx/>
              </a:rPr>
              <a:t>Cloud-based &amp; on-premises identities, groups &amp; roles</a:t>
            </a:r>
          </a:p>
        </p:txBody>
      </p:sp>
      <p:sp>
        <p:nvSpPr>
          <p:cNvPr id="1609" name="TextBox 1608">
            <a:extLst>
              <a:ext uri="{FF2B5EF4-FFF2-40B4-BE49-F238E27FC236}">
                <a16:creationId xmlns:a16="http://schemas.microsoft.com/office/drawing/2014/main" id="{A1E018F5-206D-3CA0-9E95-066727A67265}"/>
              </a:ext>
              <a:ext uri="{C183D7F6-B498-43B3-948B-1728B52AA6E4}">
                <adec:decorative xmlns:adec="http://schemas.microsoft.com/office/drawing/2017/decorative" val="1"/>
              </a:ext>
            </a:extLst>
          </p:cNvPr>
          <p:cNvSpPr txBox="1"/>
          <p:nvPr/>
        </p:nvSpPr>
        <p:spPr>
          <a:xfrm>
            <a:off x="-2397314" y="2924116"/>
            <a:ext cx="1688594" cy="215444"/>
          </a:xfrm>
          <a:prstGeom prst="rect">
            <a:avLst/>
          </a:prstGeom>
          <a:noFill/>
        </p:spPr>
        <p:txBody>
          <a:bodyPr wrap="square" lIns="0" tIns="0" rIns="0" bIns="0" rtlCol="0">
            <a:spAutoFit/>
          </a:bodyPr>
          <a:lstStyle/>
          <a:p>
            <a:pPr algn="ctr"/>
            <a:r>
              <a:rPr lang="en-US" sz="1400">
                <a:latin typeface="Segoe Sans Display Semibold"/>
              </a:rPr>
              <a:t>Any location</a:t>
            </a:r>
          </a:p>
        </p:txBody>
      </p:sp>
      <p:sp>
        <p:nvSpPr>
          <p:cNvPr id="1610" name="TextBox 1609">
            <a:extLst>
              <a:ext uri="{FF2B5EF4-FFF2-40B4-BE49-F238E27FC236}">
                <a16:creationId xmlns:a16="http://schemas.microsoft.com/office/drawing/2014/main" id="{171B927E-5D76-E74B-B042-C7E8EFECD59C}"/>
              </a:ext>
              <a:ext uri="{C183D7F6-B498-43B3-948B-1728B52AA6E4}">
                <adec:decorative xmlns:adec="http://schemas.microsoft.com/office/drawing/2017/decorative" val="1"/>
              </a:ext>
            </a:extLst>
          </p:cNvPr>
          <p:cNvSpPr txBox="1"/>
          <p:nvPr/>
        </p:nvSpPr>
        <p:spPr>
          <a:xfrm>
            <a:off x="-2736054" y="3184466"/>
            <a:ext cx="2366074" cy="169277"/>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effectLst/>
                <a:uLnTx/>
                <a:uFillTx/>
              </a:rPr>
              <a:t>HQ, branch office, home, remote</a:t>
            </a:r>
          </a:p>
        </p:txBody>
      </p:sp>
      <p:sp>
        <p:nvSpPr>
          <p:cNvPr id="1611" name="TextBox 1610">
            <a:extLst>
              <a:ext uri="{FF2B5EF4-FFF2-40B4-BE49-F238E27FC236}">
                <a16:creationId xmlns:a16="http://schemas.microsoft.com/office/drawing/2014/main" id="{D910BC6B-A167-BF93-DFB3-F833E27AC0B3}"/>
              </a:ext>
              <a:ext uri="{C183D7F6-B498-43B3-948B-1728B52AA6E4}">
                <adec:decorative xmlns:adec="http://schemas.microsoft.com/office/drawing/2017/decorative" val="1"/>
              </a:ext>
            </a:extLst>
          </p:cNvPr>
          <p:cNvSpPr txBox="1"/>
          <p:nvPr/>
        </p:nvSpPr>
        <p:spPr>
          <a:xfrm>
            <a:off x="-2397314" y="4240820"/>
            <a:ext cx="1688594" cy="215444"/>
          </a:xfrm>
          <a:prstGeom prst="rect">
            <a:avLst/>
          </a:prstGeom>
          <a:noFill/>
        </p:spPr>
        <p:txBody>
          <a:bodyPr wrap="square" lIns="0" tIns="0" rIns="0" bIns="0" rtlCol="0">
            <a:spAutoFit/>
          </a:bodyPr>
          <a:lstStyle/>
          <a:p>
            <a:pPr algn="ctr"/>
            <a:r>
              <a:rPr lang="en-US" sz="1400">
                <a:latin typeface="Segoe Sans Display Semibold"/>
              </a:rPr>
              <a:t>Any platform</a:t>
            </a:r>
          </a:p>
        </p:txBody>
      </p:sp>
      <p:sp>
        <p:nvSpPr>
          <p:cNvPr id="1612" name="TextBox 1611">
            <a:extLst>
              <a:ext uri="{FF2B5EF4-FFF2-40B4-BE49-F238E27FC236}">
                <a16:creationId xmlns:a16="http://schemas.microsoft.com/office/drawing/2014/main" id="{E7366623-9DDF-F101-84DD-FFDFDE0B81B8}"/>
              </a:ext>
              <a:ext uri="{C183D7F6-B498-43B3-948B-1728B52AA6E4}">
                <adec:decorative xmlns:adec="http://schemas.microsoft.com/office/drawing/2017/decorative" val="1"/>
              </a:ext>
            </a:extLst>
          </p:cNvPr>
          <p:cNvSpPr txBox="1"/>
          <p:nvPr/>
        </p:nvSpPr>
        <p:spPr>
          <a:xfrm>
            <a:off x="-2736054" y="4501170"/>
            <a:ext cx="2366074" cy="169277"/>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effectLst/>
                <a:uLnTx/>
                <a:uFillTx/>
              </a:rPr>
              <a:t>Android, iOS, Linux, MacOS, Windows</a:t>
            </a:r>
          </a:p>
        </p:txBody>
      </p:sp>
      <p:sp>
        <p:nvSpPr>
          <p:cNvPr id="1613" name="TextBox 1612">
            <a:extLst>
              <a:ext uri="{FF2B5EF4-FFF2-40B4-BE49-F238E27FC236}">
                <a16:creationId xmlns:a16="http://schemas.microsoft.com/office/drawing/2014/main" id="{D7A4C395-DE47-CF0D-7CFD-E22B59D42341}"/>
              </a:ext>
              <a:ext uri="{C183D7F6-B498-43B3-948B-1728B52AA6E4}">
                <adec:decorative xmlns:adec="http://schemas.microsoft.com/office/drawing/2017/decorative" val="1"/>
              </a:ext>
            </a:extLst>
          </p:cNvPr>
          <p:cNvSpPr txBox="1"/>
          <p:nvPr/>
        </p:nvSpPr>
        <p:spPr>
          <a:xfrm>
            <a:off x="-2397314" y="5557525"/>
            <a:ext cx="1688594" cy="215444"/>
          </a:xfrm>
          <a:prstGeom prst="rect">
            <a:avLst/>
          </a:prstGeom>
          <a:noFill/>
        </p:spPr>
        <p:txBody>
          <a:bodyPr wrap="square" lIns="0" tIns="0" rIns="0" bIns="0" rtlCol="0">
            <a:spAutoFit/>
          </a:bodyPr>
          <a:lstStyle/>
          <a:p>
            <a:pPr algn="ctr"/>
            <a:r>
              <a:rPr lang="en-US" sz="1400">
                <a:latin typeface="Segoe Sans Display Semibold"/>
              </a:rPr>
              <a:t>Any device</a:t>
            </a:r>
          </a:p>
        </p:txBody>
      </p:sp>
      <p:sp>
        <p:nvSpPr>
          <p:cNvPr id="1614" name="TextBox 1613">
            <a:extLst>
              <a:ext uri="{FF2B5EF4-FFF2-40B4-BE49-F238E27FC236}">
                <a16:creationId xmlns:a16="http://schemas.microsoft.com/office/drawing/2014/main" id="{07E86CDE-427D-EF9C-1308-EF3873829FC0}"/>
              </a:ext>
              <a:ext uri="{C183D7F6-B498-43B3-948B-1728B52AA6E4}">
                <adec:decorative xmlns:adec="http://schemas.microsoft.com/office/drawing/2017/decorative" val="1"/>
              </a:ext>
            </a:extLst>
          </p:cNvPr>
          <p:cNvSpPr txBox="1"/>
          <p:nvPr/>
        </p:nvSpPr>
        <p:spPr>
          <a:xfrm>
            <a:off x="-2736054" y="5817875"/>
            <a:ext cx="2366074" cy="169277"/>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effectLst/>
                <a:uLnTx/>
                <a:uFillTx/>
              </a:rPr>
              <a:t>Corporate &amp; personal</a:t>
            </a:r>
          </a:p>
        </p:txBody>
      </p:sp>
      <p:sp>
        <p:nvSpPr>
          <p:cNvPr id="1615" name="TextBox 1614">
            <a:extLst>
              <a:ext uri="{FF2B5EF4-FFF2-40B4-BE49-F238E27FC236}">
                <a16:creationId xmlns:a16="http://schemas.microsoft.com/office/drawing/2014/main" id="{01AC52C7-1225-F041-1701-EC9CF6876273}"/>
              </a:ext>
              <a:ext uri="{C183D7F6-B498-43B3-948B-1728B52AA6E4}">
                <adec:decorative xmlns:adec="http://schemas.microsoft.com/office/drawing/2017/decorative" val="1"/>
              </a:ext>
            </a:extLst>
          </p:cNvPr>
          <p:cNvSpPr txBox="1"/>
          <p:nvPr/>
        </p:nvSpPr>
        <p:spPr>
          <a:xfrm>
            <a:off x="14886261" y="826465"/>
            <a:ext cx="1632324" cy="49244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40" normalizeH="0" baseline="0" noProof="0">
                <a:ln>
                  <a:noFill/>
                </a:ln>
                <a:effectLst/>
                <a:uLnTx/>
                <a:uFillTx/>
              </a:rPr>
              <a:t>Access to all </a:t>
            </a:r>
            <a:br>
              <a:rPr kumimoji="0" lang="en-US" sz="1600" b="0" i="0" u="none" strike="noStrike" kern="0" cap="none" spc="-40" normalizeH="0" baseline="0" noProof="0">
                <a:ln>
                  <a:noFill/>
                </a:ln>
                <a:effectLst/>
                <a:uLnTx/>
                <a:uFillTx/>
              </a:rPr>
            </a:br>
            <a:r>
              <a:rPr kumimoji="0" lang="en-US" sz="1600" b="0" i="0" u="none" strike="noStrike" kern="0" cap="none" spc="-60" normalizeH="0" baseline="0" noProof="0">
                <a:ln>
                  <a:noFill/>
                </a:ln>
                <a:effectLst/>
                <a:uLnTx/>
                <a:uFillTx/>
              </a:rPr>
              <a:t>apps &amp; resources</a:t>
            </a:r>
          </a:p>
        </p:txBody>
      </p:sp>
      <p:sp>
        <p:nvSpPr>
          <p:cNvPr id="1616" name="TextBox 1615">
            <a:extLst>
              <a:ext uri="{FF2B5EF4-FFF2-40B4-BE49-F238E27FC236}">
                <a16:creationId xmlns:a16="http://schemas.microsoft.com/office/drawing/2014/main" id="{D28F6241-D4AF-627D-4452-778C4B60ED98}"/>
              </a:ext>
              <a:ext uri="{C183D7F6-B498-43B3-948B-1728B52AA6E4}">
                <adec:decorative xmlns:adec="http://schemas.microsoft.com/office/drawing/2017/decorative" val="1"/>
              </a:ext>
            </a:extLst>
          </p:cNvPr>
          <p:cNvSpPr txBox="1"/>
          <p:nvPr/>
        </p:nvSpPr>
        <p:spPr>
          <a:xfrm>
            <a:off x="15056245" y="1862514"/>
            <a:ext cx="1292356" cy="215444"/>
          </a:xfrm>
          <a:prstGeom prst="rect">
            <a:avLst/>
          </a:prstGeom>
          <a:noFill/>
        </p:spPr>
        <p:txBody>
          <a:bodyPr wrap="square" lIns="0" tIns="0" rIns="0" bIns="0" rtlCol="0">
            <a:spAutoFit/>
          </a:bodyPr>
          <a:lstStyle/>
          <a:p>
            <a:pPr algn="ctr"/>
            <a:r>
              <a:rPr lang="en-US" sz="1400" spc="-40">
                <a:ln w="3175">
                  <a:noFill/>
                </a:ln>
                <a:gradFill>
                  <a:gsLst>
                    <a:gs pos="0">
                      <a:srgbClr val="0360DB"/>
                    </a:gs>
                    <a:gs pos="80000">
                      <a:srgbClr val="207EFC"/>
                    </a:gs>
                  </a:gsLst>
                  <a:path path="circle">
                    <a:fillToRect l="100000" t="100000"/>
                  </a:path>
                </a:gradFill>
                <a:latin typeface="Segoe Sans Display Semibold"/>
                <a:cs typeface="Segoe UI" panose="020B0502040204020203" pitchFamily="34" charset="0"/>
              </a:rPr>
              <a:t>AI</a:t>
            </a:r>
          </a:p>
        </p:txBody>
      </p:sp>
      <p:sp>
        <p:nvSpPr>
          <p:cNvPr id="1617" name="TextBox 1616">
            <a:extLst>
              <a:ext uri="{FF2B5EF4-FFF2-40B4-BE49-F238E27FC236}">
                <a16:creationId xmlns:a16="http://schemas.microsoft.com/office/drawing/2014/main" id="{182657BE-D1D9-C9BC-DF0F-B508560D078E}"/>
              </a:ext>
              <a:ext uri="{C183D7F6-B498-43B3-948B-1728B52AA6E4}">
                <adec:decorative xmlns:adec="http://schemas.microsoft.com/office/drawing/2017/decorative" val="1"/>
              </a:ext>
            </a:extLst>
          </p:cNvPr>
          <p:cNvSpPr txBox="1"/>
          <p:nvPr/>
        </p:nvSpPr>
        <p:spPr>
          <a:xfrm>
            <a:off x="14700202" y="3054197"/>
            <a:ext cx="2004442" cy="215444"/>
          </a:xfrm>
          <a:prstGeom prst="rect">
            <a:avLst/>
          </a:prstGeom>
          <a:noFill/>
        </p:spPr>
        <p:txBody>
          <a:bodyPr wrap="square" lIns="0" tIns="0" rIns="0" bIns="0" rtlCol="0">
            <a:spAutoFit/>
          </a:bodyPr>
          <a:lstStyle/>
          <a:p>
            <a:pPr algn="ctr"/>
            <a:r>
              <a:rPr lang="en-US" sz="1400" spc="-40">
                <a:ln w="3175">
                  <a:noFill/>
                </a:ln>
                <a:gradFill>
                  <a:gsLst>
                    <a:gs pos="0">
                      <a:srgbClr val="0360DB"/>
                    </a:gs>
                    <a:gs pos="80000">
                      <a:srgbClr val="207EFC"/>
                    </a:gs>
                  </a:gsLst>
                  <a:path path="circle">
                    <a:fillToRect l="100000" t="100000"/>
                  </a:path>
                </a:gradFill>
                <a:latin typeface="Segoe Sans Display Semibold"/>
                <a:cs typeface="Segoe UI" panose="020B0502040204020203" pitchFamily="34" charset="0"/>
              </a:rPr>
              <a:t>IaaS, PaaS, Datacenter</a:t>
            </a:r>
          </a:p>
        </p:txBody>
      </p:sp>
      <p:sp>
        <p:nvSpPr>
          <p:cNvPr id="1618" name="TextBox 1617">
            <a:extLst>
              <a:ext uri="{FF2B5EF4-FFF2-40B4-BE49-F238E27FC236}">
                <a16:creationId xmlns:a16="http://schemas.microsoft.com/office/drawing/2014/main" id="{5FE0ECF5-C633-69D2-CA32-F2381CF5783A}"/>
              </a:ext>
              <a:ext uri="{C183D7F6-B498-43B3-948B-1728B52AA6E4}">
                <adec:decorative xmlns:adec="http://schemas.microsoft.com/office/drawing/2017/decorative" val="1"/>
              </a:ext>
            </a:extLst>
          </p:cNvPr>
          <p:cNvSpPr txBox="1"/>
          <p:nvPr/>
        </p:nvSpPr>
        <p:spPr>
          <a:xfrm>
            <a:off x="14700202" y="4999737"/>
            <a:ext cx="2004442" cy="215444"/>
          </a:xfrm>
          <a:prstGeom prst="rect">
            <a:avLst/>
          </a:prstGeom>
          <a:noFill/>
        </p:spPr>
        <p:txBody>
          <a:bodyPr wrap="square" lIns="0" tIns="0" rIns="0" bIns="0" rtlCol="0">
            <a:spAutoFit/>
          </a:bodyPr>
          <a:lstStyle/>
          <a:p>
            <a:pPr algn="ctr"/>
            <a:r>
              <a:rPr lang="en-US" sz="1400" spc="-40">
                <a:ln w="3175">
                  <a:noFill/>
                </a:ln>
                <a:gradFill>
                  <a:gsLst>
                    <a:gs pos="0">
                      <a:srgbClr val="0360DB"/>
                    </a:gs>
                    <a:gs pos="80000">
                      <a:srgbClr val="207EFC"/>
                    </a:gs>
                  </a:gsLst>
                  <a:path path="circle">
                    <a:fillToRect l="100000" t="100000"/>
                  </a:path>
                </a:gradFill>
                <a:latin typeface="Segoe Sans Display Semibold"/>
                <a:cs typeface="Segoe UI" panose="020B0502040204020203" pitchFamily="34" charset="0"/>
              </a:rPr>
              <a:t>SaaS, websites</a:t>
            </a:r>
          </a:p>
        </p:txBody>
      </p:sp>
      <p:sp>
        <p:nvSpPr>
          <p:cNvPr id="1619" name="TextBox 1618">
            <a:extLst>
              <a:ext uri="{FF2B5EF4-FFF2-40B4-BE49-F238E27FC236}">
                <a16:creationId xmlns:a16="http://schemas.microsoft.com/office/drawing/2014/main" id="{28982230-C8B9-4951-2B34-492BFF7D51A3}"/>
              </a:ext>
              <a:ext uri="{C183D7F6-B498-43B3-948B-1728B52AA6E4}">
                <adec:decorative xmlns:adec="http://schemas.microsoft.com/office/drawing/2017/decorative" val="1"/>
              </a:ext>
            </a:extLst>
          </p:cNvPr>
          <p:cNvSpPr txBox="1"/>
          <p:nvPr/>
        </p:nvSpPr>
        <p:spPr>
          <a:xfrm>
            <a:off x="15056245" y="5763976"/>
            <a:ext cx="1292356" cy="215444"/>
          </a:xfrm>
          <a:prstGeom prst="rect">
            <a:avLst/>
          </a:prstGeom>
          <a:noFill/>
        </p:spPr>
        <p:txBody>
          <a:bodyPr wrap="square" lIns="0" tIns="0" rIns="0" bIns="0" rtlCol="0">
            <a:spAutoFit/>
          </a:bodyPr>
          <a:lstStyle/>
          <a:p>
            <a:pPr algn="ctr"/>
            <a:r>
              <a:rPr lang="en-US" sz="1400" spc="-40">
                <a:ln w="3175">
                  <a:noFill/>
                </a:ln>
                <a:gradFill>
                  <a:gsLst>
                    <a:gs pos="0">
                      <a:srgbClr val="0360DB"/>
                    </a:gs>
                    <a:gs pos="80000">
                      <a:srgbClr val="207EFC"/>
                    </a:gs>
                  </a:gsLst>
                  <a:path path="circle">
                    <a:fillToRect l="100000" t="100000"/>
                  </a:path>
                </a:gradFill>
                <a:latin typeface="Segoe Sans Display Semibold"/>
                <a:cs typeface="Segoe UI" panose="020B0502040204020203" pitchFamily="34" charset="0"/>
              </a:rPr>
              <a:t>On-premises</a:t>
            </a:r>
          </a:p>
        </p:txBody>
      </p:sp>
      <p:cxnSp>
        <p:nvCxnSpPr>
          <p:cNvPr id="1620" name="Straight Connector 1619">
            <a:extLst>
              <a:ext uri="{FF2B5EF4-FFF2-40B4-BE49-F238E27FC236}">
                <a16:creationId xmlns:a16="http://schemas.microsoft.com/office/drawing/2014/main" id="{7C76E8EE-FA64-C58F-F84F-5CECCBAF0C09}"/>
              </a:ext>
              <a:ext uri="{C183D7F6-B498-43B3-948B-1728B52AA6E4}">
                <adec:decorative xmlns:adec="http://schemas.microsoft.com/office/drawing/2017/decorative" val="1"/>
              </a:ext>
            </a:extLst>
          </p:cNvPr>
          <p:cNvCxnSpPr>
            <a:cxnSpLocks/>
          </p:cNvCxnSpPr>
          <p:nvPr/>
        </p:nvCxnSpPr>
        <p:spPr>
          <a:xfrm>
            <a:off x="14696583" y="2352354"/>
            <a:ext cx="2011680" cy="0"/>
          </a:xfrm>
          <a:prstGeom prst="line">
            <a:avLst/>
          </a:prstGeom>
          <a:gradFill flip="none" rotWithShape="1">
            <a:gsLst>
              <a:gs pos="100000">
                <a:srgbClr val="091F2C">
                  <a:lumMod val="90000"/>
                  <a:lumOff val="10000"/>
                </a:srgbClr>
              </a:gs>
              <a:gs pos="42000">
                <a:srgbClr val="091F2C">
                  <a:alpha val="90000"/>
                </a:srgbClr>
              </a:gs>
            </a:gsLst>
            <a:path path="circle">
              <a:fillToRect l="50000" t="50000" r="50000" b="50000"/>
            </a:path>
            <a:tileRect/>
          </a:gradFill>
          <a:ln w="19050" cap="flat" cmpd="sng" algn="ctr">
            <a:solidFill>
              <a:srgbClr val="091F2C">
                <a:lumMod val="90000"/>
                <a:lumOff val="10000"/>
              </a:srgbClr>
            </a:solidFill>
            <a:prstDash val="solid"/>
            <a:headEnd type="none" w="med" len="med"/>
            <a:tailEnd type="none" w="med" len="med"/>
          </a:ln>
          <a:effectLst>
            <a:outerShdw blurRad="254000" dist="190500" dir="3300000" algn="ctr" rotWithShape="0">
              <a:srgbClr val="000000">
                <a:alpha val="40000"/>
              </a:srgbClr>
            </a:outerShdw>
          </a:effectLst>
        </p:spPr>
      </p:cxnSp>
      <p:cxnSp>
        <p:nvCxnSpPr>
          <p:cNvPr id="1621" name="Straight Connector 1620">
            <a:extLst>
              <a:ext uri="{FF2B5EF4-FFF2-40B4-BE49-F238E27FC236}">
                <a16:creationId xmlns:a16="http://schemas.microsoft.com/office/drawing/2014/main" id="{44782176-0DAD-2DD3-E54E-68F8963E26CA}"/>
              </a:ext>
              <a:ext uri="{C183D7F6-B498-43B3-948B-1728B52AA6E4}">
                <adec:decorative xmlns:adec="http://schemas.microsoft.com/office/drawing/2017/decorative" val="1"/>
              </a:ext>
            </a:extLst>
          </p:cNvPr>
          <p:cNvCxnSpPr>
            <a:cxnSpLocks/>
          </p:cNvCxnSpPr>
          <p:nvPr/>
        </p:nvCxnSpPr>
        <p:spPr>
          <a:xfrm>
            <a:off x="14696583" y="3536154"/>
            <a:ext cx="2011680" cy="0"/>
          </a:xfrm>
          <a:prstGeom prst="line">
            <a:avLst/>
          </a:prstGeom>
          <a:gradFill flip="none" rotWithShape="1">
            <a:gsLst>
              <a:gs pos="100000">
                <a:srgbClr val="091F2C">
                  <a:lumMod val="90000"/>
                  <a:lumOff val="10000"/>
                </a:srgbClr>
              </a:gs>
              <a:gs pos="42000">
                <a:srgbClr val="091F2C">
                  <a:alpha val="90000"/>
                </a:srgbClr>
              </a:gs>
            </a:gsLst>
            <a:path path="circle">
              <a:fillToRect l="50000" t="50000" r="50000" b="50000"/>
            </a:path>
            <a:tileRect/>
          </a:gradFill>
          <a:ln w="19050" cap="flat" cmpd="sng" algn="ctr">
            <a:solidFill>
              <a:srgbClr val="091F2C">
                <a:lumMod val="90000"/>
                <a:lumOff val="10000"/>
              </a:srgbClr>
            </a:solidFill>
            <a:prstDash val="solid"/>
            <a:headEnd type="none" w="med" len="med"/>
            <a:tailEnd type="none" w="med" len="med"/>
          </a:ln>
          <a:effectLst>
            <a:outerShdw blurRad="254000" dist="190500" dir="3300000" algn="ctr" rotWithShape="0">
              <a:srgbClr val="000000">
                <a:alpha val="40000"/>
              </a:srgbClr>
            </a:outerShdw>
          </a:effectLst>
        </p:spPr>
      </p:cxnSp>
      <p:cxnSp>
        <p:nvCxnSpPr>
          <p:cNvPr id="1622" name="Straight Connector 1621">
            <a:extLst>
              <a:ext uri="{FF2B5EF4-FFF2-40B4-BE49-F238E27FC236}">
                <a16:creationId xmlns:a16="http://schemas.microsoft.com/office/drawing/2014/main" id="{F2E8E950-0CD6-9296-846D-93DD81827517}"/>
              </a:ext>
              <a:ext uri="{C183D7F6-B498-43B3-948B-1728B52AA6E4}">
                <adec:decorative xmlns:adec="http://schemas.microsoft.com/office/drawing/2017/decorative" val="1"/>
              </a:ext>
            </a:extLst>
          </p:cNvPr>
          <p:cNvCxnSpPr>
            <a:cxnSpLocks/>
          </p:cNvCxnSpPr>
          <p:nvPr/>
        </p:nvCxnSpPr>
        <p:spPr>
          <a:xfrm>
            <a:off x="14696583" y="4300390"/>
            <a:ext cx="2011680" cy="0"/>
          </a:xfrm>
          <a:prstGeom prst="line">
            <a:avLst/>
          </a:prstGeom>
          <a:gradFill flip="none" rotWithShape="1">
            <a:gsLst>
              <a:gs pos="100000">
                <a:srgbClr val="091F2C">
                  <a:lumMod val="90000"/>
                  <a:lumOff val="10000"/>
                </a:srgbClr>
              </a:gs>
              <a:gs pos="42000">
                <a:srgbClr val="091F2C">
                  <a:alpha val="90000"/>
                </a:srgbClr>
              </a:gs>
            </a:gsLst>
            <a:path path="circle">
              <a:fillToRect l="50000" t="50000" r="50000" b="50000"/>
            </a:path>
            <a:tileRect/>
          </a:gradFill>
          <a:ln w="19050" cap="flat" cmpd="sng" algn="ctr">
            <a:solidFill>
              <a:srgbClr val="091F2C">
                <a:lumMod val="90000"/>
                <a:lumOff val="10000"/>
              </a:srgbClr>
            </a:solidFill>
            <a:prstDash val="solid"/>
            <a:headEnd type="none" w="med" len="med"/>
            <a:tailEnd type="none" w="med" len="med"/>
          </a:ln>
          <a:effectLst>
            <a:outerShdw blurRad="254000" dist="190500" dir="3300000" algn="ctr" rotWithShape="0">
              <a:srgbClr val="000000">
                <a:alpha val="40000"/>
              </a:srgbClr>
            </a:outerShdw>
          </a:effectLst>
        </p:spPr>
      </p:cxnSp>
      <p:cxnSp>
        <p:nvCxnSpPr>
          <p:cNvPr id="1623" name="Straight Connector 1622">
            <a:extLst>
              <a:ext uri="{FF2B5EF4-FFF2-40B4-BE49-F238E27FC236}">
                <a16:creationId xmlns:a16="http://schemas.microsoft.com/office/drawing/2014/main" id="{F58970BB-5B5A-DACF-BA38-D9F074D65931}"/>
              </a:ext>
              <a:ext uri="{C183D7F6-B498-43B3-948B-1728B52AA6E4}">
                <adec:decorative xmlns:adec="http://schemas.microsoft.com/office/drawing/2017/decorative" val="1"/>
              </a:ext>
            </a:extLst>
          </p:cNvPr>
          <p:cNvCxnSpPr>
            <a:cxnSpLocks/>
          </p:cNvCxnSpPr>
          <p:nvPr/>
        </p:nvCxnSpPr>
        <p:spPr>
          <a:xfrm>
            <a:off x="14696583" y="5489577"/>
            <a:ext cx="2011680" cy="0"/>
          </a:xfrm>
          <a:prstGeom prst="line">
            <a:avLst/>
          </a:prstGeom>
          <a:gradFill flip="none" rotWithShape="1">
            <a:gsLst>
              <a:gs pos="100000">
                <a:srgbClr val="091F2C">
                  <a:lumMod val="90000"/>
                  <a:lumOff val="10000"/>
                </a:srgbClr>
              </a:gs>
              <a:gs pos="42000">
                <a:srgbClr val="091F2C">
                  <a:alpha val="90000"/>
                </a:srgbClr>
              </a:gs>
            </a:gsLst>
            <a:path path="circle">
              <a:fillToRect l="50000" t="50000" r="50000" b="50000"/>
            </a:path>
            <a:tileRect/>
          </a:gradFill>
          <a:ln w="19050" cap="flat" cmpd="sng" algn="ctr">
            <a:solidFill>
              <a:srgbClr val="091F2C">
                <a:lumMod val="90000"/>
                <a:lumOff val="10000"/>
              </a:srgbClr>
            </a:solidFill>
            <a:prstDash val="solid"/>
            <a:headEnd type="none" w="med" len="med"/>
            <a:tailEnd type="none" w="med" len="med"/>
          </a:ln>
          <a:effectLst>
            <a:outerShdw blurRad="254000" dist="190500" dir="3300000" algn="ctr" rotWithShape="0">
              <a:srgbClr val="000000">
                <a:alpha val="40000"/>
              </a:srgbClr>
            </a:outerShdw>
          </a:effectLst>
        </p:spPr>
      </p:cxnSp>
      <p:grpSp>
        <p:nvGrpSpPr>
          <p:cNvPr id="1624" name="Group 1623">
            <a:extLst>
              <a:ext uri="{FF2B5EF4-FFF2-40B4-BE49-F238E27FC236}">
                <a16:creationId xmlns:a16="http://schemas.microsoft.com/office/drawing/2014/main" id="{4E3ABC13-908B-9145-9D6A-E23F5189BEE7}"/>
              </a:ext>
              <a:ext uri="{C183D7F6-B498-43B3-948B-1728B52AA6E4}">
                <adec:decorative xmlns:adec="http://schemas.microsoft.com/office/drawing/2017/decorative" val="1"/>
              </a:ext>
            </a:extLst>
          </p:cNvPr>
          <p:cNvGrpSpPr/>
          <p:nvPr/>
        </p:nvGrpSpPr>
        <p:grpSpPr>
          <a:xfrm>
            <a:off x="-1827337" y="856241"/>
            <a:ext cx="548640" cy="548640"/>
            <a:chOff x="1303496" y="2241231"/>
            <a:chExt cx="1233888" cy="1233888"/>
          </a:xfrm>
          <a:solidFill>
            <a:srgbClr val="052252"/>
          </a:solidFill>
        </p:grpSpPr>
        <p:sp>
          <p:nvSpPr>
            <p:cNvPr id="1625" name="Oval 1624">
              <a:extLst>
                <a:ext uri="{FF2B5EF4-FFF2-40B4-BE49-F238E27FC236}">
                  <a16:creationId xmlns:a16="http://schemas.microsoft.com/office/drawing/2014/main" id="{5809C567-3178-68A3-57FE-33122482C319}"/>
                </a:ext>
              </a:extLst>
            </p:cNvPr>
            <p:cNvSpPr/>
            <p:nvPr/>
          </p:nvSpPr>
          <p:spPr bwMode="auto">
            <a:xfrm>
              <a:off x="1303496" y="2241231"/>
              <a:ext cx="1233888" cy="1233888"/>
            </a:xfrm>
            <a:prstGeom prst="ellipse">
              <a:avLst/>
            </a:prstGeom>
            <a:gradFill>
              <a:gsLst>
                <a:gs pos="0">
                  <a:srgbClr val="0360DB">
                    <a:alpha val="50000"/>
                  </a:srgbClr>
                </a:gs>
                <a:gs pos="85000">
                  <a:srgbClr val="FADC14">
                    <a:alpha val="50000"/>
                  </a:srgbClr>
                </a:gs>
              </a:gsLst>
              <a:lin ang="2700000" scaled="1"/>
            </a:gradFill>
            <a:ln w="19050" cap="flat" cmpd="sng" algn="ctr">
              <a:noFill/>
              <a:prstDash val="solid"/>
              <a:headEnd type="none" w="med" len="sm"/>
              <a:tailEnd type="arrow" w="lg" len="med"/>
            </a:ln>
            <a:effectLst/>
          </p:spPr>
          <p:txBody>
            <a:bodyPr rot="0" spcFirstLastPara="0" vertOverflow="overflow" horzOverflow="overflow" vert="horz" wrap="square" lIns="137160" tIns="91440" rIns="137160" bIns="137160" numCol="1" spcCol="0" rtlCol="0" fromWordArt="0" anchor="ctr" anchorCtr="0" forceAA="0" compatLnSpc="1">
              <a:prstTxWarp prst="textNoShape">
                <a:avLst/>
              </a:prstTxWarp>
              <a:noAutofit/>
            </a:bodyPr>
            <a:lstStyle/>
            <a:p>
              <a:pPr defTabSz="932754">
                <a:spcAft>
                  <a:spcPts val="600"/>
                </a:spcAft>
                <a:buSzPct val="90000"/>
              </a:pPr>
              <a:endParaRPr lang="en-US" sz="1900" kern="0">
                <a:solidFill>
                  <a:srgbClr val="FFFFFF"/>
                </a:solidFill>
                <a:cs typeface="Segoe Sans Display Semilight" pitchFamily="2" charset="0"/>
              </a:endParaRPr>
            </a:p>
          </p:txBody>
        </p:sp>
        <p:sp>
          <p:nvSpPr>
            <p:cNvPr id="1626" name="Oval 1625">
              <a:extLst>
                <a:ext uri="{FF2B5EF4-FFF2-40B4-BE49-F238E27FC236}">
                  <a16:creationId xmlns:a16="http://schemas.microsoft.com/office/drawing/2014/main" id="{CB8E5488-3964-2520-1C73-A4CCBD93705F}"/>
                </a:ext>
              </a:extLst>
            </p:cNvPr>
            <p:cNvSpPr/>
            <p:nvPr/>
          </p:nvSpPr>
          <p:spPr bwMode="auto">
            <a:xfrm>
              <a:off x="1457488" y="2395223"/>
              <a:ext cx="925905" cy="925905"/>
            </a:xfrm>
            <a:prstGeom prst="ellipse">
              <a:avLst/>
            </a:prstGeom>
            <a:solidFill>
              <a:srgbClr val="FFFFFF"/>
            </a:solidFill>
            <a:ln w="19050" cap="flat" cmpd="sng" algn="ctr">
              <a:gradFill>
                <a:gsLst>
                  <a:gs pos="0">
                    <a:srgbClr val="599FFD"/>
                  </a:gs>
                  <a:gs pos="100000">
                    <a:srgbClr val="FADC14"/>
                  </a:gs>
                </a:gsLst>
                <a:lin ang="5400000" scaled="1"/>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kern="0">
                <a:solidFill>
                  <a:srgbClr val="091F2C"/>
                </a:solidFill>
                <a:latin typeface="Segoe UI Variable Display"/>
                <a:cs typeface="Segoe UI" pitchFamily="34" charset="0"/>
              </a:endParaRPr>
            </a:p>
          </p:txBody>
        </p:sp>
      </p:grpSp>
      <p:pic>
        <p:nvPicPr>
          <p:cNvPr id="1627" name="Graphic 1626">
            <a:extLst>
              <a:ext uri="{FF2B5EF4-FFF2-40B4-BE49-F238E27FC236}">
                <a16:creationId xmlns:a16="http://schemas.microsoft.com/office/drawing/2014/main" id="{B9250A14-5C6D-22B6-1211-DB0280B7DCA1}"/>
              </a:ext>
              <a:ext uri="{C183D7F6-B498-43B3-948B-1728B52AA6E4}">
                <adec:decorative xmlns:adec="http://schemas.microsoft.com/office/drawing/2017/decorative" val="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695268" y="988310"/>
            <a:ext cx="284502" cy="284502"/>
          </a:xfrm>
          <a:prstGeom prst="rect">
            <a:avLst/>
          </a:prstGeom>
        </p:spPr>
      </p:pic>
      <p:grpSp>
        <p:nvGrpSpPr>
          <p:cNvPr id="1628" name="Group 1627">
            <a:extLst>
              <a:ext uri="{FF2B5EF4-FFF2-40B4-BE49-F238E27FC236}">
                <a16:creationId xmlns:a16="http://schemas.microsoft.com/office/drawing/2014/main" id="{482E409F-8E32-D4C6-B3DE-A7D95F8E347D}"/>
              </a:ext>
              <a:ext uri="{C183D7F6-B498-43B3-948B-1728B52AA6E4}">
                <adec:decorative xmlns:adec="http://schemas.microsoft.com/office/drawing/2017/decorative" val="1"/>
              </a:ext>
            </a:extLst>
          </p:cNvPr>
          <p:cNvGrpSpPr/>
          <p:nvPr/>
        </p:nvGrpSpPr>
        <p:grpSpPr>
          <a:xfrm>
            <a:off x="-1827337" y="2326834"/>
            <a:ext cx="548640" cy="548640"/>
            <a:chOff x="1303496" y="2241231"/>
            <a:chExt cx="1233888" cy="1233888"/>
          </a:xfrm>
          <a:solidFill>
            <a:srgbClr val="052252"/>
          </a:solidFill>
        </p:grpSpPr>
        <p:sp>
          <p:nvSpPr>
            <p:cNvPr id="1629" name="Oval 1628">
              <a:extLst>
                <a:ext uri="{FF2B5EF4-FFF2-40B4-BE49-F238E27FC236}">
                  <a16:creationId xmlns:a16="http://schemas.microsoft.com/office/drawing/2014/main" id="{18F3C75F-11B8-4FA1-3CC4-A39EB263F959}"/>
                </a:ext>
              </a:extLst>
            </p:cNvPr>
            <p:cNvSpPr/>
            <p:nvPr/>
          </p:nvSpPr>
          <p:spPr bwMode="auto">
            <a:xfrm>
              <a:off x="1303496" y="2241231"/>
              <a:ext cx="1233888" cy="1233888"/>
            </a:xfrm>
            <a:prstGeom prst="ellipse">
              <a:avLst/>
            </a:prstGeom>
            <a:gradFill>
              <a:gsLst>
                <a:gs pos="0">
                  <a:srgbClr val="0360DB">
                    <a:alpha val="50000"/>
                  </a:srgbClr>
                </a:gs>
                <a:gs pos="85000">
                  <a:srgbClr val="FADC14">
                    <a:alpha val="50000"/>
                  </a:srgbClr>
                </a:gs>
              </a:gsLst>
              <a:lin ang="2700000" scaled="1"/>
            </a:gradFill>
            <a:ln w="19050" cap="flat" cmpd="sng" algn="ctr">
              <a:noFill/>
              <a:prstDash val="solid"/>
              <a:headEnd type="none" w="med" len="sm"/>
              <a:tailEnd type="arrow" w="lg" len="med"/>
            </a:ln>
            <a:effectLst/>
          </p:spPr>
          <p:txBody>
            <a:bodyPr rot="0" spcFirstLastPara="0" vertOverflow="overflow" horzOverflow="overflow" vert="horz" wrap="square" lIns="137160" tIns="91440" rIns="137160" bIns="137160" numCol="1" spcCol="0" rtlCol="0" fromWordArt="0" anchor="ctr" anchorCtr="0" forceAA="0" compatLnSpc="1">
              <a:prstTxWarp prst="textNoShape">
                <a:avLst/>
              </a:prstTxWarp>
              <a:noAutofit/>
            </a:bodyPr>
            <a:lstStyle/>
            <a:p>
              <a:pPr defTabSz="932754">
                <a:spcAft>
                  <a:spcPts val="600"/>
                </a:spcAft>
                <a:buSzPct val="90000"/>
              </a:pPr>
              <a:endParaRPr lang="en-US" sz="1900" kern="0">
                <a:solidFill>
                  <a:srgbClr val="FFFFFF"/>
                </a:solidFill>
                <a:cs typeface="Segoe Sans Display Semilight" pitchFamily="2" charset="0"/>
              </a:endParaRPr>
            </a:p>
          </p:txBody>
        </p:sp>
        <p:sp>
          <p:nvSpPr>
            <p:cNvPr id="1630" name="Oval 1629">
              <a:extLst>
                <a:ext uri="{FF2B5EF4-FFF2-40B4-BE49-F238E27FC236}">
                  <a16:creationId xmlns:a16="http://schemas.microsoft.com/office/drawing/2014/main" id="{5D759621-19E4-7027-984E-E3C57BD37483}"/>
                </a:ext>
              </a:extLst>
            </p:cNvPr>
            <p:cNvSpPr/>
            <p:nvPr/>
          </p:nvSpPr>
          <p:spPr bwMode="auto">
            <a:xfrm>
              <a:off x="1457488" y="2395223"/>
              <a:ext cx="925905" cy="925905"/>
            </a:xfrm>
            <a:prstGeom prst="ellipse">
              <a:avLst/>
            </a:prstGeom>
            <a:solidFill>
              <a:srgbClr val="FFFFFF"/>
            </a:solidFill>
            <a:ln w="19050" cap="flat" cmpd="sng" algn="ctr">
              <a:gradFill>
                <a:gsLst>
                  <a:gs pos="0">
                    <a:srgbClr val="599FFD"/>
                  </a:gs>
                  <a:gs pos="100000">
                    <a:srgbClr val="FADC14"/>
                  </a:gs>
                </a:gsLst>
                <a:lin ang="5400000" scaled="1"/>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kern="0">
                <a:solidFill>
                  <a:srgbClr val="091F2C"/>
                </a:solidFill>
                <a:latin typeface="Segoe UI Variable Display"/>
                <a:cs typeface="Segoe UI" pitchFamily="34" charset="0"/>
              </a:endParaRPr>
            </a:p>
          </p:txBody>
        </p:sp>
      </p:grpSp>
      <p:pic>
        <p:nvPicPr>
          <p:cNvPr id="1631" name="Graphic 1630">
            <a:extLst>
              <a:ext uri="{FF2B5EF4-FFF2-40B4-BE49-F238E27FC236}">
                <a16:creationId xmlns:a16="http://schemas.microsoft.com/office/drawing/2014/main" id="{DBBFEA9E-A18B-D864-74A6-7C45F135D801}"/>
              </a:ext>
              <a:ext uri="{C183D7F6-B498-43B3-948B-1728B52AA6E4}">
                <adec:decorative xmlns:adec="http://schemas.microsoft.com/office/drawing/2017/decorative" val="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679698" y="2474473"/>
            <a:ext cx="253363" cy="253363"/>
          </a:xfrm>
          <a:prstGeom prst="rect">
            <a:avLst/>
          </a:prstGeom>
        </p:spPr>
      </p:pic>
      <p:grpSp>
        <p:nvGrpSpPr>
          <p:cNvPr id="1632" name="Group 1631">
            <a:extLst>
              <a:ext uri="{FF2B5EF4-FFF2-40B4-BE49-F238E27FC236}">
                <a16:creationId xmlns:a16="http://schemas.microsoft.com/office/drawing/2014/main" id="{82E0FC43-45A4-D537-3DB8-BA1AB4FE2C88}"/>
              </a:ext>
              <a:ext uri="{C183D7F6-B498-43B3-948B-1728B52AA6E4}">
                <adec:decorative xmlns:adec="http://schemas.microsoft.com/office/drawing/2017/decorative" val="1"/>
              </a:ext>
            </a:extLst>
          </p:cNvPr>
          <p:cNvGrpSpPr/>
          <p:nvPr/>
        </p:nvGrpSpPr>
        <p:grpSpPr>
          <a:xfrm>
            <a:off x="-1827337" y="3643538"/>
            <a:ext cx="548640" cy="548640"/>
            <a:chOff x="1303496" y="2241231"/>
            <a:chExt cx="1233888" cy="1233888"/>
          </a:xfrm>
          <a:solidFill>
            <a:srgbClr val="052252"/>
          </a:solidFill>
        </p:grpSpPr>
        <p:sp>
          <p:nvSpPr>
            <p:cNvPr id="1633" name="Oval 1632">
              <a:extLst>
                <a:ext uri="{FF2B5EF4-FFF2-40B4-BE49-F238E27FC236}">
                  <a16:creationId xmlns:a16="http://schemas.microsoft.com/office/drawing/2014/main" id="{2DF20704-FF14-67A5-775A-FEAF2470E6B4}"/>
                </a:ext>
              </a:extLst>
            </p:cNvPr>
            <p:cNvSpPr/>
            <p:nvPr/>
          </p:nvSpPr>
          <p:spPr bwMode="auto">
            <a:xfrm>
              <a:off x="1303496" y="2241231"/>
              <a:ext cx="1233888" cy="1233888"/>
            </a:xfrm>
            <a:prstGeom prst="ellipse">
              <a:avLst/>
            </a:prstGeom>
            <a:gradFill>
              <a:gsLst>
                <a:gs pos="0">
                  <a:srgbClr val="0360DB">
                    <a:alpha val="50000"/>
                  </a:srgbClr>
                </a:gs>
                <a:gs pos="85000">
                  <a:srgbClr val="FADC14">
                    <a:alpha val="50000"/>
                  </a:srgbClr>
                </a:gs>
              </a:gsLst>
              <a:lin ang="2700000" scaled="1"/>
            </a:gradFill>
            <a:ln w="19050" cap="flat" cmpd="sng" algn="ctr">
              <a:noFill/>
              <a:prstDash val="solid"/>
              <a:headEnd type="none" w="med" len="sm"/>
              <a:tailEnd type="arrow" w="lg" len="med"/>
            </a:ln>
            <a:effectLst/>
          </p:spPr>
          <p:txBody>
            <a:bodyPr rot="0" spcFirstLastPara="0" vertOverflow="overflow" horzOverflow="overflow" vert="horz" wrap="square" lIns="137160" tIns="91440" rIns="137160" bIns="137160" numCol="1" spcCol="0" rtlCol="0" fromWordArt="0" anchor="ctr" anchorCtr="0" forceAA="0" compatLnSpc="1">
              <a:prstTxWarp prst="textNoShape">
                <a:avLst/>
              </a:prstTxWarp>
              <a:noAutofit/>
            </a:bodyPr>
            <a:lstStyle/>
            <a:p>
              <a:pPr defTabSz="932754">
                <a:spcAft>
                  <a:spcPts val="600"/>
                </a:spcAft>
                <a:buSzPct val="90000"/>
              </a:pPr>
              <a:endParaRPr lang="en-US" sz="1900" kern="0">
                <a:solidFill>
                  <a:srgbClr val="FFFFFF"/>
                </a:solidFill>
                <a:cs typeface="Segoe Sans Display Semilight" pitchFamily="2" charset="0"/>
              </a:endParaRPr>
            </a:p>
          </p:txBody>
        </p:sp>
        <p:sp>
          <p:nvSpPr>
            <p:cNvPr id="1634" name="Oval 1633">
              <a:extLst>
                <a:ext uri="{FF2B5EF4-FFF2-40B4-BE49-F238E27FC236}">
                  <a16:creationId xmlns:a16="http://schemas.microsoft.com/office/drawing/2014/main" id="{3423B9CC-A0F7-82DE-DFAC-3D549264DE07}"/>
                </a:ext>
              </a:extLst>
            </p:cNvPr>
            <p:cNvSpPr/>
            <p:nvPr/>
          </p:nvSpPr>
          <p:spPr bwMode="auto">
            <a:xfrm>
              <a:off x="1457488" y="2395223"/>
              <a:ext cx="925905" cy="925905"/>
            </a:xfrm>
            <a:prstGeom prst="ellipse">
              <a:avLst/>
            </a:prstGeom>
            <a:solidFill>
              <a:srgbClr val="FFFFFF"/>
            </a:solidFill>
            <a:ln w="19050" cap="flat" cmpd="sng" algn="ctr">
              <a:gradFill>
                <a:gsLst>
                  <a:gs pos="0">
                    <a:srgbClr val="599FFD"/>
                  </a:gs>
                  <a:gs pos="100000">
                    <a:srgbClr val="FADC14"/>
                  </a:gs>
                </a:gsLst>
                <a:lin ang="5400000" scaled="1"/>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kern="0">
                <a:solidFill>
                  <a:srgbClr val="091F2C"/>
                </a:solidFill>
                <a:latin typeface="Segoe UI Variable Display"/>
                <a:cs typeface="Segoe UI" pitchFamily="34" charset="0"/>
              </a:endParaRPr>
            </a:p>
          </p:txBody>
        </p:sp>
      </p:grpSp>
      <p:pic>
        <p:nvPicPr>
          <p:cNvPr id="1635" name="Graphic 1634">
            <a:extLst>
              <a:ext uri="{FF2B5EF4-FFF2-40B4-BE49-F238E27FC236}">
                <a16:creationId xmlns:a16="http://schemas.microsoft.com/office/drawing/2014/main" id="{23221099-F427-3868-D471-F50D6452E5E0}"/>
              </a:ext>
              <a:ext uri="{C183D7F6-B498-43B3-948B-1728B52AA6E4}">
                <adec:decorative xmlns:adec="http://schemas.microsoft.com/office/drawing/2017/decorative" val="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699127" y="3771748"/>
            <a:ext cx="292220" cy="292220"/>
          </a:xfrm>
          <a:prstGeom prst="rect">
            <a:avLst/>
          </a:prstGeom>
        </p:spPr>
      </p:pic>
      <p:grpSp>
        <p:nvGrpSpPr>
          <p:cNvPr id="1636" name="Group 1635">
            <a:extLst>
              <a:ext uri="{FF2B5EF4-FFF2-40B4-BE49-F238E27FC236}">
                <a16:creationId xmlns:a16="http://schemas.microsoft.com/office/drawing/2014/main" id="{9CB9601C-C73C-B2ED-CD3A-875616E65A95}"/>
              </a:ext>
              <a:ext uri="{C183D7F6-B498-43B3-948B-1728B52AA6E4}">
                <adec:decorative xmlns:adec="http://schemas.microsoft.com/office/drawing/2017/decorative" val="1"/>
              </a:ext>
            </a:extLst>
          </p:cNvPr>
          <p:cNvGrpSpPr/>
          <p:nvPr/>
        </p:nvGrpSpPr>
        <p:grpSpPr>
          <a:xfrm>
            <a:off x="-1827337" y="4960243"/>
            <a:ext cx="548640" cy="548640"/>
            <a:chOff x="1303496" y="2241231"/>
            <a:chExt cx="1233888" cy="1233888"/>
          </a:xfrm>
          <a:solidFill>
            <a:srgbClr val="052252"/>
          </a:solidFill>
        </p:grpSpPr>
        <p:sp>
          <p:nvSpPr>
            <p:cNvPr id="1637" name="Oval 1636">
              <a:extLst>
                <a:ext uri="{FF2B5EF4-FFF2-40B4-BE49-F238E27FC236}">
                  <a16:creationId xmlns:a16="http://schemas.microsoft.com/office/drawing/2014/main" id="{A4DAF9BE-9511-2413-32FC-ADA12B997400}"/>
                </a:ext>
              </a:extLst>
            </p:cNvPr>
            <p:cNvSpPr/>
            <p:nvPr/>
          </p:nvSpPr>
          <p:spPr bwMode="auto">
            <a:xfrm>
              <a:off x="1303496" y="2241231"/>
              <a:ext cx="1233888" cy="1233888"/>
            </a:xfrm>
            <a:prstGeom prst="ellipse">
              <a:avLst/>
            </a:prstGeom>
            <a:gradFill>
              <a:gsLst>
                <a:gs pos="0">
                  <a:srgbClr val="0360DB">
                    <a:alpha val="50000"/>
                  </a:srgbClr>
                </a:gs>
                <a:gs pos="85000">
                  <a:srgbClr val="FADC14">
                    <a:alpha val="50000"/>
                  </a:srgbClr>
                </a:gs>
              </a:gsLst>
              <a:lin ang="2700000" scaled="1"/>
            </a:gradFill>
            <a:ln w="19050" cap="flat" cmpd="sng" algn="ctr">
              <a:noFill/>
              <a:prstDash val="solid"/>
              <a:headEnd type="none" w="med" len="sm"/>
              <a:tailEnd type="arrow" w="lg" len="med"/>
            </a:ln>
            <a:effectLst/>
          </p:spPr>
          <p:txBody>
            <a:bodyPr rot="0" spcFirstLastPara="0" vertOverflow="overflow" horzOverflow="overflow" vert="horz" wrap="square" lIns="137160" tIns="91440" rIns="137160" bIns="137160" numCol="1" spcCol="0" rtlCol="0" fromWordArt="0" anchor="ctr" anchorCtr="0" forceAA="0" compatLnSpc="1">
              <a:prstTxWarp prst="textNoShape">
                <a:avLst/>
              </a:prstTxWarp>
              <a:noAutofit/>
            </a:bodyPr>
            <a:lstStyle/>
            <a:p>
              <a:pPr defTabSz="932754">
                <a:spcAft>
                  <a:spcPts val="600"/>
                </a:spcAft>
                <a:buSzPct val="90000"/>
              </a:pPr>
              <a:endParaRPr lang="en-US" sz="1900" kern="0">
                <a:solidFill>
                  <a:srgbClr val="FFFFFF"/>
                </a:solidFill>
                <a:cs typeface="Segoe Sans Display Semilight" pitchFamily="2" charset="0"/>
              </a:endParaRPr>
            </a:p>
          </p:txBody>
        </p:sp>
        <p:sp>
          <p:nvSpPr>
            <p:cNvPr id="1638" name="Oval 1637">
              <a:extLst>
                <a:ext uri="{FF2B5EF4-FFF2-40B4-BE49-F238E27FC236}">
                  <a16:creationId xmlns:a16="http://schemas.microsoft.com/office/drawing/2014/main" id="{FC8B7EF3-8E18-8FB7-124C-46C59B295068}"/>
                </a:ext>
              </a:extLst>
            </p:cNvPr>
            <p:cNvSpPr/>
            <p:nvPr/>
          </p:nvSpPr>
          <p:spPr bwMode="auto">
            <a:xfrm>
              <a:off x="1457488" y="2395223"/>
              <a:ext cx="925905" cy="925905"/>
            </a:xfrm>
            <a:prstGeom prst="ellipse">
              <a:avLst/>
            </a:prstGeom>
            <a:solidFill>
              <a:srgbClr val="FFFFFF"/>
            </a:solidFill>
            <a:ln w="19050" cap="flat" cmpd="sng" algn="ctr">
              <a:gradFill>
                <a:gsLst>
                  <a:gs pos="0">
                    <a:srgbClr val="599FFD"/>
                  </a:gs>
                  <a:gs pos="100000">
                    <a:srgbClr val="FADC14"/>
                  </a:gs>
                </a:gsLst>
                <a:lin ang="5400000" scaled="1"/>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kern="0">
                <a:solidFill>
                  <a:srgbClr val="091F2C"/>
                </a:solidFill>
                <a:latin typeface="Segoe UI Variable Display"/>
                <a:cs typeface="Segoe UI" pitchFamily="34" charset="0"/>
              </a:endParaRPr>
            </a:p>
          </p:txBody>
        </p:sp>
      </p:grpSp>
      <p:pic>
        <p:nvPicPr>
          <p:cNvPr id="1639" name="Graphic 1638">
            <a:extLst>
              <a:ext uri="{FF2B5EF4-FFF2-40B4-BE49-F238E27FC236}">
                <a16:creationId xmlns:a16="http://schemas.microsoft.com/office/drawing/2014/main" id="{6D36E09B-ACF4-AB76-BA07-318FD4451356}"/>
              </a:ext>
              <a:ext uri="{C183D7F6-B498-43B3-948B-1728B52AA6E4}">
                <adec:decorative xmlns:adec="http://schemas.microsoft.com/office/drawing/2017/decorative" val="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698569" y="5089011"/>
            <a:ext cx="291105" cy="291105"/>
          </a:xfrm>
          <a:prstGeom prst="rect">
            <a:avLst/>
          </a:prstGeom>
        </p:spPr>
      </p:pic>
      <p:pic>
        <p:nvPicPr>
          <p:cNvPr id="1640" name="Picture 1639">
            <a:extLst>
              <a:ext uri="{FF2B5EF4-FFF2-40B4-BE49-F238E27FC236}">
                <a16:creationId xmlns:a16="http://schemas.microsoft.com/office/drawing/2014/main" id="{6B3B4C88-B978-AAED-6730-34F8B4DA9857}"/>
              </a:ext>
              <a:ext uri="{C183D7F6-B498-43B3-948B-1728B52AA6E4}">
                <adec:decorative xmlns:adec="http://schemas.microsoft.com/office/drawing/2017/decorative" val="1"/>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l="19219" r="20127"/>
          <a:stretch/>
        </p:blipFill>
        <p:spPr bwMode="auto">
          <a:xfrm>
            <a:off x="15567555" y="1522453"/>
            <a:ext cx="269736" cy="250151"/>
          </a:xfrm>
          <a:prstGeom prst="rect">
            <a:avLst/>
          </a:prstGeom>
          <a:noFill/>
          <a:extLst>
            <a:ext uri="{909E8E84-426E-40DD-AFC4-6F175D3DCCD1}">
              <a14:hiddenFill xmlns:a14="http://schemas.microsoft.com/office/drawing/2010/main">
                <a:solidFill>
                  <a:srgbClr val="FFFFFF"/>
                </a:solidFill>
              </a14:hiddenFill>
            </a:ext>
          </a:extLst>
        </p:spPr>
      </p:pic>
      <p:pic>
        <p:nvPicPr>
          <p:cNvPr id="1641" name="Picture 16">
            <a:extLst>
              <a:ext uri="{FF2B5EF4-FFF2-40B4-BE49-F238E27FC236}">
                <a16:creationId xmlns:a16="http://schemas.microsoft.com/office/drawing/2014/main" id="{D9D63D13-5D17-FA13-8941-D28A7C052740}"/>
              </a:ext>
              <a:ext uri="{C183D7F6-B498-43B3-948B-1728B52AA6E4}">
                <adec:decorative xmlns:adec="http://schemas.microsoft.com/office/drawing/2017/decorative" val="1"/>
              </a:ext>
            </a:extLst>
          </p:cNvPr>
          <p:cNvPicPr>
            <a:picLocks noChangeAspect="1"/>
          </p:cNvPicPr>
          <p:nvPr/>
        </p:nvPicPr>
        <p:blipFill>
          <a:blip r:embed="rId20">
            <a:extLst>
              <a:ext uri="{96DAC541-7B7A-43D3-8B79-37D633B846F1}">
                <asvg:svgBlip xmlns:asvg="http://schemas.microsoft.com/office/drawing/2016/SVG/main" r:embed="rId21"/>
              </a:ext>
            </a:extLst>
          </a:blip>
          <a:srcRect l="2456" r="2456"/>
          <a:stretch/>
        </p:blipFill>
        <p:spPr>
          <a:xfrm>
            <a:off x="15565263" y="3767844"/>
            <a:ext cx="274320" cy="300857"/>
          </a:xfrm>
          <a:prstGeom prst="rect">
            <a:avLst/>
          </a:prstGeom>
          <a:effectLst/>
        </p:spPr>
      </p:pic>
      <p:grpSp>
        <p:nvGrpSpPr>
          <p:cNvPr id="1642" name="Group 1641">
            <a:extLst>
              <a:ext uri="{FF2B5EF4-FFF2-40B4-BE49-F238E27FC236}">
                <a16:creationId xmlns:a16="http://schemas.microsoft.com/office/drawing/2014/main" id="{A08CB64E-CB1F-7250-455B-6133E13C2098}"/>
              </a:ext>
              <a:ext uri="{C183D7F6-B498-43B3-948B-1728B52AA6E4}">
                <adec:decorative xmlns:adec="http://schemas.microsoft.com/office/drawing/2017/decorative" val="1"/>
              </a:ext>
            </a:extLst>
          </p:cNvPr>
          <p:cNvGrpSpPr/>
          <p:nvPr/>
        </p:nvGrpSpPr>
        <p:grpSpPr>
          <a:xfrm>
            <a:off x="14931321" y="2640748"/>
            <a:ext cx="1542204" cy="269375"/>
            <a:chOff x="10340855" y="2520231"/>
            <a:chExt cx="1589888" cy="277704"/>
          </a:xfrm>
        </p:grpSpPr>
        <p:grpSp>
          <p:nvGrpSpPr>
            <p:cNvPr id="1643" name="Group 1642">
              <a:extLst>
                <a:ext uri="{FF2B5EF4-FFF2-40B4-BE49-F238E27FC236}">
                  <a16:creationId xmlns:a16="http://schemas.microsoft.com/office/drawing/2014/main" id="{5C79A6FD-DEA4-471A-297E-BEF9D992879A}"/>
                </a:ext>
              </a:extLst>
            </p:cNvPr>
            <p:cNvGrpSpPr/>
            <p:nvPr/>
          </p:nvGrpSpPr>
          <p:grpSpPr>
            <a:xfrm>
              <a:off x="11327047" y="2543699"/>
              <a:ext cx="297309" cy="230769"/>
              <a:chOff x="10687515" y="2757597"/>
              <a:chExt cx="220210" cy="177220"/>
            </a:xfrm>
          </p:grpSpPr>
          <p:sp>
            <p:nvSpPr>
              <p:cNvPr id="1647" name="Freeform: Shape 400">
                <a:extLst>
                  <a:ext uri="{FF2B5EF4-FFF2-40B4-BE49-F238E27FC236}">
                    <a16:creationId xmlns:a16="http://schemas.microsoft.com/office/drawing/2014/main" id="{0CEA3F41-FE50-CA30-AAD0-67C68E5719A3}"/>
                  </a:ext>
                </a:extLst>
              </p:cNvPr>
              <p:cNvSpPr/>
              <p:nvPr/>
            </p:nvSpPr>
            <p:spPr>
              <a:xfrm>
                <a:off x="10714077" y="2757597"/>
                <a:ext cx="139971" cy="63510"/>
              </a:xfrm>
              <a:custGeom>
                <a:avLst/>
                <a:gdLst>
                  <a:gd name="connsiteX0" fmla="*/ 160496 w 198501"/>
                  <a:gd name="connsiteY0" fmla="*/ 69209 h 90069"/>
                  <a:gd name="connsiteX1" fmla="*/ 170021 w 198501"/>
                  <a:gd name="connsiteY1" fmla="*/ 69209 h 90069"/>
                  <a:gd name="connsiteX2" fmla="*/ 197168 w 198501"/>
                  <a:gd name="connsiteY2" fmla="*/ 42063 h 90069"/>
                  <a:gd name="connsiteX3" fmla="*/ 198501 w 198501"/>
                  <a:gd name="connsiteY3" fmla="*/ 30538 h 90069"/>
                  <a:gd name="connsiteX4" fmla="*/ 26280 w 198501"/>
                  <a:gd name="connsiteY4" fmla="*/ 41274 h 90069"/>
                  <a:gd name="connsiteX5" fmla="*/ 0 w 198501"/>
                  <a:gd name="connsiteY5" fmla="*/ 90069 h 90069"/>
                  <a:gd name="connsiteX6" fmla="*/ 9525 w 198501"/>
                  <a:gd name="connsiteY6" fmla="*/ 89498 h 90069"/>
                  <a:gd name="connsiteX7" fmla="*/ 63818 w 198501"/>
                  <a:gd name="connsiteY7" fmla="*/ 80544 h 90069"/>
                  <a:gd name="connsiteX8" fmla="*/ 68009 w 198501"/>
                  <a:gd name="connsiteY8" fmla="*/ 76258 h 90069"/>
                  <a:gd name="connsiteX9" fmla="*/ 160687 w 198501"/>
                  <a:gd name="connsiteY9" fmla="*/ 69209 h 90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501" h="90069">
                    <a:moveTo>
                      <a:pt x="160496" y="69209"/>
                    </a:moveTo>
                    <a:lnTo>
                      <a:pt x="170021" y="69209"/>
                    </a:lnTo>
                    <a:lnTo>
                      <a:pt x="197168" y="42063"/>
                    </a:lnTo>
                    <a:lnTo>
                      <a:pt x="198501" y="30538"/>
                    </a:lnTo>
                    <a:cubicBezTo>
                      <a:pt x="147979" y="-14055"/>
                      <a:pt x="70873" y="-9248"/>
                      <a:pt x="26280" y="41274"/>
                    </a:cubicBezTo>
                    <a:cubicBezTo>
                      <a:pt x="13893" y="55308"/>
                      <a:pt x="4901" y="72004"/>
                      <a:pt x="0" y="90069"/>
                    </a:cubicBezTo>
                    <a:cubicBezTo>
                      <a:pt x="3024" y="88830"/>
                      <a:pt x="6374" y="88629"/>
                      <a:pt x="9525" y="89498"/>
                    </a:cubicBezTo>
                    <a:lnTo>
                      <a:pt x="63818" y="80544"/>
                    </a:lnTo>
                    <a:cubicBezTo>
                      <a:pt x="63818" y="80544"/>
                      <a:pt x="66580" y="75972"/>
                      <a:pt x="68009" y="76258"/>
                    </a:cubicBezTo>
                    <a:cubicBezTo>
                      <a:pt x="92159" y="49734"/>
                      <a:pt x="132802" y="46643"/>
                      <a:pt x="160687" y="69209"/>
                    </a:cubicBezTo>
                    <a:close/>
                  </a:path>
                </a:pathLst>
              </a:custGeom>
              <a:solidFill>
                <a:srgbClr val="EA4335"/>
              </a:solidFill>
              <a:ln w="9525" cap="flat">
                <a:noFill/>
                <a:prstDash val="solid"/>
                <a:miter/>
              </a:ln>
            </p:spPr>
            <p:txBody>
              <a:bodyPr lIns="0" rIns="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gradFill>
                    <a:gsLst>
                      <a:gs pos="8621">
                        <a:srgbClr val="000000"/>
                      </a:gs>
                      <a:gs pos="20225">
                        <a:srgbClr val="000000"/>
                      </a:gs>
                    </a:gsLst>
                    <a:lin ang="5400000" scaled="1"/>
                  </a:gradFill>
                  <a:effectLst/>
                  <a:uLnTx/>
                  <a:uFillTx/>
                  <a:latin typeface="Segoe Sans Display Semibold"/>
                </a:endParaRPr>
              </a:p>
            </p:txBody>
          </p:sp>
          <p:sp>
            <p:nvSpPr>
              <p:cNvPr id="1648" name="Freeform: Shape 401">
                <a:extLst>
                  <a:ext uri="{FF2B5EF4-FFF2-40B4-BE49-F238E27FC236}">
                    <a16:creationId xmlns:a16="http://schemas.microsoft.com/office/drawing/2014/main" id="{87C8176A-F1A2-1ED6-5558-395249D5C93F}"/>
                  </a:ext>
                </a:extLst>
              </p:cNvPr>
              <p:cNvSpPr/>
              <p:nvPr/>
            </p:nvSpPr>
            <p:spPr>
              <a:xfrm>
                <a:off x="10792457" y="2779197"/>
                <a:ext cx="115268" cy="155620"/>
              </a:xfrm>
              <a:custGeom>
                <a:avLst/>
                <a:gdLst>
                  <a:gd name="connsiteX0" fmla="*/ 124682 w 163468"/>
                  <a:gd name="connsiteY0" fmla="*/ 59436 h 220696"/>
                  <a:gd name="connsiteX1" fmla="*/ 87820 w 163468"/>
                  <a:gd name="connsiteY1" fmla="*/ 0 h 220696"/>
                  <a:gd name="connsiteX2" fmla="*/ 49720 w 163468"/>
                  <a:gd name="connsiteY2" fmla="*/ 38100 h 220696"/>
                  <a:gd name="connsiteX3" fmla="*/ 74581 w 163468"/>
                  <a:gd name="connsiteY3" fmla="*/ 91821 h 220696"/>
                  <a:gd name="connsiteX4" fmla="*/ 74581 w 163468"/>
                  <a:gd name="connsiteY4" fmla="*/ 98584 h 220696"/>
                  <a:gd name="connsiteX5" fmla="*/ 108490 w 163468"/>
                  <a:gd name="connsiteY5" fmla="*/ 132493 h 220696"/>
                  <a:gd name="connsiteX6" fmla="*/ 74581 w 163468"/>
                  <a:gd name="connsiteY6" fmla="*/ 166402 h 220696"/>
                  <a:gd name="connsiteX7" fmla="*/ 6763 w 163468"/>
                  <a:gd name="connsiteY7" fmla="*/ 166402 h 220696"/>
                  <a:gd name="connsiteX8" fmla="*/ 0 w 163468"/>
                  <a:gd name="connsiteY8" fmla="*/ 173260 h 220696"/>
                  <a:gd name="connsiteX9" fmla="*/ 0 w 163468"/>
                  <a:gd name="connsiteY9" fmla="*/ 213932 h 220696"/>
                  <a:gd name="connsiteX10" fmla="*/ 6763 w 163468"/>
                  <a:gd name="connsiteY10" fmla="*/ 220694 h 220696"/>
                  <a:gd name="connsiteX11" fmla="*/ 74581 w 163468"/>
                  <a:gd name="connsiteY11" fmla="*/ 220694 h 220696"/>
                  <a:gd name="connsiteX12" fmla="*/ 163466 w 163468"/>
                  <a:gd name="connsiteY12" fmla="*/ 133182 h 220696"/>
                  <a:gd name="connsiteX13" fmla="*/ 124682 w 163468"/>
                  <a:gd name="connsiteY13" fmla="*/ 59436 h 220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3468" h="220696">
                    <a:moveTo>
                      <a:pt x="124682" y="59436"/>
                    </a:moveTo>
                    <a:cubicBezTo>
                      <a:pt x="118442" y="36458"/>
                      <a:pt x="105631" y="15801"/>
                      <a:pt x="87820" y="0"/>
                    </a:cubicBezTo>
                    <a:lnTo>
                      <a:pt x="49720" y="38100"/>
                    </a:lnTo>
                    <a:cubicBezTo>
                      <a:pt x="65809" y="51246"/>
                      <a:pt x="74973" y="71049"/>
                      <a:pt x="74581" y="91821"/>
                    </a:cubicBezTo>
                    <a:lnTo>
                      <a:pt x="74581" y="98584"/>
                    </a:lnTo>
                    <a:cubicBezTo>
                      <a:pt x="93308" y="98584"/>
                      <a:pt x="108490" y="113766"/>
                      <a:pt x="108490" y="132493"/>
                    </a:cubicBezTo>
                    <a:cubicBezTo>
                      <a:pt x="108490" y="151220"/>
                      <a:pt x="93308" y="166402"/>
                      <a:pt x="74581" y="166402"/>
                    </a:cubicBezTo>
                    <a:lnTo>
                      <a:pt x="6763" y="166402"/>
                    </a:lnTo>
                    <a:lnTo>
                      <a:pt x="0" y="173260"/>
                    </a:lnTo>
                    <a:lnTo>
                      <a:pt x="0" y="213932"/>
                    </a:lnTo>
                    <a:lnTo>
                      <a:pt x="6763" y="220694"/>
                    </a:lnTo>
                    <a:lnTo>
                      <a:pt x="74581" y="220694"/>
                    </a:lnTo>
                    <a:cubicBezTo>
                      <a:pt x="123292" y="221073"/>
                      <a:pt x="163087" y="181893"/>
                      <a:pt x="163466" y="133182"/>
                    </a:cubicBezTo>
                    <a:cubicBezTo>
                      <a:pt x="163696" y="103658"/>
                      <a:pt x="149139" y="75977"/>
                      <a:pt x="124682" y="59436"/>
                    </a:cubicBezTo>
                    <a:close/>
                  </a:path>
                </a:pathLst>
              </a:custGeom>
              <a:solidFill>
                <a:srgbClr val="4285F4"/>
              </a:solidFill>
              <a:ln w="9525" cap="flat">
                <a:noFill/>
                <a:prstDash val="solid"/>
                <a:miter/>
              </a:ln>
            </p:spPr>
            <p:txBody>
              <a:bodyPr lIns="0" rIns="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gradFill>
                    <a:gsLst>
                      <a:gs pos="8621">
                        <a:srgbClr val="000000"/>
                      </a:gs>
                      <a:gs pos="20225">
                        <a:srgbClr val="000000"/>
                      </a:gs>
                    </a:gsLst>
                    <a:lin ang="5400000" scaled="1"/>
                  </a:gradFill>
                  <a:effectLst/>
                  <a:uLnTx/>
                  <a:uFillTx/>
                  <a:latin typeface="Segoe Sans Display Semibold"/>
                </a:endParaRPr>
              </a:p>
            </p:txBody>
          </p:sp>
          <p:sp>
            <p:nvSpPr>
              <p:cNvPr id="1649" name="Freeform: Shape 402">
                <a:extLst>
                  <a:ext uri="{FF2B5EF4-FFF2-40B4-BE49-F238E27FC236}">
                    <a16:creationId xmlns:a16="http://schemas.microsoft.com/office/drawing/2014/main" id="{8A7BB467-BC42-C7B1-6D35-B32D446E254E}"/>
                  </a:ext>
                </a:extLst>
              </p:cNvPr>
              <p:cNvSpPr/>
              <p:nvPr/>
            </p:nvSpPr>
            <p:spPr>
              <a:xfrm>
                <a:off x="10711793" y="2894115"/>
                <a:ext cx="85366" cy="40433"/>
              </a:xfrm>
              <a:custGeom>
                <a:avLst/>
                <a:gdLst>
                  <a:gd name="connsiteX0" fmla="*/ 53245 w 121062"/>
                  <a:gd name="connsiteY0" fmla="*/ 57341 h 57341"/>
                  <a:gd name="connsiteX1" fmla="*/ 121063 w 121062"/>
                  <a:gd name="connsiteY1" fmla="*/ 57341 h 57341"/>
                  <a:gd name="connsiteX2" fmla="*/ 121063 w 121062"/>
                  <a:gd name="connsiteY2" fmla="*/ 3048 h 57341"/>
                  <a:gd name="connsiteX3" fmla="*/ 53245 w 121062"/>
                  <a:gd name="connsiteY3" fmla="*/ 3048 h 57341"/>
                  <a:gd name="connsiteX4" fmla="*/ 39243 w 121062"/>
                  <a:gd name="connsiteY4" fmla="*/ 0 h 57341"/>
                  <a:gd name="connsiteX5" fmla="*/ 29718 w 121062"/>
                  <a:gd name="connsiteY5" fmla="*/ 2953 h 57341"/>
                  <a:gd name="connsiteX6" fmla="*/ 2381 w 121062"/>
                  <a:gd name="connsiteY6" fmla="*/ 30099 h 57341"/>
                  <a:gd name="connsiteX7" fmla="*/ 0 w 121062"/>
                  <a:gd name="connsiteY7" fmla="*/ 39624 h 57341"/>
                  <a:gd name="connsiteX8" fmla="*/ 53245 w 121062"/>
                  <a:gd name="connsiteY8" fmla="*/ 57341 h 57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062" h="57341">
                    <a:moveTo>
                      <a:pt x="53245" y="57341"/>
                    </a:moveTo>
                    <a:lnTo>
                      <a:pt x="121063" y="57341"/>
                    </a:lnTo>
                    <a:lnTo>
                      <a:pt x="121063" y="3048"/>
                    </a:lnTo>
                    <a:lnTo>
                      <a:pt x="53245" y="3048"/>
                    </a:lnTo>
                    <a:cubicBezTo>
                      <a:pt x="48413" y="3047"/>
                      <a:pt x="43638" y="2008"/>
                      <a:pt x="39243" y="0"/>
                    </a:cubicBezTo>
                    <a:lnTo>
                      <a:pt x="29718" y="2953"/>
                    </a:lnTo>
                    <a:lnTo>
                      <a:pt x="2381" y="30099"/>
                    </a:lnTo>
                    <a:lnTo>
                      <a:pt x="0" y="39624"/>
                    </a:lnTo>
                    <a:cubicBezTo>
                      <a:pt x="15330" y="51200"/>
                      <a:pt x="34035" y="57424"/>
                      <a:pt x="53245" y="57341"/>
                    </a:cubicBezTo>
                    <a:close/>
                  </a:path>
                </a:pathLst>
              </a:custGeom>
              <a:solidFill>
                <a:srgbClr val="34A853"/>
              </a:solidFill>
              <a:ln w="9525" cap="flat">
                <a:noFill/>
                <a:prstDash val="solid"/>
                <a:miter/>
              </a:ln>
            </p:spPr>
            <p:txBody>
              <a:bodyPr lIns="0" rIns="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gradFill>
                    <a:gsLst>
                      <a:gs pos="8621">
                        <a:srgbClr val="000000"/>
                      </a:gs>
                      <a:gs pos="20225">
                        <a:srgbClr val="000000"/>
                      </a:gs>
                    </a:gsLst>
                    <a:lin ang="5400000" scaled="1"/>
                  </a:gradFill>
                  <a:effectLst/>
                  <a:uLnTx/>
                  <a:uFillTx/>
                  <a:latin typeface="Segoe Sans Display Semibold"/>
                </a:endParaRPr>
              </a:p>
            </p:txBody>
          </p:sp>
          <p:sp>
            <p:nvSpPr>
              <p:cNvPr id="1650" name="Freeform: Shape 403">
                <a:extLst>
                  <a:ext uri="{FF2B5EF4-FFF2-40B4-BE49-F238E27FC236}">
                    <a16:creationId xmlns:a16="http://schemas.microsoft.com/office/drawing/2014/main" id="{F1662B7E-97E4-37B1-D29F-BDC4C84AADC9}"/>
                  </a:ext>
                </a:extLst>
              </p:cNvPr>
              <p:cNvSpPr/>
              <p:nvPr/>
            </p:nvSpPr>
            <p:spPr>
              <a:xfrm>
                <a:off x="10687515" y="2810361"/>
                <a:ext cx="111390" cy="111492"/>
              </a:xfrm>
              <a:custGeom>
                <a:avLst/>
                <a:gdLst>
                  <a:gd name="connsiteX0" fmla="*/ 87675 w 157969"/>
                  <a:gd name="connsiteY0" fmla="*/ 1 h 158115"/>
                  <a:gd name="connsiteX1" fmla="*/ 2 w 157969"/>
                  <a:gd name="connsiteY1" fmla="*/ 88727 h 158115"/>
                  <a:gd name="connsiteX2" fmla="*/ 34430 w 157969"/>
                  <a:gd name="connsiteY2" fmla="*/ 158116 h 158115"/>
                  <a:gd name="connsiteX3" fmla="*/ 73768 w 157969"/>
                  <a:gd name="connsiteY3" fmla="*/ 118777 h 158115"/>
                  <a:gd name="connsiteX4" fmla="*/ 56828 w 157969"/>
                  <a:gd name="connsiteY4" fmla="*/ 73915 h 158115"/>
                  <a:gd name="connsiteX5" fmla="*/ 101691 w 157969"/>
                  <a:gd name="connsiteY5" fmla="*/ 56974 h 158115"/>
                  <a:gd name="connsiteX6" fmla="*/ 118631 w 157969"/>
                  <a:gd name="connsiteY6" fmla="*/ 73915 h 158115"/>
                  <a:gd name="connsiteX7" fmla="*/ 157969 w 157969"/>
                  <a:gd name="connsiteY7" fmla="*/ 34576 h 158115"/>
                  <a:gd name="connsiteX8" fmla="*/ 87675 w 157969"/>
                  <a:gd name="connsiteY8" fmla="*/ 1 h 158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969" h="158115">
                    <a:moveTo>
                      <a:pt x="87675" y="1"/>
                    </a:moveTo>
                    <a:cubicBezTo>
                      <a:pt x="38963" y="292"/>
                      <a:pt x="-289" y="40016"/>
                      <a:pt x="2" y="88727"/>
                    </a:cubicBezTo>
                    <a:cubicBezTo>
                      <a:pt x="164" y="115928"/>
                      <a:pt x="12868" y="141533"/>
                      <a:pt x="34430" y="158116"/>
                    </a:cubicBezTo>
                    <a:lnTo>
                      <a:pt x="73768" y="118777"/>
                    </a:lnTo>
                    <a:cubicBezTo>
                      <a:pt x="56702" y="111067"/>
                      <a:pt x="49117" y="90981"/>
                      <a:pt x="56828" y="73915"/>
                    </a:cubicBezTo>
                    <a:cubicBezTo>
                      <a:pt x="64538" y="56848"/>
                      <a:pt x="84624" y="49264"/>
                      <a:pt x="101691" y="56974"/>
                    </a:cubicBezTo>
                    <a:cubicBezTo>
                      <a:pt x="109211" y="60372"/>
                      <a:pt x="115233" y="66395"/>
                      <a:pt x="118631" y="73915"/>
                    </a:cubicBezTo>
                    <a:lnTo>
                      <a:pt x="157969" y="34576"/>
                    </a:lnTo>
                    <a:cubicBezTo>
                      <a:pt x="141232" y="12695"/>
                      <a:pt x="115223" y="-98"/>
                      <a:pt x="87675" y="1"/>
                    </a:cubicBezTo>
                    <a:close/>
                  </a:path>
                </a:pathLst>
              </a:custGeom>
              <a:solidFill>
                <a:srgbClr val="FBBC05"/>
              </a:solidFill>
              <a:ln w="9525" cap="flat">
                <a:noFill/>
                <a:prstDash val="solid"/>
                <a:miter/>
              </a:ln>
            </p:spPr>
            <p:txBody>
              <a:bodyPr lIns="0" rIns="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gradFill>
                    <a:gsLst>
                      <a:gs pos="8621">
                        <a:srgbClr val="000000"/>
                      </a:gs>
                      <a:gs pos="20225">
                        <a:srgbClr val="000000"/>
                      </a:gs>
                    </a:gsLst>
                    <a:lin ang="5400000" scaled="1"/>
                  </a:gradFill>
                  <a:effectLst/>
                  <a:uLnTx/>
                  <a:uFillTx/>
                  <a:latin typeface="Segoe Sans Display Semibold"/>
                </a:endParaRPr>
              </a:p>
            </p:txBody>
          </p:sp>
        </p:grpSp>
        <p:pic>
          <p:nvPicPr>
            <p:cNvPr id="1644" name="Graphic 198">
              <a:extLst>
                <a:ext uri="{FF2B5EF4-FFF2-40B4-BE49-F238E27FC236}">
                  <a16:creationId xmlns:a16="http://schemas.microsoft.com/office/drawing/2014/main" id="{3F4670E8-2DF2-5C8B-6AA7-23762B6ACB1B}"/>
                </a:ext>
              </a:extLst>
            </p:cNvPr>
            <p:cNvPicPr>
              <a:picLocks noChangeAspect="1"/>
            </p:cNvPicPr>
            <p:nvPr/>
          </p:nvPicPr>
          <p:blipFill>
            <a:blip r:embed="rId22">
              <a:lum bright="-100000"/>
              <a:extLst>
                <a:ext uri="{28A0092B-C50C-407E-A947-70E740481C1C}">
                  <a14:useLocalDpi xmlns:a14="http://schemas.microsoft.com/office/drawing/2010/main" val="0"/>
                </a:ext>
                <a:ext uri="{96DAC541-7B7A-43D3-8B79-37D633B846F1}">
                  <asvg:svgBlip xmlns:asvg="http://schemas.microsoft.com/office/drawing/2016/SVG/main" r:embed="rId23"/>
                </a:ext>
              </a:extLst>
            </a:blip>
            <a:srcRect/>
            <a:stretch/>
          </p:blipFill>
          <p:spPr>
            <a:xfrm>
              <a:off x="10795607" y="2549936"/>
              <a:ext cx="364622" cy="218295"/>
            </a:xfrm>
            <a:prstGeom prst="rect">
              <a:avLst/>
            </a:prstGeom>
          </p:spPr>
        </p:pic>
        <p:pic>
          <p:nvPicPr>
            <p:cNvPr id="1645" name="Graphic 1644">
              <a:extLst>
                <a:ext uri="{FF2B5EF4-FFF2-40B4-BE49-F238E27FC236}">
                  <a16:creationId xmlns:a16="http://schemas.microsoft.com/office/drawing/2014/main" id="{22894E9C-9CF6-8CF7-99C9-CC2E6EE2D33F}"/>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0340855" y="2520231"/>
              <a:ext cx="287934" cy="277704"/>
            </a:xfrm>
            <a:prstGeom prst="rect">
              <a:avLst/>
            </a:prstGeom>
          </p:spPr>
        </p:pic>
        <p:sp>
          <p:nvSpPr>
            <p:cNvPr id="1646" name="Graphic 44">
              <a:extLst>
                <a:ext uri="{FF2B5EF4-FFF2-40B4-BE49-F238E27FC236}">
                  <a16:creationId xmlns:a16="http://schemas.microsoft.com/office/drawing/2014/main" id="{595C0956-8C6F-94DA-19B5-DFEA23721025}"/>
                </a:ext>
              </a:extLst>
            </p:cNvPr>
            <p:cNvSpPr/>
            <p:nvPr/>
          </p:nvSpPr>
          <p:spPr>
            <a:xfrm>
              <a:off x="11791175" y="2542777"/>
              <a:ext cx="139568" cy="232613"/>
            </a:xfrm>
            <a:custGeom>
              <a:avLst/>
              <a:gdLst>
                <a:gd name="connsiteX0" fmla="*/ 49530 w 182880"/>
                <a:gd name="connsiteY0" fmla="*/ 60960 h 304800"/>
                <a:gd name="connsiteX1" fmla="*/ 38100 w 182880"/>
                <a:gd name="connsiteY1" fmla="*/ 72390 h 304800"/>
                <a:gd name="connsiteX2" fmla="*/ 49530 w 182880"/>
                <a:gd name="connsiteY2" fmla="*/ 83820 h 304800"/>
                <a:gd name="connsiteX3" fmla="*/ 133350 w 182880"/>
                <a:gd name="connsiteY3" fmla="*/ 83820 h 304800"/>
                <a:gd name="connsiteX4" fmla="*/ 144780 w 182880"/>
                <a:gd name="connsiteY4" fmla="*/ 72390 h 304800"/>
                <a:gd name="connsiteX5" fmla="*/ 133350 w 182880"/>
                <a:gd name="connsiteY5" fmla="*/ 60960 h 304800"/>
                <a:gd name="connsiteX6" fmla="*/ 49530 w 182880"/>
                <a:gd name="connsiteY6" fmla="*/ 60960 h 304800"/>
                <a:gd name="connsiteX7" fmla="*/ 38100 w 182880"/>
                <a:gd name="connsiteY7" fmla="*/ 240030 h 304800"/>
                <a:gd name="connsiteX8" fmla="*/ 49530 w 182880"/>
                <a:gd name="connsiteY8" fmla="*/ 228600 h 304800"/>
                <a:gd name="connsiteX9" fmla="*/ 133350 w 182880"/>
                <a:gd name="connsiteY9" fmla="*/ 228600 h 304800"/>
                <a:gd name="connsiteX10" fmla="*/ 144780 w 182880"/>
                <a:gd name="connsiteY10" fmla="*/ 240030 h 304800"/>
                <a:gd name="connsiteX11" fmla="*/ 133350 w 182880"/>
                <a:gd name="connsiteY11" fmla="*/ 251460 h 304800"/>
                <a:gd name="connsiteX12" fmla="*/ 49530 w 182880"/>
                <a:gd name="connsiteY12" fmla="*/ 251460 h 304800"/>
                <a:gd name="connsiteX13" fmla="*/ 38100 w 182880"/>
                <a:gd name="connsiteY13" fmla="*/ 240030 h 304800"/>
                <a:gd name="connsiteX14" fmla="*/ 49530 w 182880"/>
                <a:gd name="connsiteY14" fmla="*/ 182880 h 304800"/>
                <a:gd name="connsiteX15" fmla="*/ 38100 w 182880"/>
                <a:gd name="connsiteY15" fmla="*/ 194310 h 304800"/>
                <a:gd name="connsiteX16" fmla="*/ 49530 w 182880"/>
                <a:gd name="connsiteY16" fmla="*/ 205740 h 304800"/>
                <a:gd name="connsiteX17" fmla="*/ 133350 w 182880"/>
                <a:gd name="connsiteY17" fmla="*/ 205740 h 304800"/>
                <a:gd name="connsiteX18" fmla="*/ 144780 w 182880"/>
                <a:gd name="connsiteY18" fmla="*/ 194310 h 304800"/>
                <a:gd name="connsiteX19" fmla="*/ 133350 w 182880"/>
                <a:gd name="connsiteY19" fmla="*/ 182880 h 304800"/>
                <a:gd name="connsiteX20" fmla="*/ 49530 w 182880"/>
                <a:gd name="connsiteY20" fmla="*/ 182880 h 304800"/>
                <a:gd name="connsiteX21" fmla="*/ 0 w 182880"/>
                <a:gd name="connsiteY21" fmla="*/ 45720 h 304800"/>
                <a:gd name="connsiteX22" fmla="*/ 45720 w 182880"/>
                <a:gd name="connsiteY22" fmla="*/ 0 h 304800"/>
                <a:gd name="connsiteX23" fmla="*/ 137160 w 182880"/>
                <a:gd name="connsiteY23" fmla="*/ 0 h 304800"/>
                <a:gd name="connsiteX24" fmla="*/ 182880 w 182880"/>
                <a:gd name="connsiteY24" fmla="*/ 45720 h 304800"/>
                <a:gd name="connsiteX25" fmla="*/ 182880 w 182880"/>
                <a:gd name="connsiteY25" fmla="*/ 259080 h 304800"/>
                <a:gd name="connsiteX26" fmla="*/ 137160 w 182880"/>
                <a:gd name="connsiteY26" fmla="*/ 304800 h 304800"/>
                <a:gd name="connsiteX27" fmla="*/ 45720 w 182880"/>
                <a:gd name="connsiteY27" fmla="*/ 304800 h 304800"/>
                <a:gd name="connsiteX28" fmla="*/ 0 w 182880"/>
                <a:gd name="connsiteY28" fmla="*/ 259080 h 304800"/>
                <a:gd name="connsiteX29" fmla="*/ 0 w 182880"/>
                <a:gd name="connsiteY29" fmla="*/ 45720 h 304800"/>
                <a:gd name="connsiteX30" fmla="*/ 45720 w 182880"/>
                <a:gd name="connsiteY30" fmla="*/ 22860 h 304800"/>
                <a:gd name="connsiteX31" fmla="*/ 22860 w 182880"/>
                <a:gd name="connsiteY31" fmla="*/ 45720 h 304800"/>
                <a:gd name="connsiteX32" fmla="*/ 22860 w 182880"/>
                <a:gd name="connsiteY32" fmla="*/ 259080 h 304800"/>
                <a:gd name="connsiteX33" fmla="*/ 45720 w 182880"/>
                <a:gd name="connsiteY33" fmla="*/ 281940 h 304800"/>
                <a:gd name="connsiteX34" fmla="*/ 137160 w 182880"/>
                <a:gd name="connsiteY34" fmla="*/ 281940 h 304800"/>
                <a:gd name="connsiteX35" fmla="*/ 160020 w 182880"/>
                <a:gd name="connsiteY35" fmla="*/ 259080 h 304800"/>
                <a:gd name="connsiteX36" fmla="*/ 160020 w 182880"/>
                <a:gd name="connsiteY36" fmla="*/ 45720 h 304800"/>
                <a:gd name="connsiteX37" fmla="*/ 137160 w 182880"/>
                <a:gd name="connsiteY37" fmla="*/ 22860 h 304800"/>
                <a:gd name="connsiteX38" fmla="*/ 45720 w 182880"/>
                <a:gd name="connsiteY38" fmla="*/ 2286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82880" h="304800">
                  <a:moveTo>
                    <a:pt x="49530" y="60960"/>
                  </a:moveTo>
                  <a:cubicBezTo>
                    <a:pt x="43217" y="60960"/>
                    <a:pt x="38100" y="66077"/>
                    <a:pt x="38100" y="72390"/>
                  </a:cubicBezTo>
                  <a:cubicBezTo>
                    <a:pt x="38100" y="78703"/>
                    <a:pt x="43217" y="83820"/>
                    <a:pt x="49530" y="83820"/>
                  </a:cubicBezTo>
                  <a:lnTo>
                    <a:pt x="133350" y="83820"/>
                  </a:lnTo>
                  <a:cubicBezTo>
                    <a:pt x="139662" y="83820"/>
                    <a:pt x="144780" y="78703"/>
                    <a:pt x="144780" y="72390"/>
                  </a:cubicBezTo>
                  <a:cubicBezTo>
                    <a:pt x="144780" y="66077"/>
                    <a:pt x="139662" y="60960"/>
                    <a:pt x="133350" y="60960"/>
                  </a:cubicBezTo>
                  <a:lnTo>
                    <a:pt x="49530" y="60960"/>
                  </a:lnTo>
                  <a:close/>
                  <a:moveTo>
                    <a:pt x="38100" y="240030"/>
                  </a:moveTo>
                  <a:cubicBezTo>
                    <a:pt x="38100" y="233718"/>
                    <a:pt x="43217" y="228600"/>
                    <a:pt x="49530" y="228600"/>
                  </a:cubicBezTo>
                  <a:lnTo>
                    <a:pt x="133350" y="228600"/>
                  </a:lnTo>
                  <a:cubicBezTo>
                    <a:pt x="139662" y="228600"/>
                    <a:pt x="144780" y="233718"/>
                    <a:pt x="144780" y="240030"/>
                  </a:cubicBezTo>
                  <a:cubicBezTo>
                    <a:pt x="144780" y="246342"/>
                    <a:pt x="139662" y="251460"/>
                    <a:pt x="133350" y="251460"/>
                  </a:cubicBezTo>
                  <a:lnTo>
                    <a:pt x="49530" y="251460"/>
                  </a:lnTo>
                  <a:cubicBezTo>
                    <a:pt x="43217" y="251460"/>
                    <a:pt x="38100" y="246342"/>
                    <a:pt x="38100" y="240030"/>
                  </a:cubicBezTo>
                  <a:close/>
                  <a:moveTo>
                    <a:pt x="49530" y="182880"/>
                  </a:moveTo>
                  <a:cubicBezTo>
                    <a:pt x="43217" y="182880"/>
                    <a:pt x="38100" y="187998"/>
                    <a:pt x="38100" y="194310"/>
                  </a:cubicBezTo>
                  <a:cubicBezTo>
                    <a:pt x="38100" y="200622"/>
                    <a:pt x="43217" y="205740"/>
                    <a:pt x="49530" y="205740"/>
                  </a:cubicBezTo>
                  <a:lnTo>
                    <a:pt x="133350" y="205740"/>
                  </a:lnTo>
                  <a:cubicBezTo>
                    <a:pt x="139662" y="205740"/>
                    <a:pt x="144780" y="200622"/>
                    <a:pt x="144780" y="194310"/>
                  </a:cubicBezTo>
                  <a:cubicBezTo>
                    <a:pt x="144780" y="187998"/>
                    <a:pt x="139662" y="182880"/>
                    <a:pt x="133350" y="182880"/>
                  </a:cubicBezTo>
                  <a:lnTo>
                    <a:pt x="49530" y="182880"/>
                  </a:lnTo>
                  <a:close/>
                  <a:moveTo>
                    <a:pt x="0" y="45720"/>
                  </a:moveTo>
                  <a:cubicBezTo>
                    <a:pt x="0" y="20470"/>
                    <a:pt x="20470" y="0"/>
                    <a:pt x="45720" y="0"/>
                  </a:cubicBezTo>
                  <a:lnTo>
                    <a:pt x="137160" y="0"/>
                  </a:lnTo>
                  <a:cubicBezTo>
                    <a:pt x="162411" y="0"/>
                    <a:pt x="182880" y="20470"/>
                    <a:pt x="182880" y="45720"/>
                  </a:cubicBezTo>
                  <a:lnTo>
                    <a:pt x="182880" y="259080"/>
                  </a:lnTo>
                  <a:cubicBezTo>
                    <a:pt x="182880" y="284331"/>
                    <a:pt x="162411" y="304800"/>
                    <a:pt x="137160" y="304800"/>
                  </a:cubicBezTo>
                  <a:lnTo>
                    <a:pt x="45720" y="304800"/>
                  </a:lnTo>
                  <a:cubicBezTo>
                    <a:pt x="20470" y="304800"/>
                    <a:pt x="0" y="284331"/>
                    <a:pt x="0" y="259080"/>
                  </a:cubicBezTo>
                  <a:lnTo>
                    <a:pt x="0" y="45720"/>
                  </a:lnTo>
                  <a:close/>
                  <a:moveTo>
                    <a:pt x="45720" y="22860"/>
                  </a:moveTo>
                  <a:cubicBezTo>
                    <a:pt x="33095" y="22860"/>
                    <a:pt x="22860" y="33095"/>
                    <a:pt x="22860" y="45720"/>
                  </a:cubicBezTo>
                  <a:lnTo>
                    <a:pt x="22860" y="259080"/>
                  </a:lnTo>
                  <a:cubicBezTo>
                    <a:pt x="22860" y="271705"/>
                    <a:pt x="33095" y="281940"/>
                    <a:pt x="45720" y="281940"/>
                  </a:cubicBezTo>
                  <a:lnTo>
                    <a:pt x="137160" y="281940"/>
                  </a:lnTo>
                  <a:cubicBezTo>
                    <a:pt x="149785" y="281940"/>
                    <a:pt x="160020" y="271705"/>
                    <a:pt x="160020" y="259080"/>
                  </a:cubicBezTo>
                  <a:lnTo>
                    <a:pt x="160020" y="45720"/>
                  </a:lnTo>
                  <a:cubicBezTo>
                    <a:pt x="160020" y="33095"/>
                    <a:pt x="149785" y="22860"/>
                    <a:pt x="137160" y="22860"/>
                  </a:cubicBezTo>
                  <a:lnTo>
                    <a:pt x="45720" y="22860"/>
                  </a:lnTo>
                  <a:close/>
                </a:path>
              </a:pathLst>
            </a:custGeom>
            <a:solidFill>
              <a:schemeClr val="tx1"/>
            </a:solidFill>
            <a:ln w="1508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grpSp>
        <p:nvGrpSpPr>
          <p:cNvPr id="1651" name="Group 1650">
            <a:extLst>
              <a:ext uri="{FF2B5EF4-FFF2-40B4-BE49-F238E27FC236}">
                <a16:creationId xmlns:a16="http://schemas.microsoft.com/office/drawing/2014/main" id="{51DABFBB-F90C-84C2-F0E0-72C4A58810A1}"/>
              </a:ext>
              <a:ext uri="{C183D7F6-B498-43B3-948B-1728B52AA6E4}">
                <adec:decorative xmlns:adec="http://schemas.microsoft.com/office/drawing/2017/decorative" val="1"/>
              </a:ext>
            </a:extLst>
          </p:cNvPr>
          <p:cNvGrpSpPr/>
          <p:nvPr/>
        </p:nvGrpSpPr>
        <p:grpSpPr>
          <a:xfrm>
            <a:off x="14796875" y="4670447"/>
            <a:ext cx="1811096" cy="242893"/>
            <a:chOff x="13166591" y="4913340"/>
            <a:chExt cx="1035024" cy="138811"/>
          </a:xfrm>
        </p:grpSpPr>
        <p:pic>
          <p:nvPicPr>
            <p:cNvPr id="1652" name="Graphic 1651">
              <a:extLst>
                <a:ext uri="{FF2B5EF4-FFF2-40B4-BE49-F238E27FC236}">
                  <a16:creationId xmlns:a16="http://schemas.microsoft.com/office/drawing/2014/main" id="{D83D8AED-BA3B-FBF8-F404-2B4F860630CA}"/>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a:stretch/>
          </p:blipFill>
          <p:spPr>
            <a:xfrm>
              <a:off x="13166591" y="4913340"/>
              <a:ext cx="126191" cy="138810"/>
            </a:xfrm>
            <a:prstGeom prst="rect">
              <a:avLst/>
            </a:prstGeom>
          </p:spPr>
        </p:pic>
        <p:pic>
          <p:nvPicPr>
            <p:cNvPr id="1653" name="Picture 1652">
              <a:extLst>
                <a:ext uri="{FF2B5EF4-FFF2-40B4-BE49-F238E27FC236}">
                  <a16:creationId xmlns:a16="http://schemas.microsoft.com/office/drawing/2014/main" id="{1022FBD9-A15A-52CC-F61E-60F83AEF400C}"/>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13362527" y="4913340"/>
              <a:ext cx="198204" cy="138811"/>
            </a:xfrm>
            <a:prstGeom prst="rect">
              <a:avLst/>
            </a:prstGeom>
          </p:spPr>
        </p:pic>
        <p:pic>
          <p:nvPicPr>
            <p:cNvPr id="1654" name="Picture 4" descr="Zoom Video Conferencing - Shining Waters">
              <a:extLst>
                <a:ext uri="{FF2B5EF4-FFF2-40B4-BE49-F238E27FC236}">
                  <a16:creationId xmlns:a16="http://schemas.microsoft.com/office/drawing/2014/main" id="{2293AA17-7C9B-EC29-7A25-FEE9DE717636}"/>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4062803" y="4913340"/>
              <a:ext cx="138812" cy="138811"/>
            </a:xfrm>
            <a:prstGeom prst="rect">
              <a:avLst/>
            </a:prstGeom>
            <a:noFill/>
            <a:extLst>
              <a:ext uri="{909E8E84-426E-40DD-AFC4-6F175D3DCCD1}">
                <a14:hiddenFill xmlns:a14="http://schemas.microsoft.com/office/drawing/2010/main">
                  <a:solidFill>
                    <a:srgbClr val="FFFFFF"/>
                  </a:solidFill>
                </a14:hiddenFill>
              </a:ext>
            </a:extLst>
          </p:spPr>
        </p:pic>
        <p:pic>
          <p:nvPicPr>
            <p:cNvPr id="1655" name="Picture 2" descr="ServiceNow Logo, symbol, meaning, history, PNG, brand">
              <a:extLst>
                <a:ext uri="{FF2B5EF4-FFF2-40B4-BE49-F238E27FC236}">
                  <a16:creationId xmlns:a16="http://schemas.microsoft.com/office/drawing/2014/main" id="{5758C43C-C8D0-6FD7-86C0-A272F668A112}"/>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3584102" y="4913340"/>
              <a:ext cx="246775" cy="138811"/>
            </a:xfrm>
            <a:prstGeom prst="rect">
              <a:avLst/>
            </a:prstGeom>
            <a:noFill/>
            <a:extLst>
              <a:ext uri="{909E8E84-426E-40DD-AFC4-6F175D3DCCD1}">
                <a14:hiddenFill xmlns:a14="http://schemas.microsoft.com/office/drawing/2010/main">
                  <a:solidFill>
                    <a:srgbClr val="FFFFFF"/>
                  </a:solidFill>
                </a14:hiddenFill>
              </a:ext>
            </a:extLst>
          </p:spPr>
        </p:pic>
        <p:pic>
          <p:nvPicPr>
            <p:cNvPr id="1656" name="Picture 1655">
              <a:extLst>
                <a:ext uri="{FF2B5EF4-FFF2-40B4-BE49-F238E27FC236}">
                  <a16:creationId xmlns:a16="http://schemas.microsoft.com/office/drawing/2014/main" id="{8A58410C-EA0D-575B-A9BB-7975FC52A0FA}"/>
                </a:ext>
              </a:extLst>
            </p:cNvPr>
            <p:cNvPicPr>
              <a:picLocks noChangeAspect="1"/>
            </p:cNvPicPr>
            <p:nvPr/>
          </p:nvPicPr>
          <p:blipFill>
            <a:blip r:embed="rId29">
              <a:extLst>
                <a:ext uri="{BEBA8EAE-BF5A-486C-A8C5-ECC9F3942E4B}">
                  <a14:imgProps xmlns:a14="http://schemas.microsoft.com/office/drawing/2010/main">
                    <a14:imgLayer r:embed="rId30">
                      <a14:imgEffect>
                        <a14:brightnessContrast bright="-100000"/>
                      </a14:imgEffect>
                    </a14:imgLayer>
                  </a14:imgProps>
                </a:ext>
              </a:extLst>
            </a:blip>
            <a:stretch>
              <a:fillRect/>
            </a:stretch>
          </p:blipFill>
          <p:spPr>
            <a:xfrm>
              <a:off x="13866732" y="4913340"/>
              <a:ext cx="138811" cy="138811"/>
            </a:xfrm>
            <a:prstGeom prst="rect">
              <a:avLst/>
            </a:prstGeom>
          </p:spPr>
        </p:pic>
      </p:grpSp>
      <p:grpSp>
        <p:nvGrpSpPr>
          <p:cNvPr id="3" name="Group 2">
            <a:extLst>
              <a:ext uri="{FF2B5EF4-FFF2-40B4-BE49-F238E27FC236}">
                <a16:creationId xmlns:a16="http://schemas.microsoft.com/office/drawing/2014/main" id="{BAD152B0-D4AD-E3C9-3872-60725DED84B3}"/>
              </a:ext>
              <a:ext uri="{C183D7F6-B498-43B3-948B-1728B52AA6E4}">
                <adec:decorative xmlns:adec="http://schemas.microsoft.com/office/drawing/2017/decorative" val="1"/>
              </a:ext>
            </a:extLst>
          </p:cNvPr>
          <p:cNvGrpSpPr/>
          <p:nvPr/>
        </p:nvGrpSpPr>
        <p:grpSpPr>
          <a:xfrm>
            <a:off x="9522161" y="5212001"/>
            <a:ext cx="764312" cy="764312"/>
            <a:chOff x="7783503" y="4514130"/>
            <a:chExt cx="764312" cy="764312"/>
          </a:xfrm>
        </p:grpSpPr>
        <p:grpSp>
          <p:nvGrpSpPr>
            <p:cNvPr id="4" name="Group 3">
              <a:extLst>
                <a:ext uri="{FF2B5EF4-FFF2-40B4-BE49-F238E27FC236}">
                  <a16:creationId xmlns:a16="http://schemas.microsoft.com/office/drawing/2014/main" id="{EA1725AC-284B-856D-23EB-17C56D27483D}"/>
                </a:ext>
              </a:extLst>
            </p:cNvPr>
            <p:cNvGrpSpPr/>
            <p:nvPr/>
          </p:nvGrpSpPr>
          <p:grpSpPr>
            <a:xfrm>
              <a:off x="7783503" y="4514130"/>
              <a:ext cx="764312" cy="764312"/>
              <a:chOff x="830145" y="2381374"/>
              <a:chExt cx="596753" cy="596753"/>
            </a:xfrm>
          </p:grpSpPr>
          <p:sp>
            <p:nvSpPr>
              <p:cNvPr id="6" name="Oval 5">
                <a:extLst>
                  <a:ext uri="{FF2B5EF4-FFF2-40B4-BE49-F238E27FC236}">
                    <a16:creationId xmlns:a16="http://schemas.microsoft.com/office/drawing/2014/main" id="{16F0E8C4-8F48-388A-2695-55A5C599BE8F}"/>
                  </a:ext>
                </a:extLst>
              </p:cNvPr>
              <p:cNvSpPr/>
              <p:nvPr/>
            </p:nvSpPr>
            <p:spPr bwMode="auto">
              <a:xfrm>
                <a:off x="830145" y="2381374"/>
                <a:ext cx="596753" cy="596753"/>
              </a:xfrm>
              <a:prstGeom prst="ellipse">
                <a:avLst/>
              </a:prstGeom>
              <a:solidFill>
                <a:srgbClr val="8DE971">
                  <a:alpha val="42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D4EC8E"/>
                      </a:gs>
                      <a:gs pos="100000">
                        <a:srgbClr val="D4EC8E"/>
                      </a:gs>
                    </a:gsLst>
                    <a:lin ang="5400000" scaled="1"/>
                  </a:gradFill>
                  <a:effectLst/>
                  <a:uLnTx/>
                  <a:uFillTx/>
                  <a:latin typeface="Segoe UI Variable Display"/>
                  <a:ea typeface="+mn-ea"/>
                  <a:cs typeface="Segoe UI" pitchFamily="34" charset="0"/>
                </a:endParaRPr>
              </a:p>
            </p:txBody>
          </p:sp>
          <p:sp>
            <p:nvSpPr>
              <p:cNvPr id="8" name="Oval 7">
                <a:extLst>
                  <a:ext uri="{FF2B5EF4-FFF2-40B4-BE49-F238E27FC236}">
                    <a16:creationId xmlns:a16="http://schemas.microsoft.com/office/drawing/2014/main" id="{020D4579-A814-41DE-C91A-50BBB0E10C7F}"/>
                  </a:ext>
                </a:extLst>
              </p:cNvPr>
              <p:cNvSpPr/>
              <p:nvPr/>
            </p:nvSpPr>
            <p:spPr bwMode="auto">
              <a:xfrm>
                <a:off x="904621" y="2455850"/>
                <a:ext cx="447801" cy="447801"/>
              </a:xfrm>
              <a:prstGeom prst="ellipse">
                <a:avLst/>
              </a:prstGeom>
              <a:solidFill>
                <a:srgbClr val="8DE971">
                  <a:alpha val="61000"/>
                </a:srgbClr>
              </a:solidFill>
              <a:ln w="9525" cap="flat" cmpd="sng" algn="ctr">
                <a:solidFill>
                  <a:srgbClr val="A4EE8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Variable Display"/>
                  <a:ea typeface="+mn-ea"/>
                  <a:cs typeface="Segoe UI" pitchFamily="34" charset="0"/>
                </a:endParaRPr>
              </a:p>
            </p:txBody>
          </p:sp>
        </p:grpSp>
        <p:pic>
          <p:nvPicPr>
            <p:cNvPr id="5" name="Graphic 4">
              <a:extLst>
                <a:ext uri="{FF2B5EF4-FFF2-40B4-BE49-F238E27FC236}">
                  <a16:creationId xmlns:a16="http://schemas.microsoft.com/office/drawing/2014/main" id="{8AF46009-C70F-FE83-AE48-3D195BD9A543}"/>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7982779" y="4713406"/>
              <a:ext cx="365760" cy="365760"/>
            </a:xfrm>
            <a:prstGeom prst="rect">
              <a:avLst/>
            </a:prstGeom>
          </p:spPr>
        </p:pic>
      </p:grpSp>
      <p:pic>
        <p:nvPicPr>
          <p:cNvPr id="2" name="Picture 1">
            <a:extLst>
              <a:ext uri="{FF2B5EF4-FFF2-40B4-BE49-F238E27FC236}">
                <a16:creationId xmlns:a16="http://schemas.microsoft.com/office/drawing/2014/main" id="{B61A0EBC-C4E0-8E92-11FE-A941A09B0649}"/>
              </a:ext>
              <a:ext uri="{C183D7F6-B498-43B3-948B-1728B52AA6E4}">
                <adec:decorative xmlns:adec="http://schemas.microsoft.com/office/drawing/2017/decorative" val="1"/>
              </a:ext>
            </a:extLst>
          </p:cNvPr>
          <p:cNvPicPr>
            <a:picLocks noChangeAspect="1"/>
          </p:cNvPicPr>
          <p:nvPr/>
        </p:nvPicPr>
        <p:blipFill>
          <a:blip r:embed="rId33"/>
          <a:stretch>
            <a:fillRect/>
          </a:stretch>
        </p:blipFill>
        <p:spPr>
          <a:xfrm>
            <a:off x="-846241" y="0"/>
            <a:ext cx="7008263" cy="6858000"/>
          </a:xfrm>
          <a:prstGeom prst="rect">
            <a:avLst/>
          </a:prstGeom>
        </p:spPr>
      </p:pic>
      <p:sp>
        <p:nvSpPr>
          <p:cNvPr id="1925" name="Oval 1924">
            <a:extLst>
              <a:ext uri="{FF2B5EF4-FFF2-40B4-BE49-F238E27FC236}">
                <a16:creationId xmlns:a16="http://schemas.microsoft.com/office/drawing/2014/main" id="{6ADFA74C-13A2-C0CC-199C-3D932F96E58F}"/>
              </a:ext>
              <a:ext uri="{C183D7F6-B498-43B3-948B-1728B52AA6E4}">
                <adec:decorative xmlns:adec="http://schemas.microsoft.com/office/drawing/2017/decorative" val="1"/>
              </a:ext>
            </a:extLst>
          </p:cNvPr>
          <p:cNvSpPr/>
          <p:nvPr/>
        </p:nvSpPr>
        <p:spPr bwMode="auto">
          <a:xfrm>
            <a:off x="608997" y="1452751"/>
            <a:ext cx="3952498" cy="3952498"/>
          </a:xfrm>
          <a:prstGeom prst="ellipse">
            <a:avLst/>
          </a:prstGeom>
          <a:gradFill flip="none" rotWithShape="1">
            <a:gsLst>
              <a:gs pos="93000">
                <a:schemeClr val="bg1">
                  <a:alpha val="0"/>
                </a:schemeClr>
              </a:gs>
              <a:gs pos="55000">
                <a:schemeClr val="bg1"/>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91F2C"/>
              </a:solidFill>
              <a:effectLst/>
              <a:uLnTx/>
              <a:uFillTx/>
              <a:latin typeface="Segoe Sans Display"/>
              <a:ea typeface="+mn-ea"/>
              <a:cs typeface="Segoe UI" pitchFamily="34" charset="0"/>
            </a:endParaRPr>
          </a:p>
        </p:txBody>
      </p:sp>
      <p:sp>
        <p:nvSpPr>
          <p:cNvPr id="1926" name="!!Title: Microsoft Entra Suite">
            <a:extLst>
              <a:ext uri="{FF2B5EF4-FFF2-40B4-BE49-F238E27FC236}">
                <a16:creationId xmlns:a16="http://schemas.microsoft.com/office/drawing/2014/main" id="{4942E262-E962-ADDE-448E-9C22609A8FEA}"/>
              </a:ext>
            </a:extLst>
          </p:cNvPr>
          <p:cNvSpPr txBox="1">
            <a:spLocks noGrp="1"/>
          </p:cNvSpPr>
          <p:nvPr>
            <p:ph type="title"/>
          </p:nvPr>
        </p:nvSpPr>
        <p:spPr>
          <a:xfrm>
            <a:off x="-108796" y="3242795"/>
            <a:ext cx="5508419" cy="372410"/>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ctr" defTabSz="932742" rtl="0" eaLnBrk="1" latinLnBrk="0" hangingPunct="1">
              <a:lnSpc>
                <a:spcPct val="100000"/>
              </a:lnSpc>
              <a:spcBef>
                <a:spcPct val="0"/>
              </a:spcBef>
              <a:buNone/>
              <a:defRPr lang="en-US" sz="3200" b="0" i="0" kern="1200" cap="none" spc="-50" baseline="0" dirty="0" smtClean="0">
                <a:ln w="3175">
                  <a:noFill/>
                </a:ln>
                <a:solidFill>
                  <a:schemeClr val="bg1"/>
                </a:solidFill>
                <a:effectLst/>
                <a:latin typeface="+mj-lt"/>
                <a:ea typeface="+mn-ea"/>
                <a:cs typeface="Segoe UI" pitchFamily="34" charset="0"/>
              </a:defRPr>
            </a:lvl1pPr>
          </a:lstStyle>
          <a:p>
            <a:pPr marL="0" marR="0" lvl="0" indent="0" algn="ctr" defTabSz="932472" rtl="0" eaLnBrk="1" fontAlgn="base" latinLnBrk="0" hangingPunct="1">
              <a:lnSpc>
                <a:spcPct val="76518"/>
              </a:lnSpc>
              <a:spcBef>
                <a:spcPts val="1200"/>
              </a:spcBef>
              <a:spcAft>
                <a:spcPct val="0"/>
              </a:spcAft>
              <a:buClrTx/>
              <a:buSzTx/>
              <a:buFontTx/>
              <a:buNone/>
              <a:tabLst/>
              <a:defRPr/>
            </a:pPr>
            <a:r>
              <a:rPr kumimoji="0" lang="en-US" sz="3600" b="0" i="0" u="none" strike="noStrike" kern="1200" cap="none" spc="-50" normalizeH="0" baseline="0" noProof="0">
                <a:ln w="3175">
                  <a:noFill/>
                </a:ln>
                <a:solidFill>
                  <a:schemeClr val="tx1"/>
                </a:solidFill>
                <a:effectLst/>
                <a:uLnTx/>
                <a:uFillTx/>
                <a:latin typeface="Segoe Sans Display Semibold"/>
                <a:ea typeface="+mn-ea"/>
                <a:cs typeface="Segoe UI" pitchFamily="34" charset="0"/>
              </a:rPr>
              <a:t>Microsoft </a:t>
            </a:r>
            <a:br>
              <a:rPr kumimoji="0" lang="en-US" sz="3600" b="0" i="0" u="none" strike="noStrike" kern="1200" cap="none" spc="-50" normalizeH="0" baseline="0" noProof="0">
                <a:ln w="3175">
                  <a:noFill/>
                </a:ln>
                <a:solidFill>
                  <a:schemeClr val="tx1"/>
                </a:solidFill>
                <a:effectLst/>
                <a:uLnTx/>
                <a:uFillTx/>
                <a:latin typeface="Segoe Sans Display Semibold"/>
                <a:ea typeface="+mn-ea"/>
                <a:cs typeface="Segoe UI" pitchFamily="34" charset="0"/>
              </a:rPr>
            </a:br>
            <a:r>
              <a:rPr kumimoji="0" lang="en-US" sz="3600" b="0" i="0" u="none" strike="noStrike" kern="1200" cap="none" spc="-50" normalizeH="0" baseline="0" noProof="0">
                <a:ln w="3175">
                  <a:noFill/>
                </a:ln>
                <a:solidFill>
                  <a:schemeClr val="tx1"/>
                </a:solidFill>
                <a:effectLst/>
                <a:uLnTx/>
                <a:uFillTx/>
                <a:latin typeface="Segoe Sans Display Semibold"/>
                <a:ea typeface="+mn-ea"/>
                <a:cs typeface="Segoe UI" pitchFamily="34" charset="0"/>
              </a:rPr>
              <a:t>Entra Suite   </a:t>
            </a:r>
          </a:p>
        </p:txBody>
      </p:sp>
      <p:sp>
        <p:nvSpPr>
          <p:cNvPr id="1529" name="Rectangle 1528">
            <a:extLst>
              <a:ext uri="{FF2B5EF4-FFF2-40B4-BE49-F238E27FC236}">
                <a16:creationId xmlns:a16="http://schemas.microsoft.com/office/drawing/2014/main" id="{E1115B7B-ABAE-4064-1041-3DADFBFD895B}"/>
              </a:ext>
            </a:extLst>
          </p:cNvPr>
          <p:cNvSpPr/>
          <p:nvPr/>
        </p:nvSpPr>
        <p:spPr bwMode="auto">
          <a:xfrm>
            <a:off x="5817197" y="863734"/>
            <a:ext cx="3108055" cy="800219"/>
          </a:xfrm>
          <a:prstGeom prst="rect">
            <a:avLst/>
          </a:prstGeom>
          <a:noFill/>
          <a:ln w="6350" cap="flat" cmpd="sng" algn="ctr">
            <a:noFill/>
            <a:prstDash val="solid"/>
            <a:headEnd type="none" w="med" len="med"/>
            <a:tailEnd type="none" w="med" len="med"/>
          </a:ln>
          <a:effectLst>
            <a:innerShdw blurRad="952500" dist="508000" dir="18600000">
              <a:srgbClr val="8DC8E8">
                <a:alpha val="10000"/>
              </a:srgbClr>
            </a:innerShdw>
          </a:effectLst>
        </p:spPr>
        <p:txBody>
          <a:bodyPr rot="0" spcFirstLastPara="0" vertOverflow="overflow" horzOverflow="overflow" vert="horz" wrap="square" lIns="0" tIns="91440" rIns="91440" bIns="91440" numCol="1" spcCol="0" rtlCol="0" fromWordArt="0" anchor="t" anchorCtr="0" forceAA="0" compatLnSpc="1">
            <a:prstTxWarp prst="textNoShape">
              <a:avLst/>
            </a:prstTxWarp>
            <a:spAutoFit/>
          </a:bodyPr>
          <a:lstStyle/>
          <a:p>
            <a:pPr marL="0" marR="0" lvl="0" indent="0" defTabSz="914367" eaLnBrk="1" fontAlgn="auto" latinLnBrk="0" hangingPunct="1">
              <a:lnSpc>
                <a:spcPct val="100000"/>
              </a:lnSpc>
              <a:spcBef>
                <a:spcPts val="0"/>
              </a:spcBef>
              <a:spcAft>
                <a:spcPts val="1800"/>
              </a:spcAft>
              <a:buClrTx/>
              <a:buSzTx/>
              <a:buFontTx/>
              <a:buNone/>
              <a:tabLst/>
              <a:defRPr/>
            </a:pPr>
            <a:r>
              <a:rPr kumimoji="0" lang="en-US" sz="2000" b="0" i="0" u="none" strike="noStrike" kern="0" cap="none" spc="0" normalizeH="0" baseline="0" noProof="0">
                <a:ln>
                  <a:noFill/>
                </a:ln>
                <a:effectLst/>
                <a:uLnTx/>
                <a:uFillTx/>
                <a:latin typeface="Segoe Sans Display Semibold"/>
                <a:ea typeface="+mn-ea"/>
                <a:cs typeface="Segoe UI" panose="020B0502040204020203" pitchFamily="34" charset="0"/>
              </a:rPr>
              <a:t>Converge Zero Trust</a:t>
            </a:r>
            <a:br>
              <a:rPr kumimoji="0" lang="en-US" sz="2000" b="0" i="0" u="none" strike="noStrike" kern="0" cap="none" spc="0" normalizeH="0" baseline="0" noProof="0">
                <a:ln>
                  <a:noFill/>
                </a:ln>
                <a:effectLst/>
                <a:uLnTx/>
                <a:uFillTx/>
                <a:latin typeface="Segoe Sans Display Semibold"/>
                <a:ea typeface="+mn-ea"/>
                <a:cs typeface="Segoe UI" panose="020B0502040204020203" pitchFamily="34" charset="0"/>
              </a:rPr>
            </a:br>
            <a:r>
              <a:rPr kumimoji="0" lang="en-US" sz="2000" b="0" i="0" u="none" strike="noStrike" kern="0" cap="none" spc="0" normalizeH="0" baseline="0" noProof="0">
                <a:ln>
                  <a:noFill/>
                </a:ln>
                <a:effectLst/>
                <a:uLnTx/>
                <a:uFillTx/>
                <a:latin typeface="Segoe Sans Display Semibold"/>
                <a:ea typeface="+mn-ea"/>
                <a:cs typeface="Segoe UI" panose="020B0502040204020203" pitchFamily="34" charset="0"/>
              </a:rPr>
              <a:t>access policies</a:t>
            </a:r>
          </a:p>
        </p:txBody>
      </p:sp>
      <p:sp>
        <p:nvSpPr>
          <p:cNvPr id="1530" name="Rectangle 1529">
            <a:extLst>
              <a:ext uri="{FF2B5EF4-FFF2-40B4-BE49-F238E27FC236}">
                <a16:creationId xmlns:a16="http://schemas.microsoft.com/office/drawing/2014/main" id="{AE9F4A9C-0A2D-C35D-068D-E2EEA2225A38}"/>
              </a:ext>
            </a:extLst>
          </p:cNvPr>
          <p:cNvSpPr/>
          <p:nvPr/>
        </p:nvSpPr>
        <p:spPr bwMode="auto">
          <a:xfrm>
            <a:off x="5817197" y="2307172"/>
            <a:ext cx="2165401" cy="800219"/>
          </a:xfrm>
          <a:prstGeom prst="rect">
            <a:avLst/>
          </a:prstGeom>
          <a:noFill/>
          <a:ln w="6350" cap="flat" cmpd="sng" algn="ctr">
            <a:noFill/>
            <a:prstDash val="solid"/>
            <a:headEnd type="none" w="med" len="med"/>
            <a:tailEnd type="none" w="med" len="med"/>
          </a:ln>
          <a:effectLst>
            <a:innerShdw blurRad="952500" dist="508000" dir="18600000">
              <a:srgbClr val="8DC8E8">
                <a:alpha val="10000"/>
              </a:srgbClr>
            </a:innerShdw>
          </a:effectLst>
        </p:spPr>
        <p:txBody>
          <a:bodyPr rot="0" spcFirstLastPara="0" vertOverflow="overflow" horzOverflow="overflow" vert="horz" wrap="square" lIns="0" tIns="91440" rIns="0" bIns="91440" numCol="1" spcCol="0" rtlCol="0" fromWordArt="0" anchor="t" anchorCtr="0" forceAA="0" compatLnSpc="1">
            <a:prstTxWarp prst="textNoShape">
              <a:avLst/>
            </a:prstTxWarp>
            <a:spAutoFit/>
          </a:bodyPr>
          <a:lstStyle/>
          <a:p>
            <a:pPr marL="0" marR="0" lvl="0" indent="0" defTabSz="914367" eaLnBrk="1" fontAlgn="auto" latinLnBrk="0" hangingPunct="1">
              <a:lnSpc>
                <a:spcPct val="100000"/>
              </a:lnSpc>
              <a:spcBef>
                <a:spcPts val="0"/>
              </a:spcBef>
              <a:spcAft>
                <a:spcPts val="1800"/>
              </a:spcAft>
              <a:buClrTx/>
              <a:buSzTx/>
              <a:buFontTx/>
              <a:buNone/>
              <a:tabLst/>
              <a:defRPr/>
            </a:pPr>
            <a:r>
              <a:rPr kumimoji="0" lang="en-US" sz="2000" b="0" i="0" u="none" strike="noStrike" kern="0" cap="none" spc="0" normalizeH="0" baseline="0" noProof="0">
                <a:ln>
                  <a:noFill/>
                </a:ln>
                <a:effectLst/>
                <a:uLnTx/>
                <a:uFillTx/>
                <a:latin typeface="Segoe Sans Display Semibold"/>
                <a:ea typeface="+mn-ea"/>
                <a:cs typeface="Segoe UI" panose="020B0502040204020203" pitchFamily="34" charset="0"/>
              </a:rPr>
              <a:t>Ensure least privilege access</a:t>
            </a:r>
          </a:p>
        </p:txBody>
      </p:sp>
      <p:sp>
        <p:nvSpPr>
          <p:cNvPr id="1531" name="Rectangle 1530">
            <a:extLst>
              <a:ext uri="{FF2B5EF4-FFF2-40B4-BE49-F238E27FC236}">
                <a16:creationId xmlns:a16="http://schemas.microsoft.com/office/drawing/2014/main" id="{9C6F090B-427E-725D-B73A-366A4A4B7C07}"/>
              </a:ext>
            </a:extLst>
          </p:cNvPr>
          <p:cNvSpPr/>
          <p:nvPr/>
        </p:nvSpPr>
        <p:spPr bwMode="auto">
          <a:xfrm>
            <a:off x="5817197" y="3750610"/>
            <a:ext cx="2668702" cy="800219"/>
          </a:xfrm>
          <a:prstGeom prst="rect">
            <a:avLst/>
          </a:prstGeom>
          <a:noFill/>
          <a:ln w="6350" cap="flat" cmpd="sng" algn="ctr">
            <a:noFill/>
            <a:prstDash val="solid"/>
            <a:headEnd type="none" w="med" len="med"/>
            <a:tailEnd type="none" w="med" len="med"/>
          </a:ln>
          <a:effectLst>
            <a:innerShdw blurRad="952500" dist="508000" dir="18600000">
              <a:srgbClr val="8DC8E8">
                <a:alpha val="10000"/>
              </a:srgbClr>
            </a:innerShdw>
          </a:effectLst>
        </p:spPr>
        <p:txBody>
          <a:bodyPr rot="0" spcFirstLastPara="0" vertOverflow="overflow" horzOverflow="overflow" vert="horz" wrap="square" lIns="0" tIns="91440" rIns="91440" bIns="91440" numCol="1" spcCol="0" rtlCol="0" fromWordArt="0" anchor="t" anchorCtr="0" forceAA="0" compatLnSpc="1">
            <a:prstTxWarp prst="textNoShape">
              <a:avLst/>
            </a:prstTxWarp>
            <a:spAutoFit/>
          </a:bodyPr>
          <a:lstStyle/>
          <a:p>
            <a:pPr marL="0" marR="0" lvl="0" indent="0" defTabSz="914367" eaLnBrk="1" fontAlgn="auto" latinLnBrk="0" hangingPunct="1">
              <a:lnSpc>
                <a:spcPct val="100000"/>
              </a:lnSpc>
              <a:spcBef>
                <a:spcPts val="0"/>
              </a:spcBef>
              <a:spcAft>
                <a:spcPts val="1800"/>
              </a:spcAft>
              <a:buClrTx/>
              <a:buSzTx/>
              <a:buFontTx/>
              <a:buNone/>
              <a:tabLst/>
              <a:defRPr/>
            </a:pPr>
            <a:r>
              <a:rPr kumimoji="0" lang="en-US" sz="2000" b="0" i="0" u="none" strike="noStrike" kern="0" cap="none" spc="0" normalizeH="0" baseline="0" noProof="0">
                <a:ln>
                  <a:noFill/>
                </a:ln>
                <a:effectLst/>
                <a:uLnTx/>
                <a:uFillTx/>
                <a:latin typeface="Segoe Sans Display Semibold"/>
                <a:ea typeface="+mn-ea"/>
                <a:cs typeface="Segoe UI" panose="020B0502040204020203" pitchFamily="34" charset="0"/>
              </a:rPr>
              <a:t>Improve the user experience</a:t>
            </a:r>
          </a:p>
        </p:txBody>
      </p:sp>
      <p:sp>
        <p:nvSpPr>
          <p:cNvPr id="1532" name="Rectangle 1531">
            <a:extLst>
              <a:ext uri="{FF2B5EF4-FFF2-40B4-BE49-F238E27FC236}">
                <a16:creationId xmlns:a16="http://schemas.microsoft.com/office/drawing/2014/main" id="{5F5B0CAC-B01B-2FF6-6DAF-520C483966CE}"/>
              </a:ext>
            </a:extLst>
          </p:cNvPr>
          <p:cNvSpPr/>
          <p:nvPr/>
        </p:nvSpPr>
        <p:spPr bwMode="auto">
          <a:xfrm>
            <a:off x="5817197" y="5194048"/>
            <a:ext cx="2307504" cy="800219"/>
          </a:xfrm>
          <a:prstGeom prst="rect">
            <a:avLst/>
          </a:prstGeom>
          <a:noFill/>
          <a:ln w="6350" cap="flat" cmpd="sng" algn="ctr">
            <a:noFill/>
            <a:prstDash val="solid"/>
            <a:headEnd type="none" w="med" len="med"/>
            <a:tailEnd type="none" w="med" len="med"/>
          </a:ln>
          <a:effectLst>
            <a:innerShdw blurRad="952500" dist="508000" dir="18600000">
              <a:srgbClr val="8DC8E8">
                <a:alpha val="10000"/>
              </a:srgbClr>
            </a:innerShdw>
          </a:effectLst>
        </p:spPr>
        <p:txBody>
          <a:bodyPr rot="0" spcFirstLastPara="0" vertOverflow="overflow" horzOverflow="overflow" vert="horz" wrap="square" lIns="0" tIns="91440" rIns="0" bIns="91440" numCol="1" spcCol="0" rtlCol="0" fromWordArt="0" anchor="t" anchorCtr="0" forceAA="0" compatLnSpc="1">
            <a:prstTxWarp prst="textNoShape">
              <a:avLst/>
            </a:prstTxWarp>
            <a:spAutoFit/>
          </a:bodyPr>
          <a:lstStyle/>
          <a:p>
            <a:pPr marL="0" marR="0" lvl="0" indent="0" defTabSz="914367" eaLnBrk="1" fontAlgn="auto" latinLnBrk="0" hangingPunct="1">
              <a:lnSpc>
                <a:spcPct val="100000"/>
              </a:lnSpc>
              <a:spcBef>
                <a:spcPts val="0"/>
              </a:spcBef>
              <a:spcAft>
                <a:spcPts val="1800"/>
              </a:spcAft>
              <a:buClrTx/>
              <a:buSzTx/>
              <a:buFontTx/>
              <a:buNone/>
              <a:tabLst/>
              <a:defRPr/>
            </a:pPr>
            <a:r>
              <a:rPr kumimoji="0" lang="en-US" sz="2000" b="0" i="0" u="none" strike="noStrike" kern="0" cap="none" spc="0" normalizeH="0" baseline="0" noProof="0">
                <a:ln>
                  <a:noFill/>
                </a:ln>
                <a:effectLst/>
                <a:uLnTx/>
                <a:uFillTx/>
                <a:latin typeface="Segoe Sans Display Semibold"/>
                <a:ea typeface="+mn-ea"/>
                <a:cs typeface="Segoe UI" panose="020B0502040204020203" pitchFamily="34" charset="0"/>
              </a:rPr>
              <a:t>Modernize your security</a:t>
            </a:r>
          </a:p>
        </p:txBody>
      </p:sp>
    </p:spTree>
    <p:custDataLst>
      <p:tags r:id="rId1"/>
    </p:custDataLst>
    <p:extLst>
      <p:ext uri="{BB962C8B-B14F-4D97-AF65-F5344CB8AC3E}">
        <p14:creationId xmlns:p14="http://schemas.microsoft.com/office/powerpoint/2010/main" val="1721396444"/>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102"/>
                                        </p:tgtEl>
                                        <p:attrNameLst>
                                          <p:attrName>style.visibility</p:attrName>
                                        </p:attrNameLst>
                                      </p:cBhvr>
                                      <p:to>
                                        <p:strVal val="visible"/>
                                      </p:to>
                                    </p:set>
                                    <p:animEffect transition="in" filter="wipe(left)">
                                      <p:cBhvr>
                                        <p:cTn id="7" dur="750"/>
                                        <p:tgtEl>
                                          <p:spTgt spid="1102"/>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104"/>
                                        </p:tgtEl>
                                        <p:attrNameLst>
                                          <p:attrName>style.visibility</p:attrName>
                                        </p:attrNameLst>
                                      </p:cBhvr>
                                      <p:to>
                                        <p:strVal val="visible"/>
                                      </p:to>
                                    </p:set>
                                    <p:animEffect transition="in" filter="wipe(left)">
                                      <p:cBhvr>
                                        <p:cTn id="10" dur="750"/>
                                        <p:tgtEl>
                                          <p:spTgt spid="1104"/>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1105"/>
                                        </p:tgtEl>
                                        <p:attrNameLst>
                                          <p:attrName>style.visibility</p:attrName>
                                        </p:attrNameLst>
                                      </p:cBhvr>
                                      <p:to>
                                        <p:strVal val="visible"/>
                                      </p:to>
                                    </p:set>
                                    <p:animEffect transition="in" filter="wipe(left)">
                                      <p:cBhvr>
                                        <p:cTn id="13" dur="750"/>
                                        <p:tgtEl>
                                          <p:spTgt spid="1105"/>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1103"/>
                                        </p:tgtEl>
                                        <p:attrNameLst>
                                          <p:attrName>style.visibility</p:attrName>
                                        </p:attrNameLst>
                                      </p:cBhvr>
                                      <p:to>
                                        <p:strVal val="visible"/>
                                      </p:to>
                                    </p:set>
                                    <p:animEffect transition="in" filter="wipe(left)">
                                      <p:cBhvr>
                                        <p:cTn id="16" dur="750"/>
                                        <p:tgtEl>
                                          <p:spTgt spid="1103"/>
                                        </p:tgtEl>
                                      </p:cBhvr>
                                    </p:animEffect>
                                  </p:childTnLst>
                                </p:cTn>
                              </p:par>
                              <p:par>
                                <p:cTn id="17" presetID="10" presetClass="entr" presetSubtype="0" fill="hold" grpId="0" nodeType="withEffect">
                                  <p:stCondLst>
                                    <p:cond delay="500"/>
                                  </p:stCondLst>
                                  <p:childTnLst>
                                    <p:set>
                                      <p:cBhvr>
                                        <p:cTn id="18" dur="1" fill="hold">
                                          <p:stCondLst>
                                            <p:cond delay="0"/>
                                          </p:stCondLst>
                                        </p:cTn>
                                        <p:tgtEl>
                                          <p:spTgt spid="1529"/>
                                        </p:tgtEl>
                                        <p:attrNameLst>
                                          <p:attrName>style.visibility</p:attrName>
                                        </p:attrNameLst>
                                      </p:cBhvr>
                                      <p:to>
                                        <p:strVal val="visible"/>
                                      </p:to>
                                    </p:set>
                                    <p:animEffect transition="in" filter="fade">
                                      <p:cBhvr>
                                        <p:cTn id="19" dur="500"/>
                                        <p:tgtEl>
                                          <p:spTgt spid="1529"/>
                                        </p:tgtEl>
                                      </p:cBhvr>
                                    </p:animEffect>
                                  </p:childTnLst>
                                </p:cTn>
                              </p:par>
                              <p:par>
                                <p:cTn id="20" presetID="10" presetClass="entr" presetSubtype="0" fill="hold" nodeType="withEffect">
                                  <p:stCondLst>
                                    <p:cond delay="500"/>
                                  </p:stCondLst>
                                  <p:childTnLst>
                                    <p:set>
                                      <p:cBhvr>
                                        <p:cTn id="21" dur="1" fill="hold">
                                          <p:stCondLst>
                                            <p:cond delay="0"/>
                                          </p:stCondLst>
                                        </p:cTn>
                                        <p:tgtEl>
                                          <p:spTgt spid="1533"/>
                                        </p:tgtEl>
                                        <p:attrNameLst>
                                          <p:attrName>style.visibility</p:attrName>
                                        </p:attrNameLst>
                                      </p:cBhvr>
                                      <p:to>
                                        <p:strVal val="visible"/>
                                      </p:to>
                                    </p:set>
                                    <p:animEffect transition="in" filter="fade">
                                      <p:cBhvr>
                                        <p:cTn id="22" dur="500"/>
                                        <p:tgtEl>
                                          <p:spTgt spid="1533"/>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1531"/>
                                        </p:tgtEl>
                                        <p:attrNameLst>
                                          <p:attrName>style.visibility</p:attrName>
                                        </p:attrNameLst>
                                      </p:cBhvr>
                                      <p:to>
                                        <p:strVal val="visible"/>
                                      </p:to>
                                    </p:set>
                                    <p:animEffect transition="in" filter="fade">
                                      <p:cBhvr>
                                        <p:cTn id="25" dur="500"/>
                                        <p:tgtEl>
                                          <p:spTgt spid="1531"/>
                                        </p:tgtEl>
                                      </p:cBhvr>
                                    </p:animEffect>
                                  </p:childTnLst>
                                </p:cTn>
                              </p:par>
                              <p:par>
                                <p:cTn id="26" presetID="10" presetClass="entr" presetSubtype="0" fill="hold" nodeType="withEffect">
                                  <p:stCondLst>
                                    <p:cond delay="500"/>
                                  </p:stCondLst>
                                  <p:childTnLst>
                                    <p:set>
                                      <p:cBhvr>
                                        <p:cTn id="27" dur="1" fill="hold">
                                          <p:stCondLst>
                                            <p:cond delay="0"/>
                                          </p:stCondLst>
                                        </p:cTn>
                                        <p:tgtEl>
                                          <p:spTgt spid="1548"/>
                                        </p:tgtEl>
                                        <p:attrNameLst>
                                          <p:attrName>style.visibility</p:attrName>
                                        </p:attrNameLst>
                                      </p:cBhvr>
                                      <p:to>
                                        <p:strVal val="visible"/>
                                      </p:to>
                                    </p:set>
                                    <p:animEffect transition="in" filter="fade">
                                      <p:cBhvr>
                                        <p:cTn id="28" dur="500"/>
                                        <p:tgtEl>
                                          <p:spTgt spid="1548"/>
                                        </p:tgtEl>
                                      </p:cBhvr>
                                    </p:animEffect>
                                  </p:childTnLst>
                                </p:cTn>
                              </p:par>
                              <p:par>
                                <p:cTn id="29" presetID="10" presetClass="entr" presetSubtype="0" fill="hold" nodeType="withEffect">
                                  <p:stCondLst>
                                    <p:cond delay="500"/>
                                  </p:stCondLst>
                                  <p:childTnLst>
                                    <p:set>
                                      <p:cBhvr>
                                        <p:cTn id="30" dur="1" fill="hold">
                                          <p:stCondLst>
                                            <p:cond delay="0"/>
                                          </p:stCondLst>
                                        </p:cTn>
                                        <p:tgtEl>
                                          <p:spTgt spid="1538"/>
                                        </p:tgtEl>
                                        <p:attrNameLst>
                                          <p:attrName>style.visibility</p:attrName>
                                        </p:attrNameLst>
                                      </p:cBhvr>
                                      <p:to>
                                        <p:strVal val="visible"/>
                                      </p:to>
                                    </p:set>
                                    <p:animEffect transition="in" filter="fade">
                                      <p:cBhvr>
                                        <p:cTn id="31" dur="500"/>
                                        <p:tgtEl>
                                          <p:spTgt spid="1538"/>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1530"/>
                                        </p:tgtEl>
                                        <p:attrNameLst>
                                          <p:attrName>style.visibility</p:attrName>
                                        </p:attrNameLst>
                                      </p:cBhvr>
                                      <p:to>
                                        <p:strVal val="visible"/>
                                      </p:to>
                                    </p:set>
                                    <p:animEffect transition="in" filter="fade">
                                      <p:cBhvr>
                                        <p:cTn id="34" dur="500"/>
                                        <p:tgtEl>
                                          <p:spTgt spid="1530"/>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1532"/>
                                        </p:tgtEl>
                                        <p:attrNameLst>
                                          <p:attrName>style.visibility</p:attrName>
                                        </p:attrNameLst>
                                      </p:cBhvr>
                                      <p:to>
                                        <p:strVal val="visible"/>
                                      </p:to>
                                    </p:set>
                                    <p:animEffect transition="in" filter="fade">
                                      <p:cBhvr>
                                        <p:cTn id="37" dur="500"/>
                                        <p:tgtEl>
                                          <p:spTgt spid="1532"/>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926"/>
                                        </p:tgtEl>
                                        <p:attrNameLst>
                                          <p:attrName>style.visibility</p:attrName>
                                        </p:attrNameLst>
                                      </p:cBhvr>
                                      <p:to>
                                        <p:strVal val="visible"/>
                                      </p:to>
                                    </p:set>
                                    <p:animEffect transition="in" filter="fade">
                                      <p:cBhvr>
                                        <p:cTn id="40" dur="500"/>
                                        <p:tgtEl>
                                          <p:spTgt spid="1926"/>
                                        </p:tgtEl>
                                      </p:cBhvr>
                                    </p:animEffect>
                                  </p:childTnLst>
                                </p:cTn>
                              </p:par>
                              <p:par>
                                <p:cTn id="41" presetID="42" presetClass="path" presetSubtype="0" decel="100000" fill="hold" grpId="1" nodeType="withEffect">
                                  <p:stCondLst>
                                    <p:cond delay="0"/>
                                  </p:stCondLst>
                                  <p:childTnLst>
                                    <p:animMotion origin="layout" path="M 2.91667E-6 0 L 2.91667E-6 -0.03287 " pathEditMode="relative" rAng="0" ptsTypes="AA">
                                      <p:cBhvr>
                                        <p:cTn id="42" dur="700" spd="-100000" fill="hold"/>
                                        <p:tgtEl>
                                          <p:spTgt spid="1926"/>
                                        </p:tgtEl>
                                        <p:attrNameLst>
                                          <p:attrName>ppt_x</p:attrName>
                                          <p:attrName>ppt_y</p:attrName>
                                        </p:attrNameLst>
                                      </p:cBhvr>
                                      <p:rCtr x="0" y="-1644"/>
                                    </p:animMotion>
                                  </p:childTnLst>
                                </p:cTn>
                              </p:par>
                              <p:par>
                                <p:cTn id="43" presetID="10" presetClass="entr" presetSubtype="0" fill="hold" grpId="0" nodeType="withEffect">
                                  <p:stCondLst>
                                    <p:cond delay="0"/>
                                  </p:stCondLst>
                                  <p:childTnLst>
                                    <p:set>
                                      <p:cBhvr>
                                        <p:cTn id="44" dur="1" fill="hold">
                                          <p:stCondLst>
                                            <p:cond delay="0"/>
                                          </p:stCondLst>
                                        </p:cTn>
                                        <p:tgtEl>
                                          <p:spTgt spid="1925"/>
                                        </p:tgtEl>
                                        <p:attrNameLst>
                                          <p:attrName>style.visibility</p:attrName>
                                        </p:attrNameLst>
                                      </p:cBhvr>
                                      <p:to>
                                        <p:strVal val="visible"/>
                                      </p:to>
                                    </p:set>
                                    <p:animEffect transition="in" filter="fade">
                                      <p:cBhvr>
                                        <p:cTn id="45" dur="500"/>
                                        <p:tgtEl>
                                          <p:spTgt spid="1925"/>
                                        </p:tgtEl>
                                      </p:cBhvr>
                                    </p:animEffect>
                                  </p:childTnLst>
                                </p:cTn>
                              </p:par>
                              <p:par>
                                <p:cTn id="46" presetID="10" presetClass="entr" presetSubtype="0" fill="hold" nodeType="withEffect">
                                  <p:stCondLst>
                                    <p:cond delay="500"/>
                                  </p:stCondLst>
                                  <p:childTnLst>
                                    <p:set>
                                      <p:cBhvr>
                                        <p:cTn id="47" dur="1" fill="hold">
                                          <p:stCondLst>
                                            <p:cond delay="0"/>
                                          </p:stCondLst>
                                        </p:cTn>
                                        <p:tgtEl>
                                          <p:spTgt spid="3"/>
                                        </p:tgtEl>
                                        <p:attrNameLst>
                                          <p:attrName>style.visibility</p:attrName>
                                        </p:attrNameLst>
                                      </p:cBhvr>
                                      <p:to>
                                        <p:strVal val="visible"/>
                                      </p:to>
                                    </p:set>
                                    <p:animEffect transition="in" filter="fade">
                                      <p:cBhvr>
                                        <p:cTn id="48"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2" grpId="0" animBg="1"/>
      <p:bldP spid="1103" grpId="0" animBg="1"/>
      <p:bldP spid="1104" grpId="0" animBg="1"/>
      <p:bldP spid="1105" grpId="0" animBg="1"/>
      <p:bldP spid="1925" grpId="0" animBg="1"/>
      <p:bldP spid="1926" grpId="0"/>
      <p:bldP spid="1926" grpId="1"/>
      <p:bldP spid="1529" grpId="0"/>
      <p:bldP spid="1530" grpId="0"/>
      <p:bldP spid="1531" grpId="0"/>
      <p:bldP spid="1532" grpId="0"/>
    </p:bldLst>
  </p:timing>
</p:sld>
</file>

<file path=ppt/tags/tag1.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2.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3.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heme/theme1.xml><?xml version="1.0" encoding="utf-8"?>
<a:theme xmlns:a="http://schemas.openxmlformats.org/drawingml/2006/main" name="3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365-template02" id="{8CD60818-3BDF-4157-BF00-520498D987C1}" vid="{35700F2D-8368-4E4E-884E-289E89CDC575}"/>
    </a:ext>
  </a:extLst>
</a:theme>
</file>

<file path=ppt/theme/theme2.xml><?xml version="1.0" encoding="utf-8"?>
<a:theme xmlns:a="http://schemas.openxmlformats.org/drawingml/2006/main" name="Office Theme">
  <a:themeElements>
    <a:clrScheme name="Custom 1">
      <a:dk1>
        <a:sysClr val="windowText" lastClr="000000"/>
      </a:dk1>
      <a:lt1>
        <a:sysClr val="window" lastClr="FFFFFF"/>
      </a:lt1>
      <a:dk2>
        <a:srgbClr val="091F2C"/>
      </a:dk2>
      <a:lt2>
        <a:srgbClr val="F4F3F5"/>
      </a:lt2>
      <a:accent1>
        <a:srgbClr val="0078D4"/>
      </a:accent1>
      <a:accent2>
        <a:srgbClr val="FFB900"/>
      </a:accent2>
      <a:accent3>
        <a:srgbClr val="076C1D"/>
      </a:accent3>
      <a:accent4>
        <a:srgbClr val="454142"/>
      </a:accent4>
      <a:accent5>
        <a:srgbClr val="8DE971"/>
      </a:accent5>
      <a:accent6>
        <a:srgbClr val="8DC8E8"/>
      </a:accent6>
      <a:hlink>
        <a:srgbClr val="0078D4"/>
      </a:hlink>
      <a:folHlink>
        <a:srgbClr val="0078D4"/>
      </a:folHlink>
    </a:clrScheme>
    <a:fontScheme name="Custom 1">
      <a:majorFont>
        <a:latin typeface="Segoe Sans Display Semibold"/>
        <a:ea typeface=""/>
        <a:cs typeface=""/>
      </a:majorFont>
      <a:minorFont>
        <a:latin typeface="Segoe Sans Displa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Microsoft Security Light">
  <a:themeElements>
    <a:clrScheme name="Microsoft Security Light">
      <a:dk1>
        <a:srgbClr val="000000"/>
      </a:dk1>
      <a:lt1>
        <a:srgbClr val="FFFFFF"/>
      </a:lt1>
      <a:dk2>
        <a:srgbClr val="091F2C"/>
      </a:dk2>
      <a:lt2>
        <a:srgbClr val="F4F3F5"/>
      </a:lt2>
      <a:accent1>
        <a:srgbClr val="0078D4"/>
      </a:accent1>
      <a:accent2>
        <a:srgbClr val="FFB900"/>
      </a:accent2>
      <a:accent3>
        <a:srgbClr val="07641D"/>
      </a:accent3>
      <a:accent4>
        <a:srgbClr val="454142"/>
      </a:accent4>
      <a:accent5>
        <a:srgbClr val="8DE971"/>
      </a:accent5>
      <a:accent6>
        <a:srgbClr val="8DC8E8"/>
      </a:accent6>
      <a:hlink>
        <a:srgbClr val="0078D4"/>
      </a:hlink>
      <a:folHlink>
        <a:srgbClr val="0078D4"/>
      </a:folHlink>
    </a:clrScheme>
    <a:fontScheme name="Custom 2">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Security-PowerPoint-Template-Light-ZUMFinal.potx" id="{FF8D482B-CE5A-47E5-AB94-DE302AB9E0F0}" vid="{819E6DBF-6959-410D-BF54-D69678397792}"/>
    </a:ext>
  </a:extLst>
</a:theme>
</file>

<file path=ppt/theme/theme4.xml><?xml version="1.0" encoding="utf-8"?>
<a:theme xmlns:a="http://schemas.openxmlformats.org/drawingml/2006/main" name="1_Office Theme">
  <a:themeElements>
    <a:clrScheme name="Custom 1">
      <a:dk1>
        <a:sysClr val="windowText" lastClr="000000"/>
      </a:dk1>
      <a:lt1>
        <a:sysClr val="window" lastClr="FFFFFF"/>
      </a:lt1>
      <a:dk2>
        <a:srgbClr val="091F2C"/>
      </a:dk2>
      <a:lt2>
        <a:srgbClr val="F4F3F5"/>
      </a:lt2>
      <a:accent1>
        <a:srgbClr val="0078D4"/>
      </a:accent1>
      <a:accent2>
        <a:srgbClr val="FFB900"/>
      </a:accent2>
      <a:accent3>
        <a:srgbClr val="076C1D"/>
      </a:accent3>
      <a:accent4>
        <a:srgbClr val="454142"/>
      </a:accent4>
      <a:accent5>
        <a:srgbClr val="8DE971"/>
      </a:accent5>
      <a:accent6>
        <a:srgbClr val="8DC8E8"/>
      </a:accent6>
      <a:hlink>
        <a:srgbClr val="0078D4"/>
      </a:hlink>
      <a:folHlink>
        <a:srgbClr val="0078D4"/>
      </a:folHlink>
    </a:clrScheme>
    <a:fontScheme name="Custom 1">
      <a:majorFont>
        <a:latin typeface="Segoe Sans Display Semibold"/>
        <a:ea typeface=""/>
        <a:cs typeface=""/>
      </a:majorFont>
      <a:minorFont>
        <a:latin typeface="Segoe Sans Displa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4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365-template02" id="{8CD60818-3BDF-4157-BF00-520498D987C1}" vid="{35700F2D-8368-4E4E-884E-289E89CDC575}"/>
    </a:ext>
  </a:extLst>
</a:theme>
</file>

<file path=ppt/theme/theme6.xml><?xml version="1.0" encoding="utf-8"?>
<a:theme xmlns:a="http://schemas.openxmlformats.org/drawingml/2006/main" name="Microsoft 365 Template Light">
  <a:themeElements>
    <a:clrScheme name="Violet II">
      <a:dk1>
        <a:sysClr val="windowText" lastClr="000000"/>
      </a:dk1>
      <a:lt1>
        <a:sysClr val="window" lastClr="FFFFFF"/>
      </a:lt1>
      <a:dk2>
        <a:srgbClr val="632E62"/>
      </a:dk2>
      <a:lt2>
        <a:srgbClr val="EAE5EB"/>
      </a:lt2>
      <a:accent1>
        <a:srgbClr val="92278F"/>
      </a:accent1>
      <a:accent2>
        <a:srgbClr val="9B57D3"/>
      </a:accent2>
      <a:accent3>
        <a:srgbClr val="755DD9"/>
      </a:accent3>
      <a:accent4>
        <a:srgbClr val="665EB8"/>
      </a:accent4>
      <a:accent5>
        <a:srgbClr val="45A5ED"/>
      </a:accent5>
      <a:accent6>
        <a:srgbClr val="5982DB"/>
      </a:accent6>
      <a:hlink>
        <a:srgbClr val="0066FF"/>
      </a:hlink>
      <a:folHlink>
        <a:srgbClr val="666699"/>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AI Tour_2024_16-9 Event-template.potx" id="{10A8AE99-8A8D-4608-9F84-61FDF4D5C73D}" vid="{B4F0B07B-3A4D-4C62-94BD-A9EACF6FFAE2}"/>
    </a:ext>
  </a:extLst>
</a:theme>
</file>

<file path=ppt/theme/theme7.xml><?xml version="1.0" encoding="utf-8"?>
<a:theme xmlns:a="http://schemas.openxmlformats.org/drawingml/2006/main" name="3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Custom 2">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themeOverride>
</file>

<file path=ppt/theme/themeOverride2.xml><?xml version="1.0" encoding="utf-8"?>
<a:themeOverride xmlns:a="http://schemas.openxmlformats.org/drawingml/2006/main">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themeOverride>
</file>

<file path=ppt/theme/themeOverride3.xml><?xml version="1.0" encoding="utf-8"?>
<a:themeOverride xmlns:a="http://schemas.openxmlformats.org/drawingml/2006/main">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0c00efa8-99df-4343-9c36-3998544861d9" xsi:nil="true"/>
    <_ip_UnifiedCompliancePolicyUIAction xmlns="http://schemas.microsoft.com/sharepoint/v3" xsi:nil="true"/>
    <_ip_UnifiedCompliancePolicyProperties xmlns="http://schemas.microsoft.com/sharepoint/v3" xsi:nil="true"/>
    <lcf76f155ced4ddcb4097134ff3c332f xmlns="bf2380a9-f059-4440-9b0c-00bda5ce37de">
      <Terms xmlns="http://schemas.microsoft.com/office/infopath/2007/PartnerControls"/>
    </lcf76f155ced4ddcb4097134ff3c332f>
    <_ApprovalAssignedTo xmlns="bf2380a9-f059-4440-9b0c-00bda5ce37de">
      <UserInfo>
        <DisplayName/>
        <AccountId xsi:nil="true"/>
        <AccountType/>
      </UserInfo>
    </_ApprovalAssignedTo>
    <_ApprovalRespondedBy xmlns="bf2380a9-f059-4440-9b0c-00bda5ce37de">
      <UserInfo>
        <DisplayName/>
        <AccountId xsi:nil="true"/>
        <AccountType/>
      </UserInfo>
    </_ApprovalRespondedBy>
    <_ApprovalStatus xmlns="bf2380a9-f059-4440-9b0c-00bda5ce37de">0</_ApprovalStatus>
    <_ApprovalSentBy xmlns="bf2380a9-f059-4440-9b0c-00bda5ce37de">
      <UserInfo>
        <DisplayName/>
        <AccountId xsi:nil="true"/>
        <AccountType/>
      </UserInfo>
    </_ApprovalSentBy>
    <Uploaded xmlns="bf2380a9-f059-4440-9b0c-00bda5ce37de">false</Uploaded>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F47F01F51197143A101EDD3465A5C22" ma:contentTypeVersion="23" ma:contentTypeDescription="Create a new document." ma:contentTypeScope="" ma:versionID="4f80143f3abd8f4ecd66fbdea9995069">
  <xsd:schema xmlns:xsd="http://www.w3.org/2001/XMLSchema" xmlns:xs="http://www.w3.org/2001/XMLSchema" xmlns:p="http://schemas.microsoft.com/office/2006/metadata/properties" xmlns:ns1="http://schemas.microsoft.com/sharepoint/v3" xmlns:ns2="0c00efa8-99df-4343-9c36-3998544861d9" xmlns:ns3="bf2380a9-f059-4440-9b0c-00bda5ce37de" targetNamespace="http://schemas.microsoft.com/office/2006/metadata/properties" ma:root="true" ma:fieldsID="0a368d1e669ba1b0ae20c5e4bcc587a9" ns1:_="" ns2:_="" ns3:_="">
    <xsd:import namespace="http://schemas.microsoft.com/sharepoint/v3"/>
    <xsd:import namespace="0c00efa8-99df-4343-9c36-3998544861d9"/>
    <xsd:import namespace="bf2380a9-f059-4440-9b0c-00bda5ce37de"/>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SearchProperties" minOccurs="0"/>
                <xsd:element ref="ns3:MediaServiceObjectDetectorVersions" minOccurs="0"/>
                <xsd:element ref="ns1:_ip_UnifiedCompliancePolicyProperties" minOccurs="0"/>
                <xsd:element ref="ns1:_ip_UnifiedCompliancePolicyUIAction" minOccurs="0"/>
                <xsd:element ref="ns3:lcf76f155ced4ddcb4097134ff3c332f" minOccurs="0"/>
                <xsd:element ref="ns2:TaxCatchAll" minOccurs="0"/>
                <xsd:element ref="ns3:MediaServiceOCR" minOccurs="0"/>
                <xsd:element ref="ns3:MediaServiceGenerationTime" minOccurs="0"/>
                <xsd:element ref="ns3:MediaServiceEventHashCode" minOccurs="0"/>
                <xsd:element ref="ns3:MediaServiceDateTaken" minOccurs="0"/>
                <xsd:element ref="ns3:MediaLengthInSeconds" minOccurs="0"/>
                <xsd:element ref="ns3:MediaServiceLocation" minOccurs="0"/>
                <xsd:element ref="ns3:MediaServiceBillingMetadata" minOccurs="0"/>
                <xsd:element ref="ns3:_ApprovalAssignedTo" minOccurs="0"/>
                <xsd:element ref="ns3:_ApprovalRespondedBy" minOccurs="0"/>
                <xsd:element ref="ns3:_ApprovalSentBy" minOccurs="0"/>
                <xsd:element ref="ns3:_ApprovalStatus" minOccurs="0"/>
                <xsd:element ref="ns3:Uploade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c00efa8-99df-4343-9c36-3998544861d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8" nillable="true" ma:displayName="Taxonomy Catch All Column" ma:hidden="true" ma:list="{fbc9abd2-b4d5-495e-904c-cf4a4a486960}" ma:internalName="TaxCatchAll" ma:showField="CatchAllData" ma:web="0c00efa8-99df-4343-9c36-3998544861d9">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bf2380a9-f059-4440-9b0c-00bda5ce37de"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DateTaken" ma:index="22" nillable="true" ma:displayName="MediaServiceDateTaken" ma:hidden="true" ma:indexed="true" ma:internalName="MediaServiceDateTaken" ma:readOnly="true">
      <xsd:simpleType>
        <xsd:restriction base="dms:Text"/>
      </xsd:simpleType>
    </xsd:element>
    <xsd:element name="MediaLengthInSeconds" ma:index="23" nillable="true" ma:displayName="MediaLengthInSeconds" ma:hidden="true" ma:internalName="MediaLengthInSeconds" ma:readOnly="true">
      <xsd:simpleType>
        <xsd:restriction base="dms:Unknown"/>
      </xsd:simpleType>
    </xsd:element>
    <xsd:element name="MediaServiceLocation" ma:index="24" nillable="true" ma:displayName="Location" ma:indexed="true" ma:internalName="MediaServiceLocation" ma:readOnly="true">
      <xsd:simpleType>
        <xsd:restriction base="dms:Text"/>
      </xsd:simpleType>
    </xsd:element>
    <xsd:element name="MediaServiceBillingMetadata" ma:index="25" nillable="true" ma:displayName="MediaServiceBillingMetadata" ma:hidden="true" ma:internalName="MediaServiceBillingMetadata" ma:readOnly="true">
      <xsd:simpleType>
        <xsd:restriction base="dms:Text"/>
      </xsd:simpleType>
    </xsd:element>
    <xsd:element name="_ApprovalAssignedTo" ma:index="26" nillable="true" ma:displayName="Approvers" ma:list="UserInfo" ma:internalName="_ApprovalAssignedTo"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ApprovalRespondedBy" ma:index="27" nillable="true" ma:displayName="Responses" ma:list="UserInfo" ma:internalName="_ApprovalRespondedBy"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ApprovalSentBy" ma:index="28" nillable="true" ma:displayName="Approval Creator" ma:list="UserInfo" ma:internalName="_ApprovalSentBy" ma:readOnly="tru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ApprovalStatus" ma:index="29" nillable="true" ma:displayName="Approval status" ma:internalName="_ApprovalStatus" ma:readOnly="true">
      <xsd:simpleType>
        <xsd:restriction base="dms:Unknown"/>
      </xsd:simpleType>
    </xsd:element>
    <xsd:element name="Uploaded" ma:index="30" nillable="true" ma:displayName="Uploaded" ma:default="0" ma:format="Dropdown" ma:internalName="Uploaded">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9D39801-7402-4B73-B0AE-A6213A718A2A}">
  <ds:schemaRefs>
    <ds:schemaRef ds:uri="http://schemas.microsoft.com/sharepoint/v3/contenttype/forms"/>
  </ds:schemaRefs>
</ds:datastoreItem>
</file>

<file path=customXml/itemProps2.xml><?xml version="1.0" encoding="utf-8"?>
<ds:datastoreItem xmlns:ds="http://schemas.openxmlformats.org/officeDocument/2006/customXml" ds:itemID="{BA5E7358-77C7-4928-801E-5F797CD0EEC7}">
  <ds:schemaRefs>
    <ds:schemaRef ds:uri="3ed962a3-e53e-4e9c-bdcd-fe399f144fdc"/>
    <ds:schemaRef ds:uri="http://www.w3.org/XML/1998/namespace"/>
    <ds:schemaRef ds:uri="http://schemas.microsoft.com/office/2006/metadata/properties"/>
    <ds:schemaRef ds:uri="http://purl.org/dc/terms/"/>
    <ds:schemaRef ds:uri="http://schemas.microsoft.com/office/2006/documentManagement/types"/>
    <ds:schemaRef ds:uri="http://purl.org/dc/elements/1.1/"/>
    <ds:schemaRef ds:uri="http://purl.org/dc/dcmitype/"/>
    <ds:schemaRef ds:uri="http://schemas.openxmlformats.org/package/2006/metadata/core-properties"/>
    <ds:schemaRef ds:uri="http://schemas.microsoft.com/office/infopath/2007/PartnerControls"/>
    <ds:schemaRef ds:uri="86b2c9fc-63fe-4175-8603-e81a679e7887"/>
  </ds:schemaRefs>
</ds:datastoreItem>
</file>

<file path=customXml/itemProps3.xml><?xml version="1.0" encoding="utf-8"?>
<ds:datastoreItem xmlns:ds="http://schemas.openxmlformats.org/officeDocument/2006/customXml" ds:itemID="{5D23ECDC-468C-4F27-BBB1-8C67ADB14419}"/>
</file>

<file path=docMetadata/LabelInfo.xml><?xml version="1.0" encoding="utf-8"?>
<clbl:labelList xmlns:clbl="http://schemas.microsoft.com/office/2020/mipLabelMetadata">
  <clbl:label id="{87867195-f2b8-4ac2-b0b6-6bb73cb33af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1617</TotalTime>
  <Words>4982</Words>
  <Application>Microsoft Office PowerPoint</Application>
  <PresentationFormat>Widescreen</PresentationFormat>
  <Paragraphs>499</Paragraphs>
  <Slides>40</Slides>
  <Notes>34</Notes>
  <HiddenSlides>0</HiddenSlides>
  <MMClips>1</MMClips>
  <ScaleCrop>false</ScaleCrop>
  <HeadingPairs>
    <vt:vector size="6" baseType="variant">
      <vt:variant>
        <vt:lpstr>Fonts Used</vt:lpstr>
      </vt:variant>
      <vt:variant>
        <vt:i4>16</vt:i4>
      </vt:variant>
      <vt:variant>
        <vt:lpstr>Theme</vt:lpstr>
      </vt:variant>
      <vt:variant>
        <vt:i4>7</vt:i4>
      </vt:variant>
      <vt:variant>
        <vt:lpstr>Slide Titles</vt:lpstr>
      </vt:variant>
      <vt:variant>
        <vt:i4>40</vt:i4>
      </vt:variant>
    </vt:vector>
  </HeadingPairs>
  <TitlesOfParts>
    <vt:vector size="63" baseType="lpstr">
      <vt:lpstr>Aptos</vt:lpstr>
      <vt:lpstr>Arial</vt:lpstr>
      <vt:lpstr>Calibri</vt:lpstr>
      <vt:lpstr>Calibri Light</vt:lpstr>
      <vt:lpstr>Consolas</vt:lpstr>
      <vt:lpstr>Segoe Sans</vt:lpstr>
      <vt:lpstr>Segoe Sans Display</vt:lpstr>
      <vt:lpstr>Segoe Sans Display Semibold</vt:lpstr>
      <vt:lpstr>Segoe Sans Display Semilight</vt:lpstr>
      <vt:lpstr>Segoe UI</vt:lpstr>
      <vt:lpstr>Segoe UI Semibold</vt:lpstr>
      <vt:lpstr>Segoe UI Semilight</vt:lpstr>
      <vt:lpstr>Segoe UI Variable Display</vt:lpstr>
      <vt:lpstr>Segoe UI Variable Display Semibold</vt:lpstr>
      <vt:lpstr>Symbol</vt:lpstr>
      <vt:lpstr>Wingdings</vt:lpstr>
      <vt:lpstr>3_Office Theme</vt:lpstr>
      <vt:lpstr>Office Theme</vt:lpstr>
      <vt:lpstr>Microsoft Security Light</vt:lpstr>
      <vt:lpstr>1_Office Theme</vt:lpstr>
      <vt:lpstr>4_Office Theme</vt:lpstr>
      <vt:lpstr>Microsoft 365 Template Light</vt:lpstr>
      <vt:lpstr>3_Microsoft Security template</vt:lpstr>
      <vt:lpstr>Secure access for your workforce  with Microsoft Entra Suite</vt:lpstr>
      <vt:lpstr>Microsoft 365 Community Conference</vt:lpstr>
      <vt:lpstr>Join the event app to access:</vt:lpstr>
      <vt:lpstr>Attacks have become more complex &amp; sophisticated</vt:lpstr>
      <vt:lpstr>Security teams are often working in silos </vt:lpstr>
      <vt:lpstr>Addressing evolving threats requires a new approach</vt:lpstr>
      <vt:lpstr>Microsoft  Entra Suite  </vt:lpstr>
      <vt:lpstr>Microsoft  Entra Suite     </vt:lpstr>
      <vt:lpstr>Microsoft  Entra Suite   </vt:lpstr>
      <vt:lpstr>Converge Zero Trust access policy  for identity and network</vt:lpstr>
      <vt:lpstr>Enhance Conditional Access with  new conditions and controls</vt:lpstr>
      <vt:lpstr>Enhance Conditional Access with  new conditions and controls </vt:lpstr>
      <vt:lpstr>Protect access to all on-premises and SaaS resources​</vt:lpstr>
      <vt:lpstr>Uniformly govern access to on-premises and cloud apps</vt:lpstr>
      <vt:lpstr>Provide only necessary access and automate access lifecycle</vt:lpstr>
      <vt:lpstr>Simplify access reviews with ML-driven insights</vt:lpstr>
      <vt:lpstr>Extend least privilege access to web traffic and SaaS apps </vt:lpstr>
      <vt:lpstr>Secure access for your workforce </vt:lpstr>
      <vt:lpstr>Streamline onboarding and  identity lifecycle</vt:lpstr>
      <vt:lpstr>Video 1</vt:lpstr>
      <vt:lpstr>Streamline onboarding and identity lifecycle</vt:lpstr>
      <vt:lpstr>Protect access to  all applications and AI</vt:lpstr>
      <vt:lpstr>Video 2</vt:lpstr>
      <vt:lpstr>Protect access to  all applications and AI</vt:lpstr>
      <vt:lpstr>Secure and govern access to  internet resources</vt:lpstr>
      <vt:lpstr>Video 3</vt:lpstr>
      <vt:lpstr>Protect access to all  applications and AI</vt:lpstr>
      <vt:lpstr>Recap of unified access demos</vt:lpstr>
      <vt:lpstr>Reduce your security on-premises footprint</vt:lpstr>
      <vt:lpstr>Reduce your security on-premises footprint</vt:lpstr>
      <vt:lpstr>Microsoft  Entra Suite  </vt:lpstr>
      <vt:lpstr>Microsoft Entra Suite Partner Ecosystem</vt:lpstr>
      <vt:lpstr>Your first 90 days  Accelerating your Zero Trust strategy with the Microsoft Entra Suite</vt:lpstr>
      <vt:lpstr>Get started with the Microsoft Entra Suite!  Come chat with our Microsoft Entra experts at booth #5744</vt:lpstr>
      <vt:lpstr>We have an exciting future ahead.</vt:lpstr>
      <vt:lpstr>Expertise and tools for your journey</vt:lpstr>
      <vt:lpstr>News &amp; community content</vt:lpstr>
      <vt:lpstr>Session feedback surveys</vt:lpstr>
      <vt:lpstr>PowerPoint Presentation</vt:lpstr>
      <vt:lpstr>Closing slid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melie Darchicourt</dc:creator>
  <cp:lastModifiedBy>Irina Nechaeva</cp:lastModifiedBy>
  <cp:revision>3</cp:revision>
  <dcterms:created xsi:type="dcterms:W3CDTF">2025-03-18T20:48:17Z</dcterms:created>
  <dcterms:modified xsi:type="dcterms:W3CDTF">2025-05-05T22:14: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F47F01F51197143A101EDD3465A5C22</vt:lpwstr>
  </property>
  <property fmtid="{D5CDD505-2E9C-101B-9397-08002B2CF9AE}" pid="3" name="MediaServiceImageTags">
    <vt:lpwstr/>
  </property>
</Properties>
</file>